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17"/>
  </p:notesMasterIdLst>
  <p:handoutMasterIdLst>
    <p:handoutMasterId r:id="rId18"/>
  </p:handoutMasterIdLst>
  <p:sldIdLst>
    <p:sldId id="487" r:id="rId5"/>
    <p:sldId id="484" r:id="rId6"/>
    <p:sldId id="373" r:id="rId7"/>
    <p:sldId id="479" r:id="rId8"/>
    <p:sldId id="320" r:id="rId9"/>
    <p:sldId id="486" r:id="rId10"/>
    <p:sldId id="480" r:id="rId11"/>
    <p:sldId id="482" r:id="rId12"/>
    <p:sldId id="488" r:id="rId13"/>
    <p:sldId id="483" r:id="rId14"/>
    <p:sldId id="490" r:id="rId15"/>
    <p:sldId id="491" r:id="rId16"/>
  </p:sldIdLst>
  <p:sldSz cx="12192000" cy="6858000"/>
  <p:notesSz cx="6858000" cy="9144000"/>
  <p:custDataLst>
    <p:tags r:id="rId1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C6F0"/>
    <a:srgbClr val="FF0CAD"/>
    <a:srgbClr val="CC2880"/>
    <a:srgbClr val="942092"/>
    <a:srgbClr val="E470AD"/>
    <a:srgbClr val="FF8394"/>
    <a:srgbClr val="CB2980"/>
    <a:srgbClr val="FF6327"/>
    <a:srgbClr val="0F999C"/>
    <a:srgbClr val="01D2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A1BEFC-BFF9-4CF1-A061-12D2389EFD13}" v="161" dt="2020-06-23T11:33:45.4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2" autoAdjust="0"/>
    <p:restoredTop sz="89503" autoAdjust="0"/>
  </p:normalViewPr>
  <p:slideViewPr>
    <p:cSldViewPr>
      <p:cViewPr varScale="1">
        <p:scale>
          <a:sx n="102" d="100"/>
          <a:sy n="102" d="100"/>
        </p:scale>
        <p:origin x="1008"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0" d="100"/>
        <a:sy n="60" d="100"/>
      </p:scale>
      <p:origin x="0" y="0"/>
    </p:cViewPr>
  </p:sorterViewPr>
  <p:notesViewPr>
    <p:cSldViewPr>
      <p:cViewPr varScale="1">
        <p:scale>
          <a:sx n="168" d="100"/>
          <a:sy n="168" d="100"/>
        </p:scale>
        <p:origin x="3936" y="224"/>
      </p:cViewPr>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iepielewska, Anna" userId="520fb4be-3840-4d66-a576-244e511fd5b0" providerId="ADAL" clId="{32099A80-F7D1-4347-898C-E6DFCB171E81}"/>
    <pc:docChg chg="custSel modSld">
      <pc:chgData name="Ciepielewska, Anna" userId="520fb4be-3840-4d66-a576-244e511fd5b0" providerId="ADAL" clId="{32099A80-F7D1-4347-898C-E6DFCB171E81}" dt="2020-06-23T12:21:16.403" v="742" actId="20577"/>
      <pc:docMkLst>
        <pc:docMk/>
      </pc:docMkLst>
      <pc:sldChg chg="modSp">
        <pc:chgData name="Ciepielewska, Anna" userId="520fb4be-3840-4d66-a576-244e511fd5b0" providerId="ADAL" clId="{32099A80-F7D1-4347-898C-E6DFCB171E81}" dt="2020-06-23T11:24:18.761" v="95" actId="20577"/>
        <pc:sldMkLst>
          <pc:docMk/>
          <pc:sldMk cId="2172775958" sldId="480"/>
        </pc:sldMkLst>
        <pc:spChg chg="mod">
          <ac:chgData name="Ciepielewska, Anna" userId="520fb4be-3840-4d66-a576-244e511fd5b0" providerId="ADAL" clId="{32099A80-F7D1-4347-898C-E6DFCB171E81}" dt="2020-06-23T11:24:18.761" v="95" actId="20577"/>
          <ac:spMkLst>
            <pc:docMk/>
            <pc:sldMk cId="2172775958" sldId="480"/>
            <ac:spMk id="286" creationId="{00000000-0000-0000-0000-000000000000}"/>
          </ac:spMkLst>
        </pc:spChg>
      </pc:sldChg>
      <pc:sldChg chg="modSp">
        <pc:chgData name="Ciepielewska, Anna" userId="520fb4be-3840-4d66-a576-244e511fd5b0" providerId="ADAL" clId="{32099A80-F7D1-4347-898C-E6DFCB171E81}" dt="2020-06-23T11:27:23.949" v="116" actId="20577"/>
        <pc:sldMkLst>
          <pc:docMk/>
          <pc:sldMk cId="2907536525" sldId="482"/>
        </pc:sldMkLst>
        <pc:spChg chg="mod">
          <ac:chgData name="Ciepielewska, Anna" userId="520fb4be-3840-4d66-a576-244e511fd5b0" providerId="ADAL" clId="{32099A80-F7D1-4347-898C-E6DFCB171E81}" dt="2020-06-23T11:27:23.949" v="116" actId="20577"/>
          <ac:spMkLst>
            <pc:docMk/>
            <pc:sldMk cId="2907536525" sldId="482"/>
            <ac:spMk id="26" creationId="{00000000-0000-0000-0000-000000000000}"/>
          </ac:spMkLst>
        </pc:spChg>
        <pc:spChg chg="mod">
          <ac:chgData name="Ciepielewska, Anna" userId="520fb4be-3840-4d66-a576-244e511fd5b0" providerId="ADAL" clId="{32099A80-F7D1-4347-898C-E6DFCB171E81}" dt="2020-06-23T11:26:18.359" v="113" actId="20577"/>
          <ac:spMkLst>
            <pc:docMk/>
            <pc:sldMk cId="2907536525" sldId="482"/>
            <ac:spMk id="46" creationId="{00000000-0000-0000-0000-000000000000}"/>
          </ac:spMkLst>
        </pc:spChg>
      </pc:sldChg>
      <pc:sldChg chg="modSp">
        <pc:chgData name="Ciepielewska, Anna" userId="520fb4be-3840-4d66-a576-244e511fd5b0" providerId="ADAL" clId="{32099A80-F7D1-4347-898C-E6DFCB171E81}" dt="2020-06-23T11:33:45.457" v="354" actId="20577"/>
        <pc:sldMkLst>
          <pc:docMk/>
          <pc:sldMk cId="911792654" sldId="483"/>
        </pc:sldMkLst>
        <pc:spChg chg="mod">
          <ac:chgData name="Ciepielewska, Anna" userId="520fb4be-3840-4d66-a576-244e511fd5b0" providerId="ADAL" clId="{32099A80-F7D1-4347-898C-E6DFCB171E81}" dt="2020-06-23T11:31:41.367" v="237" actId="6549"/>
          <ac:spMkLst>
            <pc:docMk/>
            <pc:sldMk cId="911792654" sldId="483"/>
            <ac:spMk id="3" creationId="{00000000-0000-0000-0000-000000000000}"/>
          </ac:spMkLst>
        </pc:spChg>
        <pc:graphicFrameChg chg="mod">
          <ac:chgData name="Ciepielewska, Anna" userId="520fb4be-3840-4d66-a576-244e511fd5b0" providerId="ADAL" clId="{32099A80-F7D1-4347-898C-E6DFCB171E81}" dt="2020-06-23T11:33:45.457" v="354" actId="20577"/>
          <ac:graphicFrameMkLst>
            <pc:docMk/>
            <pc:sldMk cId="911792654" sldId="483"/>
            <ac:graphicFrameMk id="5" creationId="{00000000-0000-0000-0000-000000000000}"/>
          </ac:graphicFrameMkLst>
        </pc:graphicFrameChg>
      </pc:sldChg>
      <pc:sldChg chg="modSp">
        <pc:chgData name="Ciepielewska, Anna" userId="520fb4be-3840-4d66-a576-244e511fd5b0" providerId="ADAL" clId="{32099A80-F7D1-4347-898C-E6DFCB171E81}" dt="2020-06-23T12:20:56.867" v="725" actId="20577"/>
        <pc:sldMkLst>
          <pc:docMk/>
          <pc:sldMk cId="3685618856" sldId="488"/>
        </pc:sldMkLst>
        <pc:spChg chg="mod">
          <ac:chgData name="Ciepielewska, Anna" userId="520fb4be-3840-4d66-a576-244e511fd5b0" providerId="ADAL" clId="{32099A80-F7D1-4347-898C-E6DFCB171E81}" dt="2020-06-23T12:20:56.867" v="725" actId="20577"/>
          <ac:spMkLst>
            <pc:docMk/>
            <pc:sldMk cId="3685618856" sldId="488"/>
            <ac:spMk id="29" creationId="{00000000-0000-0000-0000-000000000000}"/>
          </ac:spMkLst>
        </pc:spChg>
        <pc:graphicFrameChg chg="mod">
          <ac:chgData name="Ciepielewska, Anna" userId="520fb4be-3840-4d66-a576-244e511fd5b0" providerId="ADAL" clId="{32099A80-F7D1-4347-898C-E6DFCB171E81}" dt="2020-06-23T11:28:50.248" v="160" actId="20577"/>
          <ac:graphicFrameMkLst>
            <pc:docMk/>
            <pc:sldMk cId="3685618856" sldId="488"/>
            <ac:graphicFrameMk id="23" creationId="{00000000-0000-0000-0000-000000000000}"/>
          </ac:graphicFrameMkLst>
        </pc:graphicFrameChg>
      </pc:sldChg>
      <pc:sldChg chg="modSp">
        <pc:chgData name="Ciepielewska, Anna" userId="520fb4be-3840-4d66-a576-244e511fd5b0" providerId="ADAL" clId="{32099A80-F7D1-4347-898C-E6DFCB171E81}" dt="2020-06-23T12:21:16.403" v="742" actId="20577"/>
        <pc:sldMkLst>
          <pc:docMk/>
          <pc:sldMk cId="1953129244" sldId="490"/>
        </pc:sldMkLst>
        <pc:spChg chg="mod">
          <ac:chgData name="Ciepielewska, Anna" userId="520fb4be-3840-4d66-a576-244e511fd5b0" providerId="ADAL" clId="{32099A80-F7D1-4347-898C-E6DFCB171E81}" dt="2020-06-23T12:16:26.965" v="486" actId="20577"/>
          <ac:spMkLst>
            <pc:docMk/>
            <pc:sldMk cId="1953129244" sldId="490"/>
            <ac:spMk id="10" creationId="{00000000-0000-0000-0000-000000000000}"/>
          </ac:spMkLst>
        </pc:spChg>
        <pc:spChg chg="mod">
          <ac:chgData name="Ciepielewska, Anna" userId="520fb4be-3840-4d66-a576-244e511fd5b0" providerId="ADAL" clId="{32099A80-F7D1-4347-898C-E6DFCB171E81}" dt="2020-06-23T12:21:16.403" v="742" actId="20577"/>
          <ac:spMkLst>
            <pc:docMk/>
            <pc:sldMk cId="1953129244" sldId="490"/>
            <ac:spMk id="286"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7D7078-DDD6-4251-9A0F-4B811FCEE33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E832A38A-C51A-4338-A893-0848EA0BC989}">
      <dgm:prSet phldrT="[Text]" custT="1"/>
      <dgm:spPr/>
      <dgm:t>
        <a:bodyPr/>
        <a:lstStyle/>
        <a:p>
          <a:r>
            <a:rPr lang="pl-PL" sz="1000" dirty="0"/>
            <a:t>IoT vs IoG – zajęcia odkrywające Internet of Things</a:t>
          </a:r>
          <a:endParaRPr lang="en-US" sz="1000" dirty="0"/>
        </a:p>
      </dgm:t>
    </dgm:pt>
    <dgm:pt modelId="{CA7824BF-214E-4F11-AEA0-4BEA1AE0F544}" type="parTrans" cxnId="{CE3C1AFE-AC3F-4F5D-97F7-9207A9D634BB}">
      <dgm:prSet/>
      <dgm:spPr/>
      <dgm:t>
        <a:bodyPr/>
        <a:lstStyle/>
        <a:p>
          <a:endParaRPr lang="en-US"/>
        </a:p>
      </dgm:t>
    </dgm:pt>
    <dgm:pt modelId="{3B005EAD-7D00-4667-AECB-B32E69BDA768}" type="sibTrans" cxnId="{CE3C1AFE-AC3F-4F5D-97F7-9207A9D634BB}">
      <dgm:prSet/>
      <dgm:spPr/>
      <dgm:t>
        <a:bodyPr/>
        <a:lstStyle/>
        <a:p>
          <a:endParaRPr lang="en-US"/>
        </a:p>
      </dgm:t>
    </dgm:pt>
    <dgm:pt modelId="{0E1A916B-AAE8-40BA-A51A-B39229ED2A4C}">
      <dgm:prSet phldrT="[Text]" custT="1"/>
      <dgm:spPr/>
      <dgm:t>
        <a:bodyPr/>
        <a:lstStyle/>
        <a:p>
          <a:r>
            <a:rPr lang="pl-PL" sz="1000" dirty="0"/>
            <a:t>Robaczywe nie musi być tylko jabłko – dlaczego warto testować w IT?</a:t>
          </a:r>
          <a:endParaRPr lang="en-US" sz="1000" dirty="0"/>
        </a:p>
      </dgm:t>
    </dgm:pt>
    <dgm:pt modelId="{866ADD97-AE93-4902-9275-8E3035DB3335}" type="parTrans" cxnId="{AAAE1C0A-1B50-440F-8DDF-17150AC1A50D}">
      <dgm:prSet/>
      <dgm:spPr/>
      <dgm:t>
        <a:bodyPr/>
        <a:lstStyle/>
        <a:p>
          <a:endParaRPr lang="en-US"/>
        </a:p>
      </dgm:t>
    </dgm:pt>
    <dgm:pt modelId="{E901C943-9692-4F1F-84B0-66E1F61AEC28}" type="sibTrans" cxnId="{AAAE1C0A-1B50-440F-8DDF-17150AC1A50D}">
      <dgm:prSet/>
      <dgm:spPr/>
      <dgm:t>
        <a:bodyPr/>
        <a:lstStyle/>
        <a:p>
          <a:endParaRPr lang="en-US"/>
        </a:p>
      </dgm:t>
    </dgm:pt>
    <dgm:pt modelId="{81AD83A6-2F8A-4F1D-97F9-B90D994320FA}">
      <dgm:prSet phldrT="[Text]" custT="1"/>
      <dgm:spPr/>
      <dgm:t>
        <a:bodyPr/>
        <a:lstStyle/>
        <a:p>
          <a:r>
            <a:rPr lang="en-US" sz="1000" u="none" strike="noStrike" dirty="0">
              <a:effectLst/>
            </a:rPr>
            <a:t>Consulting w IT</a:t>
          </a:r>
          <a:r>
            <a:rPr lang="pl-PL" sz="1000" u="none" strike="noStrike" dirty="0">
              <a:effectLst/>
            </a:rPr>
            <a:t> - czym jest i dlaczego jest tak ważny?</a:t>
          </a:r>
          <a:endParaRPr lang="en-US" sz="1000" dirty="0"/>
        </a:p>
      </dgm:t>
    </dgm:pt>
    <dgm:pt modelId="{0C677BDF-9314-4223-8B47-AC2872194D51}" type="parTrans" cxnId="{B31392B8-85C3-4DE8-993B-8B66913D34E2}">
      <dgm:prSet/>
      <dgm:spPr/>
      <dgm:t>
        <a:bodyPr/>
        <a:lstStyle/>
        <a:p>
          <a:endParaRPr lang="en-US"/>
        </a:p>
      </dgm:t>
    </dgm:pt>
    <dgm:pt modelId="{631A4D17-CD03-46EB-A035-CA61599C0EC7}" type="sibTrans" cxnId="{B31392B8-85C3-4DE8-993B-8B66913D34E2}">
      <dgm:prSet/>
      <dgm:spPr/>
      <dgm:t>
        <a:bodyPr/>
        <a:lstStyle/>
        <a:p>
          <a:endParaRPr lang="en-US"/>
        </a:p>
      </dgm:t>
    </dgm:pt>
    <dgm:pt modelId="{9570344E-72A1-4E5F-8C86-BE0EBDCE2181}">
      <dgm:prSet custT="1"/>
      <dgm:spPr/>
      <dgm:t>
        <a:bodyPr/>
        <a:lstStyle/>
        <a:p>
          <a:r>
            <a:rPr lang="pl-PL" sz="1000" u="none" strike="noStrike" dirty="0">
              <a:effectLst/>
            </a:rPr>
            <a:t>Programowanie, czyli pomysł na wielką przygodę </a:t>
          </a:r>
          <a:endParaRPr lang="pl-PL" sz="1000" b="0" i="0" u="none" strike="noStrike" dirty="0">
            <a:solidFill>
              <a:srgbClr val="000000"/>
            </a:solidFill>
            <a:effectLst/>
            <a:latin typeface="Calibri" panose="020F0502020204030204" pitchFamily="34" charset="0"/>
          </a:endParaRPr>
        </a:p>
      </dgm:t>
    </dgm:pt>
    <dgm:pt modelId="{D07140BB-D9E5-4DAF-AF42-4855AE5B8739}" type="parTrans" cxnId="{A5F511F6-C51A-4F55-906F-4669EC19E322}">
      <dgm:prSet/>
      <dgm:spPr/>
      <dgm:t>
        <a:bodyPr/>
        <a:lstStyle/>
        <a:p>
          <a:endParaRPr lang="en-US"/>
        </a:p>
      </dgm:t>
    </dgm:pt>
    <dgm:pt modelId="{5AF3B2EB-F1DF-4659-AA1A-8521EBD3BBD6}" type="sibTrans" cxnId="{A5F511F6-C51A-4F55-906F-4669EC19E322}">
      <dgm:prSet/>
      <dgm:spPr/>
      <dgm:t>
        <a:bodyPr/>
        <a:lstStyle/>
        <a:p>
          <a:endParaRPr lang="en-US"/>
        </a:p>
      </dgm:t>
    </dgm:pt>
    <dgm:pt modelId="{C0B86F1D-5CA2-43F8-91BA-C425C900FC97}">
      <dgm:prSet custT="1"/>
      <dgm:spPr/>
      <dgm:t>
        <a:bodyPr/>
        <a:lstStyle/>
        <a:p>
          <a:r>
            <a:rPr lang="en-US" sz="1000" u="none" strike="noStrike" dirty="0">
              <a:effectLst/>
            </a:rPr>
            <a:t>Project Management – </a:t>
          </a:r>
          <a:r>
            <a:rPr lang="pl-PL" sz="1000" u="none" strike="noStrike" dirty="0">
              <a:effectLst/>
            </a:rPr>
            <a:t>jak z</a:t>
          </a:r>
          <a:r>
            <a:rPr lang="en-US" sz="1000" u="none" strike="noStrike" dirty="0">
              <a:effectLst/>
            </a:rPr>
            <a:t>bud</a:t>
          </a:r>
          <a:r>
            <a:rPr lang="pl-PL" sz="1000" u="none" strike="noStrike" dirty="0">
              <a:effectLst/>
            </a:rPr>
            <a:t>ować</a:t>
          </a:r>
          <a:r>
            <a:rPr lang="en-US" sz="1000" u="none" strike="noStrike" dirty="0">
              <a:effectLst/>
            </a:rPr>
            <a:t> </a:t>
          </a:r>
          <a:r>
            <a:rPr lang="pl-PL" sz="1000" u="none" strike="noStrike" dirty="0">
              <a:effectLst/>
            </a:rPr>
            <a:t>wieżę metodą projektową?</a:t>
          </a:r>
          <a:endParaRPr lang="pl-PL" sz="1000" b="0" i="0" u="none" strike="noStrike" dirty="0">
            <a:solidFill>
              <a:srgbClr val="000000"/>
            </a:solidFill>
            <a:effectLst/>
            <a:latin typeface="Calibri" panose="020F0502020204030204" pitchFamily="34" charset="0"/>
          </a:endParaRPr>
        </a:p>
      </dgm:t>
    </dgm:pt>
    <dgm:pt modelId="{8B74E882-A150-489D-BD79-14AE63DE9924}" type="parTrans" cxnId="{E70A6DA7-A05D-456F-BF62-70B27D9529AD}">
      <dgm:prSet/>
      <dgm:spPr/>
      <dgm:t>
        <a:bodyPr/>
        <a:lstStyle/>
        <a:p>
          <a:endParaRPr lang="en-US"/>
        </a:p>
      </dgm:t>
    </dgm:pt>
    <dgm:pt modelId="{9D99036E-1AEE-4A2B-B218-0FB96C1007DE}" type="sibTrans" cxnId="{E70A6DA7-A05D-456F-BF62-70B27D9529AD}">
      <dgm:prSet/>
      <dgm:spPr/>
      <dgm:t>
        <a:bodyPr/>
        <a:lstStyle/>
        <a:p>
          <a:endParaRPr lang="en-US"/>
        </a:p>
      </dgm:t>
    </dgm:pt>
    <dgm:pt modelId="{BC137D35-FDD5-4A3D-8E55-2C04F69566D4}">
      <dgm:prSet custT="1"/>
      <dgm:spPr/>
      <dgm:t>
        <a:bodyPr/>
        <a:lstStyle/>
        <a:p>
          <a:r>
            <a:rPr lang="pl-PL" sz="1000" u="none" strike="noStrike" dirty="0">
              <a:effectLst/>
            </a:rPr>
            <a:t>Odkrywamy w Was to co najlepsze – wparcie działu Learning &amp; Development</a:t>
          </a:r>
          <a:endParaRPr lang="pl-PL" sz="1000" b="0" i="0" u="none" strike="noStrike" dirty="0">
            <a:solidFill>
              <a:srgbClr val="000000"/>
            </a:solidFill>
            <a:effectLst/>
            <a:latin typeface="Calibri" panose="020F0502020204030204" pitchFamily="34" charset="0"/>
          </a:endParaRPr>
        </a:p>
      </dgm:t>
    </dgm:pt>
    <dgm:pt modelId="{CC7DDF4B-0C5A-4B5E-A6E3-F9F64DB89C13}" type="parTrans" cxnId="{42424C6F-0B78-4659-9254-0DD2B73A21AD}">
      <dgm:prSet/>
      <dgm:spPr/>
      <dgm:t>
        <a:bodyPr/>
        <a:lstStyle/>
        <a:p>
          <a:endParaRPr lang="en-US"/>
        </a:p>
      </dgm:t>
    </dgm:pt>
    <dgm:pt modelId="{D2DBAC31-6035-4682-8E26-55F041EE985A}" type="sibTrans" cxnId="{42424C6F-0B78-4659-9254-0DD2B73A21AD}">
      <dgm:prSet/>
      <dgm:spPr/>
      <dgm:t>
        <a:bodyPr/>
        <a:lstStyle/>
        <a:p>
          <a:endParaRPr lang="en-US"/>
        </a:p>
      </dgm:t>
    </dgm:pt>
    <dgm:pt modelId="{D841823F-F11F-4303-8D8C-2B757364DF10}">
      <dgm:prSet custT="1"/>
      <dgm:spPr/>
      <dgm:t>
        <a:bodyPr/>
        <a:lstStyle/>
        <a:p>
          <a:r>
            <a:rPr lang="pl-PL" sz="1000" u="none" strike="noStrike" dirty="0">
              <a:effectLst/>
            </a:rPr>
            <a:t>Sztuczna inteligencja bez bólu</a:t>
          </a:r>
          <a:endParaRPr lang="pl-PL" sz="1000" b="0" i="0" u="none" strike="noStrike" dirty="0">
            <a:solidFill>
              <a:srgbClr val="000000"/>
            </a:solidFill>
            <a:effectLst/>
            <a:latin typeface="Calibri" panose="020F0502020204030204" pitchFamily="34" charset="0"/>
          </a:endParaRPr>
        </a:p>
      </dgm:t>
    </dgm:pt>
    <dgm:pt modelId="{492692AB-62BD-42A1-BF30-4576D8909EDC}" type="parTrans" cxnId="{9550A667-3668-4B25-B5AE-181CDDF2E033}">
      <dgm:prSet/>
      <dgm:spPr/>
      <dgm:t>
        <a:bodyPr/>
        <a:lstStyle/>
        <a:p>
          <a:endParaRPr lang="en-US"/>
        </a:p>
      </dgm:t>
    </dgm:pt>
    <dgm:pt modelId="{3CAAE7FC-80FE-4FBF-9835-946F225DE372}" type="sibTrans" cxnId="{9550A667-3668-4B25-B5AE-181CDDF2E033}">
      <dgm:prSet/>
      <dgm:spPr/>
      <dgm:t>
        <a:bodyPr/>
        <a:lstStyle/>
        <a:p>
          <a:endParaRPr lang="en-US"/>
        </a:p>
      </dgm:t>
    </dgm:pt>
    <dgm:pt modelId="{026CFB1A-E750-4FF4-BD81-E2F0DB33714E}" type="pres">
      <dgm:prSet presAssocID="{C47D7078-DDD6-4251-9A0F-4B811FCEE333}" presName="linear" presStyleCnt="0">
        <dgm:presLayoutVars>
          <dgm:dir/>
          <dgm:animLvl val="lvl"/>
          <dgm:resizeHandles val="exact"/>
        </dgm:presLayoutVars>
      </dgm:prSet>
      <dgm:spPr/>
    </dgm:pt>
    <dgm:pt modelId="{D95CB272-0A25-440A-9276-B866A65AA962}" type="pres">
      <dgm:prSet presAssocID="{E832A38A-C51A-4338-A893-0848EA0BC989}" presName="parentLin" presStyleCnt="0"/>
      <dgm:spPr/>
    </dgm:pt>
    <dgm:pt modelId="{3DE92180-0601-427F-B4E9-D6F9D1216E38}" type="pres">
      <dgm:prSet presAssocID="{E832A38A-C51A-4338-A893-0848EA0BC989}" presName="parentLeftMargin" presStyleLbl="node1" presStyleIdx="0" presStyleCnt="7"/>
      <dgm:spPr/>
    </dgm:pt>
    <dgm:pt modelId="{47F74E8A-85F1-4F2B-953F-D5F4F7A22CA2}" type="pres">
      <dgm:prSet presAssocID="{E832A38A-C51A-4338-A893-0848EA0BC989}" presName="parentText" presStyleLbl="node1" presStyleIdx="0" presStyleCnt="7">
        <dgm:presLayoutVars>
          <dgm:chMax val="0"/>
          <dgm:bulletEnabled val="1"/>
        </dgm:presLayoutVars>
      </dgm:prSet>
      <dgm:spPr/>
    </dgm:pt>
    <dgm:pt modelId="{852E6858-59C5-47F5-A1BF-1ACBF4ADC2D1}" type="pres">
      <dgm:prSet presAssocID="{E832A38A-C51A-4338-A893-0848EA0BC989}" presName="negativeSpace" presStyleCnt="0"/>
      <dgm:spPr/>
    </dgm:pt>
    <dgm:pt modelId="{5F3532A2-1094-46F7-9AB7-9B03BE8F0571}" type="pres">
      <dgm:prSet presAssocID="{E832A38A-C51A-4338-A893-0848EA0BC989}" presName="childText" presStyleLbl="conFgAcc1" presStyleIdx="0" presStyleCnt="7">
        <dgm:presLayoutVars>
          <dgm:bulletEnabled val="1"/>
        </dgm:presLayoutVars>
      </dgm:prSet>
      <dgm:spPr/>
    </dgm:pt>
    <dgm:pt modelId="{42A1D2AD-5DF2-477B-B17E-E83832316B7B}" type="pres">
      <dgm:prSet presAssocID="{3B005EAD-7D00-4667-AECB-B32E69BDA768}" presName="spaceBetweenRectangles" presStyleCnt="0"/>
      <dgm:spPr/>
    </dgm:pt>
    <dgm:pt modelId="{AD7FD0A0-1B5B-446C-A36C-B8E23C87C1FE}" type="pres">
      <dgm:prSet presAssocID="{0E1A916B-AAE8-40BA-A51A-B39229ED2A4C}" presName="parentLin" presStyleCnt="0"/>
      <dgm:spPr/>
    </dgm:pt>
    <dgm:pt modelId="{C1A442BB-7CCC-41C3-ABEB-EE7B0DDF212B}" type="pres">
      <dgm:prSet presAssocID="{0E1A916B-AAE8-40BA-A51A-B39229ED2A4C}" presName="parentLeftMargin" presStyleLbl="node1" presStyleIdx="0" presStyleCnt="7"/>
      <dgm:spPr/>
    </dgm:pt>
    <dgm:pt modelId="{4E8EB982-7D94-42A1-832B-23F4F3CB2E3C}" type="pres">
      <dgm:prSet presAssocID="{0E1A916B-AAE8-40BA-A51A-B39229ED2A4C}" presName="parentText" presStyleLbl="node1" presStyleIdx="1" presStyleCnt="7">
        <dgm:presLayoutVars>
          <dgm:chMax val="0"/>
          <dgm:bulletEnabled val="1"/>
        </dgm:presLayoutVars>
      </dgm:prSet>
      <dgm:spPr/>
    </dgm:pt>
    <dgm:pt modelId="{B5253162-A32B-4481-971C-8B3226CC91C9}" type="pres">
      <dgm:prSet presAssocID="{0E1A916B-AAE8-40BA-A51A-B39229ED2A4C}" presName="negativeSpace" presStyleCnt="0"/>
      <dgm:spPr/>
    </dgm:pt>
    <dgm:pt modelId="{23A6271C-BBD2-4749-B10E-97C51DDB0541}" type="pres">
      <dgm:prSet presAssocID="{0E1A916B-AAE8-40BA-A51A-B39229ED2A4C}" presName="childText" presStyleLbl="conFgAcc1" presStyleIdx="1" presStyleCnt="7">
        <dgm:presLayoutVars>
          <dgm:bulletEnabled val="1"/>
        </dgm:presLayoutVars>
      </dgm:prSet>
      <dgm:spPr/>
    </dgm:pt>
    <dgm:pt modelId="{5F37A3B1-2263-4169-BF0F-1CC80831C69C}" type="pres">
      <dgm:prSet presAssocID="{E901C943-9692-4F1F-84B0-66E1F61AEC28}" presName="spaceBetweenRectangles" presStyleCnt="0"/>
      <dgm:spPr/>
    </dgm:pt>
    <dgm:pt modelId="{E3069193-7227-4CEB-9B53-0A6C1539BDB1}" type="pres">
      <dgm:prSet presAssocID="{81AD83A6-2F8A-4F1D-97F9-B90D994320FA}" presName="parentLin" presStyleCnt="0"/>
      <dgm:spPr/>
    </dgm:pt>
    <dgm:pt modelId="{B98EB46F-2456-454E-B22B-3BC9AFDD2FA2}" type="pres">
      <dgm:prSet presAssocID="{81AD83A6-2F8A-4F1D-97F9-B90D994320FA}" presName="parentLeftMargin" presStyleLbl="node1" presStyleIdx="1" presStyleCnt="7"/>
      <dgm:spPr/>
    </dgm:pt>
    <dgm:pt modelId="{DD8797A8-DAB4-4296-BCF1-CEE669C2EE95}" type="pres">
      <dgm:prSet presAssocID="{81AD83A6-2F8A-4F1D-97F9-B90D994320FA}" presName="parentText" presStyleLbl="node1" presStyleIdx="2" presStyleCnt="7">
        <dgm:presLayoutVars>
          <dgm:chMax val="0"/>
          <dgm:bulletEnabled val="1"/>
        </dgm:presLayoutVars>
      </dgm:prSet>
      <dgm:spPr/>
    </dgm:pt>
    <dgm:pt modelId="{D95D214B-AB47-428A-928B-9ACE6D917083}" type="pres">
      <dgm:prSet presAssocID="{81AD83A6-2F8A-4F1D-97F9-B90D994320FA}" presName="negativeSpace" presStyleCnt="0"/>
      <dgm:spPr/>
    </dgm:pt>
    <dgm:pt modelId="{E257EEAE-13D5-45E3-B9B0-450CF7035A21}" type="pres">
      <dgm:prSet presAssocID="{81AD83A6-2F8A-4F1D-97F9-B90D994320FA}" presName="childText" presStyleLbl="conFgAcc1" presStyleIdx="2" presStyleCnt="7">
        <dgm:presLayoutVars>
          <dgm:bulletEnabled val="1"/>
        </dgm:presLayoutVars>
      </dgm:prSet>
      <dgm:spPr/>
    </dgm:pt>
    <dgm:pt modelId="{46589C6B-A142-4AA3-AB83-C5D40FFF911B}" type="pres">
      <dgm:prSet presAssocID="{631A4D17-CD03-46EB-A035-CA61599C0EC7}" presName="spaceBetweenRectangles" presStyleCnt="0"/>
      <dgm:spPr/>
    </dgm:pt>
    <dgm:pt modelId="{71210F6B-E9A5-4A1E-908D-BC877B706A1C}" type="pres">
      <dgm:prSet presAssocID="{9570344E-72A1-4E5F-8C86-BE0EBDCE2181}" presName="parentLin" presStyleCnt="0"/>
      <dgm:spPr/>
    </dgm:pt>
    <dgm:pt modelId="{40D6779F-0F4D-40DF-8BFF-5386791FB8E9}" type="pres">
      <dgm:prSet presAssocID="{9570344E-72A1-4E5F-8C86-BE0EBDCE2181}" presName="parentLeftMargin" presStyleLbl="node1" presStyleIdx="2" presStyleCnt="7"/>
      <dgm:spPr/>
    </dgm:pt>
    <dgm:pt modelId="{195EB26D-5EBB-46F8-8C87-32827FADEFFE}" type="pres">
      <dgm:prSet presAssocID="{9570344E-72A1-4E5F-8C86-BE0EBDCE2181}" presName="parentText" presStyleLbl="node1" presStyleIdx="3" presStyleCnt="7">
        <dgm:presLayoutVars>
          <dgm:chMax val="0"/>
          <dgm:bulletEnabled val="1"/>
        </dgm:presLayoutVars>
      </dgm:prSet>
      <dgm:spPr/>
    </dgm:pt>
    <dgm:pt modelId="{FC6C786F-5AD4-4C38-A968-96B58CC31655}" type="pres">
      <dgm:prSet presAssocID="{9570344E-72A1-4E5F-8C86-BE0EBDCE2181}" presName="negativeSpace" presStyleCnt="0"/>
      <dgm:spPr/>
    </dgm:pt>
    <dgm:pt modelId="{BF463485-2F98-4D7E-86BD-DC24FCF3BBC7}" type="pres">
      <dgm:prSet presAssocID="{9570344E-72A1-4E5F-8C86-BE0EBDCE2181}" presName="childText" presStyleLbl="conFgAcc1" presStyleIdx="3" presStyleCnt="7">
        <dgm:presLayoutVars>
          <dgm:bulletEnabled val="1"/>
        </dgm:presLayoutVars>
      </dgm:prSet>
      <dgm:spPr/>
    </dgm:pt>
    <dgm:pt modelId="{8D488CDC-7352-41CD-A0C7-33F979E6D143}" type="pres">
      <dgm:prSet presAssocID="{5AF3B2EB-F1DF-4659-AA1A-8521EBD3BBD6}" presName="spaceBetweenRectangles" presStyleCnt="0"/>
      <dgm:spPr/>
    </dgm:pt>
    <dgm:pt modelId="{56747EC5-4ABA-4EE0-8E65-D8AF6AAAFC8B}" type="pres">
      <dgm:prSet presAssocID="{C0B86F1D-5CA2-43F8-91BA-C425C900FC97}" presName="parentLin" presStyleCnt="0"/>
      <dgm:spPr/>
    </dgm:pt>
    <dgm:pt modelId="{5CBC4DCF-02C3-4AA8-BFEE-202A609F216C}" type="pres">
      <dgm:prSet presAssocID="{C0B86F1D-5CA2-43F8-91BA-C425C900FC97}" presName="parentLeftMargin" presStyleLbl="node1" presStyleIdx="3" presStyleCnt="7"/>
      <dgm:spPr/>
    </dgm:pt>
    <dgm:pt modelId="{21CC0B84-211E-4C37-9FC4-A3E0C9168958}" type="pres">
      <dgm:prSet presAssocID="{C0B86F1D-5CA2-43F8-91BA-C425C900FC97}" presName="parentText" presStyleLbl="node1" presStyleIdx="4" presStyleCnt="7">
        <dgm:presLayoutVars>
          <dgm:chMax val="0"/>
          <dgm:bulletEnabled val="1"/>
        </dgm:presLayoutVars>
      </dgm:prSet>
      <dgm:spPr/>
    </dgm:pt>
    <dgm:pt modelId="{A7EB6852-4793-4BA4-AD8B-7E05906A3C3C}" type="pres">
      <dgm:prSet presAssocID="{C0B86F1D-5CA2-43F8-91BA-C425C900FC97}" presName="negativeSpace" presStyleCnt="0"/>
      <dgm:spPr/>
    </dgm:pt>
    <dgm:pt modelId="{8E63CF62-3D3F-42DE-B4C1-8F6AD3FA1D79}" type="pres">
      <dgm:prSet presAssocID="{C0B86F1D-5CA2-43F8-91BA-C425C900FC97}" presName="childText" presStyleLbl="conFgAcc1" presStyleIdx="4" presStyleCnt="7">
        <dgm:presLayoutVars>
          <dgm:bulletEnabled val="1"/>
        </dgm:presLayoutVars>
      </dgm:prSet>
      <dgm:spPr/>
    </dgm:pt>
    <dgm:pt modelId="{D56332A8-B3A8-4E09-994D-74302E8A51A7}" type="pres">
      <dgm:prSet presAssocID="{9D99036E-1AEE-4A2B-B218-0FB96C1007DE}" presName="spaceBetweenRectangles" presStyleCnt="0"/>
      <dgm:spPr/>
    </dgm:pt>
    <dgm:pt modelId="{16671FF7-B7AA-4BDD-AF67-C89BDA4D2E1F}" type="pres">
      <dgm:prSet presAssocID="{BC137D35-FDD5-4A3D-8E55-2C04F69566D4}" presName="parentLin" presStyleCnt="0"/>
      <dgm:spPr/>
    </dgm:pt>
    <dgm:pt modelId="{1F57D801-A757-4D68-85AE-C340F21C7325}" type="pres">
      <dgm:prSet presAssocID="{BC137D35-FDD5-4A3D-8E55-2C04F69566D4}" presName="parentLeftMargin" presStyleLbl="node1" presStyleIdx="4" presStyleCnt="7"/>
      <dgm:spPr/>
    </dgm:pt>
    <dgm:pt modelId="{F9631F9B-DFB7-45DA-A048-0073B090EA54}" type="pres">
      <dgm:prSet presAssocID="{BC137D35-FDD5-4A3D-8E55-2C04F69566D4}" presName="parentText" presStyleLbl="node1" presStyleIdx="5" presStyleCnt="7">
        <dgm:presLayoutVars>
          <dgm:chMax val="0"/>
          <dgm:bulletEnabled val="1"/>
        </dgm:presLayoutVars>
      </dgm:prSet>
      <dgm:spPr/>
    </dgm:pt>
    <dgm:pt modelId="{08B925DA-7598-4A24-BE4A-4FAD35A05B06}" type="pres">
      <dgm:prSet presAssocID="{BC137D35-FDD5-4A3D-8E55-2C04F69566D4}" presName="negativeSpace" presStyleCnt="0"/>
      <dgm:spPr/>
    </dgm:pt>
    <dgm:pt modelId="{69E0862E-DB83-4335-8C10-A8B3B6A02CFF}" type="pres">
      <dgm:prSet presAssocID="{BC137D35-FDD5-4A3D-8E55-2C04F69566D4}" presName="childText" presStyleLbl="conFgAcc1" presStyleIdx="5" presStyleCnt="7">
        <dgm:presLayoutVars>
          <dgm:bulletEnabled val="1"/>
        </dgm:presLayoutVars>
      </dgm:prSet>
      <dgm:spPr/>
    </dgm:pt>
    <dgm:pt modelId="{176E335F-EBA7-4427-B2F0-9FB029EDA6A4}" type="pres">
      <dgm:prSet presAssocID="{D2DBAC31-6035-4682-8E26-55F041EE985A}" presName="spaceBetweenRectangles" presStyleCnt="0"/>
      <dgm:spPr/>
    </dgm:pt>
    <dgm:pt modelId="{33E64CA2-7ED5-4468-A478-29526E90987C}" type="pres">
      <dgm:prSet presAssocID="{D841823F-F11F-4303-8D8C-2B757364DF10}" presName="parentLin" presStyleCnt="0"/>
      <dgm:spPr/>
    </dgm:pt>
    <dgm:pt modelId="{6D08927E-F9B3-4A59-8AE4-21D1C4550FE0}" type="pres">
      <dgm:prSet presAssocID="{D841823F-F11F-4303-8D8C-2B757364DF10}" presName="parentLeftMargin" presStyleLbl="node1" presStyleIdx="5" presStyleCnt="7"/>
      <dgm:spPr/>
    </dgm:pt>
    <dgm:pt modelId="{315E6467-7BED-46D4-9840-0153FF29E186}" type="pres">
      <dgm:prSet presAssocID="{D841823F-F11F-4303-8D8C-2B757364DF10}" presName="parentText" presStyleLbl="node1" presStyleIdx="6" presStyleCnt="7">
        <dgm:presLayoutVars>
          <dgm:chMax val="0"/>
          <dgm:bulletEnabled val="1"/>
        </dgm:presLayoutVars>
      </dgm:prSet>
      <dgm:spPr/>
    </dgm:pt>
    <dgm:pt modelId="{E16C0EDD-6B67-47E3-9DEB-12CC0E0C54B6}" type="pres">
      <dgm:prSet presAssocID="{D841823F-F11F-4303-8D8C-2B757364DF10}" presName="negativeSpace" presStyleCnt="0"/>
      <dgm:spPr/>
    </dgm:pt>
    <dgm:pt modelId="{86511696-2BE8-434D-B27F-8BF11D4A5489}" type="pres">
      <dgm:prSet presAssocID="{D841823F-F11F-4303-8D8C-2B757364DF10}" presName="childText" presStyleLbl="conFgAcc1" presStyleIdx="6" presStyleCnt="7">
        <dgm:presLayoutVars>
          <dgm:bulletEnabled val="1"/>
        </dgm:presLayoutVars>
      </dgm:prSet>
      <dgm:spPr/>
    </dgm:pt>
  </dgm:ptLst>
  <dgm:cxnLst>
    <dgm:cxn modelId="{156CF804-B358-49DD-8021-9DAA8EB0BCF3}" type="presOf" srcId="{D841823F-F11F-4303-8D8C-2B757364DF10}" destId="{6D08927E-F9B3-4A59-8AE4-21D1C4550FE0}" srcOrd="0" destOrd="0" presId="urn:microsoft.com/office/officeart/2005/8/layout/list1"/>
    <dgm:cxn modelId="{A014AE09-5799-4477-B133-AB542A7C6895}" type="presOf" srcId="{C47D7078-DDD6-4251-9A0F-4B811FCEE333}" destId="{026CFB1A-E750-4FF4-BD81-E2F0DB33714E}" srcOrd="0" destOrd="0" presId="urn:microsoft.com/office/officeart/2005/8/layout/list1"/>
    <dgm:cxn modelId="{AAAE1C0A-1B50-440F-8DDF-17150AC1A50D}" srcId="{C47D7078-DDD6-4251-9A0F-4B811FCEE333}" destId="{0E1A916B-AAE8-40BA-A51A-B39229ED2A4C}" srcOrd="1" destOrd="0" parTransId="{866ADD97-AE93-4902-9275-8E3035DB3335}" sibTransId="{E901C943-9692-4F1F-84B0-66E1F61AEC28}"/>
    <dgm:cxn modelId="{23A2311A-370F-4D74-B8E4-5BA8CCD9BA06}" type="presOf" srcId="{E832A38A-C51A-4338-A893-0848EA0BC989}" destId="{3DE92180-0601-427F-B4E9-D6F9D1216E38}" srcOrd="0" destOrd="0" presId="urn:microsoft.com/office/officeart/2005/8/layout/list1"/>
    <dgm:cxn modelId="{98F84A30-B48D-4B69-8C94-8DB5217F916B}" type="presOf" srcId="{E832A38A-C51A-4338-A893-0848EA0BC989}" destId="{47F74E8A-85F1-4F2B-953F-D5F4F7A22CA2}" srcOrd="1" destOrd="0" presId="urn:microsoft.com/office/officeart/2005/8/layout/list1"/>
    <dgm:cxn modelId="{217A3035-9AB2-4E92-A392-8DAB46638319}" type="presOf" srcId="{D841823F-F11F-4303-8D8C-2B757364DF10}" destId="{315E6467-7BED-46D4-9840-0153FF29E186}" srcOrd="1" destOrd="0" presId="urn:microsoft.com/office/officeart/2005/8/layout/list1"/>
    <dgm:cxn modelId="{9D871E3C-760E-42B8-9EB1-17792D820067}" type="presOf" srcId="{9570344E-72A1-4E5F-8C86-BE0EBDCE2181}" destId="{195EB26D-5EBB-46F8-8C87-32827FADEFFE}" srcOrd="1" destOrd="0" presId="urn:microsoft.com/office/officeart/2005/8/layout/list1"/>
    <dgm:cxn modelId="{9550A667-3668-4B25-B5AE-181CDDF2E033}" srcId="{C47D7078-DDD6-4251-9A0F-4B811FCEE333}" destId="{D841823F-F11F-4303-8D8C-2B757364DF10}" srcOrd="6" destOrd="0" parTransId="{492692AB-62BD-42A1-BF30-4576D8909EDC}" sibTransId="{3CAAE7FC-80FE-4FBF-9835-946F225DE372}"/>
    <dgm:cxn modelId="{56631D4A-FE7A-4AED-B362-ADA3A5E5D1AA}" type="presOf" srcId="{81AD83A6-2F8A-4F1D-97F9-B90D994320FA}" destId="{DD8797A8-DAB4-4296-BCF1-CEE669C2EE95}" srcOrd="1" destOrd="0" presId="urn:microsoft.com/office/officeart/2005/8/layout/list1"/>
    <dgm:cxn modelId="{740D524A-B8FC-4147-9C6E-5C37F80F98F6}" type="presOf" srcId="{BC137D35-FDD5-4A3D-8E55-2C04F69566D4}" destId="{F9631F9B-DFB7-45DA-A048-0073B090EA54}" srcOrd="1" destOrd="0" presId="urn:microsoft.com/office/officeart/2005/8/layout/list1"/>
    <dgm:cxn modelId="{42424C6F-0B78-4659-9254-0DD2B73A21AD}" srcId="{C47D7078-DDD6-4251-9A0F-4B811FCEE333}" destId="{BC137D35-FDD5-4A3D-8E55-2C04F69566D4}" srcOrd="5" destOrd="0" parTransId="{CC7DDF4B-0C5A-4B5E-A6E3-F9F64DB89C13}" sibTransId="{D2DBAC31-6035-4682-8E26-55F041EE985A}"/>
    <dgm:cxn modelId="{BEB497A5-765D-434C-9726-F3A1DEDD188C}" type="presOf" srcId="{0E1A916B-AAE8-40BA-A51A-B39229ED2A4C}" destId="{C1A442BB-7CCC-41C3-ABEB-EE7B0DDF212B}" srcOrd="0" destOrd="0" presId="urn:microsoft.com/office/officeart/2005/8/layout/list1"/>
    <dgm:cxn modelId="{E70A6DA7-A05D-456F-BF62-70B27D9529AD}" srcId="{C47D7078-DDD6-4251-9A0F-4B811FCEE333}" destId="{C0B86F1D-5CA2-43F8-91BA-C425C900FC97}" srcOrd="4" destOrd="0" parTransId="{8B74E882-A150-489D-BD79-14AE63DE9924}" sibTransId="{9D99036E-1AEE-4A2B-B218-0FB96C1007DE}"/>
    <dgm:cxn modelId="{6CFD3FB1-0B22-4C6D-98BF-02AD2344DBAB}" type="presOf" srcId="{81AD83A6-2F8A-4F1D-97F9-B90D994320FA}" destId="{B98EB46F-2456-454E-B22B-3BC9AFDD2FA2}" srcOrd="0" destOrd="0" presId="urn:microsoft.com/office/officeart/2005/8/layout/list1"/>
    <dgm:cxn modelId="{B31392B8-85C3-4DE8-993B-8B66913D34E2}" srcId="{C47D7078-DDD6-4251-9A0F-4B811FCEE333}" destId="{81AD83A6-2F8A-4F1D-97F9-B90D994320FA}" srcOrd="2" destOrd="0" parTransId="{0C677BDF-9314-4223-8B47-AC2872194D51}" sibTransId="{631A4D17-CD03-46EB-A035-CA61599C0EC7}"/>
    <dgm:cxn modelId="{549019C1-920E-42BC-97F5-BA14501419DA}" type="presOf" srcId="{C0B86F1D-5CA2-43F8-91BA-C425C900FC97}" destId="{21CC0B84-211E-4C37-9FC4-A3E0C9168958}" srcOrd="1" destOrd="0" presId="urn:microsoft.com/office/officeart/2005/8/layout/list1"/>
    <dgm:cxn modelId="{135C88CA-AB1D-4FA8-825D-31C328AB383C}" type="presOf" srcId="{C0B86F1D-5CA2-43F8-91BA-C425C900FC97}" destId="{5CBC4DCF-02C3-4AA8-BFEE-202A609F216C}" srcOrd="0" destOrd="0" presId="urn:microsoft.com/office/officeart/2005/8/layout/list1"/>
    <dgm:cxn modelId="{EBA08DCD-A62F-4D4F-AB4E-DC159C980D8A}" type="presOf" srcId="{0E1A916B-AAE8-40BA-A51A-B39229ED2A4C}" destId="{4E8EB982-7D94-42A1-832B-23F4F3CB2E3C}" srcOrd="1" destOrd="0" presId="urn:microsoft.com/office/officeart/2005/8/layout/list1"/>
    <dgm:cxn modelId="{4A95F3DA-E184-427F-90B3-B1622D45BB78}" type="presOf" srcId="{9570344E-72A1-4E5F-8C86-BE0EBDCE2181}" destId="{40D6779F-0F4D-40DF-8BFF-5386791FB8E9}" srcOrd="0" destOrd="0" presId="urn:microsoft.com/office/officeart/2005/8/layout/list1"/>
    <dgm:cxn modelId="{D0C1E3F4-0564-4339-BF7E-A85C1D5873FD}" type="presOf" srcId="{BC137D35-FDD5-4A3D-8E55-2C04F69566D4}" destId="{1F57D801-A757-4D68-85AE-C340F21C7325}" srcOrd="0" destOrd="0" presId="urn:microsoft.com/office/officeart/2005/8/layout/list1"/>
    <dgm:cxn modelId="{A5F511F6-C51A-4F55-906F-4669EC19E322}" srcId="{C47D7078-DDD6-4251-9A0F-4B811FCEE333}" destId="{9570344E-72A1-4E5F-8C86-BE0EBDCE2181}" srcOrd="3" destOrd="0" parTransId="{D07140BB-D9E5-4DAF-AF42-4855AE5B8739}" sibTransId="{5AF3B2EB-F1DF-4659-AA1A-8521EBD3BBD6}"/>
    <dgm:cxn modelId="{CE3C1AFE-AC3F-4F5D-97F7-9207A9D634BB}" srcId="{C47D7078-DDD6-4251-9A0F-4B811FCEE333}" destId="{E832A38A-C51A-4338-A893-0848EA0BC989}" srcOrd="0" destOrd="0" parTransId="{CA7824BF-214E-4F11-AEA0-4BEA1AE0F544}" sibTransId="{3B005EAD-7D00-4667-AECB-B32E69BDA768}"/>
    <dgm:cxn modelId="{5D2611A3-1853-461F-B81C-7D0D88AA6431}" type="presParOf" srcId="{026CFB1A-E750-4FF4-BD81-E2F0DB33714E}" destId="{D95CB272-0A25-440A-9276-B866A65AA962}" srcOrd="0" destOrd="0" presId="urn:microsoft.com/office/officeart/2005/8/layout/list1"/>
    <dgm:cxn modelId="{ABFF06DA-198C-42D6-8579-07D671FBCB89}" type="presParOf" srcId="{D95CB272-0A25-440A-9276-B866A65AA962}" destId="{3DE92180-0601-427F-B4E9-D6F9D1216E38}" srcOrd="0" destOrd="0" presId="urn:microsoft.com/office/officeart/2005/8/layout/list1"/>
    <dgm:cxn modelId="{ABBCCBCA-7869-4C02-A840-AA283568F620}" type="presParOf" srcId="{D95CB272-0A25-440A-9276-B866A65AA962}" destId="{47F74E8A-85F1-4F2B-953F-D5F4F7A22CA2}" srcOrd="1" destOrd="0" presId="urn:microsoft.com/office/officeart/2005/8/layout/list1"/>
    <dgm:cxn modelId="{6F0A963B-FDCD-4976-B0F7-B08D279C4287}" type="presParOf" srcId="{026CFB1A-E750-4FF4-BD81-E2F0DB33714E}" destId="{852E6858-59C5-47F5-A1BF-1ACBF4ADC2D1}" srcOrd="1" destOrd="0" presId="urn:microsoft.com/office/officeart/2005/8/layout/list1"/>
    <dgm:cxn modelId="{91AAB53C-F9FC-4129-AD93-739736A1471D}" type="presParOf" srcId="{026CFB1A-E750-4FF4-BD81-E2F0DB33714E}" destId="{5F3532A2-1094-46F7-9AB7-9B03BE8F0571}" srcOrd="2" destOrd="0" presId="urn:microsoft.com/office/officeart/2005/8/layout/list1"/>
    <dgm:cxn modelId="{2424B466-A861-40EA-B80A-1B2952B86AB9}" type="presParOf" srcId="{026CFB1A-E750-4FF4-BD81-E2F0DB33714E}" destId="{42A1D2AD-5DF2-477B-B17E-E83832316B7B}" srcOrd="3" destOrd="0" presId="urn:microsoft.com/office/officeart/2005/8/layout/list1"/>
    <dgm:cxn modelId="{63FEC82D-E799-4108-8AC6-FCC0602967C8}" type="presParOf" srcId="{026CFB1A-E750-4FF4-BD81-E2F0DB33714E}" destId="{AD7FD0A0-1B5B-446C-A36C-B8E23C87C1FE}" srcOrd="4" destOrd="0" presId="urn:microsoft.com/office/officeart/2005/8/layout/list1"/>
    <dgm:cxn modelId="{03B6E03E-1555-4018-9365-A7B8C6C5EB85}" type="presParOf" srcId="{AD7FD0A0-1B5B-446C-A36C-B8E23C87C1FE}" destId="{C1A442BB-7CCC-41C3-ABEB-EE7B0DDF212B}" srcOrd="0" destOrd="0" presId="urn:microsoft.com/office/officeart/2005/8/layout/list1"/>
    <dgm:cxn modelId="{2EE74247-5A96-47C1-B41C-1106FCEEB150}" type="presParOf" srcId="{AD7FD0A0-1B5B-446C-A36C-B8E23C87C1FE}" destId="{4E8EB982-7D94-42A1-832B-23F4F3CB2E3C}" srcOrd="1" destOrd="0" presId="urn:microsoft.com/office/officeart/2005/8/layout/list1"/>
    <dgm:cxn modelId="{65EA8DB0-696B-4528-BD43-27955DEF8B70}" type="presParOf" srcId="{026CFB1A-E750-4FF4-BD81-E2F0DB33714E}" destId="{B5253162-A32B-4481-971C-8B3226CC91C9}" srcOrd="5" destOrd="0" presId="urn:microsoft.com/office/officeart/2005/8/layout/list1"/>
    <dgm:cxn modelId="{93FB4A2C-CE9E-4383-9E77-C9635A288FC7}" type="presParOf" srcId="{026CFB1A-E750-4FF4-BD81-E2F0DB33714E}" destId="{23A6271C-BBD2-4749-B10E-97C51DDB0541}" srcOrd="6" destOrd="0" presId="urn:microsoft.com/office/officeart/2005/8/layout/list1"/>
    <dgm:cxn modelId="{C1272216-C976-41A9-8D62-68DD6990EE33}" type="presParOf" srcId="{026CFB1A-E750-4FF4-BD81-E2F0DB33714E}" destId="{5F37A3B1-2263-4169-BF0F-1CC80831C69C}" srcOrd="7" destOrd="0" presId="urn:microsoft.com/office/officeart/2005/8/layout/list1"/>
    <dgm:cxn modelId="{27C30234-2542-4450-9F02-4EC5800D8797}" type="presParOf" srcId="{026CFB1A-E750-4FF4-BD81-E2F0DB33714E}" destId="{E3069193-7227-4CEB-9B53-0A6C1539BDB1}" srcOrd="8" destOrd="0" presId="urn:microsoft.com/office/officeart/2005/8/layout/list1"/>
    <dgm:cxn modelId="{1259487F-C588-4ED3-A682-FEDDEDBB8712}" type="presParOf" srcId="{E3069193-7227-4CEB-9B53-0A6C1539BDB1}" destId="{B98EB46F-2456-454E-B22B-3BC9AFDD2FA2}" srcOrd="0" destOrd="0" presId="urn:microsoft.com/office/officeart/2005/8/layout/list1"/>
    <dgm:cxn modelId="{B0F15DC5-4033-4FC5-9D03-7A8BFD48F038}" type="presParOf" srcId="{E3069193-7227-4CEB-9B53-0A6C1539BDB1}" destId="{DD8797A8-DAB4-4296-BCF1-CEE669C2EE95}" srcOrd="1" destOrd="0" presId="urn:microsoft.com/office/officeart/2005/8/layout/list1"/>
    <dgm:cxn modelId="{954D14D6-C890-4015-AC9C-3F78AD77B251}" type="presParOf" srcId="{026CFB1A-E750-4FF4-BD81-E2F0DB33714E}" destId="{D95D214B-AB47-428A-928B-9ACE6D917083}" srcOrd="9" destOrd="0" presId="urn:microsoft.com/office/officeart/2005/8/layout/list1"/>
    <dgm:cxn modelId="{6A8C704B-38C0-470E-A4D0-173587D09FDE}" type="presParOf" srcId="{026CFB1A-E750-4FF4-BD81-E2F0DB33714E}" destId="{E257EEAE-13D5-45E3-B9B0-450CF7035A21}" srcOrd="10" destOrd="0" presId="urn:microsoft.com/office/officeart/2005/8/layout/list1"/>
    <dgm:cxn modelId="{AD34858E-D1F6-4A12-80DB-E8DDAACA8151}" type="presParOf" srcId="{026CFB1A-E750-4FF4-BD81-E2F0DB33714E}" destId="{46589C6B-A142-4AA3-AB83-C5D40FFF911B}" srcOrd="11" destOrd="0" presId="urn:microsoft.com/office/officeart/2005/8/layout/list1"/>
    <dgm:cxn modelId="{CD7FCD3B-7DFF-4DBE-9C44-76C1B1BAC565}" type="presParOf" srcId="{026CFB1A-E750-4FF4-BD81-E2F0DB33714E}" destId="{71210F6B-E9A5-4A1E-908D-BC877B706A1C}" srcOrd="12" destOrd="0" presId="urn:microsoft.com/office/officeart/2005/8/layout/list1"/>
    <dgm:cxn modelId="{3ED233E0-52DA-4AA8-B453-F197753E5282}" type="presParOf" srcId="{71210F6B-E9A5-4A1E-908D-BC877B706A1C}" destId="{40D6779F-0F4D-40DF-8BFF-5386791FB8E9}" srcOrd="0" destOrd="0" presId="urn:microsoft.com/office/officeart/2005/8/layout/list1"/>
    <dgm:cxn modelId="{E661DA0C-9EE9-4D16-BBB4-F73A6029BDDF}" type="presParOf" srcId="{71210F6B-E9A5-4A1E-908D-BC877B706A1C}" destId="{195EB26D-5EBB-46F8-8C87-32827FADEFFE}" srcOrd="1" destOrd="0" presId="urn:microsoft.com/office/officeart/2005/8/layout/list1"/>
    <dgm:cxn modelId="{B17DEE6C-B981-491B-9461-39ED5A270383}" type="presParOf" srcId="{026CFB1A-E750-4FF4-BD81-E2F0DB33714E}" destId="{FC6C786F-5AD4-4C38-A968-96B58CC31655}" srcOrd="13" destOrd="0" presId="urn:microsoft.com/office/officeart/2005/8/layout/list1"/>
    <dgm:cxn modelId="{DA422C60-F679-478B-B182-E4B1A1853F12}" type="presParOf" srcId="{026CFB1A-E750-4FF4-BD81-E2F0DB33714E}" destId="{BF463485-2F98-4D7E-86BD-DC24FCF3BBC7}" srcOrd="14" destOrd="0" presId="urn:microsoft.com/office/officeart/2005/8/layout/list1"/>
    <dgm:cxn modelId="{14D4863C-29E2-44DB-9F29-6C0EC77C4C91}" type="presParOf" srcId="{026CFB1A-E750-4FF4-BD81-E2F0DB33714E}" destId="{8D488CDC-7352-41CD-A0C7-33F979E6D143}" srcOrd="15" destOrd="0" presId="urn:microsoft.com/office/officeart/2005/8/layout/list1"/>
    <dgm:cxn modelId="{9984B57C-8EE6-47B4-82F2-A3D4DAC4E553}" type="presParOf" srcId="{026CFB1A-E750-4FF4-BD81-E2F0DB33714E}" destId="{56747EC5-4ABA-4EE0-8E65-D8AF6AAAFC8B}" srcOrd="16" destOrd="0" presId="urn:microsoft.com/office/officeart/2005/8/layout/list1"/>
    <dgm:cxn modelId="{06085ECA-CC5B-4FAB-BB50-610F58F84222}" type="presParOf" srcId="{56747EC5-4ABA-4EE0-8E65-D8AF6AAAFC8B}" destId="{5CBC4DCF-02C3-4AA8-BFEE-202A609F216C}" srcOrd="0" destOrd="0" presId="urn:microsoft.com/office/officeart/2005/8/layout/list1"/>
    <dgm:cxn modelId="{301A5E17-38FD-43D7-B664-50CBDB5CB598}" type="presParOf" srcId="{56747EC5-4ABA-4EE0-8E65-D8AF6AAAFC8B}" destId="{21CC0B84-211E-4C37-9FC4-A3E0C9168958}" srcOrd="1" destOrd="0" presId="urn:microsoft.com/office/officeart/2005/8/layout/list1"/>
    <dgm:cxn modelId="{0B660355-9ED7-4C6E-B9EE-2C795D0CE990}" type="presParOf" srcId="{026CFB1A-E750-4FF4-BD81-E2F0DB33714E}" destId="{A7EB6852-4793-4BA4-AD8B-7E05906A3C3C}" srcOrd="17" destOrd="0" presId="urn:microsoft.com/office/officeart/2005/8/layout/list1"/>
    <dgm:cxn modelId="{AFACEFE2-68C8-4C96-8CFE-57A43D4DABD8}" type="presParOf" srcId="{026CFB1A-E750-4FF4-BD81-E2F0DB33714E}" destId="{8E63CF62-3D3F-42DE-B4C1-8F6AD3FA1D79}" srcOrd="18" destOrd="0" presId="urn:microsoft.com/office/officeart/2005/8/layout/list1"/>
    <dgm:cxn modelId="{56BDEC34-2528-4903-9B78-9CB65CECA7F0}" type="presParOf" srcId="{026CFB1A-E750-4FF4-BD81-E2F0DB33714E}" destId="{D56332A8-B3A8-4E09-994D-74302E8A51A7}" srcOrd="19" destOrd="0" presId="urn:microsoft.com/office/officeart/2005/8/layout/list1"/>
    <dgm:cxn modelId="{A5D9CE79-0F2A-4B15-8987-D35A87F33E84}" type="presParOf" srcId="{026CFB1A-E750-4FF4-BD81-E2F0DB33714E}" destId="{16671FF7-B7AA-4BDD-AF67-C89BDA4D2E1F}" srcOrd="20" destOrd="0" presId="urn:microsoft.com/office/officeart/2005/8/layout/list1"/>
    <dgm:cxn modelId="{25D5208E-D5CF-4781-B613-79ED1F139C72}" type="presParOf" srcId="{16671FF7-B7AA-4BDD-AF67-C89BDA4D2E1F}" destId="{1F57D801-A757-4D68-85AE-C340F21C7325}" srcOrd="0" destOrd="0" presId="urn:microsoft.com/office/officeart/2005/8/layout/list1"/>
    <dgm:cxn modelId="{6FCEEF7B-4C79-4726-91DB-02E44226DE67}" type="presParOf" srcId="{16671FF7-B7AA-4BDD-AF67-C89BDA4D2E1F}" destId="{F9631F9B-DFB7-45DA-A048-0073B090EA54}" srcOrd="1" destOrd="0" presId="urn:microsoft.com/office/officeart/2005/8/layout/list1"/>
    <dgm:cxn modelId="{3244D65B-A218-4557-B1F6-8D98CD4D2E67}" type="presParOf" srcId="{026CFB1A-E750-4FF4-BD81-E2F0DB33714E}" destId="{08B925DA-7598-4A24-BE4A-4FAD35A05B06}" srcOrd="21" destOrd="0" presId="urn:microsoft.com/office/officeart/2005/8/layout/list1"/>
    <dgm:cxn modelId="{84FDD68C-42BB-4341-B5CE-F8767D4D7090}" type="presParOf" srcId="{026CFB1A-E750-4FF4-BD81-E2F0DB33714E}" destId="{69E0862E-DB83-4335-8C10-A8B3B6A02CFF}" srcOrd="22" destOrd="0" presId="urn:microsoft.com/office/officeart/2005/8/layout/list1"/>
    <dgm:cxn modelId="{69F5092E-3DDA-4DD1-A941-4D2907150DDB}" type="presParOf" srcId="{026CFB1A-E750-4FF4-BD81-E2F0DB33714E}" destId="{176E335F-EBA7-4427-B2F0-9FB029EDA6A4}" srcOrd="23" destOrd="0" presId="urn:microsoft.com/office/officeart/2005/8/layout/list1"/>
    <dgm:cxn modelId="{C6A1E560-26AC-4328-8615-6DD823F153FA}" type="presParOf" srcId="{026CFB1A-E750-4FF4-BD81-E2F0DB33714E}" destId="{33E64CA2-7ED5-4468-A478-29526E90987C}" srcOrd="24" destOrd="0" presId="urn:microsoft.com/office/officeart/2005/8/layout/list1"/>
    <dgm:cxn modelId="{59518DC2-3144-464D-98B6-B923D6CB3F25}" type="presParOf" srcId="{33E64CA2-7ED5-4468-A478-29526E90987C}" destId="{6D08927E-F9B3-4A59-8AE4-21D1C4550FE0}" srcOrd="0" destOrd="0" presId="urn:microsoft.com/office/officeart/2005/8/layout/list1"/>
    <dgm:cxn modelId="{C510F5AB-A22E-4E85-B18F-47E0B361B1FF}" type="presParOf" srcId="{33E64CA2-7ED5-4468-A478-29526E90987C}" destId="{315E6467-7BED-46D4-9840-0153FF29E186}" srcOrd="1" destOrd="0" presId="urn:microsoft.com/office/officeart/2005/8/layout/list1"/>
    <dgm:cxn modelId="{931B18B3-D651-44DD-BB14-BCDB95A49032}" type="presParOf" srcId="{026CFB1A-E750-4FF4-BD81-E2F0DB33714E}" destId="{E16C0EDD-6B67-47E3-9DEB-12CC0E0C54B6}" srcOrd="25" destOrd="0" presId="urn:microsoft.com/office/officeart/2005/8/layout/list1"/>
    <dgm:cxn modelId="{8E0DAFFD-A413-4459-A152-8C54A243FFBA}" type="presParOf" srcId="{026CFB1A-E750-4FF4-BD81-E2F0DB33714E}" destId="{86511696-2BE8-434D-B27F-8BF11D4A5489}" srcOrd="2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0B7F9A0-26BE-4CB4-9DE8-D76AB680C022}"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0D346438-F200-456E-A711-D18EE8873D74}">
      <dgm:prSet phldrT="[Text]">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pl-PL" dirty="0"/>
            <a:t>ETAP 1</a:t>
          </a:r>
          <a:endParaRPr lang="en-US" dirty="0"/>
        </a:p>
      </dgm:t>
    </dgm:pt>
    <dgm:pt modelId="{07D514EE-C18D-49BD-A93C-463ACF1C0166}" type="parTrans" cxnId="{22C82462-CA4D-43C0-8CB2-15F1183697C3}">
      <dgm:prSet/>
      <dgm:spPr/>
      <dgm:t>
        <a:bodyPr/>
        <a:lstStyle/>
        <a:p>
          <a:endParaRPr lang="en-US"/>
        </a:p>
      </dgm:t>
    </dgm:pt>
    <dgm:pt modelId="{FF414C9C-27CE-4EDD-9F56-F52C76D8BA87}" type="sibTrans" cxnId="{22C82462-CA4D-43C0-8CB2-15F1183697C3}">
      <dgm:prSet/>
      <dgm:spPr/>
      <dgm:t>
        <a:bodyPr/>
        <a:lstStyle/>
        <a:p>
          <a:endParaRPr lang="en-US"/>
        </a:p>
      </dgm:t>
    </dgm:pt>
    <dgm:pt modelId="{1E517AFF-E2D9-435F-AF2C-4E465196CE2D}">
      <dgm:prSet phldrT="[Text]"/>
      <dgm:spPr/>
      <dgm:t>
        <a:bodyPr/>
        <a:lstStyle/>
        <a:p>
          <a:r>
            <a:rPr lang="pl-PL" dirty="0"/>
            <a:t> Akademia IT – 3 dni zdalnych warsztatów przeprowadzonych przez wolontariuszy z Capgemini.</a:t>
          </a:r>
          <a:endParaRPr lang="en-US" dirty="0"/>
        </a:p>
      </dgm:t>
    </dgm:pt>
    <dgm:pt modelId="{1594AE28-2E11-45BE-9A3A-AD3CB5211323}" type="parTrans" cxnId="{1EC8B707-D9BF-4701-9D09-28083D18C9C1}">
      <dgm:prSet/>
      <dgm:spPr/>
      <dgm:t>
        <a:bodyPr/>
        <a:lstStyle/>
        <a:p>
          <a:endParaRPr lang="en-US"/>
        </a:p>
      </dgm:t>
    </dgm:pt>
    <dgm:pt modelId="{142F85ED-9347-456F-835D-F052B9DD855F}" type="sibTrans" cxnId="{1EC8B707-D9BF-4701-9D09-28083D18C9C1}">
      <dgm:prSet/>
      <dgm:spPr/>
      <dgm:t>
        <a:bodyPr/>
        <a:lstStyle/>
        <a:p>
          <a:endParaRPr lang="en-US"/>
        </a:p>
      </dgm:t>
    </dgm:pt>
    <dgm:pt modelId="{B12DBF62-F26B-4A81-AE32-8FF89A0393E9}">
      <dgm:prSet phldrT="[Text]">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pl-PL" dirty="0"/>
            <a:t>ETAP 2</a:t>
          </a:r>
          <a:endParaRPr lang="en-US" dirty="0"/>
        </a:p>
      </dgm:t>
    </dgm:pt>
    <dgm:pt modelId="{1E917E01-9BA4-4937-857C-508FB3C88917}" type="parTrans" cxnId="{4103353F-AF3B-4508-B726-488C72F910F8}">
      <dgm:prSet/>
      <dgm:spPr/>
      <dgm:t>
        <a:bodyPr/>
        <a:lstStyle/>
        <a:p>
          <a:endParaRPr lang="en-US"/>
        </a:p>
      </dgm:t>
    </dgm:pt>
    <dgm:pt modelId="{E7C0B7F7-E088-4427-9EDD-1912EED62030}" type="sibTrans" cxnId="{4103353F-AF3B-4508-B726-488C72F910F8}">
      <dgm:prSet/>
      <dgm:spPr/>
      <dgm:t>
        <a:bodyPr/>
        <a:lstStyle/>
        <a:p>
          <a:endParaRPr lang="en-US"/>
        </a:p>
      </dgm:t>
    </dgm:pt>
    <dgm:pt modelId="{137553C6-F767-479E-B98D-DF262B24D0D1}">
      <dgm:prSet phldrT="[Text]"/>
      <dgm:spPr/>
      <dgm:t>
        <a:bodyPr/>
        <a:lstStyle/>
        <a:p>
          <a:r>
            <a:rPr lang="pl-PL" dirty="0"/>
            <a:t> Konkurs międzyszkolny w wersji online wraz z wydarzeniami towarzyszącymi.</a:t>
          </a:r>
          <a:endParaRPr lang="en-US" dirty="0"/>
        </a:p>
      </dgm:t>
    </dgm:pt>
    <dgm:pt modelId="{263DE85D-0B37-4A30-AE45-865AB2F459EF}" type="parTrans" cxnId="{2837E10D-7688-4C76-BA5D-C286AF0B3E01}">
      <dgm:prSet/>
      <dgm:spPr/>
      <dgm:t>
        <a:bodyPr/>
        <a:lstStyle/>
        <a:p>
          <a:endParaRPr lang="en-US"/>
        </a:p>
      </dgm:t>
    </dgm:pt>
    <dgm:pt modelId="{C39B6AC7-7FF1-4451-8FFA-4406D64199D7}" type="sibTrans" cxnId="{2837E10D-7688-4C76-BA5D-C286AF0B3E01}">
      <dgm:prSet/>
      <dgm:spPr/>
      <dgm:t>
        <a:bodyPr/>
        <a:lstStyle/>
        <a:p>
          <a:endParaRPr lang="en-US"/>
        </a:p>
      </dgm:t>
    </dgm:pt>
    <dgm:pt modelId="{ADB43D1A-5A6C-465A-BAC2-31B212D4C2BB}" type="pres">
      <dgm:prSet presAssocID="{60B7F9A0-26BE-4CB4-9DE8-D76AB680C022}" presName="Name0" presStyleCnt="0">
        <dgm:presLayoutVars>
          <dgm:dir/>
          <dgm:animLvl val="lvl"/>
          <dgm:resizeHandles/>
        </dgm:presLayoutVars>
      </dgm:prSet>
      <dgm:spPr/>
    </dgm:pt>
    <dgm:pt modelId="{C382F097-BA1E-424D-8AED-779ED798E876}" type="pres">
      <dgm:prSet presAssocID="{0D346438-F200-456E-A711-D18EE8873D74}" presName="linNode" presStyleCnt="0"/>
      <dgm:spPr/>
    </dgm:pt>
    <dgm:pt modelId="{BDD68AE8-0C14-4DAC-8151-E3AFD0A48F35}" type="pres">
      <dgm:prSet presAssocID="{0D346438-F200-456E-A711-D18EE8873D74}" presName="parentShp" presStyleLbl="node1" presStyleIdx="0" presStyleCnt="2">
        <dgm:presLayoutVars>
          <dgm:bulletEnabled val="1"/>
        </dgm:presLayoutVars>
      </dgm:prSet>
      <dgm:spPr/>
    </dgm:pt>
    <dgm:pt modelId="{A9441062-397A-4C1C-8CC8-1F1DEB8E8323}" type="pres">
      <dgm:prSet presAssocID="{0D346438-F200-456E-A711-D18EE8873D74}" presName="childShp" presStyleLbl="bgAccFollowNode1" presStyleIdx="0" presStyleCnt="2">
        <dgm:presLayoutVars>
          <dgm:bulletEnabled val="1"/>
        </dgm:presLayoutVars>
      </dgm:prSet>
      <dgm:spPr/>
    </dgm:pt>
    <dgm:pt modelId="{E6722A14-F469-42D8-8760-F6E9DE00106F}" type="pres">
      <dgm:prSet presAssocID="{FF414C9C-27CE-4EDD-9F56-F52C76D8BA87}" presName="spacing" presStyleCnt="0"/>
      <dgm:spPr/>
    </dgm:pt>
    <dgm:pt modelId="{4F041EA8-8077-4CEF-9DC8-911A95DF79B1}" type="pres">
      <dgm:prSet presAssocID="{B12DBF62-F26B-4A81-AE32-8FF89A0393E9}" presName="linNode" presStyleCnt="0"/>
      <dgm:spPr/>
    </dgm:pt>
    <dgm:pt modelId="{309BDF42-77A9-4E00-8D2C-CCAE06D588C0}" type="pres">
      <dgm:prSet presAssocID="{B12DBF62-F26B-4A81-AE32-8FF89A0393E9}" presName="parentShp" presStyleLbl="node1" presStyleIdx="1" presStyleCnt="2">
        <dgm:presLayoutVars>
          <dgm:bulletEnabled val="1"/>
        </dgm:presLayoutVars>
      </dgm:prSet>
      <dgm:spPr/>
    </dgm:pt>
    <dgm:pt modelId="{6503F19A-0A5A-414A-869A-91D1ACF3817B}" type="pres">
      <dgm:prSet presAssocID="{B12DBF62-F26B-4A81-AE32-8FF89A0393E9}" presName="childShp" presStyleLbl="bgAccFollowNode1" presStyleIdx="1" presStyleCnt="2">
        <dgm:presLayoutVars>
          <dgm:bulletEnabled val="1"/>
        </dgm:presLayoutVars>
      </dgm:prSet>
      <dgm:spPr/>
    </dgm:pt>
  </dgm:ptLst>
  <dgm:cxnLst>
    <dgm:cxn modelId="{04603702-1824-4F76-A561-7710408F9803}" type="presOf" srcId="{60B7F9A0-26BE-4CB4-9DE8-D76AB680C022}" destId="{ADB43D1A-5A6C-465A-BAC2-31B212D4C2BB}" srcOrd="0" destOrd="0" presId="urn:microsoft.com/office/officeart/2005/8/layout/vList6"/>
    <dgm:cxn modelId="{1EC8B707-D9BF-4701-9D09-28083D18C9C1}" srcId="{0D346438-F200-456E-A711-D18EE8873D74}" destId="{1E517AFF-E2D9-435F-AF2C-4E465196CE2D}" srcOrd="0" destOrd="0" parTransId="{1594AE28-2E11-45BE-9A3A-AD3CB5211323}" sibTransId="{142F85ED-9347-456F-835D-F052B9DD855F}"/>
    <dgm:cxn modelId="{2837E10D-7688-4C76-BA5D-C286AF0B3E01}" srcId="{B12DBF62-F26B-4A81-AE32-8FF89A0393E9}" destId="{137553C6-F767-479E-B98D-DF262B24D0D1}" srcOrd="0" destOrd="0" parTransId="{263DE85D-0B37-4A30-AE45-865AB2F459EF}" sibTransId="{C39B6AC7-7FF1-4451-8FFA-4406D64199D7}"/>
    <dgm:cxn modelId="{4103353F-AF3B-4508-B726-488C72F910F8}" srcId="{60B7F9A0-26BE-4CB4-9DE8-D76AB680C022}" destId="{B12DBF62-F26B-4A81-AE32-8FF89A0393E9}" srcOrd="1" destOrd="0" parTransId="{1E917E01-9BA4-4937-857C-508FB3C88917}" sibTransId="{E7C0B7F7-E088-4427-9EDD-1912EED62030}"/>
    <dgm:cxn modelId="{22C82462-CA4D-43C0-8CB2-15F1183697C3}" srcId="{60B7F9A0-26BE-4CB4-9DE8-D76AB680C022}" destId="{0D346438-F200-456E-A711-D18EE8873D74}" srcOrd="0" destOrd="0" parTransId="{07D514EE-C18D-49BD-A93C-463ACF1C0166}" sibTransId="{FF414C9C-27CE-4EDD-9F56-F52C76D8BA87}"/>
    <dgm:cxn modelId="{80D7AAB9-89AE-4117-9567-A333AF31363B}" type="presOf" srcId="{B12DBF62-F26B-4A81-AE32-8FF89A0393E9}" destId="{309BDF42-77A9-4E00-8D2C-CCAE06D588C0}" srcOrd="0" destOrd="0" presId="urn:microsoft.com/office/officeart/2005/8/layout/vList6"/>
    <dgm:cxn modelId="{73AC0BC2-1A54-4336-85F1-81E94529455D}" type="presOf" srcId="{1E517AFF-E2D9-435F-AF2C-4E465196CE2D}" destId="{A9441062-397A-4C1C-8CC8-1F1DEB8E8323}" srcOrd="0" destOrd="0" presId="urn:microsoft.com/office/officeart/2005/8/layout/vList6"/>
    <dgm:cxn modelId="{8C16B7E3-1D18-4E07-AAA1-30995BFDA22C}" type="presOf" srcId="{137553C6-F767-479E-B98D-DF262B24D0D1}" destId="{6503F19A-0A5A-414A-869A-91D1ACF3817B}" srcOrd="0" destOrd="0" presId="urn:microsoft.com/office/officeart/2005/8/layout/vList6"/>
    <dgm:cxn modelId="{82BF2CE9-99AA-44A3-9932-6E89E14DF60E}" type="presOf" srcId="{0D346438-F200-456E-A711-D18EE8873D74}" destId="{BDD68AE8-0C14-4DAC-8151-E3AFD0A48F35}" srcOrd="0" destOrd="0" presId="urn:microsoft.com/office/officeart/2005/8/layout/vList6"/>
    <dgm:cxn modelId="{81FB3858-7D1C-462B-98FD-7F8D9C98E866}" type="presParOf" srcId="{ADB43D1A-5A6C-465A-BAC2-31B212D4C2BB}" destId="{C382F097-BA1E-424D-8AED-779ED798E876}" srcOrd="0" destOrd="0" presId="urn:microsoft.com/office/officeart/2005/8/layout/vList6"/>
    <dgm:cxn modelId="{BD612A03-C315-4D4A-BB03-532F950631AA}" type="presParOf" srcId="{C382F097-BA1E-424D-8AED-779ED798E876}" destId="{BDD68AE8-0C14-4DAC-8151-E3AFD0A48F35}" srcOrd="0" destOrd="0" presId="urn:microsoft.com/office/officeart/2005/8/layout/vList6"/>
    <dgm:cxn modelId="{5BA037CE-7D27-4C68-A0CA-51C6922FF6BE}" type="presParOf" srcId="{C382F097-BA1E-424D-8AED-779ED798E876}" destId="{A9441062-397A-4C1C-8CC8-1F1DEB8E8323}" srcOrd="1" destOrd="0" presId="urn:microsoft.com/office/officeart/2005/8/layout/vList6"/>
    <dgm:cxn modelId="{93281CA9-B436-40A8-ACBE-60AF24D32BBF}" type="presParOf" srcId="{ADB43D1A-5A6C-465A-BAC2-31B212D4C2BB}" destId="{E6722A14-F469-42D8-8760-F6E9DE00106F}" srcOrd="1" destOrd="0" presId="urn:microsoft.com/office/officeart/2005/8/layout/vList6"/>
    <dgm:cxn modelId="{3462B19E-4913-4EC5-AD86-CAA89522E287}" type="presParOf" srcId="{ADB43D1A-5A6C-465A-BAC2-31B212D4C2BB}" destId="{4F041EA8-8077-4CEF-9DC8-911A95DF79B1}" srcOrd="2" destOrd="0" presId="urn:microsoft.com/office/officeart/2005/8/layout/vList6"/>
    <dgm:cxn modelId="{2C43BEC8-7994-44BF-B134-1D77EF7265D1}" type="presParOf" srcId="{4F041EA8-8077-4CEF-9DC8-911A95DF79B1}" destId="{309BDF42-77A9-4E00-8D2C-CCAE06D588C0}" srcOrd="0" destOrd="0" presId="urn:microsoft.com/office/officeart/2005/8/layout/vList6"/>
    <dgm:cxn modelId="{72C0BF19-5E27-4FE8-AE21-210C63DDEE3D}" type="presParOf" srcId="{4F041EA8-8077-4CEF-9DC8-911A95DF79B1}" destId="{6503F19A-0A5A-414A-869A-91D1ACF3817B}" srcOrd="1" destOrd="0" presId="urn:microsoft.com/office/officeart/2005/8/layout/v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5328C0-4296-4D8B-888C-855F2362D207}"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C7B96E47-3E4A-42D9-BF03-ADD7776D0D12}">
      <dgm:prSet phldrT="[Text]">
        <dgm:style>
          <a:lnRef idx="3">
            <a:schemeClr val="lt1"/>
          </a:lnRef>
          <a:fillRef idx="1">
            <a:schemeClr val="accent2"/>
          </a:fillRef>
          <a:effectRef idx="1">
            <a:schemeClr val="accent2"/>
          </a:effectRef>
          <a:fontRef idx="minor">
            <a:schemeClr val="lt1"/>
          </a:fontRef>
        </dgm:style>
      </dgm:prSet>
      <dgm:spPr/>
      <dgm:t>
        <a:bodyPr/>
        <a:lstStyle/>
        <a:p>
          <a:r>
            <a:rPr lang="pl-PL" dirty="0"/>
            <a:t>Są objęci programem szkolenia dostosowanego do potrzeb</a:t>
          </a:r>
          <a:endParaRPr lang="en-US" dirty="0"/>
        </a:p>
      </dgm:t>
    </dgm:pt>
    <dgm:pt modelId="{52EB8744-1A16-4CA8-BC6D-4CA5BD2730D7}" type="parTrans" cxnId="{33657106-EEA9-4FD3-8A6F-DBB3A339A48B}">
      <dgm:prSet/>
      <dgm:spPr/>
      <dgm:t>
        <a:bodyPr/>
        <a:lstStyle/>
        <a:p>
          <a:endParaRPr lang="en-US"/>
        </a:p>
      </dgm:t>
    </dgm:pt>
    <dgm:pt modelId="{55706624-D049-4D2E-A1CD-10734E8278DB}" type="sibTrans" cxnId="{33657106-EEA9-4FD3-8A6F-DBB3A339A48B}">
      <dgm:prSet/>
      <dgm:spPr/>
      <dgm:t>
        <a:bodyPr/>
        <a:lstStyle/>
        <a:p>
          <a:endParaRPr lang="en-US"/>
        </a:p>
      </dgm:t>
    </dgm:pt>
    <dgm:pt modelId="{26187E77-08D6-4BF1-8EB9-D63E027AB6D1}">
      <dgm:prSet phldrT="[Text]">
        <dgm:style>
          <a:lnRef idx="3">
            <a:schemeClr val="lt1"/>
          </a:lnRef>
          <a:fillRef idx="1">
            <a:schemeClr val="accent2"/>
          </a:fillRef>
          <a:effectRef idx="1">
            <a:schemeClr val="accent2"/>
          </a:effectRef>
          <a:fontRef idx="minor">
            <a:schemeClr val="lt1"/>
          </a:fontRef>
        </dgm:style>
      </dgm:prSet>
      <dgm:spPr/>
      <dgm:t>
        <a:bodyPr/>
        <a:lstStyle/>
        <a:p>
          <a:r>
            <a:rPr lang="pl-PL" dirty="0"/>
            <a:t>Biorą udział w Konkursie z atrakcyjnymi nagrodami</a:t>
          </a:r>
          <a:endParaRPr lang="en-US" dirty="0"/>
        </a:p>
      </dgm:t>
    </dgm:pt>
    <dgm:pt modelId="{1D825EF2-81B9-45DD-8700-E1A0E518A89C}" type="parTrans" cxnId="{7B57EB15-B393-49F5-A1DD-0892B4E1A26B}">
      <dgm:prSet/>
      <dgm:spPr/>
      <dgm:t>
        <a:bodyPr/>
        <a:lstStyle/>
        <a:p>
          <a:endParaRPr lang="en-US"/>
        </a:p>
      </dgm:t>
    </dgm:pt>
    <dgm:pt modelId="{F966C350-5AA8-4B63-B51A-9A377B69BDF2}" type="sibTrans" cxnId="{7B57EB15-B393-49F5-A1DD-0892B4E1A26B}">
      <dgm:prSet/>
      <dgm:spPr/>
      <dgm:t>
        <a:bodyPr/>
        <a:lstStyle/>
        <a:p>
          <a:endParaRPr lang="en-US"/>
        </a:p>
      </dgm:t>
    </dgm:pt>
    <dgm:pt modelId="{F416479D-F0C0-4B2E-864A-087B84BB6849}">
      <dgm:prSet phldrT="[Text]">
        <dgm:style>
          <a:lnRef idx="3">
            <a:schemeClr val="lt1"/>
          </a:lnRef>
          <a:fillRef idx="1">
            <a:schemeClr val="accent2"/>
          </a:fillRef>
          <a:effectRef idx="1">
            <a:schemeClr val="accent2"/>
          </a:effectRef>
          <a:fontRef idx="minor">
            <a:schemeClr val="lt1"/>
          </a:fontRef>
        </dgm:style>
      </dgm:prSet>
      <dgm:spPr/>
      <dgm:t>
        <a:bodyPr/>
        <a:lstStyle/>
        <a:p>
          <a:r>
            <a:rPr lang="pl-PL" dirty="0"/>
            <a:t>Wymagany jedynie dostęp do komputera z kamerą i internetu </a:t>
          </a:r>
          <a:endParaRPr lang="en-US" dirty="0"/>
        </a:p>
      </dgm:t>
    </dgm:pt>
    <dgm:pt modelId="{9CEC53AE-BB38-4B9D-B2DC-81DEF6C76DAB}" type="parTrans" cxnId="{DE418604-D295-4A50-887C-8910881BD10A}">
      <dgm:prSet/>
      <dgm:spPr/>
      <dgm:t>
        <a:bodyPr/>
        <a:lstStyle/>
        <a:p>
          <a:endParaRPr lang="en-US"/>
        </a:p>
      </dgm:t>
    </dgm:pt>
    <dgm:pt modelId="{D9DADA60-EDD4-47C9-826D-F514C9E07DBC}" type="sibTrans" cxnId="{DE418604-D295-4A50-887C-8910881BD10A}">
      <dgm:prSet/>
      <dgm:spPr/>
      <dgm:t>
        <a:bodyPr/>
        <a:lstStyle/>
        <a:p>
          <a:endParaRPr lang="en-US"/>
        </a:p>
      </dgm:t>
    </dgm:pt>
    <dgm:pt modelId="{90F1A376-E796-46B0-9372-C005EDF025BF}">
      <dgm:prSet phldrT="[Text]">
        <dgm:style>
          <a:lnRef idx="3">
            <a:schemeClr val="lt1"/>
          </a:lnRef>
          <a:fillRef idx="1">
            <a:schemeClr val="accent2"/>
          </a:fillRef>
          <a:effectRef idx="1">
            <a:schemeClr val="accent2"/>
          </a:effectRef>
          <a:fontRef idx="minor">
            <a:schemeClr val="lt1"/>
          </a:fontRef>
        </dgm:style>
      </dgm:prSet>
      <dgm:spPr/>
      <dgm:t>
        <a:bodyPr/>
        <a:lstStyle/>
        <a:p>
          <a:r>
            <a:rPr lang="pl-PL" dirty="0"/>
            <a:t>Otrzymują certyfikat udziału w Akademii IT </a:t>
          </a:r>
          <a:endParaRPr lang="en-US" dirty="0"/>
        </a:p>
      </dgm:t>
    </dgm:pt>
    <dgm:pt modelId="{477EACF9-AC7B-4721-98D7-E4FA36455DF7}" type="parTrans" cxnId="{F7E9AABA-9EC4-4506-B766-8ED90BAFC810}">
      <dgm:prSet/>
      <dgm:spPr/>
      <dgm:t>
        <a:bodyPr/>
        <a:lstStyle/>
        <a:p>
          <a:endParaRPr lang="en-US"/>
        </a:p>
      </dgm:t>
    </dgm:pt>
    <dgm:pt modelId="{0BB25DE0-80CB-45EE-BED6-51E37259693F}" type="sibTrans" cxnId="{F7E9AABA-9EC4-4506-B766-8ED90BAFC810}">
      <dgm:prSet/>
      <dgm:spPr/>
      <dgm:t>
        <a:bodyPr/>
        <a:lstStyle/>
        <a:p>
          <a:endParaRPr lang="en-US"/>
        </a:p>
      </dgm:t>
    </dgm:pt>
    <dgm:pt modelId="{95F2EF5F-7D2A-47B0-BF6C-55A0C3766729}">
      <dgm:prSet phldrT="[Text]">
        <dgm:style>
          <a:lnRef idx="3">
            <a:schemeClr val="lt1"/>
          </a:lnRef>
          <a:fillRef idx="1">
            <a:schemeClr val="accent2"/>
          </a:fillRef>
          <a:effectRef idx="1">
            <a:schemeClr val="accent2"/>
          </a:effectRef>
          <a:fontRef idx="minor">
            <a:schemeClr val="lt1"/>
          </a:fontRef>
        </dgm:style>
      </dgm:prSet>
      <dgm:spPr/>
      <dgm:t>
        <a:bodyPr/>
        <a:lstStyle/>
        <a:p>
          <a:r>
            <a:rPr lang="pl-PL" dirty="0"/>
            <a:t>Uzyskują dodatkowe wsparcie partnerów i sponsorów projektu </a:t>
          </a:r>
          <a:endParaRPr lang="en-US" dirty="0"/>
        </a:p>
      </dgm:t>
    </dgm:pt>
    <dgm:pt modelId="{E65A6264-8705-4E57-9D94-1DAEAF2E37B3}" type="parTrans" cxnId="{8C030AC3-4040-4CC0-A75C-4F87A90A7AB5}">
      <dgm:prSet/>
      <dgm:spPr/>
      <dgm:t>
        <a:bodyPr/>
        <a:lstStyle/>
        <a:p>
          <a:endParaRPr lang="en-US"/>
        </a:p>
      </dgm:t>
    </dgm:pt>
    <dgm:pt modelId="{21BC3144-BDBD-4A6C-9EF3-E534EA4D789B}" type="sibTrans" cxnId="{8C030AC3-4040-4CC0-A75C-4F87A90A7AB5}">
      <dgm:prSet/>
      <dgm:spPr/>
      <dgm:t>
        <a:bodyPr/>
        <a:lstStyle/>
        <a:p>
          <a:endParaRPr lang="en-US"/>
        </a:p>
      </dgm:t>
    </dgm:pt>
    <dgm:pt modelId="{36472AC0-A2FE-4B65-9F37-8B5800C08FBF}">
      <dgm:prSet phldrT="[Text]">
        <dgm:style>
          <a:lnRef idx="3">
            <a:schemeClr val="lt1"/>
          </a:lnRef>
          <a:fillRef idx="1">
            <a:schemeClr val="accent2"/>
          </a:fillRef>
          <a:effectRef idx="1">
            <a:schemeClr val="accent2"/>
          </a:effectRef>
          <a:fontRef idx="minor">
            <a:schemeClr val="lt1"/>
          </a:fontRef>
        </dgm:style>
      </dgm:prSet>
      <dgm:spPr/>
      <dgm:t>
        <a:bodyPr/>
        <a:lstStyle/>
        <a:p>
          <a:r>
            <a:rPr lang="pl-PL" dirty="0"/>
            <a:t>Uzyskują możliwość poznania pracy w firmie IT „od kuchni”</a:t>
          </a:r>
          <a:endParaRPr lang="en-US" dirty="0"/>
        </a:p>
      </dgm:t>
    </dgm:pt>
    <dgm:pt modelId="{8AF7397C-B00C-4590-9FC7-98C15E0B8CFE}" type="parTrans" cxnId="{D25AC79C-C5F5-49D5-87E9-DB361E1A79FD}">
      <dgm:prSet/>
      <dgm:spPr/>
      <dgm:t>
        <a:bodyPr/>
        <a:lstStyle/>
        <a:p>
          <a:endParaRPr lang="en-US"/>
        </a:p>
      </dgm:t>
    </dgm:pt>
    <dgm:pt modelId="{033D8CD5-2091-474E-BE55-59B62B875DA7}" type="sibTrans" cxnId="{D25AC79C-C5F5-49D5-87E9-DB361E1A79FD}">
      <dgm:prSet/>
      <dgm:spPr/>
      <dgm:t>
        <a:bodyPr/>
        <a:lstStyle/>
        <a:p>
          <a:endParaRPr lang="en-US"/>
        </a:p>
      </dgm:t>
    </dgm:pt>
    <dgm:pt modelId="{32CB58EB-0C72-4AA2-AB49-A7F39BAD4602}">
      <dgm:prSet phldrT="[Text]" custT="1">
        <dgm:style>
          <a:lnRef idx="2">
            <a:schemeClr val="accent4">
              <a:shade val="50000"/>
            </a:schemeClr>
          </a:lnRef>
          <a:fillRef idx="1">
            <a:schemeClr val="accent4"/>
          </a:fillRef>
          <a:effectRef idx="0">
            <a:schemeClr val="accent4"/>
          </a:effectRef>
          <a:fontRef idx="minor">
            <a:schemeClr val="lt1"/>
          </a:fontRef>
        </dgm:style>
      </dgm:prSet>
      <dgm:spPr/>
      <dgm:t>
        <a:bodyPr/>
        <a:lstStyle/>
        <a:p>
          <a:r>
            <a:rPr lang="pl-PL" sz="1200" b="1" dirty="0">
              <a:solidFill>
                <a:schemeClr val="bg1"/>
              </a:solidFill>
              <a:latin typeface="Arial Rounded MT Bold" panose="020F0704030504030204" pitchFamily="34" charset="0"/>
              <a:cs typeface="Aparajita" panose="020B0604020202020204" pitchFamily="34" charset="0"/>
            </a:rPr>
            <a:t>IT GIRLS rEVOLUTION ACADEMY</a:t>
          </a:r>
          <a:endParaRPr lang="en-US" sz="1200" dirty="0">
            <a:latin typeface="Arial Rounded MT Bold" panose="020F0704030504030204" pitchFamily="34" charset="0"/>
          </a:endParaRPr>
        </a:p>
      </dgm:t>
    </dgm:pt>
    <dgm:pt modelId="{15F0F8E3-3EE4-40C5-948D-EEFA67BF82D2}" type="sibTrans" cxnId="{3195E253-EA7A-42ED-97F8-8DD19E56A9EB}">
      <dgm:prSet/>
      <dgm:spPr/>
      <dgm:t>
        <a:bodyPr/>
        <a:lstStyle/>
        <a:p>
          <a:endParaRPr lang="en-US"/>
        </a:p>
      </dgm:t>
    </dgm:pt>
    <dgm:pt modelId="{D93421DF-68E3-49B4-BD1D-6256BBE28BE2}" type="parTrans" cxnId="{3195E253-EA7A-42ED-97F8-8DD19E56A9EB}">
      <dgm:prSet/>
      <dgm:spPr/>
      <dgm:t>
        <a:bodyPr/>
        <a:lstStyle/>
        <a:p>
          <a:endParaRPr lang="en-US"/>
        </a:p>
      </dgm:t>
    </dgm:pt>
    <dgm:pt modelId="{6A923EF9-DABB-4BCD-BFCB-B027C856BC82}" type="pres">
      <dgm:prSet presAssocID="{FA5328C0-4296-4D8B-888C-855F2362D207}" presName="Name0" presStyleCnt="0">
        <dgm:presLayoutVars>
          <dgm:chMax val="1"/>
          <dgm:chPref val="1"/>
          <dgm:dir/>
          <dgm:animOne val="branch"/>
          <dgm:animLvl val="lvl"/>
        </dgm:presLayoutVars>
      </dgm:prSet>
      <dgm:spPr/>
    </dgm:pt>
    <dgm:pt modelId="{CDD170C1-D41E-4012-A9C4-FE4776127D04}" type="pres">
      <dgm:prSet presAssocID="{32CB58EB-0C72-4AA2-AB49-A7F39BAD4602}" presName="Parent" presStyleLbl="node0" presStyleIdx="0" presStyleCnt="1">
        <dgm:presLayoutVars>
          <dgm:chMax val="6"/>
          <dgm:chPref val="6"/>
        </dgm:presLayoutVars>
      </dgm:prSet>
      <dgm:spPr/>
    </dgm:pt>
    <dgm:pt modelId="{17980790-E1B3-4E4B-8C6B-FD8C3AFD37B0}" type="pres">
      <dgm:prSet presAssocID="{C7B96E47-3E4A-42D9-BF03-ADD7776D0D12}" presName="Accent1" presStyleCnt="0"/>
      <dgm:spPr/>
    </dgm:pt>
    <dgm:pt modelId="{6F0229D3-0E37-4886-A4A6-5213BE161EC0}" type="pres">
      <dgm:prSet presAssocID="{C7B96E47-3E4A-42D9-BF03-ADD7776D0D12}" presName="Accent" presStyleLbl="bgShp" presStyleIdx="0" presStyleCnt="6"/>
      <dgm:spPr/>
    </dgm:pt>
    <dgm:pt modelId="{C190B8A8-885A-4997-9B2D-302648A5DAB7}" type="pres">
      <dgm:prSet presAssocID="{C7B96E47-3E4A-42D9-BF03-ADD7776D0D12}" presName="Child1" presStyleLbl="node1" presStyleIdx="0" presStyleCnt="6">
        <dgm:presLayoutVars>
          <dgm:chMax val="0"/>
          <dgm:chPref val="0"/>
          <dgm:bulletEnabled val="1"/>
        </dgm:presLayoutVars>
      </dgm:prSet>
      <dgm:spPr/>
    </dgm:pt>
    <dgm:pt modelId="{AEA0DA7A-84F9-4031-944B-59F4527AC7D2}" type="pres">
      <dgm:prSet presAssocID="{26187E77-08D6-4BF1-8EB9-D63E027AB6D1}" presName="Accent2" presStyleCnt="0"/>
      <dgm:spPr/>
    </dgm:pt>
    <dgm:pt modelId="{FC14A98E-271D-4762-9C9D-F54EE6D20881}" type="pres">
      <dgm:prSet presAssocID="{26187E77-08D6-4BF1-8EB9-D63E027AB6D1}" presName="Accent" presStyleLbl="bgShp" presStyleIdx="1" presStyleCnt="6"/>
      <dgm:spPr/>
    </dgm:pt>
    <dgm:pt modelId="{59A88B82-A719-4FC3-8F48-FE776A3EF735}" type="pres">
      <dgm:prSet presAssocID="{26187E77-08D6-4BF1-8EB9-D63E027AB6D1}" presName="Child2" presStyleLbl="node1" presStyleIdx="1" presStyleCnt="6">
        <dgm:presLayoutVars>
          <dgm:chMax val="0"/>
          <dgm:chPref val="0"/>
          <dgm:bulletEnabled val="1"/>
        </dgm:presLayoutVars>
      </dgm:prSet>
      <dgm:spPr/>
    </dgm:pt>
    <dgm:pt modelId="{50B75932-1186-44BE-A351-E93276ABD009}" type="pres">
      <dgm:prSet presAssocID="{F416479D-F0C0-4B2E-864A-087B84BB6849}" presName="Accent3" presStyleCnt="0"/>
      <dgm:spPr/>
    </dgm:pt>
    <dgm:pt modelId="{444D9E87-1BA8-4E55-8319-24B2DB9051B9}" type="pres">
      <dgm:prSet presAssocID="{F416479D-F0C0-4B2E-864A-087B84BB6849}" presName="Accent" presStyleLbl="bgShp" presStyleIdx="2" presStyleCnt="6"/>
      <dgm:spPr/>
    </dgm:pt>
    <dgm:pt modelId="{15AA1AE1-E6CA-40E5-9938-092EC78C9226}" type="pres">
      <dgm:prSet presAssocID="{F416479D-F0C0-4B2E-864A-087B84BB6849}" presName="Child3" presStyleLbl="node1" presStyleIdx="2" presStyleCnt="6">
        <dgm:presLayoutVars>
          <dgm:chMax val="0"/>
          <dgm:chPref val="0"/>
          <dgm:bulletEnabled val="1"/>
        </dgm:presLayoutVars>
      </dgm:prSet>
      <dgm:spPr/>
    </dgm:pt>
    <dgm:pt modelId="{DEBC1537-94D6-4D8C-99DC-CA9A973EFA69}" type="pres">
      <dgm:prSet presAssocID="{90F1A376-E796-46B0-9372-C005EDF025BF}" presName="Accent4" presStyleCnt="0"/>
      <dgm:spPr/>
    </dgm:pt>
    <dgm:pt modelId="{80C310C6-C96F-428D-87C0-7AEEE94D1ACE}" type="pres">
      <dgm:prSet presAssocID="{90F1A376-E796-46B0-9372-C005EDF025BF}" presName="Accent" presStyleLbl="bgShp" presStyleIdx="3" presStyleCnt="6"/>
      <dgm:spPr/>
    </dgm:pt>
    <dgm:pt modelId="{32DE69CB-41DC-4DDD-8EA5-5A7D88F6D4FB}" type="pres">
      <dgm:prSet presAssocID="{90F1A376-E796-46B0-9372-C005EDF025BF}" presName="Child4" presStyleLbl="node1" presStyleIdx="3" presStyleCnt="6">
        <dgm:presLayoutVars>
          <dgm:chMax val="0"/>
          <dgm:chPref val="0"/>
          <dgm:bulletEnabled val="1"/>
        </dgm:presLayoutVars>
      </dgm:prSet>
      <dgm:spPr/>
    </dgm:pt>
    <dgm:pt modelId="{C2A82AC4-3458-467F-8F38-279E021B1814}" type="pres">
      <dgm:prSet presAssocID="{95F2EF5F-7D2A-47B0-BF6C-55A0C3766729}" presName="Accent5" presStyleCnt="0"/>
      <dgm:spPr/>
    </dgm:pt>
    <dgm:pt modelId="{477C3F0B-E2C1-4FE5-8819-694E24B3ECEF}" type="pres">
      <dgm:prSet presAssocID="{95F2EF5F-7D2A-47B0-BF6C-55A0C3766729}" presName="Accent" presStyleLbl="bgShp" presStyleIdx="4" presStyleCnt="6"/>
      <dgm:spPr/>
    </dgm:pt>
    <dgm:pt modelId="{C377D69A-8A21-4665-BEE9-C2E129749208}" type="pres">
      <dgm:prSet presAssocID="{95F2EF5F-7D2A-47B0-BF6C-55A0C3766729}" presName="Child5" presStyleLbl="node1" presStyleIdx="4" presStyleCnt="6">
        <dgm:presLayoutVars>
          <dgm:chMax val="0"/>
          <dgm:chPref val="0"/>
          <dgm:bulletEnabled val="1"/>
        </dgm:presLayoutVars>
      </dgm:prSet>
      <dgm:spPr/>
    </dgm:pt>
    <dgm:pt modelId="{0436C45B-5A17-4363-850B-00CD55349F33}" type="pres">
      <dgm:prSet presAssocID="{36472AC0-A2FE-4B65-9F37-8B5800C08FBF}" presName="Accent6" presStyleCnt="0"/>
      <dgm:spPr/>
    </dgm:pt>
    <dgm:pt modelId="{593C0546-D33C-479A-85EA-62E6DB76B0F4}" type="pres">
      <dgm:prSet presAssocID="{36472AC0-A2FE-4B65-9F37-8B5800C08FBF}" presName="Accent" presStyleLbl="bgShp" presStyleIdx="5" presStyleCnt="6"/>
      <dgm:spPr/>
    </dgm:pt>
    <dgm:pt modelId="{D4EEE5E6-61DC-4888-821A-FEE61F72E8F7}" type="pres">
      <dgm:prSet presAssocID="{36472AC0-A2FE-4B65-9F37-8B5800C08FBF}" presName="Child6" presStyleLbl="node1" presStyleIdx="5" presStyleCnt="6">
        <dgm:presLayoutVars>
          <dgm:chMax val="0"/>
          <dgm:chPref val="0"/>
          <dgm:bulletEnabled val="1"/>
        </dgm:presLayoutVars>
      </dgm:prSet>
      <dgm:spPr/>
    </dgm:pt>
  </dgm:ptLst>
  <dgm:cxnLst>
    <dgm:cxn modelId="{DE418604-D295-4A50-887C-8910881BD10A}" srcId="{32CB58EB-0C72-4AA2-AB49-A7F39BAD4602}" destId="{F416479D-F0C0-4B2E-864A-087B84BB6849}" srcOrd="2" destOrd="0" parTransId="{9CEC53AE-BB38-4B9D-B2DC-81DEF6C76DAB}" sibTransId="{D9DADA60-EDD4-47C9-826D-F514C9E07DBC}"/>
    <dgm:cxn modelId="{33657106-EEA9-4FD3-8A6F-DBB3A339A48B}" srcId="{32CB58EB-0C72-4AA2-AB49-A7F39BAD4602}" destId="{C7B96E47-3E4A-42D9-BF03-ADD7776D0D12}" srcOrd="0" destOrd="0" parTransId="{52EB8744-1A16-4CA8-BC6D-4CA5BD2730D7}" sibTransId="{55706624-D049-4D2E-A1CD-10734E8278DB}"/>
    <dgm:cxn modelId="{D9A43B07-0FC1-4FB8-8D90-8131964093E3}" type="presOf" srcId="{95F2EF5F-7D2A-47B0-BF6C-55A0C3766729}" destId="{C377D69A-8A21-4665-BEE9-C2E129749208}" srcOrd="0" destOrd="0" presId="urn:microsoft.com/office/officeart/2011/layout/HexagonRadial"/>
    <dgm:cxn modelId="{7B57EB15-B393-49F5-A1DD-0892B4E1A26B}" srcId="{32CB58EB-0C72-4AA2-AB49-A7F39BAD4602}" destId="{26187E77-08D6-4BF1-8EB9-D63E027AB6D1}" srcOrd="1" destOrd="0" parTransId="{1D825EF2-81B9-45DD-8700-E1A0E518A89C}" sibTransId="{F966C350-5AA8-4B63-B51A-9A377B69BDF2}"/>
    <dgm:cxn modelId="{CA9A673B-BB82-4346-A39A-E23B21092E4C}" type="presOf" srcId="{36472AC0-A2FE-4B65-9F37-8B5800C08FBF}" destId="{D4EEE5E6-61DC-4888-821A-FEE61F72E8F7}" srcOrd="0" destOrd="0" presId="urn:microsoft.com/office/officeart/2011/layout/HexagonRadial"/>
    <dgm:cxn modelId="{516A1B42-9BA1-47F8-914E-C23D8D0F6EE7}" type="presOf" srcId="{C7B96E47-3E4A-42D9-BF03-ADD7776D0D12}" destId="{C190B8A8-885A-4997-9B2D-302648A5DAB7}" srcOrd="0" destOrd="0" presId="urn:microsoft.com/office/officeart/2011/layout/HexagonRadial"/>
    <dgm:cxn modelId="{D0550A50-E961-41C4-A568-82022ACB3EEF}" type="presOf" srcId="{90F1A376-E796-46B0-9372-C005EDF025BF}" destId="{32DE69CB-41DC-4DDD-8EA5-5A7D88F6D4FB}" srcOrd="0" destOrd="0" presId="urn:microsoft.com/office/officeart/2011/layout/HexagonRadial"/>
    <dgm:cxn modelId="{299A8372-D3F3-499F-AF8E-BD1DDDD88B4E}" type="presOf" srcId="{32CB58EB-0C72-4AA2-AB49-A7F39BAD4602}" destId="{CDD170C1-D41E-4012-A9C4-FE4776127D04}" srcOrd="0" destOrd="0" presId="urn:microsoft.com/office/officeart/2011/layout/HexagonRadial"/>
    <dgm:cxn modelId="{A3A89353-9C56-4BD2-AB66-D646C60CD1C3}" type="presOf" srcId="{FA5328C0-4296-4D8B-888C-855F2362D207}" destId="{6A923EF9-DABB-4BCD-BFCB-B027C856BC82}" srcOrd="0" destOrd="0" presId="urn:microsoft.com/office/officeart/2011/layout/HexagonRadial"/>
    <dgm:cxn modelId="{3195E253-EA7A-42ED-97F8-8DD19E56A9EB}" srcId="{FA5328C0-4296-4D8B-888C-855F2362D207}" destId="{32CB58EB-0C72-4AA2-AB49-A7F39BAD4602}" srcOrd="0" destOrd="0" parTransId="{D93421DF-68E3-49B4-BD1D-6256BBE28BE2}" sibTransId="{15F0F8E3-3EE4-40C5-948D-EEFA67BF82D2}"/>
    <dgm:cxn modelId="{18FBAC8C-7D25-4288-AB3C-3E6DA5245386}" type="presOf" srcId="{F416479D-F0C0-4B2E-864A-087B84BB6849}" destId="{15AA1AE1-E6CA-40E5-9938-092EC78C9226}" srcOrd="0" destOrd="0" presId="urn:microsoft.com/office/officeart/2011/layout/HexagonRadial"/>
    <dgm:cxn modelId="{D25AC79C-C5F5-49D5-87E9-DB361E1A79FD}" srcId="{32CB58EB-0C72-4AA2-AB49-A7F39BAD4602}" destId="{36472AC0-A2FE-4B65-9F37-8B5800C08FBF}" srcOrd="5" destOrd="0" parTransId="{8AF7397C-B00C-4590-9FC7-98C15E0B8CFE}" sibTransId="{033D8CD5-2091-474E-BE55-59B62B875DA7}"/>
    <dgm:cxn modelId="{D2BAA8A6-9D04-4EA6-80A1-433FE5D21D97}" type="presOf" srcId="{26187E77-08D6-4BF1-8EB9-D63E027AB6D1}" destId="{59A88B82-A719-4FC3-8F48-FE776A3EF735}" srcOrd="0" destOrd="0" presId="urn:microsoft.com/office/officeart/2011/layout/HexagonRadial"/>
    <dgm:cxn modelId="{F7E9AABA-9EC4-4506-B766-8ED90BAFC810}" srcId="{32CB58EB-0C72-4AA2-AB49-A7F39BAD4602}" destId="{90F1A376-E796-46B0-9372-C005EDF025BF}" srcOrd="3" destOrd="0" parTransId="{477EACF9-AC7B-4721-98D7-E4FA36455DF7}" sibTransId="{0BB25DE0-80CB-45EE-BED6-51E37259693F}"/>
    <dgm:cxn modelId="{8C030AC3-4040-4CC0-A75C-4F87A90A7AB5}" srcId="{32CB58EB-0C72-4AA2-AB49-A7F39BAD4602}" destId="{95F2EF5F-7D2A-47B0-BF6C-55A0C3766729}" srcOrd="4" destOrd="0" parTransId="{E65A6264-8705-4E57-9D94-1DAEAF2E37B3}" sibTransId="{21BC3144-BDBD-4A6C-9EF3-E534EA4D789B}"/>
    <dgm:cxn modelId="{E820350F-CD11-43A8-AAD6-42451FF1736A}" type="presParOf" srcId="{6A923EF9-DABB-4BCD-BFCB-B027C856BC82}" destId="{CDD170C1-D41E-4012-A9C4-FE4776127D04}" srcOrd="0" destOrd="0" presId="urn:microsoft.com/office/officeart/2011/layout/HexagonRadial"/>
    <dgm:cxn modelId="{1D33AF2C-E62B-4020-BECD-09A5A9389B3A}" type="presParOf" srcId="{6A923EF9-DABB-4BCD-BFCB-B027C856BC82}" destId="{17980790-E1B3-4E4B-8C6B-FD8C3AFD37B0}" srcOrd="1" destOrd="0" presId="urn:microsoft.com/office/officeart/2011/layout/HexagonRadial"/>
    <dgm:cxn modelId="{EBD3AF46-61AC-46BC-8F4F-D147FFBF81CC}" type="presParOf" srcId="{17980790-E1B3-4E4B-8C6B-FD8C3AFD37B0}" destId="{6F0229D3-0E37-4886-A4A6-5213BE161EC0}" srcOrd="0" destOrd="0" presId="urn:microsoft.com/office/officeart/2011/layout/HexagonRadial"/>
    <dgm:cxn modelId="{446B035B-204C-4E27-A632-A32BB0F72189}" type="presParOf" srcId="{6A923EF9-DABB-4BCD-BFCB-B027C856BC82}" destId="{C190B8A8-885A-4997-9B2D-302648A5DAB7}" srcOrd="2" destOrd="0" presId="urn:microsoft.com/office/officeart/2011/layout/HexagonRadial"/>
    <dgm:cxn modelId="{F8C38B96-1887-4343-A6E0-E72F0569CD34}" type="presParOf" srcId="{6A923EF9-DABB-4BCD-BFCB-B027C856BC82}" destId="{AEA0DA7A-84F9-4031-944B-59F4527AC7D2}" srcOrd="3" destOrd="0" presId="urn:microsoft.com/office/officeart/2011/layout/HexagonRadial"/>
    <dgm:cxn modelId="{519A2B63-BF9B-4FCC-A6DF-276FF3B56979}" type="presParOf" srcId="{AEA0DA7A-84F9-4031-944B-59F4527AC7D2}" destId="{FC14A98E-271D-4762-9C9D-F54EE6D20881}" srcOrd="0" destOrd="0" presId="urn:microsoft.com/office/officeart/2011/layout/HexagonRadial"/>
    <dgm:cxn modelId="{31EB5C07-B331-4DB2-8FCA-909A05E7F9FE}" type="presParOf" srcId="{6A923EF9-DABB-4BCD-BFCB-B027C856BC82}" destId="{59A88B82-A719-4FC3-8F48-FE776A3EF735}" srcOrd="4" destOrd="0" presId="urn:microsoft.com/office/officeart/2011/layout/HexagonRadial"/>
    <dgm:cxn modelId="{C4AC1B1C-99CD-4F23-BFEC-A94A1D47317C}" type="presParOf" srcId="{6A923EF9-DABB-4BCD-BFCB-B027C856BC82}" destId="{50B75932-1186-44BE-A351-E93276ABD009}" srcOrd="5" destOrd="0" presId="urn:microsoft.com/office/officeart/2011/layout/HexagonRadial"/>
    <dgm:cxn modelId="{866B5451-734D-4C0B-B6DC-7BB852BAF848}" type="presParOf" srcId="{50B75932-1186-44BE-A351-E93276ABD009}" destId="{444D9E87-1BA8-4E55-8319-24B2DB9051B9}" srcOrd="0" destOrd="0" presId="urn:microsoft.com/office/officeart/2011/layout/HexagonRadial"/>
    <dgm:cxn modelId="{1DF7B9EB-DD77-459A-AADA-58EB3E68C197}" type="presParOf" srcId="{6A923EF9-DABB-4BCD-BFCB-B027C856BC82}" destId="{15AA1AE1-E6CA-40E5-9938-092EC78C9226}" srcOrd="6" destOrd="0" presId="urn:microsoft.com/office/officeart/2011/layout/HexagonRadial"/>
    <dgm:cxn modelId="{B6F51CE7-94BC-45E0-9598-C799E93960BF}" type="presParOf" srcId="{6A923EF9-DABB-4BCD-BFCB-B027C856BC82}" destId="{DEBC1537-94D6-4D8C-99DC-CA9A973EFA69}" srcOrd="7" destOrd="0" presId="urn:microsoft.com/office/officeart/2011/layout/HexagonRadial"/>
    <dgm:cxn modelId="{2C892B05-A5E4-41D4-A571-6B660B19F741}" type="presParOf" srcId="{DEBC1537-94D6-4D8C-99DC-CA9A973EFA69}" destId="{80C310C6-C96F-428D-87C0-7AEEE94D1ACE}" srcOrd="0" destOrd="0" presId="urn:microsoft.com/office/officeart/2011/layout/HexagonRadial"/>
    <dgm:cxn modelId="{7801D74F-925F-40DD-B7BB-905F4A57304D}" type="presParOf" srcId="{6A923EF9-DABB-4BCD-BFCB-B027C856BC82}" destId="{32DE69CB-41DC-4DDD-8EA5-5A7D88F6D4FB}" srcOrd="8" destOrd="0" presId="urn:microsoft.com/office/officeart/2011/layout/HexagonRadial"/>
    <dgm:cxn modelId="{BC70AC11-19D6-44AB-9EC3-7C940140722E}" type="presParOf" srcId="{6A923EF9-DABB-4BCD-BFCB-B027C856BC82}" destId="{C2A82AC4-3458-467F-8F38-279E021B1814}" srcOrd="9" destOrd="0" presId="urn:microsoft.com/office/officeart/2011/layout/HexagonRadial"/>
    <dgm:cxn modelId="{6A7DF3D0-B2BF-45BB-B642-136C256E3F50}" type="presParOf" srcId="{C2A82AC4-3458-467F-8F38-279E021B1814}" destId="{477C3F0B-E2C1-4FE5-8819-694E24B3ECEF}" srcOrd="0" destOrd="0" presId="urn:microsoft.com/office/officeart/2011/layout/HexagonRadial"/>
    <dgm:cxn modelId="{73C6A88E-488C-4A85-BE47-C7479A3574ED}" type="presParOf" srcId="{6A923EF9-DABB-4BCD-BFCB-B027C856BC82}" destId="{C377D69A-8A21-4665-BEE9-C2E129749208}" srcOrd="10" destOrd="0" presId="urn:microsoft.com/office/officeart/2011/layout/HexagonRadial"/>
    <dgm:cxn modelId="{1FCBB9C3-1A15-4298-820D-7A50ABFF403A}" type="presParOf" srcId="{6A923EF9-DABB-4BCD-BFCB-B027C856BC82}" destId="{0436C45B-5A17-4363-850B-00CD55349F33}" srcOrd="11" destOrd="0" presId="urn:microsoft.com/office/officeart/2011/layout/HexagonRadial"/>
    <dgm:cxn modelId="{750FDDB2-2BCF-409F-BC1A-00EA00ECD151}" type="presParOf" srcId="{0436C45B-5A17-4363-850B-00CD55349F33}" destId="{593C0546-D33C-479A-85EA-62E6DB76B0F4}" srcOrd="0" destOrd="0" presId="urn:microsoft.com/office/officeart/2011/layout/HexagonRadial"/>
    <dgm:cxn modelId="{580594C9-3596-40EB-BC57-A5DF2EF61D7F}" type="presParOf" srcId="{6A923EF9-DABB-4BCD-BFCB-B027C856BC82}" destId="{D4EEE5E6-61DC-4888-821A-FEE61F72E8F7}" srcOrd="12" destOrd="0" presId="urn:microsoft.com/office/officeart/2011/layout/HexagonRadial"/>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3532A2-1094-46F7-9AB7-9B03BE8F0571}">
      <dsp:nvSpPr>
        <dsp:cNvPr id="0" name=""/>
        <dsp:cNvSpPr/>
      </dsp:nvSpPr>
      <dsp:spPr>
        <a:xfrm>
          <a:off x="0" y="163252"/>
          <a:ext cx="8438839" cy="25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F74E8A-85F1-4F2B-953F-D5F4F7A22CA2}">
      <dsp:nvSpPr>
        <dsp:cNvPr id="0" name=""/>
        <dsp:cNvSpPr/>
      </dsp:nvSpPr>
      <dsp:spPr>
        <a:xfrm>
          <a:off x="421941" y="15652"/>
          <a:ext cx="5907187" cy="295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3278" tIns="0" rIns="223278" bIns="0" numCol="1" spcCol="1270" anchor="ctr" anchorCtr="0">
          <a:noAutofit/>
        </a:bodyPr>
        <a:lstStyle/>
        <a:p>
          <a:pPr marL="0" lvl="0" indent="0" algn="l" defTabSz="444500">
            <a:lnSpc>
              <a:spcPct val="90000"/>
            </a:lnSpc>
            <a:spcBef>
              <a:spcPct val="0"/>
            </a:spcBef>
            <a:spcAft>
              <a:spcPct val="35000"/>
            </a:spcAft>
            <a:buNone/>
          </a:pPr>
          <a:r>
            <a:rPr lang="pl-PL" sz="1000" kern="1200" dirty="0"/>
            <a:t>IoT vs IoG – zajęcia odkrywające Internet of Things</a:t>
          </a:r>
          <a:endParaRPr lang="en-US" sz="1000" kern="1200" dirty="0"/>
        </a:p>
      </dsp:txBody>
      <dsp:txXfrm>
        <a:off x="436351" y="30062"/>
        <a:ext cx="5878367" cy="266380"/>
      </dsp:txXfrm>
    </dsp:sp>
    <dsp:sp modelId="{23A6271C-BBD2-4749-B10E-97C51DDB0541}">
      <dsp:nvSpPr>
        <dsp:cNvPr id="0" name=""/>
        <dsp:cNvSpPr/>
      </dsp:nvSpPr>
      <dsp:spPr>
        <a:xfrm>
          <a:off x="0" y="616852"/>
          <a:ext cx="8438839" cy="25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E8EB982-7D94-42A1-832B-23F4F3CB2E3C}">
      <dsp:nvSpPr>
        <dsp:cNvPr id="0" name=""/>
        <dsp:cNvSpPr/>
      </dsp:nvSpPr>
      <dsp:spPr>
        <a:xfrm>
          <a:off x="421941" y="469252"/>
          <a:ext cx="5907187" cy="295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3278" tIns="0" rIns="223278" bIns="0" numCol="1" spcCol="1270" anchor="ctr" anchorCtr="0">
          <a:noAutofit/>
        </a:bodyPr>
        <a:lstStyle/>
        <a:p>
          <a:pPr marL="0" lvl="0" indent="0" algn="l" defTabSz="444500">
            <a:lnSpc>
              <a:spcPct val="90000"/>
            </a:lnSpc>
            <a:spcBef>
              <a:spcPct val="0"/>
            </a:spcBef>
            <a:spcAft>
              <a:spcPct val="35000"/>
            </a:spcAft>
            <a:buNone/>
          </a:pPr>
          <a:r>
            <a:rPr lang="pl-PL" sz="1000" kern="1200" dirty="0"/>
            <a:t>Robaczywe nie musi być tylko jabłko – dlaczego warto testować w IT?</a:t>
          </a:r>
          <a:endParaRPr lang="en-US" sz="1000" kern="1200" dirty="0"/>
        </a:p>
      </dsp:txBody>
      <dsp:txXfrm>
        <a:off x="436351" y="483662"/>
        <a:ext cx="5878367" cy="266380"/>
      </dsp:txXfrm>
    </dsp:sp>
    <dsp:sp modelId="{E257EEAE-13D5-45E3-B9B0-450CF7035A21}">
      <dsp:nvSpPr>
        <dsp:cNvPr id="0" name=""/>
        <dsp:cNvSpPr/>
      </dsp:nvSpPr>
      <dsp:spPr>
        <a:xfrm>
          <a:off x="0" y="1070453"/>
          <a:ext cx="8438839" cy="25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D8797A8-DAB4-4296-BCF1-CEE669C2EE95}">
      <dsp:nvSpPr>
        <dsp:cNvPr id="0" name=""/>
        <dsp:cNvSpPr/>
      </dsp:nvSpPr>
      <dsp:spPr>
        <a:xfrm>
          <a:off x="421941" y="922852"/>
          <a:ext cx="5907187" cy="295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3278" tIns="0" rIns="223278" bIns="0" numCol="1" spcCol="1270" anchor="ctr" anchorCtr="0">
          <a:noAutofit/>
        </a:bodyPr>
        <a:lstStyle/>
        <a:p>
          <a:pPr marL="0" lvl="0" indent="0" algn="l" defTabSz="444500">
            <a:lnSpc>
              <a:spcPct val="90000"/>
            </a:lnSpc>
            <a:spcBef>
              <a:spcPct val="0"/>
            </a:spcBef>
            <a:spcAft>
              <a:spcPct val="35000"/>
            </a:spcAft>
            <a:buNone/>
          </a:pPr>
          <a:r>
            <a:rPr lang="en-US" sz="1000" u="none" strike="noStrike" kern="1200" dirty="0">
              <a:effectLst/>
            </a:rPr>
            <a:t>Consulting w IT</a:t>
          </a:r>
          <a:r>
            <a:rPr lang="pl-PL" sz="1000" u="none" strike="noStrike" kern="1200" dirty="0">
              <a:effectLst/>
            </a:rPr>
            <a:t> - czym jest i dlaczego jest tak ważny?</a:t>
          </a:r>
          <a:endParaRPr lang="en-US" sz="1000" kern="1200" dirty="0"/>
        </a:p>
      </dsp:txBody>
      <dsp:txXfrm>
        <a:off x="436351" y="937262"/>
        <a:ext cx="5878367" cy="266380"/>
      </dsp:txXfrm>
    </dsp:sp>
    <dsp:sp modelId="{BF463485-2F98-4D7E-86BD-DC24FCF3BBC7}">
      <dsp:nvSpPr>
        <dsp:cNvPr id="0" name=""/>
        <dsp:cNvSpPr/>
      </dsp:nvSpPr>
      <dsp:spPr>
        <a:xfrm>
          <a:off x="0" y="1524053"/>
          <a:ext cx="8438839" cy="25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EB26D-5EBB-46F8-8C87-32827FADEFFE}">
      <dsp:nvSpPr>
        <dsp:cNvPr id="0" name=""/>
        <dsp:cNvSpPr/>
      </dsp:nvSpPr>
      <dsp:spPr>
        <a:xfrm>
          <a:off x="421941" y="1376453"/>
          <a:ext cx="5907187" cy="295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3278" tIns="0" rIns="223278" bIns="0" numCol="1" spcCol="1270" anchor="ctr" anchorCtr="0">
          <a:noAutofit/>
        </a:bodyPr>
        <a:lstStyle/>
        <a:p>
          <a:pPr marL="0" lvl="0" indent="0" algn="l" defTabSz="444500">
            <a:lnSpc>
              <a:spcPct val="90000"/>
            </a:lnSpc>
            <a:spcBef>
              <a:spcPct val="0"/>
            </a:spcBef>
            <a:spcAft>
              <a:spcPct val="35000"/>
            </a:spcAft>
            <a:buNone/>
          </a:pPr>
          <a:r>
            <a:rPr lang="pl-PL" sz="1000" u="none" strike="noStrike" kern="1200" dirty="0">
              <a:effectLst/>
            </a:rPr>
            <a:t>Programowanie, czyli pomysł na wielką przygodę </a:t>
          </a:r>
          <a:endParaRPr lang="pl-PL" sz="1000" b="0" i="0" u="none" strike="noStrike" kern="1200" dirty="0">
            <a:solidFill>
              <a:srgbClr val="000000"/>
            </a:solidFill>
            <a:effectLst/>
            <a:latin typeface="Calibri" panose="020F0502020204030204" pitchFamily="34" charset="0"/>
          </a:endParaRPr>
        </a:p>
      </dsp:txBody>
      <dsp:txXfrm>
        <a:off x="436351" y="1390863"/>
        <a:ext cx="5878367" cy="266380"/>
      </dsp:txXfrm>
    </dsp:sp>
    <dsp:sp modelId="{8E63CF62-3D3F-42DE-B4C1-8F6AD3FA1D79}">
      <dsp:nvSpPr>
        <dsp:cNvPr id="0" name=""/>
        <dsp:cNvSpPr/>
      </dsp:nvSpPr>
      <dsp:spPr>
        <a:xfrm>
          <a:off x="0" y="1977653"/>
          <a:ext cx="8438839" cy="25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1CC0B84-211E-4C37-9FC4-A3E0C9168958}">
      <dsp:nvSpPr>
        <dsp:cNvPr id="0" name=""/>
        <dsp:cNvSpPr/>
      </dsp:nvSpPr>
      <dsp:spPr>
        <a:xfrm>
          <a:off x="421941" y="1830053"/>
          <a:ext cx="5907187" cy="295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3278" tIns="0" rIns="223278" bIns="0" numCol="1" spcCol="1270" anchor="ctr" anchorCtr="0">
          <a:noAutofit/>
        </a:bodyPr>
        <a:lstStyle/>
        <a:p>
          <a:pPr marL="0" lvl="0" indent="0" algn="l" defTabSz="444500">
            <a:lnSpc>
              <a:spcPct val="90000"/>
            </a:lnSpc>
            <a:spcBef>
              <a:spcPct val="0"/>
            </a:spcBef>
            <a:spcAft>
              <a:spcPct val="35000"/>
            </a:spcAft>
            <a:buNone/>
          </a:pPr>
          <a:r>
            <a:rPr lang="en-US" sz="1000" u="none" strike="noStrike" kern="1200" dirty="0">
              <a:effectLst/>
            </a:rPr>
            <a:t>Project Management – </a:t>
          </a:r>
          <a:r>
            <a:rPr lang="pl-PL" sz="1000" u="none" strike="noStrike" kern="1200" dirty="0">
              <a:effectLst/>
            </a:rPr>
            <a:t>jak z</a:t>
          </a:r>
          <a:r>
            <a:rPr lang="en-US" sz="1000" u="none" strike="noStrike" kern="1200" dirty="0">
              <a:effectLst/>
            </a:rPr>
            <a:t>bud</a:t>
          </a:r>
          <a:r>
            <a:rPr lang="pl-PL" sz="1000" u="none" strike="noStrike" kern="1200" dirty="0">
              <a:effectLst/>
            </a:rPr>
            <a:t>ować</a:t>
          </a:r>
          <a:r>
            <a:rPr lang="en-US" sz="1000" u="none" strike="noStrike" kern="1200" dirty="0">
              <a:effectLst/>
            </a:rPr>
            <a:t> </a:t>
          </a:r>
          <a:r>
            <a:rPr lang="pl-PL" sz="1000" u="none" strike="noStrike" kern="1200" dirty="0">
              <a:effectLst/>
            </a:rPr>
            <a:t>wieżę metodą projektową?</a:t>
          </a:r>
          <a:endParaRPr lang="pl-PL" sz="1000" b="0" i="0" u="none" strike="noStrike" kern="1200" dirty="0">
            <a:solidFill>
              <a:srgbClr val="000000"/>
            </a:solidFill>
            <a:effectLst/>
            <a:latin typeface="Calibri" panose="020F0502020204030204" pitchFamily="34" charset="0"/>
          </a:endParaRPr>
        </a:p>
      </dsp:txBody>
      <dsp:txXfrm>
        <a:off x="436351" y="1844463"/>
        <a:ext cx="5878367" cy="266380"/>
      </dsp:txXfrm>
    </dsp:sp>
    <dsp:sp modelId="{69E0862E-DB83-4335-8C10-A8B3B6A02CFF}">
      <dsp:nvSpPr>
        <dsp:cNvPr id="0" name=""/>
        <dsp:cNvSpPr/>
      </dsp:nvSpPr>
      <dsp:spPr>
        <a:xfrm>
          <a:off x="0" y="2431253"/>
          <a:ext cx="8438839" cy="25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9631F9B-DFB7-45DA-A048-0073B090EA54}">
      <dsp:nvSpPr>
        <dsp:cNvPr id="0" name=""/>
        <dsp:cNvSpPr/>
      </dsp:nvSpPr>
      <dsp:spPr>
        <a:xfrm>
          <a:off x="421941" y="2283653"/>
          <a:ext cx="5907187" cy="295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3278" tIns="0" rIns="223278" bIns="0" numCol="1" spcCol="1270" anchor="ctr" anchorCtr="0">
          <a:noAutofit/>
        </a:bodyPr>
        <a:lstStyle/>
        <a:p>
          <a:pPr marL="0" lvl="0" indent="0" algn="l" defTabSz="444500">
            <a:lnSpc>
              <a:spcPct val="90000"/>
            </a:lnSpc>
            <a:spcBef>
              <a:spcPct val="0"/>
            </a:spcBef>
            <a:spcAft>
              <a:spcPct val="35000"/>
            </a:spcAft>
            <a:buNone/>
          </a:pPr>
          <a:r>
            <a:rPr lang="pl-PL" sz="1000" u="none" strike="noStrike" kern="1200" dirty="0">
              <a:effectLst/>
            </a:rPr>
            <a:t>Odkrywamy w Was to co najlepsze – wparcie działu Learning &amp; Development</a:t>
          </a:r>
          <a:endParaRPr lang="pl-PL" sz="1000" b="0" i="0" u="none" strike="noStrike" kern="1200" dirty="0">
            <a:solidFill>
              <a:srgbClr val="000000"/>
            </a:solidFill>
            <a:effectLst/>
            <a:latin typeface="Calibri" panose="020F0502020204030204" pitchFamily="34" charset="0"/>
          </a:endParaRPr>
        </a:p>
      </dsp:txBody>
      <dsp:txXfrm>
        <a:off x="436351" y="2298063"/>
        <a:ext cx="5878367" cy="266380"/>
      </dsp:txXfrm>
    </dsp:sp>
    <dsp:sp modelId="{86511696-2BE8-434D-B27F-8BF11D4A5489}">
      <dsp:nvSpPr>
        <dsp:cNvPr id="0" name=""/>
        <dsp:cNvSpPr/>
      </dsp:nvSpPr>
      <dsp:spPr>
        <a:xfrm>
          <a:off x="0" y="2884853"/>
          <a:ext cx="8438839" cy="252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5E6467-7BED-46D4-9840-0153FF29E186}">
      <dsp:nvSpPr>
        <dsp:cNvPr id="0" name=""/>
        <dsp:cNvSpPr/>
      </dsp:nvSpPr>
      <dsp:spPr>
        <a:xfrm>
          <a:off x="421941" y="2737253"/>
          <a:ext cx="5907187" cy="295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3278" tIns="0" rIns="223278" bIns="0" numCol="1" spcCol="1270" anchor="ctr" anchorCtr="0">
          <a:noAutofit/>
        </a:bodyPr>
        <a:lstStyle/>
        <a:p>
          <a:pPr marL="0" lvl="0" indent="0" algn="l" defTabSz="444500">
            <a:lnSpc>
              <a:spcPct val="90000"/>
            </a:lnSpc>
            <a:spcBef>
              <a:spcPct val="0"/>
            </a:spcBef>
            <a:spcAft>
              <a:spcPct val="35000"/>
            </a:spcAft>
            <a:buNone/>
          </a:pPr>
          <a:r>
            <a:rPr lang="pl-PL" sz="1000" u="none" strike="noStrike" kern="1200" dirty="0">
              <a:effectLst/>
            </a:rPr>
            <a:t>Sztuczna inteligencja bez bólu</a:t>
          </a:r>
          <a:endParaRPr lang="pl-PL" sz="1000" b="0" i="0" u="none" strike="noStrike" kern="1200" dirty="0">
            <a:solidFill>
              <a:srgbClr val="000000"/>
            </a:solidFill>
            <a:effectLst/>
            <a:latin typeface="Calibri" panose="020F0502020204030204" pitchFamily="34" charset="0"/>
          </a:endParaRPr>
        </a:p>
      </dsp:txBody>
      <dsp:txXfrm>
        <a:off x="436351" y="2751663"/>
        <a:ext cx="5878367" cy="2663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441062-397A-4C1C-8CC8-1F1DEB8E8323}">
      <dsp:nvSpPr>
        <dsp:cNvPr id="0" name=""/>
        <dsp:cNvSpPr/>
      </dsp:nvSpPr>
      <dsp:spPr>
        <a:xfrm>
          <a:off x="3320765" y="158"/>
          <a:ext cx="4981147" cy="618265"/>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Char char="•"/>
          </a:pPr>
          <a:r>
            <a:rPr lang="pl-PL" sz="1300" kern="1200" dirty="0"/>
            <a:t> Akademia IT – 3 dni zdalnych warsztatów przeprowadzonych przez wolontariuszy z Capgemini.</a:t>
          </a:r>
          <a:endParaRPr lang="en-US" sz="1300" kern="1200" dirty="0"/>
        </a:p>
      </dsp:txBody>
      <dsp:txXfrm>
        <a:off x="3320765" y="77441"/>
        <a:ext cx="4749298" cy="463699"/>
      </dsp:txXfrm>
    </dsp:sp>
    <dsp:sp modelId="{BDD68AE8-0C14-4DAC-8151-E3AFD0A48F35}">
      <dsp:nvSpPr>
        <dsp:cNvPr id="0" name=""/>
        <dsp:cNvSpPr/>
      </dsp:nvSpPr>
      <dsp:spPr>
        <a:xfrm>
          <a:off x="0" y="158"/>
          <a:ext cx="3320765" cy="618265"/>
        </a:xfrm>
        <a:prstGeom prst="roundRect">
          <a:avLst/>
        </a:prstGeom>
        <a:solidFill>
          <a:schemeClr val="accent4"/>
        </a:solidFill>
        <a:ln w="12700" cap="flat" cmpd="sng" algn="ctr">
          <a:solidFill>
            <a:schemeClr val="accent4">
              <a:shade val="50000"/>
            </a:schemeClr>
          </a:solidFill>
          <a:prstDash val="solid"/>
          <a:miter lim="800000"/>
        </a:ln>
        <a:effectLst/>
      </dsp:spPr>
      <dsp:style>
        <a:lnRef idx="2">
          <a:schemeClr val="accent4">
            <a:shade val="50000"/>
          </a:schemeClr>
        </a:lnRef>
        <a:fillRef idx="1">
          <a:schemeClr val="accent4"/>
        </a:fillRef>
        <a:effectRef idx="0">
          <a:schemeClr val="accent4"/>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pl-PL" sz="3100" kern="1200" dirty="0"/>
            <a:t>ETAP 1</a:t>
          </a:r>
          <a:endParaRPr lang="en-US" sz="3100" kern="1200" dirty="0"/>
        </a:p>
      </dsp:txBody>
      <dsp:txXfrm>
        <a:off x="30181" y="30339"/>
        <a:ext cx="3260403" cy="557903"/>
      </dsp:txXfrm>
    </dsp:sp>
    <dsp:sp modelId="{6503F19A-0A5A-414A-869A-91D1ACF3817B}">
      <dsp:nvSpPr>
        <dsp:cNvPr id="0" name=""/>
        <dsp:cNvSpPr/>
      </dsp:nvSpPr>
      <dsp:spPr>
        <a:xfrm>
          <a:off x="3320765" y="680250"/>
          <a:ext cx="4981147" cy="618265"/>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Char char="•"/>
          </a:pPr>
          <a:r>
            <a:rPr lang="pl-PL" sz="1300" kern="1200" dirty="0"/>
            <a:t> Konkurs międzyszkolny w wersji online wraz z wydarzeniami towarzyszącymi.</a:t>
          </a:r>
          <a:endParaRPr lang="en-US" sz="1300" kern="1200" dirty="0"/>
        </a:p>
      </dsp:txBody>
      <dsp:txXfrm>
        <a:off x="3320765" y="757533"/>
        <a:ext cx="4749298" cy="463699"/>
      </dsp:txXfrm>
    </dsp:sp>
    <dsp:sp modelId="{309BDF42-77A9-4E00-8D2C-CCAE06D588C0}">
      <dsp:nvSpPr>
        <dsp:cNvPr id="0" name=""/>
        <dsp:cNvSpPr/>
      </dsp:nvSpPr>
      <dsp:spPr>
        <a:xfrm>
          <a:off x="0" y="680250"/>
          <a:ext cx="3320765" cy="618265"/>
        </a:xfrm>
        <a:prstGeom prst="roundRect">
          <a:avLst/>
        </a:prstGeom>
        <a:solidFill>
          <a:schemeClr val="accent4"/>
        </a:solidFill>
        <a:ln w="12700" cap="flat" cmpd="sng" algn="ctr">
          <a:solidFill>
            <a:schemeClr val="accent4">
              <a:shade val="50000"/>
            </a:schemeClr>
          </a:solidFill>
          <a:prstDash val="solid"/>
          <a:miter lim="800000"/>
        </a:ln>
        <a:effectLst/>
      </dsp:spPr>
      <dsp:style>
        <a:lnRef idx="2">
          <a:schemeClr val="accent4">
            <a:shade val="50000"/>
          </a:schemeClr>
        </a:lnRef>
        <a:fillRef idx="1">
          <a:schemeClr val="accent4"/>
        </a:fillRef>
        <a:effectRef idx="0">
          <a:schemeClr val="accent4"/>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a:lnSpc>
              <a:spcPct val="90000"/>
            </a:lnSpc>
            <a:spcBef>
              <a:spcPct val="0"/>
            </a:spcBef>
            <a:spcAft>
              <a:spcPct val="35000"/>
            </a:spcAft>
            <a:buNone/>
          </a:pPr>
          <a:r>
            <a:rPr lang="pl-PL" sz="3100" kern="1200" dirty="0"/>
            <a:t>ETAP 2</a:t>
          </a:r>
          <a:endParaRPr lang="en-US" sz="3100" kern="1200" dirty="0"/>
        </a:p>
      </dsp:txBody>
      <dsp:txXfrm>
        <a:off x="30181" y="710431"/>
        <a:ext cx="3260403" cy="5579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D170C1-D41E-4012-A9C4-FE4776127D04}">
      <dsp:nvSpPr>
        <dsp:cNvPr id="0" name=""/>
        <dsp:cNvSpPr/>
      </dsp:nvSpPr>
      <dsp:spPr>
        <a:xfrm>
          <a:off x="2070545" y="1386654"/>
          <a:ext cx="1762498" cy="1524632"/>
        </a:xfrm>
        <a:prstGeom prst="hexagon">
          <a:avLst>
            <a:gd name="adj" fmla="val 28570"/>
            <a:gd name="vf" fmla="val 115470"/>
          </a:avLst>
        </a:prstGeom>
        <a:solidFill>
          <a:schemeClr val="accent4"/>
        </a:solidFill>
        <a:ln w="12700" cap="flat" cmpd="sng" algn="ctr">
          <a:solidFill>
            <a:schemeClr val="accent4">
              <a:shade val="50000"/>
            </a:schemeClr>
          </a:solidFill>
          <a:prstDash val="solid"/>
          <a:miter lim="800000"/>
        </a:ln>
        <a:effectLst/>
      </dsp:spPr>
      <dsp:style>
        <a:lnRef idx="2">
          <a:schemeClr val="accent4">
            <a:shade val="50000"/>
          </a:schemeClr>
        </a:lnRef>
        <a:fillRef idx="1">
          <a:schemeClr val="accent4"/>
        </a:fillRef>
        <a:effectRef idx="0">
          <a:schemeClr val="accent4"/>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pl-PL" sz="1200" b="1" kern="1200" dirty="0">
              <a:solidFill>
                <a:schemeClr val="bg1"/>
              </a:solidFill>
              <a:latin typeface="Arial Rounded MT Bold" panose="020F0704030504030204" pitchFamily="34" charset="0"/>
              <a:cs typeface="Aparajita" panose="020B0604020202020204" pitchFamily="34" charset="0"/>
            </a:rPr>
            <a:t>IT GIRLS rEVOLUTION ACADEMY</a:t>
          </a:r>
          <a:endParaRPr lang="en-US" sz="1200" kern="1200" dirty="0">
            <a:latin typeface="Arial Rounded MT Bold" panose="020F0704030504030204" pitchFamily="34" charset="0"/>
          </a:endParaRPr>
        </a:p>
      </dsp:txBody>
      <dsp:txXfrm>
        <a:off x="2362616" y="1639307"/>
        <a:ext cx="1178356" cy="1019326"/>
      </dsp:txXfrm>
    </dsp:sp>
    <dsp:sp modelId="{FC14A98E-271D-4762-9C9D-F54EE6D20881}">
      <dsp:nvSpPr>
        <dsp:cNvPr id="0" name=""/>
        <dsp:cNvSpPr/>
      </dsp:nvSpPr>
      <dsp:spPr>
        <a:xfrm>
          <a:off x="3174208" y="657220"/>
          <a:ext cx="664985" cy="57297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190B8A8-885A-4997-9B2D-302648A5DAB7}">
      <dsp:nvSpPr>
        <dsp:cNvPr id="0" name=""/>
        <dsp:cNvSpPr/>
      </dsp:nvSpPr>
      <dsp:spPr>
        <a:xfrm>
          <a:off x="2232897" y="0"/>
          <a:ext cx="1444354" cy="1249536"/>
        </a:xfrm>
        <a:prstGeom prst="hexagon">
          <a:avLst>
            <a:gd name="adj" fmla="val 28570"/>
            <a:gd name="vf" fmla="val 115470"/>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pl-PL" sz="900" kern="1200" dirty="0"/>
            <a:t>Są objęci programem szkolenia dostosowanego do potrzeb</a:t>
          </a:r>
          <a:endParaRPr lang="en-US" sz="900" kern="1200" dirty="0"/>
        </a:p>
      </dsp:txBody>
      <dsp:txXfrm>
        <a:off x="2472257" y="207075"/>
        <a:ext cx="965634" cy="835386"/>
      </dsp:txXfrm>
    </dsp:sp>
    <dsp:sp modelId="{444D9E87-1BA8-4E55-8319-24B2DB9051B9}">
      <dsp:nvSpPr>
        <dsp:cNvPr id="0" name=""/>
        <dsp:cNvSpPr/>
      </dsp:nvSpPr>
      <dsp:spPr>
        <a:xfrm>
          <a:off x="3950297" y="1728374"/>
          <a:ext cx="664985" cy="57297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A88B82-A719-4FC3-8F48-FE776A3EF735}">
      <dsp:nvSpPr>
        <dsp:cNvPr id="0" name=""/>
        <dsp:cNvSpPr/>
      </dsp:nvSpPr>
      <dsp:spPr>
        <a:xfrm>
          <a:off x="3557538" y="768548"/>
          <a:ext cx="1444354" cy="1249536"/>
        </a:xfrm>
        <a:prstGeom prst="hexagon">
          <a:avLst>
            <a:gd name="adj" fmla="val 28570"/>
            <a:gd name="vf" fmla="val 115470"/>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pl-PL" sz="900" kern="1200" dirty="0"/>
            <a:t>Biorą udział w Konkursie z atrakcyjnymi nagrodami</a:t>
          </a:r>
          <a:endParaRPr lang="en-US" sz="900" kern="1200" dirty="0"/>
        </a:p>
      </dsp:txBody>
      <dsp:txXfrm>
        <a:off x="3796898" y="975623"/>
        <a:ext cx="965634" cy="835386"/>
      </dsp:txXfrm>
    </dsp:sp>
    <dsp:sp modelId="{80C310C6-C96F-428D-87C0-7AEEE94D1ACE}">
      <dsp:nvSpPr>
        <dsp:cNvPr id="0" name=""/>
        <dsp:cNvSpPr/>
      </dsp:nvSpPr>
      <dsp:spPr>
        <a:xfrm>
          <a:off x="3411176" y="2937506"/>
          <a:ext cx="664985" cy="57297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5AA1AE1-E6CA-40E5-9938-092EC78C9226}">
      <dsp:nvSpPr>
        <dsp:cNvPr id="0" name=""/>
        <dsp:cNvSpPr/>
      </dsp:nvSpPr>
      <dsp:spPr>
        <a:xfrm>
          <a:off x="3557538" y="2279426"/>
          <a:ext cx="1444354" cy="1249536"/>
        </a:xfrm>
        <a:prstGeom prst="hexagon">
          <a:avLst>
            <a:gd name="adj" fmla="val 28570"/>
            <a:gd name="vf" fmla="val 115470"/>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pl-PL" sz="900" kern="1200" dirty="0"/>
            <a:t>Wymagany jedynie dostęp do komputera z kamerą i internetu </a:t>
          </a:r>
          <a:endParaRPr lang="en-US" sz="900" kern="1200" dirty="0"/>
        </a:p>
      </dsp:txBody>
      <dsp:txXfrm>
        <a:off x="3796898" y="2486501"/>
        <a:ext cx="965634" cy="835386"/>
      </dsp:txXfrm>
    </dsp:sp>
    <dsp:sp modelId="{477C3F0B-E2C1-4FE5-8819-694E24B3ECEF}">
      <dsp:nvSpPr>
        <dsp:cNvPr id="0" name=""/>
        <dsp:cNvSpPr/>
      </dsp:nvSpPr>
      <dsp:spPr>
        <a:xfrm>
          <a:off x="2073825" y="3063019"/>
          <a:ext cx="664985" cy="57297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DE69CB-41DC-4DDD-8EA5-5A7D88F6D4FB}">
      <dsp:nvSpPr>
        <dsp:cNvPr id="0" name=""/>
        <dsp:cNvSpPr/>
      </dsp:nvSpPr>
      <dsp:spPr>
        <a:xfrm>
          <a:off x="2232897" y="3048834"/>
          <a:ext cx="1444354" cy="1249536"/>
        </a:xfrm>
        <a:prstGeom prst="hexagon">
          <a:avLst>
            <a:gd name="adj" fmla="val 28570"/>
            <a:gd name="vf" fmla="val 115470"/>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pl-PL" sz="900" kern="1200" dirty="0"/>
            <a:t>Otrzymują certyfikat udziału w Akademii IT </a:t>
          </a:r>
          <a:endParaRPr lang="en-US" sz="900" kern="1200" dirty="0"/>
        </a:p>
      </dsp:txBody>
      <dsp:txXfrm>
        <a:off x="2472257" y="3255909"/>
        <a:ext cx="965634" cy="835386"/>
      </dsp:txXfrm>
    </dsp:sp>
    <dsp:sp modelId="{593C0546-D33C-479A-85EA-62E6DB76B0F4}">
      <dsp:nvSpPr>
        <dsp:cNvPr id="0" name=""/>
        <dsp:cNvSpPr/>
      </dsp:nvSpPr>
      <dsp:spPr>
        <a:xfrm>
          <a:off x="1285026" y="1992294"/>
          <a:ext cx="664985" cy="57297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77D69A-8A21-4665-BEE9-C2E129749208}">
      <dsp:nvSpPr>
        <dsp:cNvPr id="0" name=""/>
        <dsp:cNvSpPr/>
      </dsp:nvSpPr>
      <dsp:spPr>
        <a:xfrm>
          <a:off x="902106" y="2280285"/>
          <a:ext cx="1444354" cy="1249536"/>
        </a:xfrm>
        <a:prstGeom prst="hexagon">
          <a:avLst>
            <a:gd name="adj" fmla="val 28570"/>
            <a:gd name="vf" fmla="val 115470"/>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pl-PL" sz="900" kern="1200" dirty="0"/>
            <a:t>Uzyskują dodatkowe wsparcie partnerów i sponsorów projektu </a:t>
          </a:r>
          <a:endParaRPr lang="en-US" sz="900" kern="1200" dirty="0"/>
        </a:p>
      </dsp:txBody>
      <dsp:txXfrm>
        <a:off x="1141466" y="2487360"/>
        <a:ext cx="965634" cy="835386"/>
      </dsp:txXfrm>
    </dsp:sp>
    <dsp:sp modelId="{D4EEE5E6-61DC-4888-821A-FEE61F72E8F7}">
      <dsp:nvSpPr>
        <dsp:cNvPr id="0" name=""/>
        <dsp:cNvSpPr/>
      </dsp:nvSpPr>
      <dsp:spPr>
        <a:xfrm>
          <a:off x="902106" y="766829"/>
          <a:ext cx="1444354" cy="1249536"/>
        </a:xfrm>
        <a:prstGeom prst="hexagon">
          <a:avLst>
            <a:gd name="adj" fmla="val 28570"/>
            <a:gd name="vf" fmla="val 115470"/>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pl-PL" sz="900" kern="1200" dirty="0"/>
            <a:t>Uzyskują możliwość poznania pracy w firmie IT „od kuchni”</a:t>
          </a:r>
          <a:endParaRPr lang="en-US" sz="900" kern="1200" dirty="0"/>
        </a:p>
      </dsp:txBody>
      <dsp:txXfrm>
        <a:off x="1141466" y="973904"/>
        <a:ext cx="965634" cy="83538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1000" dirty="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1000" smtClean="0"/>
              <a:pPr/>
              <a:t>24/06/2020</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1000" dirty="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1000" smtClean="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0835B8F7-DAC4-4931-8AED-4356A8B2FD64}" type="datetimeFigureOut">
              <a:rPr lang="pt-BR" smtClean="0"/>
              <a:pPr/>
              <a:t>24/06/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 </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pt-BR"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C0696B5C-12A0-4042-B4D0-BD3B9A4F58C6}" type="slidenum">
              <a:rPr lang="pt-BR" smtClean="0"/>
              <a:pPr/>
              <a:t>‹#›</a:t>
            </a:fld>
            <a:endParaRPr lang="pt-BR" dirty="0"/>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3</a:t>
            </a:fld>
            <a:endParaRPr lang="pt-BR" dirty="0"/>
          </a:p>
        </p:txBody>
      </p:sp>
    </p:spTree>
    <p:extLst>
      <p:ext uri="{BB962C8B-B14F-4D97-AF65-F5344CB8AC3E}">
        <p14:creationId xmlns:p14="http://schemas.microsoft.com/office/powerpoint/2010/main" val="1803091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4</a:t>
            </a:fld>
            <a:endParaRPr lang="pt-BR" dirty="0"/>
          </a:p>
        </p:txBody>
      </p:sp>
    </p:spTree>
    <p:extLst>
      <p:ext uri="{BB962C8B-B14F-4D97-AF65-F5344CB8AC3E}">
        <p14:creationId xmlns:p14="http://schemas.microsoft.com/office/powerpoint/2010/main" val="763915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7</a:t>
            </a:fld>
            <a:endParaRPr lang="pt-BR" dirty="0"/>
          </a:p>
        </p:txBody>
      </p:sp>
    </p:spTree>
    <p:extLst>
      <p:ext uri="{BB962C8B-B14F-4D97-AF65-F5344CB8AC3E}">
        <p14:creationId xmlns:p14="http://schemas.microsoft.com/office/powerpoint/2010/main" val="4009056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8</a:t>
            </a:fld>
            <a:endParaRPr lang="pt-BR" dirty="0"/>
          </a:p>
        </p:txBody>
      </p:sp>
    </p:spTree>
    <p:extLst>
      <p:ext uri="{BB962C8B-B14F-4D97-AF65-F5344CB8AC3E}">
        <p14:creationId xmlns:p14="http://schemas.microsoft.com/office/powerpoint/2010/main" val="4069358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9</a:t>
            </a:fld>
            <a:endParaRPr lang="pt-BR" dirty="0"/>
          </a:p>
        </p:txBody>
      </p:sp>
    </p:spTree>
    <p:extLst>
      <p:ext uri="{BB962C8B-B14F-4D97-AF65-F5344CB8AC3E}">
        <p14:creationId xmlns:p14="http://schemas.microsoft.com/office/powerpoint/2010/main" val="1334850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0</a:t>
            </a:fld>
            <a:endParaRPr lang="pt-BR" dirty="0"/>
          </a:p>
        </p:txBody>
      </p:sp>
    </p:spTree>
    <p:extLst>
      <p:ext uri="{BB962C8B-B14F-4D97-AF65-F5344CB8AC3E}">
        <p14:creationId xmlns:p14="http://schemas.microsoft.com/office/powerpoint/2010/main" val="2484623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1</a:t>
            </a:fld>
            <a:endParaRPr lang="pt-BR" dirty="0"/>
          </a:p>
        </p:txBody>
      </p:sp>
    </p:spTree>
    <p:extLst>
      <p:ext uri="{BB962C8B-B14F-4D97-AF65-F5344CB8AC3E}">
        <p14:creationId xmlns:p14="http://schemas.microsoft.com/office/powerpoint/2010/main" val="5920800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10.png"/><Relationship Id="rId7" Type="http://schemas.openxmlformats.org/officeDocument/2006/relationships/image" Target="../media/image12.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genda with Bullets">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10113F8D-52D8-4246-B9BC-1A6D3EF8C72C}"/>
              </a:ext>
            </a:extLst>
          </p:cNvPr>
          <p:cNvPicPr>
            <a:picLocks noChangeAspect="1"/>
          </p:cNvPicPr>
          <p:nvPr userDrawn="1"/>
        </p:nvPicPr>
        <p:blipFill>
          <a:blip cstate="print"/>
          <a:srcRect b="25000"/>
          <a:stretch>
            <a:fillRect/>
          </a:stretch>
        </p:blipFill>
        <p:spPr>
          <a:xfrm>
            <a:off x="0" y="1485900"/>
            <a:ext cx="6423098" cy="5372100"/>
          </a:xfrm>
          <a:custGeom>
            <a:avLst/>
            <a:gdLst>
              <a:gd name="connsiteX0" fmla="*/ 0 w 6149773"/>
              <a:gd name="connsiteY0" fmla="*/ 0 h 5143500"/>
              <a:gd name="connsiteX1" fmla="*/ 6149773 w 6149773"/>
              <a:gd name="connsiteY1" fmla="*/ 0 h 5143500"/>
              <a:gd name="connsiteX2" fmla="*/ 6149773 w 6149773"/>
              <a:gd name="connsiteY2" fmla="*/ 5143500 h 5143500"/>
              <a:gd name="connsiteX3" fmla="*/ 0 w 614977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6149773" h="5143500">
                <a:moveTo>
                  <a:pt x="0" y="0"/>
                </a:moveTo>
                <a:lnTo>
                  <a:pt x="6149773" y="0"/>
                </a:lnTo>
                <a:lnTo>
                  <a:pt x="6149773" y="5143500"/>
                </a:lnTo>
                <a:lnTo>
                  <a:pt x="0" y="5143500"/>
                </a:lnTo>
                <a:close/>
              </a:path>
            </a:pathLst>
          </a:custGeom>
        </p:spPr>
      </p:pic>
      <p:sp>
        <p:nvSpPr>
          <p:cNvPr id="39" name="Text Placeholder 7">
            <a:extLst>
              <a:ext uri="{FF2B5EF4-FFF2-40B4-BE49-F238E27FC236}">
                <a16:creationId xmlns:a16="http://schemas.microsoft.com/office/drawing/2014/main" id="{3E908611-FBB7-4987-BE0F-F09EAF1FFC80}"/>
              </a:ext>
            </a:extLst>
          </p:cNvPr>
          <p:cNvSpPr>
            <a:spLocks noGrp="1"/>
          </p:cNvSpPr>
          <p:nvPr>
            <p:ph type="body" sz="quarter" idx="11" hasCustomPrompt="1"/>
          </p:nvPr>
        </p:nvSpPr>
        <p:spPr>
          <a:xfrm>
            <a:off x="8075612" y="12684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306025B9-0362-4974-8920-7C764289CBA0}"/>
              </a:ext>
            </a:extLst>
          </p:cNvPr>
          <p:cNvSpPr>
            <a:spLocks noGrp="1"/>
          </p:cNvSpPr>
          <p:nvPr>
            <p:ph type="body" sz="quarter" idx="12" hasCustomPrompt="1"/>
          </p:nvPr>
        </p:nvSpPr>
        <p:spPr>
          <a:xfrm>
            <a:off x="8075612" y="1927538"/>
            <a:ext cx="3708401" cy="555448"/>
          </a:xfrm>
          <a:prstGeom prst="rect">
            <a:avLst/>
          </a:prstGeom>
        </p:spPr>
        <p:txBody>
          <a:bodyPr anchor="ctr">
            <a:noAutofit/>
          </a:bodyPr>
          <a:lstStyle>
            <a:lvl1pPr marL="0" marR="0" indent="0" algn="l" defTabSz="914400" rtl="0" eaLnBrk="1" fontAlgn="auto" latinLnBrk="0" hangingPunct="1">
              <a:lnSpc>
                <a:spcPts val="1600"/>
              </a:lnSpc>
              <a:spcBef>
                <a:spcPts val="0"/>
              </a:spcBef>
              <a:spcAft>
                <a:spcPts val="600"/>
              </a:spcAft>
              <a:buClrTx/>
              <a:buSzTx/>
              <a:buFont typeface="Arial" panose="020B0604020202020204" pitchFamily="34" charset="0"/>
              <a:buNone/>
              <a:tabLs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1" name="Text Placeholder 7">
            <a:extLst>
              <a:ext uri="{FF2B5EF4-FFF2-40B4-BE49-F238E27FC236}">
                <a16:creationId xmlns:a16="http://schemas.microsoft.com/office/drawing/2014/main" id="{257644F2-F28D-4087-B791-1E7F26C4AD1C}"/>
              </a:ext>
            </a:extLst>
          </p:cNvPr>
          <p:cNvSpPr>
            <a:spLocks noGrp="1"/>
          </p:cNvSpPr>
          <p:nvPr>
            <p:ph type="body" sz="quarter" idx="13" hasCustomPrompt="1"/>
          </p:nvPr>
        </p:nvSpPr>
        <p:spPr>
          <a:xfrm>
            <a:off x="8075612" y="25866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2" name="Text Placeholder 7">
            <a:extLst>
              <a:ext uri="{FF2B5EF4-FFF2-40B4-BE49-F238E27FC236}">
                <a16:creationId xmlns:a16="http://schemas.microsoft.com/office/drawing/2014/main" id="{25F62A33-F672-4099-9B72-9B2267F22ACF}"/>
              </a:ext>
            </a:extLst>
          </p:cNvPr>
          <p:cNvSpPr>
            <a:spLocks noGrp="1"/>
          </p:cNvSpPr>
          <p:nvPr>
            <p:ph type="body" sz="quarter" idx="14" hasCustomPrompt="1"/>
          </p:nvPr>
        </p:nvSpPr>
        <p:spPr>
          <a:xfrm>
            <a:off x="8075612" y="324578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7">
            <a:extLst>
              <a:ext uri="{FF2B5EF4-FFF2-40B4-BE49-F238E27FC236}">
                <a16:creationId xmlns:a16="http://schemas.microsoft.com/office/drawing/2014/main" id="{72FF6EE1-C46D-4DEB-A508-49B5101CF26E}"/>
              </a:ext>
            </a:extLst>
          </p:cNvPr>
          <p:cNvSpPr>
            <a:spLocks noGrp="1"/>
          </p:cNvSpPr>
          <p:nvPr>
            <p:ph type="body" sz="quarter" idx="15" hasCustomPrompt="1"/>
          </p:nvPr>
        </p:nvSpPr>
        <p:spPr>
          <a:xfrm>
            <a:off x="8075612" y="390491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4" name="Text Placeholder 7">
            <a:extLst>
              <a:ext uri="{FF2B5EF4-FFF2-40B4-BE49-F238E27FC236}">
                <a16:creationId xmlns:a16="http://schemas.microsoft.com/office/drawing/2014/main" id="{931D06D9-EA9B-42A0-81EE-D669D6CA5F33}"/>
              </a:ext>
            </a:extLst>
          </p:cNvPr>
          <p:cNvSpPr>
            <a:spLocks noGrp="1"/>
          </p:cNvSpPr>
          <p:nvPr>
            <p:ph type="body" sz="quarter" idx="16" hasCustomPrompt="1"/>
          </p:nvPr>
        </p:nvSpPr>
        <p:spPr>
          <a:xfrm>
            <a:off x="8075612" y="4564038"/>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5" name="Text Placeholder 7">
            <a:extLst>
              <a:ext uri="{FF2B5EF4-FFF2-40B4-BE49-F238E27FC236}">
                <a16:creationId xmlns:a16="http://schemas.microsoft.com/office/drawing/2014/main" id="{EFEA829A-6217-4965-B7BD-6BC37F7849AB}"/>
              </a:ext>
            </a:extLst>
          </p:cNvPr>
          <p:cNvSpPr>
            <a:spLocks noGrp="1"/>
          </p:cNvSpPr>
          <p:nvPr>
            <p:ph type="body" sz="quarter" idx="17" hasCustomPrompt="1"/>
          </p:nvPr>
        </p:nvSpPr>
        <p:spPr>
          <a:xfrm>
            <a:off x="8075612" y="5223163"/>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6" name="Text Placeholder 7">
            <a:extLst>
              <a:ext uri="{FF2B5EF4-FFF2-40B4-BE49-F238E27FC236}">
                <a16:creationId xmlns:a16="http://schemas.microsoft.com/office/drawing/2014/main" id="{E05DDB93-91CA-4BAF-9D63-E4134B435D8F}"/>
              </a:ext>
            </a:extLst>
          </p:cNvPr>
          <p:cNvSpPr>
            <a:spLocks noGrp="1"/>
          </p:cNvSpPr>
          <p:nvPr>
            <p:ph type="body" sz="quarter" idx="18" hasCustomPrompt="1"/>
          </p:nvPr>
        </p:nvSpPr>
        <p:spPr>
          <a:xfrm>
            <a:off x="8075612" y="5882286"/>
            <a:ext cx="3708401" cy="555448"/>
          </a:xfrm>
          <a:prstGeom prst="rect">
            <a:avLst/>
          </a:prstGeom>
        </p:spPr>
        <p:txBody>
          <a:bodyPr anchor="ctr">
            <a:noAutofit/>
          </a:bodyPr>
          <a:lstStyle>
            <a:lvl1pPr>
              <a:lnSpc>
                <a:spcPts val="1600"/>
              </a:lnSpc>
              <a:spcBef>
                <a:spcPts val="0"/>
              </a:spcBef>
              <a:spcAft>
                <a:spcPts val="600"/>
              </a:spcAft>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8" name="Picture Placeholder 47">
            <a:extLst>
              <a:ext uri="{FF2B5EF4-FFF2-40B4-BE49-F238E27FC236}">
                <a16:creationId xmlns:a16="http://schemas.microsoft.com/office/drawing/2014/main" id="{51CA337D-4B25-44C1-847A-AC0D74277B60}"/>
              </a:ext>
            </a:extLst>
          </p:cNvPr>
          <p:cNvSpPr>
            <a:spLocks noGrp="1"/>
          </p:cNvSpPr>
          <p:nvPr>
            <p:ph type="pic" sz="quarter" idx="19"/>
          </p:nvPr>
        </p:nvSpPr>
        <p:spPr>
          <a:xfrm>
            <a:off x="0" y="1381125"/>
            <a:ext cx="7494588" cy="5476875"/>
          </a:xfrm>
          <a:prstGeom prst="rect">
            <a:avLst/>
          </a:prstGeom>
        </p:spPr>
        <p:txBody>
          <a:bodyPr anchor="ctr"/>
          <a:lstStyle>
            <a:lvl1pPr algn="ctr">
              <a:defRPr/>
            </a:lvl1pPr>
          </a:lstStyle>
          <a:p>
            <a:endParaRPr lang="pt-PT"/>
          </a:p>
        </p:txBody>
      </p:sp>
      <p:sp>
        <p:nvSpPr>
          <p:cNvPr id="1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5"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pPr algn="r"/>
              <a:t>‹#›</a:t>
            </a:fld>
            <a:endParaRPr lang="en-US" sz="800" dirty="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575807" y="6557497"/>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id="{F376ABD1-4930-42EB-9A73-9A9C7C6BF2D3}"/>
              </a:ext>
            </a:extLst>
          </p:cNvPr>
          <p:cNvSpPr/>
          <p:nvPr userDrawn="1"/>
        </p:nvSpPr>
        <p:spPr>
          <a:xfrm>
            <a:off x="407988" y="6555971"/>
            <a:ext cx="2829007" cy="219456"/>
          </a:xfrm>
          <a:prstGeom prst="rect">
            <a:avLst/>
          </a:prstGeom>
        </p:spPr>
        <p:txBody>
          <a:bodyPr wrap="square" lIns="0" tIns="0" rIns="0" bIns="0" anchor="ctr" anchorCtr="0">
            <a:noAutofit/>
          </a:bodyPr>
          <a:lstStyle/>
          <a:p>
            <a:pPr lvl="0" algn="l" defTabSz="914400">
              <a:lnSpc>
                <a:spcPct val="85000"/>
              </a:lnSpc>
              <a:defRPr/>
            </a:pPr>
            <a:r>
              <a:rPr lang="pl-PL" sz="800" kern="0" dirty="0">
                <a:solidFill>
                  <a:srgbClr val="00458D"/>
                </a:solidFill>
                <a:latin typeface="+mj-lt"/>
                <a:cs typeface="Arial" panose="020B0604020202020204" pitchFamily="34" charset="0"/>
              </a:rPr>
              <a:t>Induction BSv 2017</a:t>
            </a:r>
            <a:endParaRPr lang="en-US" sz="800" kern="0" dirty="0">
              <a:solidFill>
                <a:srgbClr val="00458D"/>
              </a:solidFill>
              <a:latin typeface="+mj-lt"/>
              <a:cs typeface="Arial" panose="020B0604020202020204" pitchFamily="34" charset="0"/>
            </a:endParaRPr>
          </a:p>
        </p:txBody>
      </p:sp>
      <p:sp>
        <p:nvSpPr>
          <p:cNvPr id="21" name="Retângulo 43">
            <a:extLst>
              <a:ext uri="{FF2B5EF4-FFF2-40B4-BE49-F238E27FC236}">
                <a16:creationId xmlns:a16="http://schemas.microsoft.com/office/drawing/2014/main" id="{834ADCB4-BFB1-450D-8F6D-64217F4CD92C}"/>
              </a:ext>
            </a:extLst>
          </p:cNvPr>
          <p:cNvSpPr/>
          <p:nvPr userDrawn="1"/>
        </p:nvSpPr>
        <p:spPr>
          <a:xfrm>
            <a:off x="1703512" y="6525344"/>
            <a:ext cx="2223686" cy="219456"/>
          </a:xfrm>
          <a:prstGeom prst="rect">
            <a:avLst/>
          </a:prstGeom>
        </p:spPr>
        <p:txBody>
          <a:bodyPr wrap="none" lIns="0" tIns="0" rIns="0" bIns="0" anchor="ctr">
            <a:noAutofit/>
          </a:bodyPr>
          <a:lstStyle/>
          <a:p>
            <a:pPr algn="l"/>
            <a:r>
              <a:rPr lang="en-US" sz="800" dirty="0">
                <a:solidFill>
                  <a:schemeClr val="bg1"/>
                </a:solidFill>
                <a:cs typeface="Arial" panose="020B0604020202020204" pitchFamily="34" charset="0"/>
              </a:rPr>
              <a:t>© 2017 Capgemini. All rights reserved.</a:t>
            </a:r>
          </a:p>
        </p:txBody>
      </p:sp>
    </p:spTree>
    <p:extLst>
      <p:ext uri="{BB962C8B-B14F-4D97-AF65-F5344CB8AC3E}">
        <p14:creationId xmlns:p14="http://schemas.microsoft.com/office/powerpoint/2010/main" val="416374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3 bullets with highlights">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55EBB8-DB3C-45D2-B02F-0B36A58E555B}"/>
              </a:ext>
            </a:extLst>
          </p:cNvPr>
          <p:cNvSpPr/>
          <p:nvPr userDrawn="1"/>
        </p:nvSpPr>
        <p:spPr>
          <a:xfrm>
            <a:off x="-1" y="0"/>
            <a:ext cx="12192001"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4" name="Graphic 41">
            <a:extLst>
              <a:ext uri="{FF2B5EF4-FFF2-40B4-BE49-F238E27FC236}">
                <a16:creationId xmlns:a16="http://schemas.microsoft.com/office/drawing/2014/main" id="{39882BC4-7320-49FC-B1BE-AEB377EFC01A}"/>
              </a:ext>
            </a:extLst>
          </p:cNvPr>
          <p:cNvPicPr>
            <a:picLocks noChangeAspect="1"/>
          </p:cNvPicPr>
          <p:nvPr userDrawn="1"/>
        </p:nvPicPr>
        <p:blipFill>
          <a:blip r:embed="rId2" cstate="print">
            <a:extLst>
              <a:ext uri="{96DAC541-7B7A-43D3-8B79-37D633B846F1}">
                <asvg:svgBlip xmlns:asvg="http://schemas.microsoft.com/office/drawing/2016/SVG/main" r:embed="rId3"/>
              </a:ext>
            </a:extLst>
          </a:blip>
          <a:srcRect t="7669"/>
          <a:stretch>
            <a:fillRect/>
          </a:stretch>
        </p:blipFill>
        <p:spPr>
          <a:xfrm rot="7221508" flipH="1" flipV="1">
            <a:off x="-572873" y="-1127211"/>
            <a:ext cx="5160005" cy="4856234"/>
          </a:xfrm>
          <a:custGeom>
            <a:avLst/>
            <a:gdLst>
              <a:gd name="connsiteX0" fmla="*/ 0 w 6728158"/>
              <a:gd name="connsiteY0" fmla="*/ 6332069 h 6332069"/>
              <a:gd name="connsiteX1" fmla="*/ 6728158 w 6728158"/>
              <a:gd name="connsiteY1" fmla="*/ 6332069 h 6332069"/>
              <a:gd name="connsiteX2" fmla="*/ 6728158 w 6728158"/>
              <a:gd name="connsiteY2" fmla="*/ 5480387 h 6332069"/>
              <a:gd name="connsiteX3" fmla="*/ 3518172 w 6728158"/>
              <a:gd name="connsiteY3" fmla="*/ 0 h 6332069"/>
              <a:gd name="connsiteX4" fmla="*/ 0 w 6728158"/>
              <a:gd name="connsiteY4" fmla="*/ 2060673 h 6332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8158" h="6332069">
                <a:moveTo>
                  <a:pt x="0" y="6332069"/>
                </a:moveTo>
                <a:lnTo>
                  <a:pt x="6728158" y="6332069"/>
                </a:lnTo>
                <a:lnTo>
                  <a:pt x="6728158" y="5480387"/>
                </a:lnTo>
                <a:lnTo>
                  <a:pt x="3518172" y="0"/>
                </a:lnTo>
                <a:lnTo>
                  <a:pt x="0" y="2060673"/>
                </a:lnTo>
                <a:close/>
              </a:path>
            </a:pathLst>
          </a:custGeom>
        </p:spPr>
      </p:pic>
      <p:sp>
        <p:nvSpPr>
          <p:cNvPr id="27" name="Text Placeholder 7">
            <a:extLst>
              <a:ext uri="{FF2B5EF4-FFF2-40B4-BE49-F238E27FC236}">
                <a16:creationId xmlns:a16="http://schemas.microsoft.com/office/drawing/2014/main" id="{9949BCD6-E419-4ED2-9061-402DD5FF2406}"/>
              </a:ext>
            </a:extLst>
          </p:cNvPr>
          <p:cNvSpPr>
            <a:spLocks noGrp="1"/>
          </p:cNvSpPr>
          <p:nvPr>
            <p:ph type="body" sz="quarter" idx="38" hasCustomPrompt="1"/>
          </p:nvPr>
        </p:nvSpPr>
        <p:spPr>
          <a:xfrm>
            <a:off x="426716" y="3367132"/>
            <a:ext cx="3670826" cy="2993216"/>
          </a:xfrm>
          <a:prstGeom prst="rect">
            <a:avLst/>
          </a:prstGeom>
        </p:spPr>
        <p:txBody>
          <a:bodyPr>
            <a:noAutofit/>
          </a:bodyPr>
          <a:lstStyle>
            <a:lvl1pPr>
              <a:lnSpc>
                <a:spcPts val="2200"/>
              </a:lnSpc>
              <a:defRPr sz="1800"/>
            </a:lvl1pPr>
            <a:lvl2pPr>
              <a:lnSpc>
                <a:spcPts val="1800"/>
              </a:lnSpc>
              <a:buClr>
                <a:schemeClr val="accent3"/>
              </a:buClr>
              <a:defRPr sz="1600"/>
            </a:lvl2pPr>
            <a:lvl3pPr>
              <a:lnSpc>
                <a:spcPts val="1600"/>
              </a:lnSpc>
              <a:buClr>
                <a:schemeClr val="accent3"/>
              </a:buClr>
              <a:defRPr sz="1400"/>
            </a:lvl3pPr>
            <a:lvl4pPr>
              <a:lnSpc>
                <a:spcPts val="1400"/>
              </a:lnSpc>
              <a:buClr>
                <a:schemeClr val="accent3"/>
              </a:buClr>
              <a:defRPr sz="1200"/>
            </a:lvl4pPr>
            <a:lvl5pPr>
              <a:lnSpc>
                <a:spcPct val="100000"/>
              </a:lnSpc>
              <a:defRPr sz="1200"/>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2"/>
            <a:ext cx="2663676" cy="1584027"/>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6"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917889" y="825195"/>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6917889" y="1268413"/>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3" name="Text Placeholder 4">
            <a:extLst>
              <a:ext uri="{FF2B5EF4-FFF2-40B4-BE49-F238E27FC236}">
                <a16:creationId xmlns:a16="http://schemas.microsoft.com/office/drawing/2014/main" id="{04C1CAD0-39C3-4CE2-A9E9-8CA99EFF5357}"/>
              </a:ext>
            </a:extLst>
          </p:cNvPr>
          <p:cNvSpPr>
            <a:spLocks noGrp="1"/>
          </p:cNvSpPr>
          <p:nvPr>
            <p:ph type="body" sz="quarter" idx="39" hasCustomPrompt="1"/>
          </p:nvPr>
        </p:nvSpPr>
        <p:spPr>
          <a:xfrm>
            <a:off x="6917889" y="2583858"/>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4" name="Text Placeholder 7">
            <a:extLst>
              <a:ext uri="{FF2B5EF4-FFF2-40B4-BE49-F238E27FC236}">
                <a16:creationId xmlns:a16="http://schemas.microsoft.com/office/drawing/2014/main" id="{9228FC83-C11D-47F2-8BDE-B10D125E5E87}"/>
              </a:ext>
            </a:extLst>
          </p:cNvPr>
          <p:cNvSpPr>
            <a:spLocks noGrp="1"/>
          </p:cNvSpPr>
          <p:nvPr>
            <p:ph type="body" sz="quarter" idx="40" hasCustomPrompt="1"/>
          </p:nvPr>
        </p:nvSpPr>
        <p:spPr>
          <a:xfrm>
            <a:off x="6917889" y="3027076"/>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35" name="Text Placeholder 4">
            <a:extLst>
              <a:ext uri="{FF2B5EF4-FFF2-40B4-BE49-F238E27FC236}">
                <a16:creationId xmlns:a16="http://schemas.microsoft.com/office/drawing/2014/main" id="{04C1CAD0-39C3-4CE2-A9E9-8CA99EFF5357}"/>
              </a:ext>
            </a:extLst>
          </p:cNvPr>
          <p:cNvSpPr>
            <a:spLocks noGrp="1"/>
          </p:cNvSpPr>
          <p:nvPr>
            <p:ph type="body" sz="quarter" idx="41" hasCustomPrompt="1"/>
          </p:nvPr>
        </p:nvSpPr>
        <p:spPr>
          <a:xfrm>
            <a:off x="6917889" y="4361680"/>
            <a:ext cx="4866123" cy="412363"/>
          </a:xfrm>
          <a:prstGeom prst="rect">
            <a:avLst/>
          </a:prstGeom>
          <a:noFill/>
        </p:spPr>
        <p:txBody>
          <a:bodyPr anchor="ctr">
            <a:noAutofit/>
          </a:bodyPr>
          <a:lstStyle>
            <a:lvl1pPr algn="l">
              <a:defRPr sz="1800" b="0">
                <a:solidFill>
                  <a:schemeClr val="tx2"/>
                </a:solidFill>
              </a:defRPr>
            </a:lvl1pPr>
            <a:lvl2pPr>
              <a:defRPr sz="1400"/>
            </a:lvl2pPr>
            <a:lvl3pPr>
              <a:defRPr sz="1200"/>
            </a:lvl3pPr>
            <a:lvl4pPr>
              <a:defRPr sz="1100"/>
            </a:lvl4pPr>
            <a:lvl5pPr>
              <a:defRPr sz="1100"/>
            </a:lvl5pPr>
          </a:lstStyle>
          <a:p>
            <a:pPr lvl="0"/>
            <a:r>
              <a:rPr lang="en-US" dirty="0"/>
              <a:t>Click to insert title</a:t>
            </a:r>
          </a:p>
        </p:txBody>
      </p:sp>
      <p:sp>
        <p:nvSpPr>
          <p:cNvPr id="36" name="Text Placeholder 7">
            <a:extLst>
              <a:ext uri="{FF2B5EF4-FFF2-40B4-BE49-F238E27FC236}">
                <a16:creationId xmlns:a16="http://schemas.microsoft.com/office/drawing/2014/main" id="{9228FC83-C11D-47F2-8BDE-B10D125E5E87}"/>
              </a:ext>
            </a:extLst>
          </p:cNvPr>
          <p:cNvSpPr>
            <a:spLocks noGrp="1"/>
          </p:cNvSpPr>
          <p:nvPr>
            <p:ph type="body" sz="quarter" idx="42" hasCustomPrompt="1"/>
          </p:nvPr>
        </p:nvSpPr>
        <p:spPr>
          <a:xfrm>
            <a:off x="6917889" y="4804898"/>
            <a:ext cx="4866123" cy="996793"/>
          </a:xfrm>
          <a:prstGeom prst="rect">
            <a:avLst/>
          </a:prstGeom>
        </p:spPr>
        <p:txBody>
          <a:bodyPr>
            <a:noAutofit/>
          </a:bodyPr>
          <a:lstStyle>
            <a:lvl1pPr>
              <a:lnSpc>
                <a:spcPts val="1600"/>
              </a:lnSpc>
              <a:defRPr sz="1400">
                <a:solidFill>
                  <a:schemeClr val="tx1"/>
                </a:solidFill>
              </a:defRPr>
            </a:lvl1pPr>
            <a:lvl2pPr marL="173038" indent="-168275">
              <a:lnSpc>
                <a:spcPts val="1400"/>
              </a:lnSpc>
              <a:buClr>
                <a:schemeClr val="accent3"/>
              </a:buClr>
              <a:defRPr sz="1200">
                <a:solidFill>
                  <a:schemeClr val="tx1"/>
                </a:solidFill>
              </a:defRPr>
            </a:lvl2pPr>
            <a:lvl3pPr marL="347663" indent="-174625">
              <a:lnSpc>
                <a:spcPts val="1400"/>
              </a:lnSpc>
              <a:buClr>
                <a:schemeClr val="accent3"/>
              </a:buClr>
              <a:defRPr sz="1200">
                <a:solidFill>
                  <a:schemeClr val="tx1"/>
                </a:solidFill>
              </a:defRPr>
            </a:lvl3pPr>
            <a:lvl4pPr marL="509588" indent="-161925">
              <a:lnSpc>
                <a:spcPts val="1200"/>
              </a:lnSpc>
              <a:buClr>
                <a:schemeClr val="accent3"/>
              </a:buClr>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2" name="Retângulo 43">
            <a:extLst>
              <a:ext uri="{FF2B5EF4-FFF2-40B4-BE49-F238E27FC236}">
                <a16:creationId xmlns:a16="http://schemas.microsoft.com/office/drawing/2014/main" id="{C2E63A62-692E-7D45-8A9B-EE8FB62BC39E}"/>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8" name="Text Placeholder 7">
            <a:extLst>
              <a:ext uri="{FF2B5EF4-FFF2-40B4-BE49-F238E27FC236}">
                <a16:creationId xmlns:a16="http://schemas.microsoft.com/office/drawing/2014/main" id="{B10AD5F4-EACA-7949-85E1-FA005DAD765E}"/>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a:t>
            </a:r>
            <a:r>
              <a:rPr lang="pl-PL" dirty="0">
                <a:solidFill>
                  <a:schemeClr val="bg1">
                    <a:lumMod val="65000"/>
                  </a:schemeClr>
                </a:solidFill>
              </a:rPr>
              <a:t>20</a:t>
            </a:r>
            <a:r>
              <a:rPr lang="en-US" dirty="0">
                <a:solidFill>
                  <a:schemeClr val="bg1">
                    <a:lumMod val="65000"/>
                  </a:schemeClr>
                </a:solidFill>
              </a:rPr>
              <a:t>. All rights reserved  </a:t>
            </a:r>
            <a:r>
              <a:rPr lang="en-US" dirty="0">
                <a:solidFill>
                  <a:schemeClr val="accent2"/>
                </a:solidFill>
              </a:rPr>
              <a:t>|</a:t>
            </a:r>
          </a:p>
        </p:txBody>
      </p:sp>
    </p:spTree>
    <p:extLst>
      <p:ext uri="{BB962C8B-B14F-4D97-AF65-F5344CB8AC3E}">
        <p14:creationId xmlns:p14="http://schemas.microsoft.com/office/powerpoint/2010/main" val="4799453"/>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mage and highlights (two-color)">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A11CE6B2-56EB-4C86-B1D0-B791937A346D}"/>
              </a:ext>
            </a:extLst>
          </p:cNvPr>
          <p:cNvSpPr>
            <a:spLocks noGrp="1"/>
          </p:cNvSpPr>
          <p:nvPr>
            <p:ph type="pic" sz="quarter" idx="10"/>
          </p:nvPr>
        </p:nvSpPr>
        <p:spPr>
          <a:xfrm>
            <a:off x="4833257" y="-1"/>
            <a:ext cx="7358743" cy="6857998"/>
          </a:xfrm>
          <a:prstGeom prst="rect">
            <a:avLst/>
          </a:prstGeom>
          <a:noFill/>
        </p:spPr>
        <p:txBody>
          <a:bodyPr anchor="ctr"/>
          <a:lstStyle>
            <a:lvl1pPr algn="ctr">
              <a:defRPr/>
            </a:lvl1pPr>
          </a:lstStyle>
          <a:p>
            <a:endParaRPr lang="pt-PT" dirty="0"/>
          </a:p>
        </p:txBody>
      </p:sp>
      <p:sp>
        <p:nvSpPr>
          <p:cNvPr id="8" name="Title Placeholder 1">
            <a:extLst>
              <a:ext uri="{FF2B5EF4-FFF2-40B4-BE49-F238E27FC236}">
                <a16:creationId xmlns:a16="http://schemas.microsoft.com/office/drawing/2014/main" id="{111A5EED-2BC2-465F-9194-B07443C0A9F3}"/>
              </a:ext>
            </a:extLst>
          </p:cNvPr>
          <p:cNvSpPr>
            <a:spLocks noGrp="1"/>
          </p:cNvSpPr>
          <p:nvPr>
            <p:ph type="title" hasCustomPrompt="1"/>
          </p:nvPr>
        </p:nvSpPr>
        <p:spPr>
          <a:xfrm>
            <a:off x="939799" y="707444"/>
            <a:ext cx="2895436" cy="1830078"/>
          </a:xfrm>
          <a:prstGeom prst="rect">
            <a:avLst/>
          </a:prstGeom>
        </p:spPr>
        <p:txBody>
          <a:bodyPr vert="horz" lIns="91440" tIns="45720" rIns="91440" bIns="45720" rtlCol="0" anchor="b">
            <a:normAutofit/>
          </a:bodyPr>
          <a:lstStyle>
            <a:lvl1pPr algn="l">
              <a:defRPr sz="4800">
                <a:solidFill>
                  <a:srgbClr val="95E616"/>
                </a:solidFill>
              </a:defRPr>
            </a:lvl1pPr>
          </a:lstStyle>
          <a:p>
            <a:r>
              <a:rPr lang="en-US" dirty="0"/>
              <a:t>Click to add title</a:t>
            </a:r>
            <a:endParaRPr lang="pt-PT" dirty="0"/>
          </a:p>
        </p:txBody>
      </p:sp>
      <p:sp>
        <p:nvSpPr>
          <p:cNvPr id="9" name="Text Placeholder 7">
            <a:extLst>
              <a:ext uri="{FF2B5EF4-FFF2-40B4-BE49-F238E27FC236}">
                <a16:creationId xmlns:a16="http://schemas.microsoft.com/office/drawing/2014/main" id="{D4BFADA0-A20F-45DD-B818-E0C58FC73DCB}"/>
              </a:ext>
            </a:extLst>
          </p:cNvPr>
          <p:cNvSpPr>
            <a:spLocks noGrp="1"/>
          </p:cNvSpPr>
          <p:nvPr>
            <p:ph type="body" sz="quarter" idx="32" hasCustomPrompt="1"/>
          </p:nvPr>
        </p:nvSpPr>
        <p:spPr>
          <a:xfrm>
            <a:off x="939799" y="2564904"/>
            <a:ext cx="2895435" cy="3589775"/>
          </a:xfrm>
          <a:prstGeom prst="rect">
            <a:avLst/>
          </a:prstGeom>
        </p:spPr>
        <p:txBody>
          <a:bodyPr>
            <a:noAutofit/>
          </a:bodyPr>
          <a:lstStyle>
            <a:lvl1pPr algn="l">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Rectangle 4">
            <a:extLst>
              <a:ext uri="{FF2B5EF4-FFF2-40B4-BE49-F238E27FC236}">
                <a16:creationId xmlns:a16="http://schemas.microsoft.com/office/drawing/2014/main" id="{0B9B7D6C-D884-4362-AF1D-3A8B442DE315}"/>
              </a:ext>
            </a:extLst>
          </p:cNvPr>
          <p:cNvSpPr/>
          <p:nvPr userDrawn="1"/>
        </p:nvSpPr>
        <p:spPr>
          <a:xfrm>
            <a:off x="0" y="0"/>
            <a:ext cx="3067050" cy="6858000"/>
          </a:xfrm>
          <a:prstGeom prst="rect">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6" name="Group 5">
            <a:extLst>
              <a:ext uri="{FF2B5EF4-FFF2-40B4-BE49-F238E27FC236}">
                <a16:creationId xmlns:a16="http://schemas.microsoft.com/office/drawing/2014/main" id="{91BF642E-618C-4DD9-AF43-29DF366CC373}"/>
              </a:ext>
            </a:extLst>
          </p:cNvPr>
          <p:cNvGrpSpPr/>
          <p:nvPr userDrawn="1"/>
        </p:nvGrpSpPr>
        <p:grpSpPr>
          <a:xfrm flipH="1">
            <a:off x="-2" y="-1828800"/>
            <a:ext cx="7510780" cy="10800950"/>
            <a:chOff x="4503427" y="-841109"/>
            <a:chExt cx="6774184" cy="9741675"/>
          </a:xfrm>
        </p:grpSpPr>
        <p:sp>
          <p:nvSpPr>
            <p:cNvPr id="7" name="Rectangle 6">
              <a:extLst>
                <a:ext uri="{FF2B5EF4-FFF2-40B4-BE49-F238E27FC236}">
                  <a16:creationId xmlns:a16="http://schemas.microsoft.com/office/drawing/2014/main" id="{05F159C5-9D2B-4D41-B049-265FEAC7A16A}"/>
                </a:ext>
              </a:extLst>
            </p:cNvPr>
            <p:cNvSpPr/>
            <p:nvPr/>
          </p:nvSpPr>
          <p:spPr>
            <a:xfrm>
              <a:off x="10312400" y="5969000"/>
              <a:ext cx="533400" cy="8001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11" name="Group 10">
              <a:extLst>
                <a:ext uri="{FF2B5EF4-FFF2-40B4-BE49-F238E27FC236}">
                  <a16:creationId xmlns:a16="http://schemas.microsoft.com/office/drawing/2014/main" id="{A7CCBDA4-ECAE-40B4-AFC3-26E23560D77A}"/>
                </a:ext>
              </a:extLst>
            </p:cNvPr>
            <p:cNvGrpSpPr/>
            <p:nvPr/>
          </p:nvGrpSpPr>
          <p:grpSpPr>
            <a:xfrm>
              <a:off x="4503427" y="-841109"/>
              <a:ext cx="6774184" cy="9741675"/>
              <a:chOff x="6466897" y="122642"/>
              <a:chExt cx="5044220" cy="7253890"/>
            </a:xfrm>
          </p:grpSpPr>
          <p:pic>
            <p:nvPicPr>
              <p:cNvPr id="12" name="Graphic 11">
                <a:extLst>
                  <a:ext uri="{FF2B5EF4-FFF2-40B4-BE49-F238E27FC236}">
                    <a16:creationId xmlns:a16="http://schemas.microsoft.com/office/drawing/2014/main" id="{7CE27168-F6DA-4810-BB03-F13300055E35}"/>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4648" t="31387" r="33798" b="8441"/>
              <a:stretch/>
            </p:blipFill>
            <p:spPr>
              <a:xfrm>
                <a:off x="7684232" y="122642"/>
                <a:ext cx="3826885" cy="6735359"/>
              </a:xfrm>
              <a:prstGeom prst="rect">
                <a:avLst/>
              </a:prstGeom>
            </p:spPr>
          </p:pic>
          <p:pic>
            <p:nvPicPr>
              <p:cNvPr id="13" name="Graphic 12">
                <a:extLst>
                  <a:ext uri="{FF2B5EF4-FFF2-40B4-BE49-F238E27FC236}">
                    <a16:creationId xmlns:a16="http://schemas.microsoft.com/office/drawing/2014/main" id="{B2FD07E9-FD44-4F4D-B48A-CB2D72E628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3644" t="23056" r="6670" b="9419"/>
              <a:stretch/>
            </p:blipFill>
            <p:spPr>
              <a:xfrm>
                <a:off x="6466897" y="900452"/>
                <a:ext cx="5044218" cy="6476080"/>
              </a:xfrm>
              <a:prstGeom prst="rect">
                <a:avLst/>
              </a:prstGeom>
            </p:spPr>
          </p:pic>
        </p:grpSp>
      </p:grpSp>
      <p:sp>
        <p:nvSpPr>
          <p:cNvPr id="14"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4375156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a:t>
            </a:r>
            <a:r>
              <a:rPr lang="pl-PL" sz="800" noProof="0" dirty="0">
                <a:solidFill>
                  <a:schemeClr val="bg1"/>
                </a:solidFill>
                <a:latin typeface="Arial"/>
                <a:cs typeface="Arial"/>
              </a:rPr>
              <a:t>9</a:t>
            </a:r>
            <a:r>
              <a:rPr lang="en-US" sz="800" noProof="0" dirty="0">
                <a:solidFill>
                  <a:schemeClr val="bg1"/>
                </a:solidFill>
                <a:latin typeface="Arial"/>
                <a:cs typeface="Arial"/>
              </a:rPr>
              <a:t>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113344968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dirty="0"/>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grpSp>
        <p:nvGrpSpPr>
          <p:cNvPr id="4" name="Groupe 1"/>
          <p:cNvGrpSpPr/>
          <p:nvPr userDrawn="1"/>
        </p:nvGrpSpPr>
        <p:grpSpPr>
          <a:xfrm>
            <a:off x="11501102" y="171573"/>
            <a:ext cx="419436" cy="388988"/>
            <a:chOff x="11501102" y="171573"/>
            <a:chExt cx="419436" cy="388988"/>
          </a:xfrm>
        </p:grpSpPr>
        <p:sp>
          <p:nvSpPr>
            <p:cNvPr id="6"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 name="Retângulo 43">
            <a:extLst>
              <a:ext uri="{FF2B5EF4-FFF2-40B4-BE49-F238E27FC236}">
                <a16:creationId xmlns:a16="http://schemas.microsoft.com/office/drawing/2014/main" id="{25FC8637-25BD-4C09-AF25-56B4243DAB3D}"/>
              </a:ext>
            </a:extLst>
          </p:cNvPr>
          <p:cNvSpPr/>
          <p:nvPr userDrawn="1"/>
        </p:nvSpPr>
        <p:spPr>
          <a:xfrm>
            <a:off x="2422447"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9" name="Text Placeholder 7">
            <a:extLst>
              <a:ext uri="{FF2B5EF4-FFF2-40B4-BE49-F238E27FC236}">
                <a16:creationId xmlns:a16="http://schemas.microsoft.com/office/drawing/2014/main" id="{E824319D-02CC-441E-87B5-E9D15DE8CA35}"/>
              </a:ext>
            </a:extLst>
          </p:cNvPr>
          <p:cNvSpPr txBox="1">
            <a:spLocks/>
          </p:cNvSpPr>
          <p:nvPr userDrawn="1"/>
        </p:nvSpPr>
        <p:spPr>
          <a:xfrm>
            <a:off x="-312000"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8. All rights reserved  </a:t>
            </a:r>
            <a:r>
              <a:rPr lang="en-US" dirty="0">
                <a:solidFill>
                  <a:schemeClr val="accent2"/>
                </a:solidFill>
              </a:rPr>
              <a:t>|</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Profil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and Text2 (fixed)">
    <p:spTree>
      <p:nvGrpSpPr>
        <p:cNvPr id="1" name=""/>
        <p:cNvGrpSpPr/>
        <p:nvPr/>
      </p:nvGrpSpPr>
      <p:grpSpPr>
        <a:xfrm>
          <a:off x="0" y="0"/>
          <a:ext cx="0" cy="0"/>
          <a:chOff x="0" y="0"/>
          <a:chExt cx="0" cy="0"/>
        </a:xfrm>
      </p:grpSpPr>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
        <p:nvSpPr>
          <p:cNvPr id="13" name="Retângulo 43">
            <a:extLst>
              <a:ext uri="{FF2B5EF4-FFF2-40B4-BE49-F238E27FC236}">
                <a16:creationId xmlns:a16="http://schemas.microsoft.com/office/drawing/2014/main" id="{25FC8637-25BD-4C09-AF25-56B4243DAB3D}"/>
              </a:ext>
            </a:extLst>
          </p:cNvPr>
          <p:cNvSpPr/>
          <p:nvPr userDrawn="1"/>
        </p:nvSpPr>
        <p:spPr>
          <a:xfrm>
            <a:off x="2422447"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5" name="Text Placeholder 7">
            <a:extLst>
              <a:ext uri="{FF2B5EF4-FFF2-40B4-BE49-F238E27FC236}">
                <a16:creationId xmlns:a16="http://schemas.microsoft.com/office/drawing/2014/main" id="{E824319D-02CC-441E-87B5-E9D15DE8CA35}"/>
              </a:ext>
            </a:extLst>
          </p:cNvPr>
          <p:cNvSpPr txBox="1">
            <a:spLocks/>
          </p:cNvSpPr>
          <p:nvPr userDrawn="1"/>
        </p:nvSpPr>
        <p:spPr>
          <a:xfrm>
            <a:off x="-312000"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17. All rights reserved  </a:t>
            </a:r>
            <a:r>
              <a:rPr lang="en-US" dirty="0">
                <a:solidFill>
                  <a:schemeClr val="accent2"/>
                </a:solidFill>
              </a:rPr>
              <a:t>|</a:t>
            </a:r>
          </a:p>
        </p:txBody>
      </p:sp>
    </p:spTree>
    <p:extLst>
      <p:ext uri="{BB962C8B-B14F-4D97-AF65-F5344CB8AC3E}">
        <p14:creationId xmlns:p14="http://schemas.microsoft.com/office/powerpoint/2010/main" val="19249403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7" imgW="360" imgH="360" progId="TCLayout.ActiveDocument.1">
                  <p:embed/>
                </p:oleObj>
              </mc:Choice>
              <mc:Fallback>
                <p:oleObj name="think-cell Slide" r:id="rId17" imgW="360" imgH="360" progId="TCLayout.ActiveDocument.1">
                  <p:embed/>
                  <p:pic>
                    <p:nvPicPr>
                      <p:cNvPr id="21" name="Object 20"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a:t>
            </a:r>
            <a:r>
              <a:rPr lang="pl-PL" dirty="0">
                <a:solidFill>
                  <a:schemeClr val="bg1">
                    <a:lumMod val="65000"/>
                  </a:schemeClr>
                </a:solidFill>
              </a:rPr>
              <a:t>20</a:t>
            </a:r>
            <a:r>
              <a:rPr lang="en-US" dirty="0">
                <a:solidFill>
                  <a:schemeClr val="bg1">
                    <a:lumMod val="65000"/>
                  </a:schemeClr>
                </a:solidFill>
              </a:rPr>
              <a:t>. All rights reserved  </a:t>
            </a:r>
            <a:r>
              <a:rPr lang="en-US" dirty="0">
                <a:solidFill>
                  <a:schemeClr val="accent2"/>
                </a:solidFill>
              </a:rPr>
              <a:t>|</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7" r:id="rId2"/>
    <p:sldLayoutId id="2147483831" r:id="rId3"/>
    <p:sldLayoutId id="2147483833" r:id="rId4"/>
    <p:sldLayoutId id="2147483837" r:id="rId5"/>
    <p:sldLayoutId id="2147483821" r:id="rId6"/>
    <p:sldLayoutId id="2147483934" r:id="rId7"/>
    <p:sldLayoutId id="2147483834" r:id="rId8"/>
    <p:sldLayoutId id="2147483942" r:id="rId9"/>
    <p:sldLayoutId id="2147483932" r:id="rId10"/>
    <p:sldLayoutId id="2147483941" r:id="rId11"/>
    <p:sldLayoutId id="2147483944" r:id="rId12"/>
    <p:sldLayoutId id="2147483945" r:id="rId1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hyperlink" Target="mailto:women@capgemini@capgemini.com" TargetMode="External"/><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552000" y="1827037"/>
            <a:ext cx="6840140" cy="57671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pl-PL" sz="4000" b="1" dirty="0">
                <a:solidFill>
                  <a:schemeClr val="bg1"/>
                </a:solidFill>
              </a:rPr>
              <a:t>IT Girls </a:t>
            </a:r>
          </a:p>
          <a:p>
            <a:r>
              <a:rPr lang="pl-PL" b="1" dirty="0">
                <a:solidFill>
                  <a:schemeClr val="bg1"/>
                </a:solidFill>
              </a:rPr>
              <a:t>rEvolution Academy</a:t>
            </a:r>
            <a:endParaRPr lang="en-US" b="1" dirty="0">
              <a:solidFill>
                <a:schemeClr val="bg1"/>
              </a:solidFill>
            </a:endParaRPr>
          </a:p>
        </p:txBody>
      </p:sp>
      <p:sp>
        <p:nvSpPr>
          <p:cNvPr id="6" name="Subtitle 4"/>
          <p:cNvSpPr txBox="1">
            <a:spLocks/>
          </p:cNvSpPr>
          <p:nvPr/>
        </p:nvSpPr>
        <p:spPr>
          <a:xfrm>
            <a:off x="575136" y="3645000"/>
            <a:ext cx="4967932" cy="1223963"/>
          </a:xfrm>
          <a:prstGeom prst="rect">
            <a:avLst/>
          </a:prstGeom>
        </p:spPr>
        <p:txBody>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b="1" dirty="0">
                <a:solidFill>
                  <a:schemeClr val="bg1"/>
                </a:solidFill>
              </a:rPr>
              <a:t>Oferta dla szkół średnich Województwa Małopolskiego i Śląskiego</a:t>
            </a:r>
          </a:p>
          <a:p>
            <a:r>
              <a:rPr lang="pl-PL" b="1" dirty="0">
                <a:solidFill>
                  <a:schemeClr val="bg1"/>
                </a:solidFill>
              </a:rPr>
              <a:t>Rok szkolny 2020/2021</a:t>
            </a:r>
          </a:p>
        </p:txBody>
      </p:sp>
      <p:pic>
        <p:nvPicPr>
          <p:cNvPr id="9" name="Picture 8"/>
          <p:cNvPicPr>
            <a:picLocks noChangeAspect="1"/>
          </p:cNvPicPr>
          <p:nvPr/>
        </p:nvPicPr>
        <p:blipFill>
          <a:blip r:embed="rId2"/>
          <a:stretch>
            <a:fillRect/>
          </a:stretch>
        </p:blipFill>
        <p:spPr>
          <a:xfrm>
            <a:off x="9024140" y="4653000"/>
            <a:ext cx="3037659" cy="1728056"/>
          </a:xfrm>
          <a:prstGeom prst="rect">
            <a:avLst/>
          </a:prstGeom>
        </p:spPr>
      </p:pic>
    </p:spTree>
    <p:extLst>
      <p:ext uri="{BB962C8B-B14F-4D97-AF65-F5344CB8AC3E}">
        <p14:creationId xmlns:p14="http://schemas.microsoft.com/office/powerpoint/2010/main" val="19419059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4172" y="65117"/>
            <a:ext cx="11125236" cy="1104900"/>
          </a:xfrm>
        </p:spPr>
        <p:txBody>
          <a:bodyPr/>
          <a:lstStyle/>
          <a:p>
            <a:r>
              <a:rPr lang="pl-PL" altLang="en-US" sz="4400" b="1" dirty="0">
                <a:ea typeface="ＭＳ Ｐゴシック" charset="-128"/>
                <a:cs typeface="Arial" charset="0"/>
              </a:rPr>
              <a:t>IT Girls rEvolution Academy</a:t>
            </a:r>
            <a:endParaRPr lang="en-GB" altLang="en-US" dirty="0">
              <a:ea typeface="ＭＳ Ｐゴシック" charset="-128"/>
              <a:cs typeface="Arial" charset="0"/>
            </a:endParaRPr>
          </a:p>
        </p:txBody>
      </p:sp>
      <p:sp>
        <p:nvSpPr>
          <p:cNvPr id="12" name="Rectangle 11"/>
          <p:cNvSpPr/>
          <p:nvPr/>
        </p:nvSpPr>
        <p:spPr>
          <a:xfrm>
            <a:off x="284172" y="1646112"/>
            <a:ext cx="2643828" cy="3015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r>
              <a:rPr lang="pl-PL" sz="2000" b="1" dirty="0">
                <a:solidFill>
                  <a:schemeClr val="accent2"/>
                </a:solidFill>
              </a:rPr>
              <a:t>Co zapewniamy?</a:t>
            </a:r>
            <a:endParaRPr lang="en-US" sz="2000" b="1" dirty="0">
              <a:solidFill>
                <a:schemeClr val="accent2"/>
              </a:solidFill>
            </a:endParaRPr>
          </a:p>
        </p:txBody>
      </p:sp>
      <p:sp>
        <p:nvSpPr>
          <p:cNvPr id="18" name="Rounded Rectangle 17"/>
          <p:cNvSpPr/>
          <p:nvPr/>
        </p:nvSpPr>
        <p:spPr>
          <a:xfrm>
            <a:off x="113083" y="2801035"/>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endParaRPr lang="en-US" sz="1200" dirty="0">
              <a:solidFill>
                <a:schemeClr val="tx1"/>
              </a:solidFill>
            </a:endParaRPr>
          </a:p>
        </p:txBody>
      </p:sp>
      <p:cxnSp>
        <p:nvCxnSpPr>
          <p:cNvPr id="246" name="Conector reto 49">
            <a:extLst>
              <a:ext uri="{FF2B5EF4-FFF2-40B4-BE49-F238E27FC236}">
                <a16:creationId xmlns:a16="http://schemas.microsoft.com/office/drawing/2014/main" id="{F794F527-7462-4648-A64E-D558D50F4129}"/>
              </a:ext>
            </a:extLst>
          </p:cNvPr>
          <p:cNvCxnSpPr>
            <a:cxnSpLocks/>
          </p:cNvCxnSpPr>
          <p:nvPr/>
        </p:nvCxnSpPr>
        <p:spPr>
          <a:xfrm>
            <a:off x="284172" y="2133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a:off x="69288" y="2832493"/>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defRPr/>
            </a:pPr>
            <a:endParaRPr lang="en-US" sz="1200" b="1" kern="0" dirty="0">
              <a:solidFill>
                <a:schemeClr val="tx1"/>
              </a:solidFill>
            </a:endParaRPr>
          </a:p>
        </p:txBody>
      </p:sp>
      <p:sp>
        <p:nvSpPr>
          <p:cNvPr id="3" name="TextBox 2"/>
          <p:cNvSpPr txBox="1"/>
          <p:nvPr/>
        </p:nvSpPr>
        <p:spPr>
          <a:xfrm>
            <a:off x="284172" y="2453768"/>
            <a:ext cx="6282032" cy="331629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marL="285750" indent="-285750" algn="just">
              <a:lnSpc>
                <a:spcPct val="150000"/>
              </a:lnSpc>
              <a:buFont typeface="Wingdings" panose="05000000000000000000" pitchFamily="2" charset="2"/>
              <a:buChar char="ü"/>
            </a:pPr>
            <a:r>
              <a:rPr lang="pl-PL" sz="1100" dirty="0"/>
              <a:t>Przygotowanie i przeprowadzenie przez wolontariuszy – pracowników Capgemini -Akademii IT zgodnie z załączonym harmonogramem </a:t>
            </a:r>
          </a:p>
          <a:p>
            <a:pPr marL="285750" indent="-285750" algn="just">
              <a:lnSpc>
                <a:spcPct val="150000"/>
              </a:lnSpc>
              <a:buFont typeface="Wingdings" panose="05000000000000000000" pitchFamily="2" charset="2"/>
              <a:buChar char="ü"/>
            </a:pPr>
            <a:r>
              <a:rPr lang="pl-PL" sz="1100" dirty="0"/>
              <a:t>Certyfikaty uczestnictwa w Akademii IT.</a:t>
            </a:r>
          </a:p>
          <a:p>
            <a:pPr marL="285750" indent="-285750" algn="just">
              <a:lnSpc>
                <a:spcPct val="150000"/>
              </a:lnSpc>
              <a:buFont typeface="Wingdings" panose="05000000000000000000" pitchFamily="2" charset="2"/>
              <a:buChar char="ü"/>
            </a:pPr>
            <a:r>
              <a:rPr lang="pl-PL" sz="1100" dirty="0"/>
              <a:t>Zorganizowanie konkursu </a:t>
            </a:r>
            <a:r>
              <a:rPr lang="pl-PL" sz="1100" b="1" dirty="0"/>
              <a:t>„Girls Go for IT” w wersji zdalnej</a:t>
            </a:r>
          </a:p>
          <a:p>
            <a:pPr marL="285750" indent="-285750" algn="just">
              <a:lnSpc>
                <a:spcPct val="150000"/>
              </a:lnSpc>
              <a:buFont typeface="Wingdings" panose="05000000000000000000" pitchFamily="2" charset="2"/>
              <a:buChar char="ü"/>
            </a:pPr>
            <a:r>
              <a:rPr lang="pl-PL" sz="1100" dirty="0"/>
              <a:t>Nagrody rzeczowe dla 3 szkół za zajęcie I, II i III miejsca.</a:t>
            </a:r>
          </a:p>
          <a:p>
            <a:pPr marL="285750" indent="-285750" algn="just">
              <a:lnSpc>
                <a:spcPct val="150000"/>
              </a:lnSpc>
              <a:buFont typeface="Wingdings" panose="05000000000000000000" pitchFamily="2" charset="2"/>
              <a:buChar char="ü"/>
            </a:pPr>
            <a:r>
              <a:rPr lang="pl-PL" sz="1100" dirty="0"/>
              <a:t>Pakiet podarunkowy dla uczestniczek konkursu.</a:t>
            </a:r>
          </a:p>
          <a:p>
            <a:pPr marL="285750" indent="-285750" algn="just">
              <a:lnSpc>
                <a:spcPct val="150000"/>
              </a:lnSpc>
              <a:buFont typeface="Wingdings" panose="05000000000000000000" pitchFamily="2" charset="2"/>
              <a:buChar char="ü"/>
            </a:pPr>
            <a:r>
              <a:rPr lang="pl-PL" sz="1100" dirty="0"/>
              <a:t>Dyplomy dla zwycięzców.</a:t>
            </a:r>
          </a:p>
          <a:p>
            <a:pPr marL="285750" indent="-285750" algn="just">
              <a:lnSpc>
                <a:spcPct val="150000"/>
              </a:lnSpc>
              <a:buFont typeface="Wingdings" panose="05000000000000000000" pitchFamily="2" charset="2"/>
              <a:buChar char="ü"/>
            </a:pPr>
            <a:r>
              <a:rPr lang="pl-PL" sz="1100" dirty="0"/>
              <a:t>Przygotowania i przeprowadzenia spotkania edukacyjnego z rodzicami pt.: </a:t>
            </a:r>
            <a:r>
              <a:rPr lang="pl-PL" altLang="en-US" sz="1100" b="1" dirty="0"/>
              <a:t>„Szanse jakie daje rozwój technologii IT”.</a:t>
            </a:r>
          </a:p>
          <a:p>
            <a:pPr marL="285750" indent="-285750" algn="just">
              <a:lnSpc>
                <a:spcPct val="150000"/>
              </a:lnSpc>
              <a:buFont typeface="Wingdings" panose="05000000000000000000" pitchFamily="2" charset="2"/>
              <a:buChar char="ü"/>
            </a:pPr>
            <a:r>
              <a:rPr lang="pl-PL" altLang="en-US" sz="1100" dirty="0"/>
              <a:t>Koordynatora projektu ze strony Capgemini Polska, który zapewni całkowite wsparcie dla szkół.</a:t>
            </a:r>
          </a:p>
          <a:p>
            <a:pPr marL="285750" indent="-285750">
              <a:buFont typeface="Wingdings" panose="05000000000000000000" pitchFamily="2" charset="2"/>
              <a:buChar char="ü"/>
            </a:pPr>
            <a:endParaRPr lang="pl-PL" altLang="en-US" sz="1400" dirty="0"/>
          </a:p>
          <a:p>
            <a:endParaRPr lang="pl-PL" sz="1400" dirty="0"/>
          </a:p>
        </p:txBody>
      </p:sp>
      <p:sp>
        <p:nvSpPr>
          <p:cNvPr id="19" name="Rectangle 18"/>
          <p:cNvSpPr/>
          <p:nvPr/>
        </p:nvSpPr>
        <p:spPr>
          <a:xfrm>
            <a:off x="7176000" y="1620367"/>
            <a:ext cx="4896000" cy="3015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r>
              <a:rPr lang="pl-PL" sz="2000" b="1" dirty="0">
                <a:solidFill>
                  <a:schemeClr val="accent2"/>
                </a:solidFill>
              </a:rPr>
              <a:t>Co zyskują beneficjenci?</a:t>
            </a:r>
            <a:endParaRPr lang="en-US" sz="2000" b="1" dirty="0">
              <a:solidFill>
                <a:schemeClr val="accent2"/>
              </a:solidFill>
            </a:endParaRPr>
          </a:p>
        </p:txBody>
      </p:sp>
      <p:cxnSp>
        <p:nvCxnSpPr>
          <p:cNvPr id="21" name="Conector reto 49">
            <a:extLst>
              <a:ext uri="{FF2B5EF4-FFF2-40B4-BE49-F238E27FC236}">
                <a16:creationId xmlns:a16="http://schemas.microsoft.com/office/drawing/2014/main" id="{F794F527-7462-4648-A64E-D558D50F4129}"/>
              </a:ext>
            </a:extLst>
          </p:cNvPr>
          <p:cNvCxnSpPr>
            <a:cxnSpLocks/>
          </p:cNvCxnSpPr>
          <p:nvPr/>
        </p:nvCxnSpPr>
        <p:spPr>
          <a:xfrm>
            <a:off x="7176000" y="217364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aphicFrame>
        <p:nvGraphicFramePr>
          <p:cNvPr id="5" name="Diagram 4"/>
          <p:cNvGraphicFramePr/>
          <p:nvPr>
            <p:extLst>
              <p:ext uri="{D42A27DB-BD31-4B8C-83A1-F6EECF244321}">
                <p14:modId xmlns:p14="http://schemas.microsoft.com/office/powerpoint/2010/main" val="4262816376"/>
              </p:ext>
            </p:extLst>
          </p:nvPr>
        </p:nvGraphicFramePr>
        <p:xfrm>
          <a:off x="6528000" y="2077683"/>
          <a:ext cx="5904000" cy="42983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11792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altLang="en-US" sz="4400" b="1" dirty="0">
                <a:ea typeface="ＭＳ Ｐゴシック" charset="-128"/>
                <a:cs typeface="Arial" charset="0"/>
              </a:rPr>
              <a:t>IT Girls rEvolution Academy</a:t>
            </a:r>
            <a:endParaRPr lang="en-GB" altLang="en-US" dirty="0">
              <a:ea typeface="ＭＳ Ｐゴシック" charset="-128"/>
              <a:cs typeface="Arial" charset="0"/>
            </a:endParaRPr>
          </a:p>
        </p:txBody>
      </p:sp>
      <p:sp>
        <p:nvSpPr>
          <p:cNvPr id="18" name="Rounded Rectangle 17"/>
          <p:cNvSpPr/>
          <p:nvPr/>
        </p:nvSpPr>
        <p:spPr>
          <a:xfrm>
            <a:off x="113083" y="2801035"/>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endParaRPr lang="en-US" sz="1200" dirty="0">
              <a:solidFill>
                <a:schemeClr val="tx1"/>
              </a:solidFill>
            </a:endParaRPr>
          </a:p>
        </p:txBody>
      </p:sp>
      <p:sp>
        <p:nvSpPr>
          <p:cNvPr id="286" name="TextBox 285"/>
          <p:cNvSpPr txBox="1"/>
          <p:nvPr/>
        </p:nvSpPr>
        <p:spPr>
          <a:xfrm>
            <a:off x="69288" y="1918101"/>
            <a:ext cx="11858712" cy="3310899"/>
          </a:xfrm>
          <a:prstGeom prst="rect">
            <a:avLst/>
          </a:prstGeom>
          <a:ln/>
        </p:spPr>
        <p:style>
          <a:lnRef idx="1">
            <a:schemeClr val="accent2"/>
          </a:lnRef>
          <a:fillRef idx="2">
            <a:schemeClr val="accent2"/>
          </a:fillRef>
          <a:effectRef idx="1">
            <a:schemeClr val="accent2"/>
          </a:effectRef>
          <a:fontRef idx="minor">
            <a:schemeClr val="dk1"/>
          </a:fontRef>
        </p:style>
        <p:txBody>
          <a:bodyPr wrap="square" lIns="0" rtlCol="0" anchor="t">
            <a:noAutofit/>
          </a:bodyPr>
          <a:lstStyle/>
          <a:p>
            <a:pPr>
              <a:lnSpc>
                <a:spcPts val="1800"/>
              </a:lnSpc>
              <a:buClr>
                <a:schemeClr val="accent1"/>
              </a:buClr>
            </a:pPr>
            <a:r>
              <a:rPr lang="pl-PL" altLang="en-US" sz="1000" b="1" dirty="0"/>
              <a:t> </a:t>
            </a:r>
            <a:r>
              <a:rPr lang="pl-PL" altLang="en-US" sz="1400" b="1" dirty="0"/>
              <a:t>Od szkoły przystępującej do projektu:</a:t>
            </a:r>
          </a:p>
          <a:p>
            <a:pPr>
              <a:lnSpc>
                <a:spcPts val="1800"/>
              </a:lnSpc>
              <a:buClr>
                <a:schemeClr val="accent1"/>
              </a:buClr>
            </a:pPr>
            <a:endParaRPr lang="pl-PL" altLang="en-US" sz="1400" b="1" dirty="0"/>
          </a:p>
          <a:p>
            <a:pPr marL="171450" indent="-171450">
              <a:lnSpc>
                <a:spcPts val="1800"/>
              </a:lnSpc>
              <a:buClr>
                <a:schemeClr val="accent1"/>
              </a:buClr>
              <a:buFont typeface="Wingdings" panose="05000000000000000000" pitchFamily="2" charset="2"/>
              <a:buChar char="Ø"/>
            </a:pPr>
            <a:r>
              <a:rPr lang="pl-PL" altLang="en-US" sz="1100" dirty="0"/>
              <a:t>Deklaracji przystąpienia do projektu przesłanej elektronicznie na adres: </a:t>
            </a:r>
            <a:r>
              <a:rPr lang="pl-PL" altLang="en-US" sz="1100" dirty="0">
                <a:hlinkClick r:id="rId3"/>
              </a:rPr>
              <a:t>womenatcapgeminipoland.pl@capgemini.com</a:t>
            </a:r>
            <a:r>
              <a:rPr lang="pl-PL" altLang="en-US" sz="1100" dirty="0"/>
              <a:t> </a:t>
            </a:r>
            <a:r>
              <a:rPr lang="pl-PL" altLang="en-US" sz="1100" b="1" dirty="0">
                <a:solidFill>
                  <a:srgbClr val="FF0000"/>
                </a:solidFill>
              </a:rPr>
              <a:t>do </a:t>
            </a:r>
            <a:r>
              <a:rPr lang="pl-PL" altLang="en-US" sz="1100" b="1">
                <a:solidFill>
                  <a:srgbClr val="FF0000"/>
                </a:solidFill>
              </a:rPr>
              <a:t>dnia 15 lipca 2020 </a:t>
            </a:r>
            <a:r>
              <a:rPr lang="pl-PL" altLang="en-US" sz="1100" b="1" dirty="0">
                <a:solidFill>
                  <a:srgbClr val="FF0000"/>
                </a:solidFill>
              </a:rPr>
              <a:t>r. </a:t>
            </a:r>
            <a:r>
              <a:rPr lang="pl-PL" altLang="en-US" sz="1100" dirty="0"/>
              <a:t>według załączonego wzoru. </a:t>
            </a:r>
          </a:p>
          <a:p>
            <a:pPr marL="171450" indent="-171450">
              <a:lnSpc>
                <a:spcPts val="1800"/>
              </a:lnSpc>
              <a:buClr>
                <a:schemeClr val="accent1"/>
              </a:buClr>
              <a:buFont typeface="Wingdings" panose="05000000000000000000" pitchFamily="2" charset="2"/>
              <a:buChar char="Ø"/>
            </a:pPr>
            <a:r>
              <a:rPr lang="pl-PL" altLang="en-US" sz="1100" dirty="0"/>
              <a:t>Wypełnienia </a:t>
            </a:r>
            <a:r>
              <a:rPr lang="pl-PL" altLang="en-US" sz="1100" b="1" dirty="0"/>
              <a:t>ankiety wstępnej </a:t>
            </a:r>
            <a:r>
              <a:rPr lang="pl-PL" altLang="en-US" sz="1100" dirty="0"/>
              <a:t>dotyczącej poziomu znajmości zagadnień IT kandydatów po zadeklarowaniu przystąpieniu do projektu (ankieta zawiera 15 pytań).</a:t>
            </a:r>
          </a:p>
          <a:p>
            <a:pPr marL="171450" indent="-171450">
              <a:lnSpc>
                <a:spcPts val="1800"/>
              </a:lnSpc>
              <a:buClr>
                <a:schemeClr val="accent1"/>
              </a:buClr>
              <a:buFont typeface="Wingdings" panose="05000000000000000000" pitchFamily="2" charset="2"/>
              <a:buChar char="Ø"/>
            </a:pPr>
            <a:r>
              <a:rPr lang="pl-PL" altLang="en-US" sz="1100" dirty="0"/>
              <a:t>Wytypowanie </a:t>
            </a:r>
            <a:r>
              <a:rPr lang="pl-PL" altLang="en-US" sz="1100" b="1" dirty="0"/>
              <a:t>koordynatora/koordynatorów</a:t>
            </a:r>
            <a:r>
              <a:rPr lang="pl-PL" altLang="en-US" sz="1100" dirty="0"/>
              <a:t> projektu ze strony szkoły.</a:t>
            </a:r>
          </a:p>
          <a:p>
            <a:pPr marL="171450" indent="-171450">
              <a:lnSpc>
                <a:spcPts val="1800"/>
              </a:lnSpc>
              <a:buClr>
                <a:schemeClr val="accent1"/>
              </a:buClr>
              <a:buFont typeface="Wingdings" panose="05000000000000000000" pitchFamily="2" charset="2"/>
              <a:buChar char="Ø"/>
            </a:pPr>
            <a:r>
              <a:rPr lang="pl-PL" altLang="en-US" sz="1100" dirty="0"/>
              <a:t>Wytypowanie </a:t>
            </a:r>
            <a:r>
              <a:rPr lang="pl-PL" altLang="en-US" sz="1100" b="1" dirty="0"/>
              <a:t>8 uczennic</a:t>
            </a:r>
            <a:r>
              <a:rPr lang="pl-PL" altLang="en-US" sz="1100" dirty="0"/>
              <a:t>, które przystąpią do programu i dostarczenia listy uczestników do </a:t>
            </a:r>
            <a:r>
              <a:rPr lang="pl-PL" altLang="en-US" sz="1100" b="1" dirty="0"/>
              <a:t>14 września 2020 r</a:t>
            </a:r>
            <a:r>
              <a:rPr lang="pl-PL" altLang="en-US" sz="1100" dirty="0"/>
              <a:t>. </a:t>
            </a:r>
          </a:p>
          <a:p>
            <a:pPr marL="171450" indent="-171450">
              <a:lnSpc>
                <a:spcPts val="1800"/>
              </a:lnSpc>
              <a:buClr>
                <a:schemeClr val="accent1"/>
              </a:buClr>
              <a:buFont typeface="Wingdings" panose="05000000000000000000" pitchFamily="2" charset="2"/>
              <a:buChar char="Ø"/>
            </a:pPr>
            <a:r>
              <a:rPr lang="pl-PL" altLang="en-US" sz="1100" dirty="0"/>
              <a:t>Zapewnienia dostępu do komputera z kamerą oraz internetu w szkole a w razie uczestnictwa w warsztatach z domu, każda z uczennic powinna posiadać wymagany sprzęt.</a:t>
            </a:r>
          </a:p>
          <a:p>
            <a:pPr marL="171450" indent="-171450">
              <a:lnSpc>
                <a:spcPts val="1800"/>
              </a:lnSpc>
              <a:buClr>
                <a:schemeClr val="accent1"/>
              </a:buClr>
              <a:buFont typeface="Wingdings" panose="05000000000000000000" pitchFamily="2" charset="2"/>
              <a:buChar char="Ø"/>
            </a:pPr>
            <a:r>
              <a:rPr lang="pl-PL" altLang="en-US" sz="1100" dirty="0"/>
              <a:t>Pomocy w uzyskaniu zgód rodziców osób niepełnoletnich w zakresie: uczestnictwa w projekcie, publikacji wizerunku, przetwarzanie danych osobistych.</a:t>
            </a:r>
          </a:p>
          <a:p>
            <a:pPr marL="171450" indent="-171450">
              <a:lnSpc>
                <a:spcPts val="1800"/>
              </a:lnSpc>
              <a:buClr>
                <a:schemeClr val="accent1"/>
              </a:buClr>
              <a:buFont typeface="Wingdings" panose="05000000000000000000" pitchFamily="2" charset="2"/>
              <a:buChar char="Ø"/>
            </a:pPr>
            <a:r>
              <a:rPr lang="pl-PL" altLang="en-US" sz="1100" dirty="0"/>
              <a:t>Zorganizowania spotkania z rodzicami uczniów na temat: </a:t>
            </a:r>
            <a:r>
              <a:rPr lang="pl-PL" altLang="en-US" sz="1100" b="1" dirty="0"/>
              <a:t>„Szanse jakie daje rozwój technologii IT” </a:t>
            </a:r>
            <a:r>
              <a:rPr lang="pl-PL" altLang="en-US" sz="1100" dirty="0"/>
              <a:t>przeprowadzonego przez dział szkoleniowy Capgemini.</a:t>
            </a:r>
          </a:p>
          <a:p>
            <a:pPr marL="171450" indent="-171450">
              <a:lnSpc>
                <a:spcPts val="1800"/>
              </a:lnSpc>
              <a:buClr>
                <a:schemeClr val="accent1"/>
              </a:buClr>
              <a:buFont typeface="Wingdings" panose="05000000000000000000" pitchFamily="2" charset="2"/>
              <a:buChar char="Ø"/>
            </a:pPr>
            <a:r>
              <a:rPr lang="pl-PL" altLang="en-US" sz="1100" dirty="0"/>
              <a:t>Udziału w konkursie międzyszkolnym </a:t>
            </a:r>
            <a:r>
              <a:rPr lang="pl-PL" altLang="en-US" sz="1100" b="1" dirty="0"/>
              <a:t>„Girls go for IT” </a:t>
            </a:r>
            <a:r>
              <a:rPr lang="pl-PL" altLang="en-US" sz="1100" dirty="0"/>
              <a:t>oraz zapewnienia sali komputerowej z dostępem do kamery i ineternetu.</a:t>
            </a:r>
          </a:p>
          <a:p>
            <a:pPr marL="171450" indent="-171450">
              <a:lnSpc>
                <a:spcPts val="1800"/>
              </a:lnSpc>
              <a:buClr>
                <a:schemeClr val="accent1"/>
              </a:buClr>
              <a:buFont typeface="Wingdings" panose="05000000000000000000" pitchFamily="2" charset="2"/>
              <a:buChar char="Ø"/>
            </a:pPr>
            <a:r>
              <a:rPr lang="pl-PL" altLang="en-US" sz="1100" dirty="0"/>
              <a:t>Zgody na promowanie wydarzenia w grupie Capgemini, lokalnej prasie i telewizji, mediach społecznościowych, u partnerów projektu.</a:t>
            </a:r>
          </a:p>
          <a:p>
            <a:pPr marL="171450" indent="-171450">
              <a:lnSpc>
                <a:spcPts val="1800"/>
              </a:lnSpc>
              <a:buClr>
                <a:schemeClr val="accent1"/>
              </a:buClr>
              <a:buFont typeface="Wingdings" panose="05000000000000000000" pitchFamily="2" charset="2"/>
              <a:buChar char="Ø"/>
            </a:pPr>
            <a:r>
              <a:rPr lang="pl-PL" altLang="en-US" sz="1100" dirty="0"/>
              <a:t>Promocji wydarzenia na stronach internetowych szkoły i w innych środkach masowego przekazu.</a:t>
            </a:r>
          </a:p>
          <a:p>
            <a:pPr marL="171450" indent="-171450">
              <a:lnSpc>
                <a:spcPts val="1800"/>
              </a:lnSpc>
              <a:buClr>
                <a:schemeClr val="accent1"/>
              </a:buClr>
              <a:buFont typeface="Wingdings" panose="05000000000000000000" pitchFamily="2" charset="2"/>
              <a:buChar char="Ø"/>
            </a:pPr>
            <a:endParaRPr lang="pl-PL" altLang="en-US" sz="1000" b="1" dirty="0"/>
          </a:p>
          <a:p>
            <a:pPr marL="171450" indent="-171450">
              <a:lnSpc>
                <a:spcPts val="1800"/>
              </a:lnSpc>
              <a:buClr>
                <a:schemeClr val="accent1"/>
              </a:buClr>
              <a:buFontTx/>
              <a:buChar char="-"/>
            </a:pPr>
            <a:endParaRPr lang="pl-PL" altLang="en-US" sz="1000" b="1" dirty="0"/>
          </a:p>
          <a:p>
            <a:pPr marL="171450" indent="-171450">
              <a:lnSpc>
                <a:spcPts val="1800"/>
              </a:lnSpc>
              <a:buClr>
                <a:schemeClr val="accent1"/>
              </a:buClr>
              <a:buFontTx/>
              <a:buChar char="-"/>
            </a:pPr>
            <a:endParaRPr lang="pl-PL" altLang="en-US" sz="1000" b="1" dirty="0"/>
          </a:p>
          <a:p>
            <a:pPr marL="171450" indent="-171450">
              <a:lnSpc>
                <a:spcPts val="1800"/>
              </a:lnSpc>
              <a:buClr>
                <a:schemeClr val="accent1"/>
              </a:buClr>
              <a:buFont typeface="Wingdings" panose="05000000000000000000" pitchFamily="2" charset="2"/>
              <a:buChar char="Ø"/>
            </a:pPr>
            <a:endParaRPr lang="en-US" altLang="en-US" sz="1000" b="1" dirty="0"/>
          </a:p>
        </p:txBody>
      </p:sp>
      <p:sp>
        <p:nvSpPr>
          <p:cNvPr id="287" name="Rectangle 286"/>
          <p:cNvSpPr/>
          <p:nvPr/>
        </p:nvSpPr>
        <p:spPr>
          <a:xfrm>
            <a:off x="115571" y="1171169"/>
            <a:ext cx="10029378" cy="6031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0000" bIns="45881" rtlCol="0" anchor="ctr"/>
          <a:lstStyle/>
          <a:p>
            <a:r>
              <a:rPr lang="pl-PL" sz="2000" b="1" dirty="0">
                <a:solidFill>
                  <a:schemeClr val="accent2"/>
                </a:solidFill>
              </a:rPr>
              <a:t>Czego oczekujemy?</a:t>
            </a:r>
            <a:endParaRPr lang="en-US" sz="2000" b="1" dirty="0">
              <a:solidFill>
                <a:schemeClr val="accent2"/>
              </a:solidFill>
            </a:endParaRPr>
          </a:p>
        </p:txBody>
      </p:sp>
      <p:cxnSp>
        <p:nvCxnSpPr>
          <p:cNvPr id="241" name="Conector reto 49">
            <a:extLst>
              <a:ext uri="{FF2B5EF4-FFF2-40B4-BE49-F238E27FC236}">
                <a16:creationId xmlns:a16="http://schemas.microsoft.com/office/drawing/2014/main" id="{F794F527-7462-4648-A64E-D558D50F4129}"/>
              </a:ext>
            </a:extLst>
          </p:cNvPr>
          <p:cNvCxnSpPr>
            <a:cxnSpLocks/>
          </p:cNvCxnSpPr>
          <p:nvPr/>
        </p:nvCxnSpPr>
        <p:spPr>
          <a:xfrm>
            <a:off x="113083" y="178035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a:off x="69288" y="2832493"/>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defRPr/>
            </a:pPr>
            <a:endParaRPr lang="en-US" sz="1200" b="1" kern="0" dirty="0">
              <a:solidFill>
                <a:schemeClr val="tx1"/>
              </a:solidFill>
            </a:endParaRPr>
          </a:p>
        </p:txBody>
      </p:sp>
      <p:sp>
        <p:nvSpPr>
          <p:cNvPr id="10" name="TextBox 9"/>
          <p:cNvSpPr txBox="1"/>
          <p:nvPr/>
        </p:nvSpPr>
        <p:spPr>
          <a:xfrm>
            <a:off x="69288" y="5366750"/>
            <a:ext cx="11858712" cy="1302251"/>
          </a:xfrm>
          <a:prstGeom prst="rect">
            <a:avLst/>
          </a:prstGeom>
          <a:ln/>
        </p:spPr>
        <p:style>
          <a:lnRef idx="1">
            <a:schemeClr val="accent2"/>
          </a:lnRef>
          <a:fillRef idx="2">
            <a:schemeClr val="accent2"/>
          </a:fillRef>
          <a:effectRef idx="1">
            <a:schemeClr val="accent2"/>
          </a:effectRef>
          <a:fontRef idx="minor">
            <a:schemeClr val="dk1"/>
          </a:fontRef>
        </p:style>
        <p:txBody>
          <a:bodyPr wrap="square" lIns="0" rtlCol="0" anchor="t">
            <a:noAutofit/>
          </a:bodyPr>
          <a:lstStyle/>
          <a:p>
            <a:pPr>
              <a:lnSpc>
                <a:spcPts val="1800"/>
              </a:lnSpc>
              <a:buClr>
                <a:schemeClr val="accent1"/>
              </a:buClr>
            </a:pPr>
            <a:r>
              <a:rPr lang="pl-PL" altLang="en-US" sz="1000" b="1" dirty="0"/>
              <a:t> </a:t>
            </a:r>
            <a:r>
              <a:rPr lang="pl-PL" altLang="en-US" sz="1400" b="1" dirty="0"/>
              <a:t>Od uczniów, uczestników projektu:</a:t>
            </a:r>
          </a:p>
          <a:p>
            <a:pPr marL="171450" indent="-171450">
              <a:lnSpc>
                <a:spcPts val="1800"/>
              </a:lnSpc>
              <a:buClr>
                <a:schemeClr val="accent1"/>
              </a:buClr>
              <a:buFont typeface="Wingdings" panose="05000000000000000000" pitchFamily="2" charset="2"/>
              <a:buChar char="Ø"/>
            </a:pPr>
            <a:r>
              <a:rPr lang="pl-PL" altLang="en-US" sz="1100" dirty="0"/>
              <a:t>Uczestnictwa w Akademii zgodnie z pełnym harmonogramem zajęć.</a:t>
            </a:r>
          </a:p>
          <a:p>
            <a:pPr marL="171450" indent="-171450">
              <a:lnSpc>
                <a:spcPts val="1800"/>
              </a:lnSpc>
              <a:buClr>
                <a:schemeClr val="accent1"/>
              </a:buClr>
              <a:buFont typeface="Wingdings" panose="05000000000000000000" pitchFamily="2" charset="2"/>
              <a:buChar char="Ø"/>
            </a:pPr>
            <a:r>
              <a:rPr lang="pl-PL" altLang="en-US" sz="1100" dirty="0"/>
              <a:t>Zaangażowania w trakcie szkoleń, wykonywania ćwiczeń z pomocą instrukturów w trakcie warsztatów.</a:t>
            </a:r>
          </a:p>
          <a:p>
            <a:pPr marL="171450" indent="-171450">
              <a:lnSpc>
                <a:spcPts val="1800"/>
              </a:lnSpc>
              <a:buClr>
                <a:schemeClr val="accent1"/>
              </a:buClr>
              <a:buFont typeface="Wingdings" panose="05000000000000000000" pitchFamily="2" charset="2"/>
              <a:buChar char="Ø"/>
            </a:pPr>
            <a:r>
              <a:rPr lang="pl-PL" altLang="en-US" sz="1100" dirty="0"/>
              <a:t>Przestrzegania zasad bezpieczeństwa.</a:t>
            </a:r>
          </a:p>
          <a:p>
            <a:pPr marL="171450" indent="-171450">
              <a:lnSpc>
                <a:spcPts val="1800"/>
              </a:lnSpc>
              <a:buClr>
                <a:schemeClr val="accent1"/>
              </a:buClr>
              <a:buFont typeface="Wingdings" panose="05000000000000000000" pitchFamily="2" charset="2"/>
              <a:buChar char="Ø"/>
            </a:pPr>
            <a:r>
              <a:rPr lang="pl-PL" altLang="en-US" sz="1100" dirty="0"/>
              <a:t>Reprezentowania szkoły w trakcie konkursu: </a:t>
            </a:r>
            <a:r>
              <a:rPr lang="pl-PL" altLang="en-US" sz="1100" b="1" dirty="0"/>
              <a:t>„Girls go for IT”.</a:t>
            </a:r>
          </a:p>
          <a:p>
            <a:pPr marL="171450" indent="-171450">
              <a:lnSpc>
                <a:spcPts val="1800"/>
              </a:lnSpc>
              <a:buClr>
                <a:schemeClr val="accent1"/>
              </a:buClr>
              <a:buFont typeface="Wingdings" panose="05000000000000000000" pitchFamily="2" charset="2"/>
              <a:buChar char="Ø"/>
            </a:pPr>
            <a:endParaRPr lang="pl-PL" altLang="en-US" sz="1000" b="1" dirty="0"/>
          </a:p>
          <a:p>
            <a:pPr>
              <a:lnSpc>
                <a:spcPts val="1800"/>
              </a:lnSpc>
              <a:buClr>
                <a:schemeClr val="accent1"/>
              </a:buClr>
            </a:pPr>
            <a:endParaRPr lang="pl-PL" altLang="en-US" sz="1000" b="1" dirty="0"/>
          </a:p>
          <a:p>
            <a:pPr marL="171450" indent="-171450">
              <a:lnSpc>
                <a:spcPts val="1800"/>
              </a:lnSpc>
              <a:buClr>
                <a:schemeClr val="accent1"/>
              </a:buClr>
              <a:buFont typeface="Wingdings" panose="05000000000000000000" pitchFamily="2" charset="2"/>
              <a:buChar char="Ø"/>
            </a:pPr>
            <a:endParaRPr lang="pl-PL" altLang="en-US" sz="1000" b="1" dirty="0"/>
          </a:p>
          <a:p>
            <a:pPr marL="171450" indent="-171450">
              <a:lnSpc>
                <a:spcPts val="1800"/>
              </a:lnSpc>
              <a:buClr>
                <a:schemeClr val="accent1"/>
              </a:buClr>
              <a:buFontTx/>
              <a:buChar char="-"/>
            </a:pPr>
            <a:endParaRPr lang="pl-PL" altLang="en-US" sz="1000" b="1" dirty="0"/>
          </a:p>
          <a:p>
            <a:pPr marL="171450" indent="-171450">
              <a:lnSpc>
                <a:spcPts val="1800"/>
              </a:lnSpc>
              <a:buClr>
                <a:schemeClr val="accent1"/>
              </a:buClr>
              <a:buFontTx/>
              <a:buChar char="-"/>
            </a:pPr>
            <a:endParaRPr lang="pl-PL" altLang="en-US" sz="1000" b="1" dirty="0"/>
          </a:p>
          <a:p>
            <a:pPr marL="171450" indent="-171450">
              <a:lnSpc>
                <a:spcPts val="1800"/>
              </a:lnSpc>
              <a:buClr>
                <a:schemeClr val="accent1"/>
              </a:buClr>
              <a:buFont typeface="Wingdings" panose="05000000000000000000" pitchFamily="2" charset="2"/>
              <a:buChar char="Ø"/>
            </a:pPr>
            <a:endParaRPr lang="en-US" altLang="en-US" sz="1000" b="1" dirty="0"/>
          </a:p>
        </p:txBody>
      </p:sp>
    </p:spTree>
    <p:extLst>
      <p:ext uri="{BB962C8B-B14F-4D97-AF65-F5344CB8AC3E}">
        <p14:creationId xmlns:p14="http://schemas.microsoft.com/office/powerpoint/2010/main" val="1953129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089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088000" y="1989000"/>
            <a:ext cx="6120000" cy="1161227"/>
          </a:xfrm>
        </p:spPr>
        <p:txBody>
          <a:bodyPr/>
          <a:lstStyle/>
          <a:p>
            <a:r>
              <a:rPr lang="pl-PL" sz="3200" b="0" dirty="0">
                <a:latin typeface="Arial Black" panose="020B0A04020102020204" pitchFamily="34" charset="0"/>
              </a:rPr>
              <a:t>Część 1 </a:t>
            </a:r>
          </a:p>
          <a:p>
            <a:endParaRPr lang="pl-PL" sz="3200" b="0" dirty="0">
              <a:latin typeface="Arial Black" panose="020B0A04020102020204" pitchFamily="34" charset="0"/>
            </a:endParaRPr>
          </a:p>
          <a:p>
            <a:r>
              <a:rPr lang="pl-PL" sz="3200" b="0" dirty="0">
                <a:latin typeface="Arial Black" panose="020B0A04020102020204" pitchFamily="34" charset="0"/>
              </a:rPr>
              <a:t>Capgemini – kim jesteśmy?</a:t>
            </a:r>
            <a:endParaRPr lang="en-US" sz="3200" b="0" dirty="0">
              <a:latin typeface="Arial Black" panose="020B0A040201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6000" y="981000"/>
            <a:ext cx="3384000" cy="2880000"/>
          </a:xfrm>
          <a:prstGeom prst="ellipse">
            <a:avLst/>
          </a:prstGeom>
          <a:ln>
            <a:noFill/>
          </a:ln>
          <a:effectLst>
            <a:softEdge rad="112500"/>
          </a:effectLst>
        </p:spPr>
      </p:pic>
      <p:pic>
        <p:nvPicPr>
          <p:cNvPr id="6" name="Picture 5"/>
          <p:cNvPicPr>
            <a:picLocks noChangeAspect="1"/>
          </p:cNvPicPr>
          <p:nvPr/>
        </p:nvPicPr>
        <p:blipFill>
          <a:blip r:embed="rId3"/>
          <a:stretch>
            <a:fillRect/>
          </a:stretch>
        </p:blipFill>
        <p:spPr>
          <a:xfrm>
            <a:off x="9024140" y="4653000"/>
            <a:ext cx="3037659" cy="1728056"/>
          </a:xfrm>
          <a:prstGeom prst="rect">
            <a:avLst/>
          </a:prstGeom>
        </p:spPr>
      </p:pic>
    </p:spTree>
    <p:extLst>
      <p:ext uri="{BB962C8B-B14F-4D97-AF65-F5344CB8AC3E}">
        <p14:creationId xmlns:p14="http://schemas.microsoft.com/office/powerpoint/2010/main" val="37809891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altLang="en-US" sz="4000" b="1" dirty="0">
                <a:ea typeface="ＭＳ Ｐゴシック" charset="-128"/>
                <a:cs typeface="Arial" charset="0"/>
              </a:rPr>
              <a:t>Capgemini  na świecie</a:t>
            </a:r>
            <a:endParaRPr lang="en-GB" altLang="en-US" sz="4000" dirty="0">
              <a:ea typeface="ＭＳ Ｐゴシック" charset="-128"/>
              <a:cs typeface="Arial" charset="0"/>
            </a:endParaRPr>
          </a:p>
        </p:txBody>
      </p:sp>
      <p:sp>
        <p:nvSpPr>
          <p:cNvPr id="12" name="Rectangle 11"/>
          <p:cNvSpPr/>
          <p:nvPr/>
        </p:nvSpPr>
        <p:spPr>
          <a:xfrm>
            <a:off x="215309" y="4346123"/>
            <a:ext cx="3200132" cy="3015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r>
              <a:rPr lang="pl-PL" sz="2000" b="1" dirty="0">
                <a:solidFill>
                  <a:schemeClr val="accent2"/>
                </a:solidFill>
              </a:rPr>
              <a:t>Obszary działalności:</a:t>
            </a:r>
            <a:endParaRPr lang="en-US" sz="2000" b="1" dirty="0">
              <a:solidFill>
                <a:schemeClr val="accent2"/>
              </a:solidFill>
            </a:endParaRPr>
          </a:p>
        </p:txBody>
      </p:sp>
      <p:sp>
        <p:nvSpPr>
          <p:cNvPr id="13" name="AutoShape 4"/>
          <p:cNvSpPr>
            <a:spLocks noChangeArrowheads="1"/>
          </p:cNvSpPr>
          <p:nvPr/>
        </p:nvSpPr>
        <p:spPr bwMode="auto">
          <a:xfrm>
            <a:off x="2887988" y="5788945"/>
            <a:ext cx="5276955" cy="401380"/>
          </a:xfrm>
          <a:prstGeom prst="rect">
            <a:avLst/>
          </a:prstGeom>
          <a:noFill/>
          <a:ln w="19050" cmpd="sng">
            <a:noFill/>
            <a:miter lim="800000"/>
            <a:headEnd/>
            <a:tailEnd/>
          </a:ln>
          <a:effectLst/>
        </p:spPr>
        <p:txBody>
          <a:bodyPr wrap="square" lIns="0" tIns="45881" rIns="108000" bIns="45881" numCol="1" anchor="ctr" anchorCtr="0"/>
          <a:lstStyle/>
          <a:p>
            <a:pPr marL="342900" indent="-7938">
              <a:buClr>
                <a:schemeClr val="bg2">
                  <a:lumMod val="50000"/>
                </a:schemeClr>
              </a:buClr>
              <a:tabLst>
                <a:tab pos="339725" algn="l"/>
              </a:tabLst>
              <a:defRPr/>
            </a:pPr>
            <a:r>
              <a:rPr lang="pl-PL" sz="1000" dirty="0"/>
              <a:t>Wyposażają, opracowują, wdrażają i zapewniają utrzymanie aplikacjom IT.</a:t>
            </a:r>
            <a:endParaRPr lang="en-US" altLang="en-GB" sz="1000" dirty="0"/>
          </a:p>
        </p:txBody>
      </p:sp>
      <p:sp>
        <p:nvSpPr>
          <p:cNvPr id="14" name="AutoShape 4"/>
          <p:cNvSpPr>
            <a:spLocks noChangeArrowheads="1"/>
          </p:cNvSpPr>
          <p:nvPr/>
        </p:nvSpPr>
        <p:spPr bwMode="auto">
          <a:xfrm>
            <a:off x="2886226" y="5334039"/>
            <a:ext cx="5279431" cy="401380"/>
          </a:xfrm>
          <a:prstGeom prst="rect">
            <a:avLst/>
          </a:prstGeom>
          <a:noFill/>
          <a:ln w="19050" cmpd="sng">
            <a:noFill/>
            <a:miter lim="800000"/>
            <a:headEnd/>
            <a:tailEnd/>
          </a:ln>
          <a:effectLst/>
        </p:spPr>
        <p:txBody>
          <a:bodyPr wrap="none" lIns="0" tIns="45881" rIns="108000" bIns="45881" numCol="1" anchor="ctr" anchorCtr="0"/>
          <a:lstStyle/>
          <a:p>
            <a:pPr marL="342900" indent="-7938">
              <a:buClr>
                <a:schemeClr val="bg2">
                  <a:lumMod val="50000"/>
                </a:schemeClr>
              </a:buClr>
              <a:tabLst>
                <a:tab pos="339725" algn="l"/>
              </a:tabLst>
              <a:defRPr/>
            </a:pPr>
            <a:r>
              <a:rPr lang="pl-PL" sz="1000" dirty="0"/>
              <a:t>Zapewniają naszym klientom pomoc i wsparcie ich wewnętrznym zespołom IT.</a:t>
            </a:r>
            <a:endParaRPr lang="en-US" altLang="en-GB" sz="1000" dirty="0"/>
          </a:p>
        </p:txBody>
      </p:sp>
      <p:sp>
        <p:nvSpPr>
          <p:cNvPr id="15" name="AutoShape 4"/>
          <p:cNvSpPr>
            <a:spLocks noChangeArrowheads="1"/>
          </p:cNvSpPr>
          <p:nvPr/>
        </p:nvSpPr>
        <p:spPr bwMode="auto">
          <a:xfrm>
            <a:off x="2883346" y="6243851"/>
            <a:ext cx="5283467" cy="401380"/>
          </a:xfrm>
          <a:prstGeom prst="rect">
            <a:avLst/>
          </a:prstGeom>
          <a:noFill/>
          <a:ln w="19050" cmpd="sng">
            <a:noFill/>
            <a:miter lim="800000"/>
            <a:headEnd/>
            <a:tailEnd/>
          </a:ln>
          <a:effectLst/>
        </p:spPr>
        <p:txBody>
          <a:bodyPr wrap="square" lIns="0" tIns="45881" rIns="108000" bIns="45881" numCol="1" anchor="ctr" anchorCtr="0"/>
          <a:lstStyle/>
          <a:p>
            <a:pPr marL="342900" indent="-7938" eaLnBrk="0" hangingPunct="0">
              <a:buClr>
                <a:schemeClr val="bg2">
                  <a:lumMod val="50000"/>
                </a:schemeClr>
              </a:buClr>
              <a:tabLst>
                <a:tab pos="339725" algn="l"/>
              </a:tabLst>
              <a:defRPr/>
            </a:pPr>
            <a:r>
              <a:rPr lang="pl-PL" sz="1000" dirty="0"/>
              <a:t>Integrują, zarządzają i / lub rozwijają w pełni lub częściowo, systemy infrastruktury IT klienta (lub grup klientów), usługi transakcyjne, usługi na żądanie i / lub działalność biznesową (usługi biznesowe).</a:t>
            </a:r>
            <a:endParaRPr lang="en-US" altLang="en-GB" sz="1000" kern="0" dirty="0"/>
          </a:p>
        </p:txBody>
      </p:sp>
      <p:sp>
        <p:nvSpPr>
          <p:cNvPr id="16" name="AutoShape 4"/>
          <p:cNvSpPr>
            <a:spLocks noChangeArrowheads="1"/>
          </p:cNvSpPr>
          <p:nvPr/>
        </p:nvSpPr>
        <p:spPr bwMode="auto">
          <a:xfrm>
            <a:off x="2886226" y="4874633"/>
            <a:ext cx="5279431" cy="401380"/>
          </a:xfrm>
          <a:prstGeom prst="rect">
            <a:avLst/>
          </a:prstGeom>
          <a:noFill/>
          <a:ln w="19050" cmpd="sng">
            <a:noFill/>
            <a:miter lim="800000"/>
            <a:headEnd/>
            <a:tailEnd/>
          </a:ln>
          <a:effectLst/>
        </p:spPr>
        <p:txBody>
          <a:bodyPr wrap="square" lIns="0" tIns="45881" rIns="108000" bIns="45881" numCol="1" anchor="ctr" anchorCtr="0"/>
          <a:lstStyle/>
          <a:p>
            <a:pPr marL="344488" indent="-7938">
              <a:buClr>
                <a:schemeClr val="bg2">
                  <a:lumMod val="50000"/>
                </a:schemeClr>
              </a:buClr>
              <a:tabLst>
                <a:tab pos="342900" algn="l"/>
              </a:tabLst>
              <a:defRPr/>
            </a:pPr>
            <a:r>
              <a:rPr lang="pl-PL" sz="1000" dirty="0"/>
              <a:t>Pomagają w zwiększaniu wydajności naszych klientów w oparciu o dogłębną analizę ich procesów i sektora branżowego. </a:t>
            </a:r>
            <a:endParaRPr lang="en-US" sz="1000" dirty="0"/>
          </a:p>
        </p:txBody>
      </p:sp>
      <p:sp>
        <p:nvSpPr>
          <p:cNvPr id="17" name="Rounded Rectangle 16"/>
          <p:cNvSpPr/>
          <p:nvPr/>
        </p:nvSpPr>
        <p:spPr>
          <a:xfrm>
            <a:off x="215309" y="4872123"/>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defTabSz="914400">
              <a:defRPr/>
            </a:pPr>
            <a:r>
              <a:rPr lang="en-US" sz="1200" b="1" kern="0" dirty="0">
                <a:solidFill>
                  <a:schemeClr val="tx1"/>
                </a:solidFill>
              </a:rPr>
              <a:t>Consulting Services</a:t>
            </a:r>
          </a:p>
        </p:txBody>
      </p:sp>
      <p:sp>
        <p:nvSpPr>
          <p:cNvPr id="18" name="Rounded Rectangle 17"/>
          <p:cNvSpPr/>
          <p:nvPr/>
        </p:nvSpPr>
        <p:spPr>
          <a:xfrm>
            <a:off x="215309" y="5329323"/>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defTabSz="914400">
              <a:defRPr/>
            </a:pPr>
            <a:r>
              <a:rPr lang="en-US" sz="1200" b="1" kern="0" dirty="0">
                <a:solidFill>
                  <a:schemeClr val="tx1"/>
                </a:solidFill>
                <a:cs typeface="Arial"/>
              </a:rPr>
              <a:t>Local Professional Services</a:t>
            </a:r>
          </a:p>
        </p:txBody>
      </p:sp>
      <p:sp>
        <p:nvSpPr>
          <p:cNvPr id="19" name="Rounded Rectangle 18"/>
          <p:cNvSpPr/>
          <p:nvPr/>
        </p:nvSpPr>
        <p:spPr>
          <a:xfrm>
            <a:off x="215309" y="5786523"/>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defRPr/>
            </a:pPr>
            <a:r>
              <a:rPr lang="en-US" sz="1200" b="1" dirty="0">
                <a:solidFill>
                  <a:schemeClr val="tx1"/>
                </a:solidFill>
              </a:rPr>
              <a:t>Application Services</a:t>
            </a:r>
          </a:p>
        </p:txBody>
      </p:sp>
      <p:sp>
        <p:nvSpPr>
          <p:cNvPr id="20" name="Rounded Rectangle 19"/>
          <p:cNvSpPr/>
          <p:nvPr/>
        </p:nvSpPr>
        <p:spPr>
          <a:xfrm>
            <a:off x="215309" y="6243723"/>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defRPr/>
            </a:pPr>
            <a:r>
              <a:rPr lang="en-US" sz="1200" b="1" dirty="0">
                <a:solidFill>
                  <a:schemeClr val="tx1"/>
                </a:solidFill>
              </a:rPr>
              <a:t>Other Managed Services</a:t>
            </a:r>
          </a:p>
        </p:txBody>
      </p:sp>
      <p:sp>
        <p:nvSpPr>
          <p:cNvPr id="240" name="TextBox 239"/>
          <p:cNvSpPr txBox="1"/>
          <p:nvPr/>
        </p:nvSpPr>
        <p:spPr>
          <a:xfrm>
            <a:off x="8554337" y="1281945"/>
            <a:ext cx="2901076" cy="2920178"/>
          </a:xfrm>
          <a:prstGeom prst="rect">
            <a:avLst/>
          </a:prstGeom>
          <a:noFill/>
          <a:ln>
            <a:noFill/>
          </a:ln>
          <a:effectLst/>
        </p:spPr>
        <p:txBody>
          <a:bodyPr wrap="square" rtlCol="0" anchor="ctr">
            <a:noAutofit/>
          </a:bodyPr>
          <a:lstStyle/>
          <a:p>
            <a:pPr defTabSz="914103" eaLnBrk="0" hangingPunct="0">
              <a:lnSpc>
                <a:spcPct val="150000"/>
              </a:lnSpc>
              <a:spcBef>
                <a:spcPts val="600"/>
              </a:spcBef>
              <a:spcAft>
                <a:spcPts val="0"/>
              </a:spcAft>
              <a:buClr>
                <a:srgbClr val="0098C7"/>
              </a:buClr>
              <a:defRPr/>
            </a:pPr>
            <a:r>
              <a:rPr lang="pl-PL" sz="900" kern="0" dirty="0">
                <a:cs typeface="Arial"/>
              </a:rPr>
              <a:t>Ponad </a:t>
            </a:r>
            <a:r>
              <a:rPr lang="pl-PL" sz="1600" b="1" kern="0" dirty="0">
                <a:cs typeface="Arial"/>
              </a:rPr>
              <a:t>20</a:t>
            </a:r>
            <a:r>
              <a:rPr lang="en-US" sz="1600" b="1" kern="0" dirty="0">
                <a:cs typeface="Arial"/>
              </a:rPr>
              <a:t>0</a:t>
            </a:r>
            <a:r>
              <a:rPr lang="pl-PL" sz="1600" b="1" kern="0" dirty="0">
                <a:cs typeface="Arial"/>
              </a:rPr>
              <a:t>,000 </a:t>
            </a:r>
            <a:r>
              <a:rPr lang="pl-PL" sz="900" kern="0" dirty="0">
                <a:cs typeface="Arial"/>
              </a:rPr>
              <a:t>pracowników</a:t>
            </a:r>
          </a:p>
          <a:p>
            <a:pPr defTabSz="914103" eaLnBrk="0" hangingPunct="0">
              <a:lnSpc>
                <a:spcPct val="150000"/>
              </a:lnSpc>
              <a:spcBef>
                <a:spcPts val="600"/>
              </a:spcBef>
              <a:spcAft>
                <a:spcPts val="0"/>
              </a:spcAft>
              <a:buClr>
                <a:srgbClr val="0098C7"/>
              </a:buClr>
              <a:defRPr/>
            </a:pPr>
            <a:r>
              <a:rPr lang="pl-PL" sz="900" kern="0" dirty="0">
                <a:cs typeface="Arial"/>
              </a:rPr>
              <a:t>Więcej niż </a:t>
            </a:r>
            <a:r>
              <a:rPr lang="en-US" sz="1600" b="1" kern="0" dirty="0">
                <a:cs typeface="Arial"/>
              </a:rPr>
              <a:t>40 </a:t>
            </a:r>
            <a:r>
              <a:rPr lang="pl-PL" sz="1600" b="1" kern="0" dirty="0">
                <a:cs typeface="Arial"/>
              </a:rPr>
              <a:t>krajów</a:t>
            </a:r>
            <a:endParaRPr lang="en-US" sz="900" b="1" kern="0" dirty="0">
              <a:cs typeface="Arial"/>
            </a:endParaRPr>
          </a:p>
          <a:p>
            <a:pPr defTabSz="914103">
              <a:lnSpc>
                <a:spcPct val="150000"/>
              </a:lnSpc>
              <a:spcBef>
                <a:spcPts val="600"/>
              </a:spcBef>
              <a:spcAft>
                <a:spcPts val="0"/>
              </a:spcAft>
              <a:buClr>
                <a:srgbClr val="0098C7"/>
              </a:buClr>
              <a:defRPr/>
            </a:pPr>
            <a:r>
              <a:rPr lang="pl-PL" sz="900" kern="0" dirty="0">
                <a:cs typeface="Arial"/>
              </a:rPr>
              <a:t>Ponad </a:t>
            </a:r>
            <a:r>
              <a:rPr lang="en-US" sz="1600" b="1" kern="0" dirty="0">
                <a:cs typeface="Arial"/>
              </a:rPr>
              <a:t>120 </a:t>
            </a:r>
            <a:r>
              <a:rPr lang="pl-PL" sz="1600" b="1" kern="0" dirty="0">
                <a:cs typeface="Arial"/>
              </a:rPr>
              <a:t>narodowości</a:t>
            </a:r>
          </a:p>
        </p:txBody>
      </p:sp>
      <p:sp>
        <p:nvSpPr>
          <p:cNvPr id="242" name="Oval 241"/>
          <p:cNvSpPr/>
          <p:nvPr/>
        </p:nvSpPr>
        <p:spPr bwMode="auto">
          <a:xfrm>
            <a:off x="2784000" y="4988834"/>
            <a:ext cx="174698" cy="171750"/>
          </a:xfrm>
          <a:prstGeom prst="ellipse">
            <a:avLst/>
          </a:prstGeom>
          <a:solidFill>
            <a:schemeClr val="accent3"/>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243" name="Oval 242"/>
          <p:cNvSpPr/>
          <p:nvPr/>
        </p:nvSpPr>
        <p:spPr bwMode="auto">
          <a:xfrm>
            <a:off x="2792527" y="5446034"/>
            <a:ext cx="174698" cy="171750"/>
          </a:xfrm>
          <a:prstGeom prst="ellipse">
            <a:avLst/>
          </a:prstGeom>
          <a:solidFill>
            <a:schemeClr val="accent2"/>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244" name="Oval 243"/>
          <p:cNvSpPr/>
          <p:nvPr/>
        </p:nvSpPr>
        <p:spPr bwMode="auto">
          <a:xfrm>
            <a:off x="2792527" y="5903234"/>
            <a:ext cx="174698" cy="171750"/>
          </a:xfrm>
          <a:prstGeom prst="ellipse">
            <a:avLst/>
          </a:prstGeom>
          <a:solidFill>
            <a:schemeClr val="accent4"/>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245" name="Oval 244"/>
          <p:cNvSpPr/>
          <p:nvPr/>
        </p:nvSpPr>
        <p:spPr bwMode="auto">
          <a:xfrm>
            <a:off x="2792527" y="6368054"/>
            <a:ext cx="174698" cy="171750"/>
          </a:xfrm>
          <a:prstGeom prst="ellipse">
            <a:avLst/>
          </a:prstGeom>
          <a:solidFill>
            <a:schemeClr val="accent3">
              <a:lumMod val="50000"/>
              <a:lumOff val="50000"/>
            </a:schemeClr>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286" name="TextBox 285"/>
          <p:cNvSpPr txBox="1"/>
          <p:nvPr/>
        </p:nvSpPr>
        <p:spPr>
          <a:xfrm>
            <a:off x="8688000" y="5160584"/>
            <a:ext cx="3533360" cy="1311207"/>
          </a:xfrm>
          <a:prstGeom prst="rect">
            <a:avLst/>
          </a:prstGeom>
          <a:noFill/>
          <a:ln>
            <a:noFill/>
          </a:ln>
          <a:effectLst/>
        </p:spPr>
        <p:txBody>
          <a:bodyPr wrap="square" lIns="0" rtlCol="0" anchor="ctr">
            <a:noAutofit/>
          </a:bodyPr>
          <a:lstStyle/>
          <a:p>
            <a:pPr marL="171450" indent="-171450">
              <a:lnSpc>
                <a:spcPts val="1800"/>
              </a:lnSpc>
              <a:buClr>
                <a:schemeClr val="accent1"/>
              </a:buClr>
              <a:buFont typeface="Arial" charset="0"/>
              <a:buChar char="•"/>
            </a:pPr>
            <a:r>
              <a:rPr lang="pl-PL" altLang="en-US" sz="1000" b="1" dirty="0"/>
              <a:t>Transport i dystrybucja</a:t>
            </a:r>
          </a:p>
          <a:p>
            <a:pPr marL="171450" indent="-171450">
              <a:lnSpc>
                <a:spcPts val="1800"/>
              </a:lnSpc>
              <a:buClr>
                <a:schemeClr val="accent1"/>
              </a:buClr>
              <a:buFont typeface="Arial" charset="0"/>
              <a:buChar char="•"/>
            </a:pPr>
            <a:r>
              <a:rPr lang="pl-PL" altLang="en-US" sz="1000" b="1" dirty="0"/>
              <a:t>Sektor energetyczny i chemiczny</a:t>
            </a:r>
            <a:endParaRPr lang="en-US" altLang="en-US" sz="1000" b="1" dirty="0"/>
          </a:p>
          <a:p>
            <a:pPr marL="171450" indent="-171450">
              <a:lnSpc>
                <a:spcPts val="1800"/>
              </a:lnSpc>
              <a:buClr>
                <a:schemeClr val="accent1"/>
              </a:buClr>
              <a:buFont typeface="Arial" charset="0"/>
              <a:buChar char="•"/>
            </a:pPr>
            <a:r>
              <a:rPr lang="pl-PL" altLang="en-US" sz="1000" b="1" dirty="0"/>
              <a:t>Sektor medialny i rozrywkowy</a:t>
            </a:r>
            <a:endParaRPr lang="en-US" altLang="en-US" sz="1000" b="1" dirty="0"/>
          </a:p>
          <a:p>
            <a:pPr marL="171450" indent="-171450">
              <a:lnSpc>
                <a:spcPts val="1800"/>
              </a:lnSpc>
              <a:buClr>
                <a:schemeClr val="accent1"/>
              </a:buClr>
              <a:buFont typeface="Arial" charset="0"/>
              <a:buChar char="•"/>
            </a:pPr>
            <a:r>
              <a:rPr lang="pl-PL" altLang="en-US" sz="1000" b="1" dirty="0"/>
              <a:t>Sektor motoryzacyjny</a:t>
            </a:r>
            <a:endParaRPr lang="en-US" altLang="en-US" sz="1000" b="1" dirty="0"/>
          </a:p>
          <a:p>
            <a:pPr marL="171450" indent="-171450">
              <a:lnSpc>
                <a:spcPts val="1800"/>
              </a:lnSpc>
              <a:buClr>
                <a:schemeClr val="accent1"/>
              </a:buClr>
              <a:buFont typeface="Arial" charset="0"/>
              <a:buChar char="•"/>
            </a:pPr>
            <a:r>
              <a:rPr lang="pl-PL" altLang="en-US" sz="1000" b="1" dirty="0"/>
              <a:t>Usługi finansowe</a:t>
            </a:r>
            <a:endParaRPr lang="en-US" altLang="en-US" sz="1000" b="1" dirty="0"/>
          </a:p>
          <a:p>
            <a:pPr marL="171450" indent="-171450">
              <a:lnSpc>
                <a:spcPts val="1800"/>
              </a:lnSpc>
              <a:buClr>
                <a:schemeClr val="accent1"/>
              </a:buClr>
              <a:buFont typeface="Arial" charset="0"/>
              <a:buChar char="•"/>
            </a:pPr>
            <a:r>
              <a:rPr lang="pl-PL" altLang="en-US" sz="1000" b="1" dirty="0"/>
              <a:t>Sektor usług publicznych</a:t>
            </a:r>
            <a:endParaRPr lang="en-US" altLang="en-US" sz="1000" b="1" dirty="0"/>
          </a:p>
        </p:txBody>
      </p:sp>
      <p:sp>
        <p:nvSpPr>
          <p:cNvPr id="287" name="Rectangle 286"/>
          <p:cNvSpPr/>
          <p:nvPr/>
        </p:nvSpPr>
        <p:spPr>
          <a:xfrm>
            <a:off x="8688000" y="4202123"/>
            <a:ext cx="3312000" cy="4588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0000" bIns="45881" rtlCol="0" anchor="ctr"/>
          <a:lstStyle/>
          <a:p>
            <a:r>
              <a:rPr lang="pl-PL" sz="2000" b="1" dirty="0">
                <a:solidFill>
                  <a:schemeClr val="accent2"/>
                </a:solidFill>
              </a:rPr>
              <a:t>Sektory, w których działamy:</a:t>
            </a:r>
            <a:endParaRPr lang="en-US" sz="2000" b="1" dirty="0">
              <a:solidFill>
                <a:schemeClr val="accent2"/>
              </a:solidFill>
            </a:endParaRPr>
          </a:p>
        </p:txBody>
      </p:sp>
      <p:cxnSp>
        <p:nvCxnSpPr>
          <p:cNvPr id="241" name="Conector reto 49">
            <a:extLst>
              <a:ext uri="{FF2B5EF4-FFF2-40B4-BE49-F238E27FC236}">
                <a16:creationId xmlns:a16="http://schemas.microsoft.com/office/drawing/2014/main" id="{F794F527-7462-4648-A64E-D558D50F4129}"/>
              </a:ext>
            </a:extLst>
          </p:cNvPr>
          <p:cNvCxnSpPr>
            <a:cxnSpLocks/>
          </p:cNvCxnSpPr>
          <p:nvPr/>
        </p:nvCxnSpPr>
        <p:spPr>
          <a:xfrm>
            <a:off x="8688000" y="4811541"/>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246" name="Conector reto 49">
            <a:extLst>
              <a:ext uri="{FF2B5EF4-FFF2-40B4-BE49-F238E27FC236}">
                <a16:creationId xmlns:a16="http://schemas.microsoft.com/office/drawing/2014/main" id="{F794F527-7462-4648-A64E-D558D50F4129}"/>
              </a:ext>
            </a:extLst>
          </p:cNvPr>
          <p:cNvCxnSpPr>
            <a:cxnSpLocks/>
          </p:cNvCxnSpPr>
          <p:nvPr/>
        </p:nvCxnSpPr>
        <p:spPr>
          <a:xfrm>
            <a:off x="227013" y="4817523"/>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pSp>
        <p:nvGrpSpPr>
          <p:cNvPr id="247" name="Group 246">
            <a:extLst>
              <a:ext uri="{FF2B5EF4-FFF2-40B4-BE49-F238E27FC236}">
                <a16:creationId xmlns:a16="http://schemas.microsoft.com/office/drawing/2014/main" id="{7A9BC057-20FD-584D-BA7A-FBC8E569DF3C}"/>
              </a:ext>
            </a:extLst>
          </p:cNvPr>
          <p:cNvGrpSpPr/>
          <p:nvPr/>
        </p:nvGrpSpPr>
        <p:grpSpPr>
          <a:xfrm>
            <a:off x="375287" y="1118641"/>
            <a:ext cx="7789656" cy="3196997"/>
            <a:chOff x="1978344" y="726232"/>
            <a:chExt cx="7789656" cy="3196997"/>
          </a:xfrm>
        </p:grpSpPr>
        <p:sp>
          <p:nvSpPr>
            <p:cNvPr id="248" name="AutoShape 2">
              <a:extLst>
                <a:ext uri="{FF2B5EF4-FFF2-40B4-BE49-F238E27FC236}">
                  <a16:creationId xmlns:a16="http://schemas.microsoft.com/office/drawing/2014/main" id="{D182C809-6F70-0E43-96FC-8C03542866A6}"/>
                </a:ext>
              </a:extLst>
            </p:cNvPr>
            <p:cNvSpPr>
              <a:spLocks noChangeAspect="1" noChangeArrowheads="1" noTextEdit="1"/>
            </p:cNvSpPr>
            <p:nvPr/>
          </p:nvSpPr>
          <p:spPr bwMode="auto">
            <a:xfrm>
              <a:off x="3531132" y="1179628"/>
              <a:ext cx="5324822" cy="2743600"/>
            </a:xfrm>
            <a:prstGeom prst="rect">
              <a:avLst/>
            </a:prstGeom>
            <a:noFill/>
            <a:ln w="3175">
              <a:solidFill>
                <a:schemeClr val="bg2"/>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4">
              <a:extLst>
                <a:ext uri="{FF2B5EF4-FFF2-40B4-BE49-F238E27FC236}">
                  <a16:creationId xmlns:a16="http://schemas.microsoft.com/office/drawing/2014/main" id="{6C28D1FA-9C2C-534F-8271-8A7F6A15F5BE}"/>
                </a:ext>
              </a:extLst>
            </p:cNvPr>
            <p:cNvSpPr>
              <a:spLocks noEditPoints="1"/>
            </p:cNvSpPr>
            <p:nvPr/>
          </p:nvSpPr>
          <p:spPr bwMode="auto">
            <a:xfrm>
              <a:off x="7084426" y="2031779"/>
              <a:ext cx="1026565" cy="686475"/>
            </a:xfrm>
            <a:custGeom>
              <a:avLst/>
              <a:gdLst/>
              <a:ahLst/>
              <a:cxnLst>
                <a:cxn ang="0">
                  <a:pos x="896" y="119"/>
                </a:cxn>
                <a:cxn ang="0">
                  <a:pos x="905" y="85"/>
                </a:cxn>
                <a:cxn ang="0">
                  <a:pos x="909" y="42"/>
                </a:cxn>
                <a:cxn ang="0">
                  <a:pos x="903" y="15"/>
                </a:cxn>
                <a:cxn ang="0">
                  <a:pos x="939" y="4"/>
                </a:cxn>
                <a:cxn ang="0">
                  <a:pos x="975" y="6"/>
                </a:cxn>
                <a:cxn ang="0">
                  <a:pos x="994" y="19"/>
                </a:cxn>
                <a:cxn ang="0">
                  <a:pos x="1012" y="42"/>
                </a:cxn>
                <a:cxn ang="0">
                  <a:pos x="1041" y="76"/>
                </a:cxn>
                <a:cxn ang="0">
                  <a:pos x="1065" y="108"/>
                </a:cxn>
                <a:cxn ang="0">
                  <a:pos x="1090" y="110"/>
                </a:cxn>
                <a:cxn ang="0">
                  <a:pos x="1114" y="126"/>
                </a:cxn>
                <a:cxn ang="0">
                  <a:pos x="1125" y="149"/>
                </a:cxn>
                <a:cxn ang="0">
                  <a:pos x="1161" y="155"/>
                </a:cxn>
                <a:cxn ang="0">
                  <a:pos x="1186" y="130"/>
                </a:cxn>
                <a:cxn ang="0">
                  <a:pos x="1197" y="160"/>
                </a:cxn>
                <a:cxn ang="0">
                  <a:pos x="1199" y="192"/>
                </a:cxn>
                <a:cxn ang="0">
                  <a:pos x="1197" y="221"/>
                </a:cxn>
                <a:cxn ang="0">
                  <a:pos x="1165" y="238"/>
                </a:cxn>
                <a:cxn ang="0">
                  <a:pos x="1176" y="287"/>
                </a:cxn>
                <a:cxn ang="0">
                  <a:pos x="1086" y="386"/>
                </a:cxn>
                <a:cxn ang="0">
                  <a:pos x="1043" y="415"/>
                </a:cxn>
                <a:cxn ang="0">
                  <a:pos x="1043" y="403"/>
                </a:cxn>
                <a:cxn ang="0">
                  <a:pos x="1043" y="373"/>
                </a:cxn>
                <a:cxn ang="0">
                  <a:pos x="999" y="386"/>
                </a:cxn>
                <a:cxn ang="0">
                  <a:pos x="969" y="420"/>
                </a:cxn>
                <a:cxn ang="0">
                  <a:pos x="994" y="445"/>
                </a:cxn>
                <a:cxn ang="0">
                  <a:pos x="1022" y="445"/>
                </a:cxn>
                <a:cxn ang="0">
                  <a:pos x="1067" y="454"/>
                </a:cxn>
                <a:cxn ang="0">
                  <a:pos x="1043" y="473"/>
                </a:cxn>
                <a:cxn ang="0">
                  <a:pos x="1018" y="499"/>
                </a:cxn>
                <a:cxn ang="0">
                  <a:pos x="1052" y="558"/>
                </a:cxn>
                <a:cxn ang="0">
                  <a:pos x="1060" y="588"/>
                </a:cxn>
                <a:cxn ang="0">
                  <a:pos x="1028" y="584"/>
                </a:cxn>
                <a:cxn ang="0">
                  <a:pos x="1073" y="620"/>
                </a:cxn>
                <a:cxn ang="0">
                  <a:pos x="1073" y="628"/>
                </a:cxn>
                <a:cxn ang="0">
                  <a:pos x="1090" y="641"/>
                </a:cxn>
                <a:cxn ang="0">
                  <a:pos x="1086" y="658"/>
                </a:cxn>
                <a:cxn ang="0">
                  <a:pos x="1076" y="680"/>
                </a:cxn>
                <a:cxn ang="0">
                  <a:pos x="1073" y="703"/>
                </a:cxn>
                <a:cxn ang="0">
                  <a:pos x="1060" y="718"/>
                </a:cxn>
                <a:cxn ang="0">
                  <a:pos x="1060" y="741"/>
                </a:cxn>
                <a:cxn ang="0">
                  <a:pos x="1048" y="748"/>
                </a:cxn>
                <a:cxn ang="0">
                  <a:pos x="1035" y="765"/>
                </a:cxn>
                <a:cxn ang="0">
                  <a:pos x="1022" y="776"/>
                </a:cxn>
                <a:cxn ang="0">
                  <a:pos x="999" y="799"/>
                </a:cxn>
                <a:cxn ang="0">
                  <a:pos x="973" y="806"/>
                </a:cxn>
                <a:cxn ang="0">
                  <a:pos x="954" y="812"/>
                </a:cxn>
                <a:cxn ang="0">
                  <a:pos x="918" y="827"/>
                </a:cxn>
                <a:cxn ang="0">
                  <a:pos x="905" y="833"/>
                </a:cxn>
                <a:cxn ang="0">
                  <a:pos x="898" y="850"/>
                </a:cxn>
                <a:cxn ang="0">
                  <a:pos x="879" y="825"/>
                </a:cxn>
                <a:cxn ang="0">
                  <a:pos x="738" y="844"/>
                </a:cxn>
                <a:cxn ang="0">
                  <a:pos x="1028" y="786"/>
                </a:cxn>
                <a:cxn ang="0">
                  <a:pos x="1061" y="735"/>
                </a:cxn>
                <a:cxn ang="0">
                  <a:pos x="1076" y="597"/>
                </a:cxn>
                <a:cxn ang="0">
                  <a:pos x="1097" y="799"/>
                </a:cxn>
                <a:cxn ang="0">
                  <a:pos x="1103" y="739"/>
                </a:cxn>
                <a:cxn ang="0">
                  <a:pos x="1078" y="791"/>
                </a:cxn>
                <a:cxn ang="0">
                  <a:pos x="905" y="837"/>
                </a:cxn>
                <a:cxn ang="0">
                  <a:pos x="892" y="859"/>
                </a:cxn>
                <a:cxn ang="0">
                  <a:pos x="900" y="889"/>
                </a:cxn>
                <a:cxn ang="0">
                  <a:pos x="909" y="857"/>
                </a:cxn>
              </a:cxnLst>
              <a:rect l="0" t="0" r="r" b="b"/>
              <a:pathLst>
                <a:path w="1203" h="895">
                  <a:moveTo>
                    <a:pt x="363" y="191"/>
                  </a:moveTo>
                  <a:lnTo>
                    <a:pt x="369" y="191"/>
                  </a:lnTo>
                  <a:lnTo>
                    <a:pt x="372" y="192"/>
                  </a:lnTo>
                  <a:lnTo>
                    <a:pt x="374" y="192"/>
                  </a:lnTo>
                  <a:lnTo>
                    <a:pt x="538" y="196"/>
                  </a:lnTo>
                  <a:lnTo>
                    <a:pt x="826" y="166"/>
                  </a:lnTo>
                  <a:lnTo>
                    <a:pt x="864" y="126"/>
                  </a:lnTo>
                  <a:lnTo>
                    <a:pt x="871" y="125"/>
                  </a:lnTo>
                  <a:lnTo>
                    <a:pt x="871" y="125"/>
                  </a:lnTo>
                  <a:lnTo>
                    <a:pt x="875" y="126"/>
                  </a:lnTo>
                  <a:lnTo>
                    <a:pt x="879" y="126"/>
                  </a:lnTo>
                  <a:lnTo>
                    <a:pt x="884" y="126"/>
                  </a:lnTo>
                  <a:lnTo>
                    <a:pt x="884" y="128"/>
                  </a:lnTo>
                  <a:lnTo>
                    <a:pt x="886" y="128"/>
                  </a:lnTo>
                  <a:lnTo>
                    <a:pt x="896" y="119"/>
                  </a:lnTo>
                  <a:lnTo>
                    <a:pt x="901" y="119"/>
                  </a:lnTo>
                  <a:lnTo>
                    <a:pt x="905" y="115"/>
                  </a:lnTo>
                  <a:lnTo>
                    <a:pt x="909" y="115"/>
                  </a:lnTo>
                  <a:lnTo>
                    <a:pt x="911" y="110"/>
                  </a:lnTo>
                  <a:lnTo>
                    <a:pt x="909" y="106"/>
                  </a:lnTo>
                  <a:lnTo>
                    <a:pt x="909" y="106"/>
                  </a:lnTo>
                  <a:lnTo>
                    <a:pt x="909" y="106"/>
                  </a:lnTo>
                  <a:lnTo>
                    <a:pt x="905" y="106"/>
                  </a:lnTo>
                  <a:lnTo>
                    <a:pt x="905" y="106"/>
                  </a:lnTo>
                  <a:lnTo>
                    <a:pt x="905" y="100"/>
                  </a:lnTo>
                  <a:lnTo>
                    <a:pt x="905" y="98"/>
                  </a:lnTo>
                  <a:lnTo>
                    <a:pt x="905" y="93"/>
                  </a:lnTo>
                  <a:lnTo>
                    <a:pt x="903" y="89"/>
                  </a:lnTo>
                  <a:lnTo>
                    <a:pt x="905" y="89"/>
                  </a:lnTo>
                  <a:lnTo>
                    <a:pt x="905" y="85"/>
                  </a:lnTo>
                  <a:lnTo>
                    <a:pt x="905" y="83"/>
                  </a:lnTo>
                  <a:lnTo>
                    <a:pt x="905" y="81"/>
                  </a:lnTo>
                  <a:lnTo>
                    <a:pt x="905" y="77"/>
                  </a:lnTo>
                  <a:lnTo>
                    <a:pt x="905" y="74"/>
                  </a:lnTo>
                  <a:lnTo>
                    <a:pt x="903" y="72"/>
                  </a:lnTo>
                  <a:lnTo>
                    <a:pt x="903" y="68"/>
                  </a:lnTo>
                  <a:lnTo>
                    <a:pt x="905" y="64"/>
                  </a:lnTo>
                  <a:lnTo>
                    <a:pt x="909" y="64"/>
                  </a:lnTo>
                  <a:lnTo>
                    <a:pt x="909" y="59"/>
                  </a:lnTo>
                  <a:lnTo>
                    <a:pt x="909" y="55"/>
                  </a:lnTo>
                  <a:lnTo>
                    <a:pt x="915" y="53"/>
                  </a:lnTo>
                  <a:lnTo>
                    <a:pt x="915" y="49"/>
                  </a:lnTo>
                  <a:lnTo>
                    <a:pt x="911" y="47"/>
                  </a:lnTo>
                  <a:lnTo>
                    <a:pt x="911" y="44"/>
                  </a:lnTo>
                  <a:lnTo>
                    <a:pt x="909" y="42"/>
                  </a:lnTo>
                  <a:lnTo>
                    <a:pt x="909" y="38"/>
                  </a:lnTo>
                  <a:lnTo>
                    <a:pt x="905" y="34"/>
                  </a:lnTo>
                  <a:lnTo>
                    <a:pt x="903" y="34"/>
                  </a:lnTo>
                  <a:lnTo>
                    <a:pt x="901" y="34"/>
                  </a:lnTo>
                  <a:lnTo>
                    <a:pt x="898" y="36"/>
                  </a:lnTo>
                  <a:lnTo>
                    <a:pt x="894" y="36"/>
                  </a:lnTo>
                  <a:lnTo>
                    <a:pt x="894" y="34"/>
                  </a:lnTo>
                  <a:lnTo>
                    <a:pt x="894" y="30"/>
                  </a:lnTo>
                  <a:lnTo>
                    <a:pt x="894" y="30"/>
                  </a:lnTo>
                  <a:lnTo>
                    <a:pt x="894" y="29"/>
                  </a:lnTo>
                  <a:lnTo>
                    <a:pt x="896" y="25"/>
                  </a:lnTo>
                  <a:lnTo>
                    <a:pt x="898" y="21"/>
                  </a:lnTo>
                  <a:lnTo>
                    <a:pt x="900" y="19"/>
                  </a:lnTo>
                  <a:lnTo>
                    <a:pt x="900" y="17"/>
                  </a:lnTo>
                  <a:lnTo>
                    <a:pt x="903" y="15"/>
                  </a:lnTo>
                  <a:lnTo>
                    <a:pt x="905" y="13"/>
                  </a:lnTo>
                  <a:lnTo>
                    <a:pt x="909" y="13"/>
                  </a:lnTo>
                  <a:lnTo>
                    <a:pt x="911" y="13"/>
                  </a:lnTo>
                  <a:lnTo>
                    <a:pt x="911" y="12"/>
                  </a:lnTo>
                  <a:lnTo>
                    <a:pt x="915" y="13"/>
                  </a:lnTo>
                  <a:lnTo>
                    <a:pt x="916" y="12"/>
                  </a:lnTo>
                  <a:lnTo>
                    <a:pt x="918" y="8"/>
                  </a:lnTo>
                  <a:lnTo>
                    <a:pt x="922" y="8"/>
                  </a:lnTo>
                  <a:lnTo>
                    <a:pt x="924" y="6"/>
                  </a:lnTo>
                  <a:lnTo>
                    <a:pt x="928" y="6"/>
                  </a:lnTo>
                  <a:lnTo>
                    <a:pt x="932" y="6"/>
                  </a:lnTo>
                  <a:lnTo>
                    <a:pt x="935" y="6"/>
                  </a:lnTo>
                  <a:lnTo>
                    <a:pt x="935" y="4"/>
                  </a:lnTo>
                  <a:lnTo>
                    <a:pt x="939" y="4"/>
                  </a:lnTo>
                  <a:lnTo>
                    <a:pt x="939" y="4"/>
                  </a:lnTo>
                  <a:lnTo>
                    <a:pt x="943" y="0"/>
                  </a:lnTo>
                  <a:lnTo>
                    <a:pt x="945" y="0"/>
                  </a:lnTo>
                  <a:lnTo>
                    <a:pt x="947" y="0"/>
                  </a:lnTo>
                  <a:lnTo>
                    <a:pt x="950" y="0"/>
                  </a:lnTo>
                  <a:lnTo>
                    <a:pt x="952" y="4"/>
                  </a:lnTo>
                  <a:lnTo>
                    <a:pt x="958" y="4"/>
                  </a:lnTo>
                  <a:lnTo>
                    <a:pt x="960" y="6"/>
                  </a:lnTo>
                  <a:lnTo>
                    <a:pt x="960" y="8"/>
                  </a:lnTo>
                  <a:lnTo>
                    <a:pt x="965" y="8"/>
                  </a:lnTo>
                  <a:lnTo>
                    <a:pt x="969" y="6"/>
                  </a:lnTo>
                  <a:lnTo>
                    <a:pt x="969" y="8"/>
                  </a:lnTo>
                  <a:lnTo>
                    <a:pt x="973" y="10"/>
                  </a:lnTo>
                  <a:lnTo>
                    <a:pt x="973" y="10"/>
                  </a:lnTo>
                  <a:lnTo>
                    <a:pt x="973" y="6"/>
                  </a:lnTo>
                  <a:lnTo>
                    <a:pt x="975" y="6"/>
                  </a:lnTo>
                  <a:lnTo>
                    <a:pt x="977" y="6"/>
                  </a:lnTo>
                  <a:lnTo>
                    <a:pt x="980" y="6"/>
                  </a:lnTo>
                  <a:lnTo>
                    <a:pt x="980" y="6"/>
                  </a:lnTo>
                  <a:lnTo>
                    <a:pt x="982" y="8"/>
                  </a:lnTo>
                  <a:lnTo>
                    <a:pt x="984" y="8"/>
                  </a:lnTo>
                  <a:lnTo>
                    <a:pt x="988" y="8"/>
                  </a:lnTo>
                  <a:lnTo>
                    <a:pt x="988" y="10"/>
                  </a:lnTo>
                  <a:lnTo>
                    <a:pt x="988" y="12"/>
                  </a:lnTo>
                  <a:lnTo>
                    <a:pt x="990" y="13"/>
                  </a:lnTo>
                  <a:lnTo>
                    <a:pt x="990" y="15"/>
                  </a:lnTo>
                  <a:lnTo>
                    <a:pt x="990" y="15"/>
                  </a:lnTo>
                  <a:lnTo>
                    <a:pt x="994" y="13"/>
                  </a:lnTo>
                  <a:lnTo>
                    <a:pt x="997" y="15"/>
                  </a:lnTo>
                  <a:lnTo>
                    <a:pt x="997" y="17"/>
                  </a:lnTo>
                  <a:lnTo>
                    <a:pt x="994" y="19"/>
                  </a:lnTo>
                  <a:lnTo>
                    <a:pt x="997" y="21"/>
                  </a:lnTo>
                  <a:lnTo>
                    <a:pt x="999" y="21"/>
                  </a:lnTo>
                  <a:lnTo>
                    <a:pt x="1001" y="21"/>
                  </a:lnTo>
                  <a:lnTo>
                    <a:pt x="1001" y="21"/>
                  </a:lnTo>
                  <a:lnTo>
                    <a:pt x="1001" y="25"/>
                  </a:lnTo>
                  <a:lnTo>
                    <a:pt x="1005" y="25"/>
                  </a:lnTo>
                  <a:lnTo>
                    <a:pt x="1005" y="25"/>
                  </a:lnTo>
                  <a:lnTo>
                    <a:pt x="1005" y="30"/>
                  </a:lnTo>
                  <a:lnTo>
                    <a:pt x="1007" y="30"/>
                  </a:lnTo>
                  <a:lnTo>
                    <a:pt x="1007" y="34"/>
                  </a:lnTo>
                  <a:lnTo>
                    <a:pt x="1007" y="34"/>
                  </a:lnTo>
                  <a:lnTo>
                    <a:pt x="1012" y="34"/>
                  </a:lnTo>
                  <a:lnTo>
                    <a:pt x="1012" y="36"/>
                  </a:lnTo>
                  <a:lnTo>
                    <a:pt x="1012" y="40"/>
                  </a:lnTo>
                  <a:lnTo>
                    <a:pt x="1012" y="42"/>
                  </a:lnTo>
                  <a:lnTo>
                    <a:pt x="1014" y="44"/>
                  </a:lnTo>
                  <a:lnTo>
                    <a:pt x="1018" y="47"/>
                  </a:lnTo>
                  <a:lnTo>
                    <a:pt x="1018" y="49"/>
                  </a:lnTo>
                  <a:lnTo>
                    <a:pt x="1022" y="53"/>
                  </a:lnTo>
                  <a:lnTo>
                    <a:pt x="1022" y="55"/>
                  </a:lnTo>
                  <a:lnTo>
                    <a:pt x="1024" y="55"/>
                  </a:lnTo>
                  <a:lnTo>
                    <a:pt x="1028" y="59"/>
                  </a:lnTo>
                  <a:lnTo>
                    <a:pt x="1028" y="59"/>
                  </a:lnTo>
                  <a:lnTo>
                    <a:pt x="1024" y="61"/>
                  </a:lnTo>
                  <a:lnTo>
                    <a:pt x="1028" y="64"/>
                  </a:lnTo>
                  <a:lnTo>
                    <a:pt x="1028" y="61"/>
                  </a:lnTo>
                  <a:lnTo>
                    <a:pt x="1029" y="64"/>
                  </a:lnTo>
                  <a:lnTo>
                    <a:pt x="1029" y="66"/>
                  </a:lnTo>
                  <a:lnTo>
                    <a:pt x="1033" y="72"/>
                  </a:lnTo>
                  <a:lnTo>
                    <a:pt x="1041" y="76"/>
                  </a:lnTo>
                  <a:lnTo>
                    <a:pt x="1043" y="79"/>
                  </a:lnTo>
                  <a:lnTo>
                    <a:pt x="1043" y="83"/>
                  </a:lnTo>
                  <a:lnTo>
                    <a:pt x="1044" y="85"/>
                  </a:lnTo>
                  <a:lnTo>
                    <a:pt x="1044" y="89"/>
                  </a:lnTo>
                  <a:lnTo>
                    <a:pt x="1046" y="89"/>
                  </a:lnTo>
                  <a:lnTo>
                    <a:pt x="1048" y="89"/>
                  </a:lnTo>
                  <a:lnTo>
                    <a:pt x="1048" y="93"/>
                  </a:lnTo>
                  <a:lnTo>
                    <a:pt x="1048" y="94"/>
                  </a:lnTo>
                  <a:lnTo>
                    <a:pt x="1052" y="98"/>
                  </a:lnTo>
                  <a:lnTo>
                    <a:pt x="1054" y="104"/>
                  </a:lnTo>
                  <a:lnTo>
                    <a:pt x="1058" y="104"/>
                  </a:lnTo>
                  <a:lnTo>
                    <a:pt x="1060" y="108"/>
                  </a:lnTo>
                  <a:lnTo>
                    <a:pt x="1061" y="108"/>
                  </a:lnTo>
                  <a:lnTo>
                    <a:pt x="1063" y="106"/>
                  </a:lnTo>
                  <a:lnTo>
                    <a:pt x="1065" y="108"/>
                  </a:lnTo>
                  <a:lnTo>
                    <a:pt x="1067" y="108"/>
                  </a:lnTo>
                  <a:lnTo>
                    <a:pt x="1071" y="108"/>
                  </a:lnTo>
                  <a:lnTo>
                    <a:pt x="1073" y="106"/>
                  </a:lnTo>
                  <a:lnTo>
                    <a:pt x="1076" y="106"/>
                  </a:lnTo>
                  <a:lnTo>
                    <a:pt x="1076" y="108"/>
                  </a:lnTo>
                  <a:lnTo>
                    <a:pt x="1073" y="108"/>
                  </a:lnTo>
                  <a:lnTo>
                    <a:pt x="1076" y="110"/>
                  </a:lnTo>
                  <a:lnTo>
                    <a:pt x="1078" y="110"/>
                  </a:lnTo>
                  <a:lnTo>
                    <a:pt x="1082" y="110"/>
                  </a:lnTo>
                  <a:lnTo>
                    <a:pt x="1082" y="113"/>
                  </a:lnTo>
                  <a:lnTo>
                    <a:pt x="1084" y="113"/>
                  </a:lnTo>
                  <a:lnTo>
                    <a:pt x="1084" y="113"/>
                  </a:lnTo>
                  <a:lnTo>
                    <a:pt x="1086" y="110"/>
                  </a:lnTo>
                  <a:lnTo>
                    <a:pt x="1088" y="113"/>
                  </a:lnTo>
                  <a:lnTo>
                    <a:pt x="1090" y="110"/>
                  </a:lnTo>
                  <a:lnTo>
                    <a:pt x="1092" y="110"/>
                  </a:lnTo>
                  <a:lnTo>
                    <a:pt x="1093" y="110"/>
                  </a:lnTo>
                  <a:lnTo>
                    <a:pt x="1093" y="113"/>
                  </a:lnTo>
                  <a:lnTo>
                    <a:pt x="1095" y="115"/>
                  </a:lnTo>
                  <a:lnTo>
                    <a:pt x="1097" y="115"/>
                  </a:lnTo>
                  <a:lnTo>
                    <a:pt x="1097" y="115"/>
                  </a:lnTo>
                  <a:lnTo>
                    <a:pt x="1101" y="119"/>
                  </a:lnTo>
                  <a:lnTo>
                    <a:pt x="1101" y="119"/>
                  </a:lnTo>
                  <a:lnTo>
                    <a:pt x="1103" y="119"/>
                  </a:lnTo>
                  <a:lnTo>
                    <a:pt x="1103" y="123"/>
                  </a:lnTo>
                  <a:lnTo>
                    <a:pt x="1107" y="123"/>
                  </a:lnTo>
                  <a:lnTo>
                    <a:pt x="1107" y="125"/>
                  </a:lnTo>
                  <a:lnTo>
                    <a:pt x="1108" y="125"/>
                  </a:lnTo>
                  <a:lnTo>
                    <a:pt x="1110" y="126"/>
                  </a:lnTo>
                  <a:lnTo>
                    <a:pt x="1114" y="126"/>
                  </a:lnTo>
                  <a:lnTo>
                    <a:pt x="1116" y="126"/>
                  </a:lnTo>
                  <a:lnTo>
                    <a:pt x="1118" y="126"/>
                  </a:lnTo>
                  <a:lnTo>
                    <a:pt x="1120" y="125"/>
                  </a:lnTo>
                  <a:lnTo>
                    <a:pt x="1122" y="125"/>
                  </a:lnTo>
                  <a:lnTo>
                    <a:pt x="1124" y="125"/>
                  </a:lnTo>
                  <a:lnTo>
                    <a:pt x="1124" y="126"/>
                  </a:lnTo>
                  <a:lnTo>
                    <a:pt x="1122" y="130"/>
                  </a:lnTo>
                  <a:lnTo>
                    <a:pt x="1122" y="132"/>
                  </a:lnTo>
                  <a:lnTo>
                    <a:pt x="1122" y="134"/>
                  </a:lnTo>
                  <a:lnTo>
                    <a:pt x="1125" y="134"/>
                  </a:lnTo>
                  <a:lnTo>
                    <a:pt x="1125" y="138"/>
                  </a:lnTo>
                  <a:lnTo>
                    <a:pt x="1127" y="142"/>
                  </a:lnTo>
                  <a:lnTo>
                    <a:pt x="1125" y="143"/>
                  </a:lnTo>
                  <a:lnTo>
                    <a:pt x="1125" y="143"/>
                  </a:lnTo>
                  <a:lnTo>
                    <a:pt x="1125" y="149"/>
                  </a:lnTo>
                  <a:lnTo>
                    <a:pt x="1127" y="153"/>
                  </a:lnTo>
                  <a:lnTo>
                    <a:pt x="1131" y="153"/>
                  </a:lnTo>
                  <a:lnTo>
                    <a:pt x="1131" y="157"/>
                  </a:lnTo>
                  <a:lnTo>
                    <a:pt x="1135" y="158"/>
                  </a:lnTo>
                  <a:lnTo>
                    <a:pt x="1137" y="158"/>
                  </a:lnTo>
                  <a:lnTo>
                    <a:pt x="1140" y="157"/>
                  </a:lnTo>
                  <a:lnTo>
                    <a:pt x="1140" y="157"/>
                  </a:lnTo>
                  <a:lnTo>
                    <a:pt x="1142" y="158"/>
                  </a:lnTo>
                  <a:lnTo>
                    <a:pt x="1144" y="160"/>
                  </a:lnTo>
                  <a:lnTo>
                    <a:pt x="1146" y="160"/>
                  </a:lnTo>
                  <a:lnTo>
                    <a:pt x="1148" y="158"/>
                  </a:lnTo>
                  <a:lnTo>
                    <a:pt x="1152" y="158"/>
                  </a:lnTo>
                  <a:lnTo>
                    <a:pt x="1152" y="158"/>
                  </a:lnTo>
                  <a:lnTo>
                    <a:pt x="1159" y="157"/>
                  </a:lnTo>
                  <a:lnTo>
                    <a:pt x="1161" y="155"/>
                  </a:lnTo>
                  <a:lnTo>
                    <a:pt x="1161" y="155"/>
                  </a:lnTo>
                  <a:lnTo>
                    <a:pt x="1161" y="153"/>
                  </a:lnTo>
                  <a:lnTo>
                    <a:pt x="1161" y="149"/>
                  </a:lnTo>
                  <a:lnTo>
                    <a:pt x="1165" y="149"/>
                  </a:lnTo>
                  <a:lnTo>
                    <a:pt x="1165" y="143"/>
                  </a:lnTo>
                  <a:lnTo>
                    <a:pt x="1165" y="143"/>
                  </a:lnTo>
                  <a:lnTo>
                    <a:pt x="1169" y="143"/>
                  </a:lnTo>
                  <a:lnTo>
                    <a:pt x="1172" y="143"/>
                  </a:lnTo>
                  <a:lnTo>
                    <a:pt x="1172" y="140"/>
                  </a:lnTo>
                  <a:lnTo>
                    <a:pt x="1174" y="138"/>
                  </a:lnTo>
                  <a:lnTo>
                    <a:pt x="1176" y="138"/>
                  </a:lnTo>
                  <a:lnTo>
                    <a:pt x="1178" y="134"/>
                  </a:lnTo>
                  <a:lnTo>
                    <a:pt x="1180" y="132"/>
                  </a:lnTo>
                  <a:lnTo>
                    <a:pt x="1184" y="132"/>
                  </a:lnTo>
                  <a:lnTo>
                    <a:pt x="1186" y="130"/>
                  </a:lnTo>
                  <a:lnTo>
                    <a:pt x="1189" y="132"/>
                  </a:lnTo>
                  <a:lnTo>
                    <a:pt x="1189" y="134"/>
                  </a:lnTo>
                  <a:lnTo>
                    <a:pt x="1191" y="134"/>
                  </a:lnTo>
                  <a:lnTo>
                    <a:pt x="1195" y="136"/>
                  </a:lnTo>
                  <a:lnTo>
                    <a:pt x="1195" y="140"/>
                  </a:lnTo>
                  <a:lnTo>
                    <a:pt x="1195" y="142"/>
                  </a:lnTo>
                  <a:lnTo>
                    <a:pt x="1195" y="143"/>
                  </a:lnTo>
                  <a:lnTo>
                    <a:pt x="1197" y="147"/>
                  </a:lnTo>
                  <a:lnTo>
                    <a:pt x="1197" y="149"/>
                  </a:lnTo>
                  <a:lnTo>
                    <a:pt x="1199" y="149"/>
                  </a:lnTo>
                  <a:lnTo>
                    <a:pt x="1203" y="153"/>
                  </a:lnTo>
                  <a:lnTo>
                    <a:pt x="1201" y="155"/>
                  </a:lnTo>
                  <a:lnTo>
                    <a:pt x="1201" y="158"/>
                  </a:lnTo>
                  <a:lnTo>
                    <a:pt x="1201" y="160"/>
                  </a:lnTo>
                  <a:lnTo>
                    <a:pt x="1197" y="160"/>
                  </a:lnTo>
                  <a:lnTo>
                    <a:pt x="1195" y="164"/>
                  </a:lnTo>
                  <a:lnTo>
                    <a:pt x="1195" y="166"/>
                  </a:lnTo>
                  <a:lnTo>
                    <a:pt x="1197" y="168"/>
                  </a:lnTo>
                  <a:lnTo>
                    <a:pt x="1197" y="170"/>
                  </a:lnTo>
                  <a:lnTo>
                    <a:pt x="1197" y="172"/>
                  </a:lnTo>
                  <a:lnTo>
                    <a:pt x="1195" y="174"/>
                  </a:lnTo>
                  <a:lnTo>
                    <a:pt x="1197" y="177"/>
                  </a:lnTo>
                  <a:lnTo>
                    <a:pt x="1199" y="177"/>
                  </a:lnTo>
                  <a:lnTo>
                    <a:pt x="1199" y="179"/>
                  </a:lnTo>
                  <a:lnTo>
                    <a:pt x="1199" y="179"/>
                  </a:lnTo>
                  <a:lnTo>
                    <a:pt x="1199" y="183"/>
                  </a:lnTo>
                  <a:lnTo>
                    <a:pt x="1199" y="183"/>
                  </a:lnTo>
                  <a:lnTo>
                    <a:pt x="1197" y="183"/>
                  </a:lnTo>
                  <a:lnTo>
                    <a:pt x="1197" y="187"/>
                  </a:lnTo>
                  <a:lnTo>
                    <a:pt x="1199" y="192"/>
                  </a:lnTo>
                  <a:lnTo>
                    <a:pt x="1201" y="194"/>
                  </a:lnTo>
                  <a:lnTo>
                    <a:pt x="1201" y="194"/>
                  </a:lnTo>
                  <a:lnTo>
                    <a:pt x="1199" y="196"/>
                  </a:lnTo>
                  <a:lnTo>
                    <a:pt x="1197" y="200"/>
                  </a:lnTo>
                  <a:lnTo>
                    <a:pt x="1199" y="202"/>
                  </a:lnTo>
                  <a:lnTo>
                    <a:pt x="1199" y="204"/>
                  </a:lnTo>
                  <a:lnTo>
                    <a:pt x="1201" y="204"/>
                  </a:lnTo>
                  <a:lnTo>
                    <a:pt x="1197" y="207"/>
                  </a:lnTo>
                  <a:lnTo>
                    <a:pt x="1197" y="207"/>
                  </a:lnTo>
                  <a:lnTo>
                    <a:pt x="1197" y="207"/>
                  </a:lnTo>
                  <a:lnTo>
                    <a:pt x="1199" y="213"/>
                  </a:lnTo>
                  <a:lnTo>
                    <a:pt x="1197" y="213"/>
                  </a:lnTo>
                  <a:lnTo>
                    <a:pt x="1195" y="217"/>
                  </a:lnTo>
                  <a:lnTo>
                    <a:pt x="1195" y="219"/>
                  </a:lnTo>
                  <a:lnTo>
                    <a:pt x="1197" y="221"/>
                  </a:lnTo>
                  <a:lnTo>
                    <a:pt x="1195" y="223"/>
                  </a:lnTo>
                  <a:lnTo>
                    <a:pt x="1197" y="224"/>
                  </a:lnTo>
                  <a:lnTo>
                    <a:pt x="1197" y="226"/>
                  </a:lnTo>
                  <a:lnTo>
                    <a:pt x="1197" y="230"/>
                  </a:lnTo>
                  <a:lnTo>
                    <a:pt x="1197" y="232"/>
                  </a:lnTo>
                  <a:lnTo>
                    <a:pt x="1195" y="232"/>
                  </a:lnTo>
                  <a:lnTo>
                    <a:pt x="1191" y="230"/>
                  </a:lnTo>
                  <a:lnTo>
                    <a:pt x="1182" y="228"/>
                  </a:lnTo>
                  <a:lnTo>
                    <a:pt x="1178" y="228"/>
                  </a:lnTo>
                  <a:lnTo>
                    <a:pt x="1176" y="226"/>
                  </a:lnTo>
                  <a:lnTo>
                    <a:pt x="1174" y="226"/>
                  </a:lnTo>
                  <a:lnTo>
                    <a:pt x="1171" y="232"/>
                  </a:lnTo>
                  <a:lnTo>
                    <a:pt x="1171" y="236"/>
                  </a:lnTo>
                  <a:lnTo>
                    <a:pt x="1169" y="238"/>
                  </a:lnTo>
                  <a:lnTo>
                    <a:pt x="1165" y="238"/>
                  </a:lnTo>
                  <a:lnTo>
                    <a:pt x="1165" y="238"/>
                  </a:lnTo>
                  <a:lnTo>
                    <a:pt x="1165" y="241"/>
                  </a:lnTo>
                  <a:lnTo>
                    <a:pt x="1165" y="243"/>
                  </a:lnTo>
                  <a:lnTo>
                    <a:pt x="1169" y="251"/>
                  </a:lnTo>
                  <a:lnTo>
                    <a:pt x="1169" y="253"/>
                  </a:lnTo>
                  <a:lnTo>
                    <a:pt x="1171" y="255"/>
                  </a:lnTo>
                  <a:lnTo>
                    <a:pt x="1172" y="258"/>
                  </a:lnTo>
                  <a:lnTo>
                    <a:pt x="1172" y="262"/>
                  </a:lnTo>
                  <a:lnTo>
                    <a:pt x="1174" y="268"/>
                  </a:lnTo>
                  <a:lnTo>
                    <a:pt x="1174" y="268"/>
                  </a:lnTo>
                  <a:lnTo>
                    <a:pt x="1174" y="275"/>
                  </a:lnTo>
                  <a:lnTo>
                    <a:pt x="1176" y="277"/>
                  </a:lnTo>
                  <a:lnTo>
                    <a:pt x="1176" y="281"/>
                  </a:lnTo>
                  <a:lnTo>
                    <a:pt x="1176" y="285"/>
                  </a:lnTo>
                  <a:lnTo>
                    <a:pt x="1176" y="287"/>
                  </a:lnTo>
                  <a:lnTo>
                    <a:pt x="1176" y="288"/>
                  </a:lnTo>
                  <a:lnTo>
                    <a:pt x="1176" y="290"/>
                  </a:lnTo>
                  <a:lnTo>
                    <a:pt x="1176" y="292"/>
                  </a:lnTo>
                  <a:lnTo>
                    <a:pt x="1174" y="292"/>
                  </a:lnTo>
                  <a:lnTo>
                    <a:pt x="1171" y="292"/>
                  </a:lnTo>
                  <a:lnTo>
                    <a:pt x="1167" y="292"/>
                  </a:lnTo>
                  <a:lnTo>
                    <a:pt x="1167" y="296"/>
                  </a:lnTo>
                  <a:lnTo>
                    <a:pt x="1169" y="298"/>
                  </a:lnTo>
                  <a:lnTo>
                    <a:pt x="1169" y="302"/>
                  </a:lnTo>
                  <a:lnTo>
                    <a:pt x="1169" y="302"/>
                  </a:lnTo>
                  <a:lnTo>
                    <a:pt x="1169" y="305"/>
                  </a:lnTo>
                  <a:lnTo>
                    <a:pt x="1152" y="317"/>
                  </a:lnTo>
                  <a:lnTo>
                    <a:pt x="1148" y="345"/>
                  </a:lnTo>
                  <a:lnTo>
                    <a:pt x="1095" y="385"/>
                  </a:lnTo>
                  <a:lnTo>
                    <a:pt x="1086" y="386"/>
                  </a:lnTo>
                  <a:lnTo>
                    <a:pt x="1084" y="386"/>
                  </a:lnTo>
                  <a:lnTo>
                    <a:pt x="1084" y="385"/>
                  </a:lnTo>
                  <a:lnTo>
                    <a:pt x="1078" y="390"/>
                  </a:lnTo>
                  <a:lnTo>
                    <a:pt x="1073" y="390"/>
                  </a:lnTo>
                  <a:lnTo>
                    <a:pt x="1073" y="390"/>
                  </a:lnTo>
                  <a:lnTo>
                    <a:pt x="1071" y="390"/>
                  </a:lnTo>
                  <a:lnTo>
                    <a:pt x="1065" y="392"/>
                  </a:lnTo>
                  <a:lnTo>
                    <a:pt x="1061" y="392"/>
                  </a:lnTo>
                  <a:lnTo>
                    <a:pt x="1060" y="396"/>
                  </a:lnTo>
                  <a:lnTo>
                    <a:pt x="1058" y="396"/>
                  </a:lnTo>
                  <a:lnTo>
                    <a:pt x="1052" y="401"/>
                  </a:lnTo>
                  <a:lnTo>
                    <a:pt x="1046" y="405"/>
                  </a:lnTo>
                  <a:lnTo>
                    <a:pt x="1048" y="411"/>
                  </a:lnTo>
                  <a:lnTo>
                    <a:pt x="1048" y="411"/>
                  </a:lnTo>
                  <a:lnTo>
                    <a:pt x="1043" y="415"/>
                  </a:lnTo>
                  <a:lnTo>
                    <a:pt x="1039" y="417"/>
                  </a:lnTo>
                  <a:lnTo>
                    <a:pt x="1037" y="417"/>
                  </a:lnTo>
                  <a:lnTo>
                    <a:pt x="1033" y="420"/>
                  </a:lnTo>
                  <a:lnTo>
                    <a:pt x="1031" y="420"/>
                  </a:lnTo>
                  <a:lnTo>
                    <a:pt x="1031" y="417"/>
                  </a:lnTo>
                  <a:lnTo>
                    <a:pt x="1028" y="417"/>
                  </a:lnTo>
                  <a:lnTo>
                    <a:pt x="1029" y="415"/>
                  </a:lnTo>
                  <a:lnTo>
                    <a:pt x="1033" y="415"/>
                  </a:lnTo>
                  <a:lnTo>
                    <a:pt x="1035" y="411"/>
                  </a:lnTo>
                  <a:lnTo>
                    <a:pt x="1039" y="411"/>
                  </a:lnTo>
                  <a:lnTo>
                    <a:pt x="1041" y="411"/>
                  </a:lnTo>
                  <a:lnTo>
                    <a:pt x="1041" y="409"/>
                  </a:lnTo>
                  <a:lnTo>
                    <a:pt x="1039" y="407"/>
                  </a:lnTo>
                  <a:lnTo>
                    <a:pt x="1039" y="405"/>
                  </a:lnTo>
                  <a:lnTo>
                    <a:pt x="1043" y="403"/>
                  </a:lnTo>
                  <a:lnTo>
                    <a:pt x="1044" y="400"/>
                  </a:lnTo>
                  <a:lnTo>
                    <a:pt x="1039" y="403"/>
                  </a:lnTo>
                  <a:lnTo>
                    <a:pt x="1035" y="405"/>
                  </a:lnTo>
                  <a:lnTo>
                    <a:pt x="1033" y="403"/>
                  </a:lnTo>
                  <a:lnTo>
                    <a:pt x="1033" y="400"/>
                  </a:lnTo>
                  <a:lnTo>
                    <a:pt x="1035" y="400"/>
                  </a:lnTo>
                  <a:lnTo>
                    <a:pt x="1035" y="400"/>
                  </a:lnTo>
                  <a:lnTo>
                    <a:pt x="1031" y="392"/>
                  </a:lnTo>
                  <a:lnTo>
                    <a:pt x="1031" y="390"/>
                  </a:lnTo>
                  <a:lnTo>
                    <a:pt x="1031" y="386"/>
                  </a:lnTo>
                  <a:lnTo>
                    <a:pt x="1035" y="386"/>
                  </a:lnTo>
                  <a:lnTo>
                    <a:pt x="1035" y="383"/>
                  </a:lnTo>
                  <a:lnTo>
                    <a:pt x="1039" y="377"/>
                  </a:lnTo>
                  <a:lnTo>
                    <a:pt x="1041" y="375"/>
                  </a:lnTo>
                  <a:lnTo>
                    <a:pt x="1043" y="373"/>
                  </a:lnTo>
                  <a:lnTo>
                    <a:pt x="1043" y="369"/>
                  </a:lnTo>
                  <a:lnTo>
                    <a:pt x="1033" y="366"/>
                  </a:lnTo>
                  <a:lnTo>
                    <a:pt x="1028" y="360"/>
                  </a:lnTo>
                  <a:lnTo>
                    <a:pt x="1028" y="362"/>
                  </a:lnTo>
                  <a:lnTo>
                    <a:pt x="1024" y="362"/>
                  </a:lnTo>
                  <a:lnTo>
                    <a:pt x="1022" y="360"/>
                  </a:lnTo>
                  <a:lnTo>
                    <a:pt x="1018" y="360"/>
                  </a:lnTo>
                  <a:lnTo>
                    <a:pt x="1014" y="366"/>
                  </a:lnTo>
                  <a:lnTo>
                    <a:pt x="1014" y="366"/>
                  </a:lnTo>
                  <a:lnTo>
                    <a:pt x="1014" y="369"/>
                  </a:lnTo>
                  <a:lnTo>
                    <a:pt x="1009" y="375"/>
                  </a:lnTo>
                  <a:lnTo>
                    <a:pt x="1009" y="383"/>
                  </a:lnTo>
                  <a:lnTo>
                    <a:pt x="1007" y="383"/>
                  </a:lnTo>
                  <a:lnTo>
                    <a:pt x="1003" y="386"/>
                  </a:lnTo>
                  <a:lnTo>
                    <a:pt x="999" y="386"/>
                  </a:lnTo>
                  <a:lnTo>
                    <a:pt x="994" y="390"/>
                  </a:lnTo>
                  <a:lnTo>
                    <a:pt x="990" y="400"/>
                  </a:lnTo>
                  <a:lnTo>
                    <a:pt x="990" y="403"/>
                  </a:lnTo>
                  <a:lnTo>
                    <a:pt x="990" y="403"/>
                  </a:lnTo>
                  <a:lnTo>
                    <a:pt x="994" y="409"/>
                  </a:lnTo>
                  <a:lnTo>
                    <a:pt x="990" y="409"/>
                  </a:lnTo>
                  <a:lnTo>
                    <a:pt x="990" y="411"/>
                  </a:lnTo>
                  <a:lnTo>
                    <a:pt x="990" y="415"/>
                  </a:lnTo>
                  <a:lnTo>
                    <a:pt x="984" y="415"/>
                  </a:lnTo>
                  <a:lnTo>
                    <a:pt x="979" y="415"/>
                  </a:lnTo>
                  <a:lnTo>
                    <a:pt x="973" y="411"/>
                  </a:lnTo>
                  <a:lnTo>
                    <a:pt x="969" y="415"/>
                  </a:lnTo>
                  <a:lnTo>
                    <a:pt x="969" y="417"/>
                  </a:lnTo>
                  <a:lnTo>
                    <a:pt x="969" y="420"/>
                  </a:lnTo>
                  <a:lnTo>
                    <a:pt x="969" y="420"/>
                  </a:lnTo>
                  <a:lnTo>
                    <a:pt x="969" y="424"/>
                  </a:lnTo>
                  <a:lnTo>
                    <a:pt x="965" y="424"/>
                  </a:lnTo>
                  <a:lnTo>
                    <a:pt x="969" y="428"/>
                  </a:lnTo>
                  <a:lnTo>
                    <a:pt x="969" y="433"/>
                  </a:lnTo>
                  <a:lnTo>
                    <a:pt x="973" y="435"/>
                  </a:lnTo>
                  <a:lnTo>
                    <a:pt x="979" y="439"/>
                  </a:lnTo>
                  <a:lnTo>
                    <a:pt x="979" y="441"/>
                  </a:lnTo>
                  <a:lnTo>
                    <a:pt x="982" y="445"/>
                  </a:lnTo>
                  <a:lnTo>
                    <a:pt x="982" y="445"/>
                  </a:lnTo>
                  <a:lnTo>
                    <a:pt x="984" y="445"/>
                  </a:lnTo>
                  <a:lnTo>
                    <a:pt x="984" y="445"/>
                  </a:lnTo>
                  <a:lnTo>
                    <a:pt x="988" y="445"/>
                  </a:lnTo>
                  <a:lnTo>
                    <a:pt x="988" y="445"/>
                  </a:lnTo>
                  <a:lnTo>
                    <a:pt x="990" y="445"/>
                  </a:lnTo>
                  <a:lnTo>
                    <a:pt x="994" y="445"/>
                  </a:lnTo>
                  <a:lnTo>
                    <a:pt x="994" y="449"/>
                  </a:lnTo>
                  <a:lnTo>
                    <a:pt x="994" y="454"/>
                  </a:lnTo>
                  <a:lnTo>
                    <a:pt x="999" y="464"/>
                  </a:lnTo>
                  <a:lnTo>
                    <a:pt x="1005" y="464"/>
                  </a:lnTo>
                  <a:lnTo>
                    <a:pt x="1009" y="462"/>
                  </a:lnTo>
                  <a:lnTo>
                    <a:pt x="1012" y="464"/>
                  </a:lnTo>
                  <a:lnTo>
                    <a:pt x="1014" y="462"/>
                  </a:lnTo>
                  <a:lnTo>
                    <a:pt x="1014" y="458"/>
                  </a:lnTo>
                  <a:lnTo>
                    <a:pt x="1014" y="454"/>
                  </a:lnTo>
                  <a:lnTo>
                    <a:pt x="1012" y="454"/>
                  </a:lnTo>
                  <a:lnTo>
                    <a:pt x="1018" y="454"/>
                  </a:lnTo>
                  <a:lnTo>
                    <a:pt x="1022" y="450"/>
                  </a:lnTo>
                  <a:lnTo>
                    <a:pt x="1022" y="449"/>
                  </a:lnTo>
                  <a:lnTo>
                    <a:pt x="1018" y="445"/>
                  </a:lnTo>
                  <a:lnTo>
                    <a:pt x="1022" y="445"/>
                  </a:lnTo>
                  <a:lnTo>
                    <a:pt x="1031" y="441"/>
                  </a:lnTo>
                  <a:lnTo>
                    <a:pt x="1033" y="445"/>
                  </a:lnTo>
                  <a:lnTo>
                    <a:pt x="1035" y="445"/>
                  </a:lnTo>
                  <a:lnTo>
                    <a:pt x="1037" y="449"/>
                  </a:lnTo>
                  <a:lnTo>
                    <a:pt x="1039" y="450"/>
                  </a:lnTo>
                  <a:lnTo>
                    <a:pt x="1043" y="450"/>
                  </a:lnTo>
                  <a:lnTo>
                    <a:pt x="1052" y="450"/>
                  </a:lnTo>
                  <a:lnTo>
                    <a:pt x="1054" y="450"/>
                  </a:lnTo>
                  <a:lnTo>
                    <a:pt x="1060" y="450"/>
                  </a:lnTo>
                  <a:lnTo>
                    <a:pt x="1058" y="450"/>
                  </a:lnTo>
                  <a:lnTo>
                    <a:pt x="1063" y="450"/>
                  </a:lnTo>
                  <a:lnTo>
                    <a:pt x="1069" y="450"/>
                  </a:lnTo>
                  <a:lnTo>
                    <a:pt x="1071" y="450"/>
                  </a:lnTo>
                  <a:lnTo>
                    <a:pt x="1067" y="450"/>
                  </a:lnTo>
                  <a:lnTo>
                    <a:pt x="1067" y="454"/>
                  </a:lnTo>
                  <a:lnTo>
                    <a:pt x="1069" y="458"/>
                  </a:lnTo>
                  <a:lnTo>
                    <a:pt x="1067" y="458"/>
                  </a:lnTo>
                  <a:lnTo>
                    <a:pt x="1065" y="460"/>
                  </a:lnTo>
                  <a:lnTo>
                    <a:pt x="1065" y="464"/>
                  </a:lnTo>
                  <a:lnTo>
                    <a:pt x="1069" y="464"/>
                  </a:lnTo>
                  <a:lnTo>
                    <a:pt x="1069" y="466"/>
                  </a:lnTo>
                  <a:lnTo>
                    <a:pt x="1063" y="469"/>
                  </a:lnTo>
                  <a:lnTo>
                    <a:pt x="1060" y="467"/>
                  </a:lnTo>
                  <a:lnTo>
                    <a:pt x="1058" y="464"/>
                  </a:lnTo>
                  <a:lnTo>
                    <a:pt x="1058" y="467"/>
                  </a:lnTo>
                  <a:lnTo>
                    <a:pt x="1056" y="464"/>
                  </a:lnTo>
                  <a:lnTo>
                    <a:pt x="1052" y="469"/>
                  </a:lnTo>
                  <a:lnTo>
                    <a:pt x="1048" y="469"/>
                  </a:lnTo>
                  <a:lnTo>
                    <a:pt x="1046" y="473"/>
                  </a:lnTo>
                  <a:lnTo>
                    <a:pt x="1043" y="473"/>
                  </a:lnTo>
                  <a:lnTo>
                    <a:pt x="1043" y="475"/>
                  </a:lnTo>
                  <a:lnTo>
                    <a:pt x="1039" y="473"/>
                  </a:lnTo>
                  <a:lnTo>
                    <a:pt x="1035" y="473"/>
                  </a:lnTo>
                  <a:lnTo>
                    <a:pt x="1039" y="475"/>
                  </a:lnTo>
                  <a:lnTo>
                    <a:pt x="1039" y="479"/>
                  </a:lnTo>
                  <a:lnTo>
                    <a:pt x="1035" y="481"/>
                  </a:lnTo>
                  <a:lnTo>
                    <a:pt x="1035" y="484"/>
                  </a:lnTo>
                  <a:lnTo>
                    <a:pt x="1029" y="484"/>
                  </a:lnTo>
                  <a:lnTo>
                    <a:pt x="1028" y="486"/>
                  </a:lnTo>
                  <a:lnTo>
                    <a:pt x="1028" y="488"/>
                  </a:lnTo>
                  <a:lnTo>
                    <a:pt x="1031" y="490"/>
                  </a:lnTo>
                  <a:lnTo>
                    <a:pt x="1028" y="494"/>
                  </a:lnTo>
                  <a:lnTo>
                    <a:pt x="1028" y="494"/>
                  </a:lnTo>
                  <a:lnTo>
                    <a:pt x="1022" y="499"/>
                  </a:lnTo>
                  <a:lnTo>
                    <a:pt x="1018" y="499"/>
                  </a:lnTo>
                  <a:lnTo>
                    <a:pt x="1018" y="499"/>
                  </a:lnTo>
                  <a:lnTo>
                    <a:pt x="1018" y="505"/>
                  </a:lnTo>
                  <a:lnTo>
                    <a:pt x="1018" y="509"/>
                  </a:lnTo>
                  <a:lnTo>
                    <a:pt x="1018" y="514"/>
                  </a:lnTo>
                  <a:lnTo>
                    <a:pt x="1018" y="524"/>
                  </a:lnTo>
                  <a:lnTo>
                    <a:pt x="1018" y="524"/>
                  </a:lnTo>
                  <a:lnTo>
                    <a:pt x="1028" y="528"/>
                  </a:lnTo>
                  <a:lnTo>
                    <a:pt x="1028" y="531"/>
                  </a:lnTo>
                  <a:lnTo>
                    <a:pt x="1031" y="530"/>
                  </a:lnTo>
                  <a:lnTo>
                    <a:pt x="1043" y="535"/>
                  </a:lnTo>
                  <a:lnTo>
                    <a:pt x="1048" y="545"/>
                  </a:lnTo>
                  <a:lnTo>
                    <a:pt x="1048" y="548"/>
                  </a:lnTo>
                  <a:lnTo>
                    <a:pt x="1048" y="550"/>
                  </a:lnTo>
                  <a:lnTo>
                    <a:pt x="1052" y="552"/>
                  </a:lnTo>
                  <a:lnTo>
                    <a:pt x="1052" y="558"/>
                  </a:lnTo>
                  <a:lnTo>
                    <a:pt x="1058" y="563"/>
                  </a:lnTo>
                  <a:lnTo>
                    <a:pt x="1058" y="569"/>
                  </a:lnTo>
                  <a:lnTo>
                    <a:pt x="1063" y="575"/>
                  </a:lnTo>
                  <a:lnTo>
                    <a:pt x="1067" y="577"/>
                  </a:lnTo>
                  <a:lnTo>
                    <a:pt x="1071" y="575"/>
                  </a:lnTo>
                  <a:lnTo>
                    <a:pt x="1073" y="577"/>
                  </a:lnTo>
                  <a:lnTo>
                    <a:pt x="1073" y="579"/>
                  </a:lnTo>
                  <a:lnTo>
                    <a:pt x="1076" y="584"/>
                  </a:lnTo>
                  <a:lnTo>
                    <a:pt x="1078" y="586"/>
                  </a:lnTo>
                  <a:lnTo>
                    <a:pt x="1082" y="592"/>
                  </a:lnTo>
                  <a:lnTo>
                    <a:pt x="1078" y="592"/>
                  </a:lnTo>
                  <a:lnTo>
                    <a:pt x="1073" y="590"/>
                  </a:lnTo>
                  <a:lnTo>
                    <a:pt x="1067" y="594"/>
                  </a:lnTo>
                  <a:lnTo>
                    <a:pt x="1063" y="588"/>
                  </a:lnTo>
                  <a:lnTo>
                    <a:pt x="1060" y="588"/>
                  </a:lnTo>
                  <a:lnTo>
                    <a:pt x="1056" y="586"/>
                  </a:lnTo>
                  <a:lnTo>
                    <a:pt x="1048" y="584"/>
                  </a:lnTo>
                  <a:lnTo>
                    <a:pt x="1048" y="588"/>
                  </a:lnTo>
                  <a:lnTo>
                    <a:pt x="1044" y="588"/>
                  </a:lnTo>
                  <a:lnTo>
                    <a:pt x="1043" y="586"/>
                  </a:lnTo>
                  <a:lnTo>
                    <a:pt x="1039" y="580"/>
                  </a:lnTo>
                  <a:lnTo>
                    <a:pt x="1035" y="582"/>
                  </a:lnTo>
                  <a:lnTo>
                    <a:pt x="1031" y="580"/>
                  </a:lnTo>
                  <a:lnTo>
                    <a:pt x="1031" y="582"/>
                  </a:lnTo>
                  <a:lnTo>
                    <a:pt x="1028" y="582"/>
                  </a:lnTo>
                  <a:lnTo>
                    <a:pt x="1028" y="582"/>
                  </a:lnTo>
                  <a:lnTo>
                    <a:pt x="1022" y="582"/>
                  </a:lnTo>
                  <a:lnTo>
                    <a:pt x="1018" y="592"/>
                  </a:lnTo>
                  <a:lnTo>
                    <a:pt x="1024" y="586"/>
                  </a:lnTo>
                  <a:lnTo>
                    <a:pt x="1028" y="584"/>
                  </a:lnTo>
                  <a:lnTo>
                    <a:pt x="1033" y="584"/>
                  </a:lnTo>
                  <a:lnTo>
                    <a:pt x="1037" y="582"/>
                  </a:lnTo>
                  <a:lnTo>
                    <a:pt x="1039" y="584"/>
                  </a:lnTo>
                  <a:lnTo>
                    <a:pt x="1039" y="586"/>
                  </a:lnTo>
                  <a:lnTo>
                    <a:pt x="1044" y="590"/>
                  </a:lnTo>
                  <a:lnTo>
                    <a:pt x="1046" y="592"/>
                  </a:lnTo>
                  <a:lnTo>
                    <a:pt x="1052" y="586"/>
                  </a:lnTo>
                  <a:lnTo>
                    <a:pt x="1056" y="586"/>
                  </a:lnTo>
                  <a:lnTo>
                    <a:pt x="1063" y="594"/>
                  </a:lnTo>
                  <a:lnTo>
                    <a:pt x="1071" y="597"/>
                  </a:lnTo>
                  <a:lnTo>
                    <a:pt x="1078" y="603"/>
                  </a:lnTo>
                  <a:lnTo>
                    <a:pt x="1082" y="611"/>
                  </a:lnTo>
                  <a:lnTo>
                    <a:pt x="1082" y="612"/>
                  </a:lnTo>
                  <a:lnTo>
                    <a:pt x="1078" y="614"/>
                  </a:lnTo>
                  <a:lnTo>
                    <a:pt x="1073" y="620"/>
                  </a:lnTo>
                  <a:lnTo>
                    <a:pt x="1073" y="618"/>
                  </a:lnTo>
                  <a:lnTo>
                    <a:pt x="1071" y="620"/>
                  </a:lnTo>
                  <a:lnTo>
                    <a:pt x="1071" y="624"/>
                  </a:lnTo>
                  <a:lnTo>
                    <a:pt x="1067" y="624"/>
                  </a:lnTo>
                  <a:lnTo>
                    <a:pt x="1061" y="624"/>
                  </a:lnTo>
                  <a:lnTo>
                    <a:pt x="1060" y="624"/>
                  </a:lnTo>
                  <a:lnTo>
                    <a:pt x="1058" y="624"/>
                  </a:lnTo>
                  <a:lnTo>
                    <a:pt x="1052" y="628"/>
                  </a:lnTo>
                  <a:lnTo>
                    <a:pt x="1052" y="633"/>
                  </a:lnTo>
                  <a:lnTo>
                    <a:pt x="1054" y="628"/>
                  </a:lnTo>
                  <a:lnTo>
                    <a:pt x="1058" y="628"/>
                  </a:lnTo>
                  <a:lnTo>
                    <a:pt x="1061" y="624"/>
                  </a:lnTo>
                  <a:lnTo>
                    <a:pt x="1065" y="629"/>
                  </a:lnTo>
                  <a:lnTo>
                    <a:pt x="1069" y="633"/>
                  </a:lnTo>
                  <a:lnTo>
                    <a:pt x="1073" y="628"/>
                  </a:lnTo>
                  <a:lnTo>
                    <a:pt x="1076" y="628"/>
                  </a:lnTo>
                  <a:lnTo>
                    <a:pt x="1084" y="637"/>
                  </a:lnTo>
                  <a:lnTo>
                    <a:pt x="1084" y="633"/>
                  </a:lnTo>
                  <a:lnTo>
                    <a:pt x="1086" y="637"/>
                  </a:lnTo>
                  <a:lnTo>
                    <a:pt x="1090" y="637"/>
                  </a:lnTo>
                  <a:lnTo>
                    <a:pt x="1092" y="637"/>
                  </a:lnTo>
                  <a:lnTo>
                    <a:pt x="1082" y="644"/>
                  </a:lnTo>
                  <a:lnTo>
                    <a:pt x="1076" y="644"/>
                  </a:lnTo>
                  <a:lnTo>
                    <a:pt x="1076" y="648"/>
                  </a:lnTo>
                  <a:lnTo>
                    <a:pt x="1078" y="650"/>
                  </a:lnTo>
                  <a:lnTo>
                    <a:pt x="1084" y="644"/>
                  </a:lnTo>
                  <a:lnTo>
                    <a:pt x="1088" y="646"/>
                  </a:lnTo>
                  <a:lnTo>
                    <a:pt x="1088" y="644"/>
                  </a:lnTo>
                  <a:lnTo>
                    <a:pt x="1088" y="643"/>
                  </a:lnTo>
                  <a:lnTo>
                    <a:pt x="1090" y="641"/>
                  </a:lnTo>
                  <a:lnTo>
                    <a:pt x="1092" y="643"/>
                  </a:lnTo>
                  <a:lnTo>
                    <a:pt x="1093" y="648"/>
                  </a:lnTo>
                  <a:lnTo>
                    <a:pt x="1093" y="650"/>
                  </a:lnTo>
                  <a:lnTo>
                    <a:pt x="1092" y="652"/>
                  </a:lnTo>
                  <a:lnTo>
                    <a:pt x="1092" y="650"/>
                  </a:lnTo>
                  <a:lnTo>
                    <a:pt x="1090" y="650"/>
                  </a:lnTo>
                  <a:lnTo>
                    <a:pt x="1088" y="652"/>
                  </a:lnTo>
                  <a:lnTo>
                    <a:pt x="1088" y="652"/>
                  </a:lnTo>
                  <a:lnTo>
                    <a:pt x="1084" y="652"/>
                  </a:lnTo>
                  <a:lnTo>
                    <a:pt x="1078" y="656"/>
                  </a:lnTo>
                  <a:lnTo>
                    <a:pt x="1078" y="658"/>
                  </a:lnTo>
                  <a:lnTo>
                    <a:pt x="1086" y="656"/>
                  </a:lnTo>
                  <a:lnTo>
                    <a:pt x="1088" y="658"/>
                  </a:lnTo>
                  <a:lnTo>
                    <a:pt x="1088" y="658"/>
                  </a:lnTo>
                  <a:lnTo>
                    <a:pt x="1086" y="658"/>
                  </a:lnTo>
                  <a:lnTo>
                    <a:pt x="1082" y="661"/>
                  </a:lnTo>
                  <a:lnTo>
                    <a:pt x="1086" y="661"/>
                  </a:lnTo>
                  <a:lnTo>
                    <a:pt x="1088" y="663"/>
                  </a:lnTo>
                  <a:lnTo>
                    <a:pt x="1084" y="667"/>
                  </a:lnTo>
                  <a:lnTo>
                    <a:pt x="1082" y="667"/>
                  </a:lnTo>
                  <a:lnTo>
                    <a:pt x="1082" y="667"/>
                  </a:lnTo>
                  <a:lnTo>
                    <a:pt x="1082" y="669"/>
                  </a:lnTo>
                  <a:lnTo>
                    <a:pt x="1086" y="669"/>
                  </a:lnTo>
                  <a:lnTo>
                    <a:pt x="1088" y="673"/>
                  </a:lnTo>
                  <a:lnTo>
                    <a:pt x="1086" y="675"/>
                  </a:lnTo>
                  <a:lnTo>
                    <a:pt x="1084" y="678"/>
                  </a:lnTo>
                  <a:lnTo>
                    <a:pt x="1084" y="676"/>
                  </a:lnTo>
                  <a:lnTo>
                    <a:pt x="1082" y="673"/>
                  </a:lnTo>
                  <a:lnTo>
                    <a:pt x="1082" y="675"/>
                  </a:lnTo>
                  <a:lnTo>
                    <a:pt x="1076" y="680"/>
                  </a:lnTo>
                  <a:lnTo>
                    <a:pt x="1076" y="682"/>
                  </a:lnTo>
                  <a:lnTo>
                    <a:pt x="1071" y="680"/>
                  </a:lnTo>
                  <a:lnTo>
                    <a:pt x="1073" y="682"/>
                  </a:lnTo>
                  <a:lnTo>
                    <a:pt x="1073" y="686"/>
                  </a:lnTo>
                  <a:lnTo>
                    <a:pt x="1076" y="688"/>
                  </a:lnTo>
                  <a:lnTo>
                    <a:pt x="1073" y="688"/>
                  </a:lnTo>
                  <a:lnTo>
                    <a:pt x="1073" y="692"/>
                  </a:lnTo>
                  <a:lnTo>
                    <a:pt x="1073" y="692"/>
                  </a:lnTo>
                  <a:lnTo>
                    <a:pt x="1073" y="693"/>
                  </a:lnTo>
                  <a:lnTo>
                    <a:pt x="1073" y="697"/>
                  </a:lnTo>
                  <a:lnTo>
                    <a:pt x="1071" y="699"/>
                  </a:lnTo>
                  <a:lnTo>
                    <a:pt x="1069" y="695"/>
                  </a:lnTo>
                  <a:lnTo>
                    <a:pt x="1067" y="699"/>
                  </a:lnTo>
                  <a:lnTo>
                    <a:pt x="1071" y="699"/>
                  </a:lnTo>
                  <a:lnTo>
                    <a:pt x="1073" y="703"/>
                  </a:lnTo>
                  <a:lnTo>
                    <a:pt x="1069" y="703"/>
                  </a:lnTo>
                  <a:lnTo>
                    <a:pt x="1069" y="705"/>
                  </a:lnTo>
                  <a:lnTo>
                    <a:pt x="1063" y="710"/>
                  </a:lnTo>
                  <a:lnTo>
                    <a:pt x="1061" y="710"/>
                  </a:lnTo>
                  <a:lnTo>
                    <a:pt x="1061" y="707"/>
                  </a:lnTo>
                  <a:lnTo>
                    <a:pt x="1060" y="707"/>
                  </a:lnTo>
                  <a:lnTo>
                    <a:pt x="1058" y="707"/>
                  </a:lnTo>
                  <a:lnTo>
                    <a:pt x="1058" y="709"/>
                  </a:lnTo>
                  <a:lnTo>
                    <a:pt x="1054" y="709"/>
                  </a:lnTo>
                  <a:lnTo>
                    <a:pt x="1056" y="710"/>
                  </a:lnTo>
                  <a:lnTo>
                    <a:pt x="1054" y="712"/>
                  </a:lnTo>
                  <a:lnTo>
                    <a:pt x="1058" y="712"/>
                  </a:lnTo>
                  <a:lnTo>
                    <a:pt x="1060" y="716"/>
                  </a:lnTo>
                  <a:lnTo>
                    <a:pt x="1056" y="716"/>
                  </a:lnTo>
                  <a:lnTo>
                    <a:pt x="1060" y="718"/>
                  </a:lnTo>
                  <a:lnTo>
                    <a:pt x="1063" y="718"/>
                  </a:lnTo>
                  <a:lnTo>
                    <a:pt x="1065" y="718"/>
                  </a:lnTo>
                  <a:lnTo>
                    <a:pt x="1058" y="722"/>
                  </a:lnTo>
                  <a:lnTo>
                    <a:pt x="1054" y="724"/>
                  </a:lnTo>
                  <a:lnTo>
                    <a:pt x="1054" y="727"/>
                  </a:lnTo>
                  <a:lnTo>
                    <a:pt x="1056" y="725"/>
                  </a:lnTo>
                  <a:lnTo>
                    <a:pt x="1058" y="725"/>
                  </a:lnTo>
                  <a:lnTo>
                    <a:pt x="1060" y="727"/>
                  </a:lnTo>
                  <a:lnTo>
                    <a:pt x="1056" y="731"/>
                  </a:lnTo>
                  <a:lnTo>
                    <a:pt x="1060" y="733"/>
                  </a:lnTo>
                  <a:lnTo>
                    <a:pt x="1060" y="735"/>
                  </a:lnTo>
                  <a:lnTo>
                    <a:pt x="1056" y="737"/>
                  </a:lnTo>
                  <a:lnTo>
                    <a:pt x="1058" y="739"/>
                  </a:lnTo>
                  <a:lnTo>
                    <a:pt x="1060" y="739"/>
                  </a:lnTo>
                  <a:lnTo>
                    <a:pt x="1060" y="741"/>
                  </a:lnTo>
                  <a:lnTo>
                    <a:pt x="1060" y="746"/>
                  </a:lnTo>
                  <a:lnTo>
                    <a:pt x="1058" y="742"/>
                  </a:lnTo>
                  <a:lnTo>
                    <a:pt x="1056" y="742"/>
                  </a:lnTo>
                  <a:lnTo>
                    <a:pt x="1056" y="741"/>
                  </a:lnTo>
                  <a:lnTo>
                    <a:pt x="1052" y="737"/>
                  </a:lnTo>
                  <a:lnTo>
                    <a:pt x="1052" y="741"/>
                  </a:lnTo>
                  <a:lnTo>
                    <a:pt x="1052" y="741"/>
                  </a:lnTo>
                  <a:lnTo>
                    <a:pt x="1048" y="742"/>
                  </a:lnTo>
                  <a:lnTo>
                    <a:pt x="1052" y="746"/>
                  </a:lnTo>
                  <a:lnTo>
                    <a:pt x="1052" y="748"/>
                  </a:lnTo>
                  <a:lnTo>
                    <a:pt x="1052" y="746"/>
                  </a:lnTo>
                  <a:lnTo>
                    <a:pt x="1048" y="746"/>
                  </a:lnTo>
                  <a:lnTo>
                    <a:pt x="1048" y="742"/>
                  </a:lnTo>
                  <a:lnTo>
                    <a:pt x="1046" y="746"/>
                  </a:lnTo>
                  <a:lnTo>
                    <a:pt x="1048" y="748"/>
                  </a:lnTo>
                  <a:lnTo>
                    <a:pt x="1048" y="752"/>
                  </a:lnTo>
                  <a:lnTo>
                    <a:pt x="1052" y="752"/>
                  </a:lnTo>
                  <a:lnTo>
                    <a:pt x="1052" y="752"/>
                  </a:lnTo>
                  <a:lnTo>
                    <a:pt x="1048" y="752"/>
                  </a:lnTo>
                  <a:lnTo>
                    <a:pt x="1046" y="752"/>
                  </a:lnTo>
                  <a:lnTo>
                    <a:pt x="1046" y="752"/>
                  </a:lnTo>
                  <a:lnTo>
                    <a:pt x="1046" y="756"/>
                  </a:lnTo>
                  <a:lnTo>
                    <a:pt x="1048" y="756"/>
                  </a:lnTo>
                  <a:lnTo>
                    <a:pt x="1048" y="759"/>
                  </a:lnTo>
                  <a:lnTo>
                    <a:pt x="1043" y="756"/>
                  </a:lnTo>
                  <a:lnTo>
                    <a:pt x="1041" y="757"/>
                  </a:lnTo>
                  <a:lnTo>
                    <a:pt x="1039" y="757"/>
                  </a:lnTo>
                  <a:lnTo>
                    <a:pt x="1037" y="761"/>
                  </a:lnTo>
                  <a:lnTo>
                    <a:pt x="1029" y="761"/>
                  </a:lnTo>
                  <a:lnTo>
                    <a:pt x="1035" y="765"/>
                  </a:lnTo>
                  <a:lnTo>
                    <a:pt x="1039" y="763"/>
                  </a:lnTo>
                  <a:lnTo>
                    <a:pt x="1041" y="765"/>
                  </a:lnTo>
                  <a:lnTo>
                    <a:pt x="1041" y="767"/>
                  </a:lnTo>
                  <a:lnTo>
                    <a:pt x="1037" y="769"/>
                  </a:lnTo>
                  <a:lnTo>
                    <a:pt x="1037" y="773"/>
                  </a:lnTo>
                  <a:lnTo>
                    <a:pt x="1035" y="769"/>
                  </a:lnTo>
                  <a:lnTo>
                    <a:pt x="1033" y="773"/>
                  </a:lnTo>
                  <a:lnTo>
                    <a:pt x="1031" y="774"/>
                  </a:lnTo>
                  <a:lnTo>
                    <a:pt x="1031" y="773"/>
                  </a:lnTo>
                  <a:lnTo>
                    <a:pt x="1029" y="773"/>
                  </a:lnTo>
                  <a:lnTo>
                    <a:pt x="1029" y="776"/>
                  </a:lnTo>
                  <a:lnTo>
                    <a:pt x="1028" y="776"/>
                  </a:lnTo>
                  <a:lnTo>
                    <a:pt x="1028" y="780"/>
                  </a:lnTo>
                  <a:lnTo>
                    <a:pt x="1022" y="780"/>
                  </a:lnTo>
                  <a:lnTo>
                    <a:pt x="1022" y="776"/>
                  </a:lnTo>
                  <a:lnTo>
                    <a:pt x="1018" y="776"/>
                  </a:lnTo>
                  <a:lnTo>
                    <a:pt x="1014" y="782"/>
                  </a:lnTo>
                  <a:lnTo>
                    <a:pt x="1014" y="780"/>
                  </a:lnTo>
                  <a:lnTo>
                    <a:pt x="1014" y="782"/>
                  </a:lnTo>
                  <a:lnTo>
                    <a:pt x="1014" y="788"/>
                  </a:lnTo>
                  <a:lnTo>
                    <a:pt x="1014" y="790"/>
                  </a:lnTo>
                  <a:lnTo>
                    <a:pt x="1014" y="791"/>
                  </a:lnTo>
                  <a:lnTo>
                    <a:pt x="1012" y="793"/>
                  </a:lnTo>
                  <a:lnTo>
                    <a:pt x="1011" y="793"/>
                  </a:lnTo>
                  <a:lnTo>
                    <a:pt x="1009" y="795"/>
                  </a:lnTo>
                  <a:lnTo>
                    <a:pt x="1009" y="791"/>
                  </a:lnTo>
                  <a:lnTo>
                    <a:pt x="1007" y="793"/>
                  </a:lnTo>
                  <a:lnTo>
                    <a:pt x="1005" y="797"/>
                  </a:lnTo>
                  <a:lnTo>
                    <a:pt x="999" y="797"/>
                  </a:lnTo>
                  <a:lnTo>
                    <a:pt x="999" y="799"/>
                  </a:lnTo>
                  <a:lnTo>
                    <a:pt x="997" y="799"/>
                  </a:lnTo>
                  <a:lnTo>
                    <a:pt x="997" y="797"/>
                  </a:lnTo>
                  <a:lnTo>
                    <a:pt x="994" y="797"/>
                  </a:lnTo>
                  <a:lnTo>
                    <a:pt x="994" y="801"/>
                  </a:lnTo>
                  <a:lnTo>
                    <a:pt x="994" y="803"/>
                  </a:lnTo>
                  <a:lnTo>
                    <a:pt x="990" y="799"/>
                  </a:lnTo>
                  <a:lnTo>
                    <a:pt x="988" y="797"/>
                  </a:lnTo>
                  <a:lnTo>
                    <a:pt x="988" y="799"/>
                  </a:lnTo>
                  <a:lnTo>
                    <a:pt x="984" y="799"/>
                  </a:lnTo>
                  <a:lnTo>
                    <a:pt x="984" y="803"/>
                  </a:lnTo>
                  <a:lnTo>
                    <a:pt x="980" y="803"/>
                  </a:lnTo>
                  <a:lnTo>
                    <a:pt x="979" y="801"/>
                  </a:lnTo>
                  <a:lnTo>
                    <a:pt x="977" y="803"/>
                  </a:lnTo>
                  <a:lnTo>
                    <a:pt x="973" y="805"/>
                  </a:lnTo>
                  <a:lnTo>
                    <a:pt x="973" y="806"/>
                  </a:lnTo>
                  <a:lnTo>
                    <a:pt x="965" y="810"/>
                  </a:lnTo>
                  <a:lnTo>
                    <a:pt x="965" y="810"/>
                  </a:lnTo>
                  <a:lnTo>
                    <a:pt x="969" y="806"/>
                  </a:lnTo>
                  <a:lnTo>
                    <a:pt x="969" y="806"/>
                  </a:lnTo>
                  <a:lnTo>
                    <a:pt x="969" y="806"/>
                  </a:lnTo>
                  <a:lnTo>
                    <a:pt x="964" y="803"/>
                  </a:lnTo>
                  <a:lnTo>
                    <a:pt x="964" y="801"/>
                  </a:lnTo>
                  <a:lnTo>
                    <a:pt x="960" y="797"/>
                  </a:lnTo>
                  <a:lnTo>
                    <a:pt x="958" y="795"/>
                  </a:lnTo>
                  <a:lnTo>
                    <a:pt x="958" y="797"/>
                  </a:lnTo>
                  <a:lnTo>
                    <a:pt x="958" y="801"/>
                  </a:lnTo>
                  <a:lnTo>
                    <a:pt x="958" y="805"/>
                  </a:lnTo>
                  <a:lnTo>
                    <a:pt x="960" y="806"/>
                  </a:lnTo>
                  <a:lnTo>
                    <a:pt x="956" y="810"/>
                  </a:lnTo>
                  <a:lnTo>
                    <a:pt x="954" y="812"/>
                  </a:lnTo>
                  <a:lnTo>
                    <a:pt x="952" y="816"/>
                  </a:lnTo>
                  <a:lnTo>
                    <a:pt x="950" y="812"/>
                  </a:lnTo>
                  <a:lnTo>
                    <a:pt x="950" y="810"/>
                  </a:lnTo>
                  <a:lnTo>
                    <a:pt x="948" y="812"/>
                  </a:lnTo>
                  <a:lnTo>
                    <a:pt x="947" y="816"/>
                  </a:lnTo>
                  <a:lnTo>
                    <a:pt x="943" y="820"/>
                  </a:lnTo>
                  <a:lnTo>
                    <a:pt x="939" y="822"/>
                  </a:lnTo>
                  <a:lnTo>
                    <a:pt x="939" y="822"/>
                  </a:lnTo>
                  <a:lnTo>
                    <a:pt x="935" y="822"/>
                  </a:lnTo>
                  <a:lnTo>
                    <a:pt x="932" y="822"/>
                  </a:lnTo>
                  <a:lnTo>
                    <a:pt x="928" y="822"/>
                  </a:lnTo>
                  <a:lnTo>
                    <a:pt x="930" y="825"/>
                  </a:lnTo>
                  <a:lnTo>
                    <a:pt x="924" y="827"/>
                  </a:lnTo>
                  <a:lnTo>
                    <a:pt x="920" y="829"/>
                  </a:lnTo>
                  <a:lnTo>
                    <a:pt x="918" y="827"/>
                  </a:lnTo>
                  <a:lnTo>
                    <a:pt x="916" y="829"/>
                  </a:lnTo>
                  <a:lnTo>
                    <a:pt x="915" y="831"/>
                  </a:lnTo>
                  <a:lnTo>
                    <a:pt x="911" y="833"/>
                  </a:lnTo>
                  <a:lnTo>
                    <a:pt x="909" y="833"/>
                  </a:lnTo>
                  <a:lnTo>
                    <a:pt x="911" y="831"/>
                  </a:lnTo>
                  <a:lnTo>
                    <a:pt x="909" y="831"/>
                  </a:lnTo>
                  <a:lnTo>
                    <a:pt x="909" y="831"/>
                  </a:lnTo>
                  <a:lnTo>
                    <a:pt x="909" y="829"/>
                  </a:lnTo>
                  <a:lnTo>
                    <a:pt x="909" y="829"/>
                  </a:lnTo>
                  <a:lnTo>
                    <a:pt x="909" y="829"/>
                  </a:lnTo>
                  <a:lnTo>
                    <a:pt x="909" y="827"/>
                  </a:lnTo>
                  <a:lnTo>
                    <a:pt x="905" y="829"/>
                  </a:lnTo>
                  <a:lnTo>
                    <a:pt x="905" y="829"/>
                  </a:lnTo>
                  <a:lnTo>
                    <a:pt x="905" y="831"/>
                  </a:lnTo>
                  <a:lnTo>
                    <a:pt x="905" y="833"/>
                  </a:lnTo>
                  <a:lnTo>
                    <a:pt x="903" y="837"/>
                  </a:lnTo>
                  <a:lnTo>
                    <a:pt x="903" y="837"/>
                  </a:lnTo>
                  <a:lnTo>
                    <a:pt x="903" y="840"/>
                  </a:lnTo>
                  <a:lnTo>
                    <a:pt x="905" y="840"/>
                  </a:lnTo>
                  <a:lnTo>
                    <a:pt x="909" y="844"/>
                  </a:lnTo>
                  <a:lnTo>
                    <a:pt x="909" y="844"/>
                  </a:lnTo>
                  <a:lnTo>
                    <a:pt x="909" y="844"/>
                  </a:lnTo>
                  <a:lnTo>
                    <a:pt x="909" y="846"/>
                  </a:lnTo>
                  <a:lnTo>
                    <a:pt x="905" y="850"/>
                  </a:lnTo>
                  <a:lnTo>
                    <a:pt x="905" y="850"/>
                  </a:lnTo>
                  <a:lnTo>
                    <a:pt x="905" y="850"/>
                  </a:lnTo>
                  <a:lnTo>
                    <a:pt x="901" y="850"/>
                  </a:lnTo>
                  <a:lnTo>
                    <a:pt x="900" y="852"/>
                  </a:lnTo>
                  <a:lnTo>
                    <a:pt x="898" y="852"/>
                  </a:lnTo>
                  <a:lnTo>
                    <a:pt x="898" y="850"/>
                  </a:lnTo>
                  <a:lnTo>
                    <a:pt x="898" y="846"/>
                  </a:lnTo>
                  <a:lnTo>
                    <a:pt x="896" y="844"/>
                  </a:lnTo>
                  <a:lnTo>
                    <a:pt x="890" y="840"/>
                  </a:lnTo>
                  <a:lnTo>
                    <a:pt x="890" y="837"/>
                  </a:lnTo>
                  <a:lnTo>
                    <a:pt x="894" y="833"/>
                  </a:lnTo>
                  <a:lnTo>
                    <a:pt x="894" y="831"/>
                  </a:lnTo>
                  <a:lnTo>
                    <a:pt x="898" y="829"/>
                  </a:lnTo>
                  <a:lnTo>
                    <a:pt x="896" y="829"/>
                  </a:lnTo>
                  <a:lnTo>
                    <a:pt x="894" y="827"/>
                  </a:lnTo>
                  <a:lnTo>
                    <a:pt x="892" y="829"/>
                  </a:lnTo>
                  <a:lnTo>
                    <a:pt x="888" y="825"/>
                  </a:lnTo>
                  <a:lnTo>
                    <a:pt x="886" y="829"/>
                  </a:lnTo>
                  <a:lnTo>
                    <a:pt x="884" y="829"/>
                  </a:lnTo>
                  <a:lnTo>
                    <a:pt x="884" y="829"/>
                  </a:lnTo>
                  <a:lnTo>
                    <a:pt x="879" y="825"/>
                  </a:lnTo>
                  <a:lnTo>
                    <a:pt x="877" y="827"/>
                  </a:lnTo>
                  <a:lnTo>
                    <a:pt x="871" y="823"/>
                  </a:lnTo>
                  <a:lnTo>
                    <a:pt x="871" y="820"/>
                  </a:lnTo>
                  <a:lnTo>
                    <a:pt x="871" y="823"/>
                  </a:lnTo>
                  <a:lnTo>
                    <a:pt x="871" y="825"/>
                  </a:lnTo>
                  <a:lnTo>
                    <a:pt x="868" y="827"/>
                  </a:lnTo>
                  <a:lnTo>
                    <a:pt x="866" y="825"/>
                  </a:lnTo>
                  <a:lnTo>
                    <a:pt x="864" y="827"/>
                  </a:lnTo>
                  <a:lnTo>
                    <a:pt x="862" y="825"/>
                  </a:lnTo>
                  <a:lnTo>
                    <a:pt x="862" y="825"/>
                  </a:lnTo>
                  <a:lnTo>
                    <a:pt x="862" y="825"/>
                  </a:lnTo>
                  <a:lnTo>
                    <a:pt x="860" y="825"/>
                  </a:lnTo>
                  <a:lnTo>
                    <a:pt x="841" y="827"/>
                  </a:lnTo>
                  <a:lnTo>
                    <a:pt x="802" y="810"/>
                  </a:lnTo>
                  <a:lnTo>
                    <a:pt x="738" y="844"/>
                  </a:lnTo>
                  <a:lnTo>
                    <a:pt x="692" y="829"/>
                  </a:lnTo>
                  <a:lnTo>
                    <a:pt x="583" y="750"/>
                  </a:lnTo>
                  <a:lnTo>
                    <a:pt x="354" y="727"/>
                  </a:lnTo>
                  <a:lnTo>
                    <a:pt x="231" y="612"/>
                  </a:lnTo>
                  <a:lnTo>
                    <a:pt x="0" y="511"/>
                  </a:lnTo>
                  <a:lnTo>
                    <a:pt x="19" y="313"/>
                  </a:lnTo>
                  <a:lnTo>
                    <a:pt x="171" y="230"/>
                  </a:lnTo>
                  <a:lnTo>
                    <a:pt x="350" y="192"/>
                  </a:lnTo>
                  <a:lnTo>
                    <a:pt x="363" y="191"/>
                  </a:lnTo>
                  <a:lnTo>
                    <a:pt x="363" y="191"/>
                  </a:lnTo>
                  <a:lnTo>
                    <a:pt x="363" y="191"/>
                  </a:lnTo>
                  <a:lnTo>
                    <a:pt x="363" y="191"/>
                  </a:lnTo>
                  <a:close/>
                  <a:moveTo>
                    <a:pt x="1022" y="782"/>
                  </a:moveTo>
                  <a:lnTo>
                    <a:pt x="1022" y="786"/>
                  </a:lnTo>
                  <a:lnTo>
                    <a:pt x="1028" y="786"/>
                  </a:lnTo>
                  <a:lnTo>
                    <a:pt x="1028" y="786"/>
                  </a:lnTo>
                  <a:lnTo>
                    <a:pt x="1024" y="782"/>
                  </a:lnTo>
                  <a:lnTo>
                    <a:pt x="1022" y="782"/>
                  </a:lnTo>
                  <a:lnTo>
                    <a:pt x="1022" y="782"/>
                  </a:lnTo>
                  <a:lnTo>
                    <a:pt x="1022" y="782"/>
                  </a:lnTo>
                  <a:lnTo>
                    <a:pt x="1022" y="782"/>
                  </a:lnTo>
                  <a:close/>
                  <a:moveTo>
                    <a:pt x="1061" y="735"/>
                  </a:moveTo>
                  <a:lnTo>
                    <a:pt x="1063" y="741"/>
                  </a:lnTo>
                  <a:lnTo>
                    <a:pt x="1065" y="739"/>
                  </a:lnTo>
                  <a:lnTo>
                    <a:pt x="1065" y="737"/>
                  </a:lnTo>
                  <a:lnTo>
                    <a:pt x="1063" y="735"/>
                  </a:lnTo>
                  <a:lnTo>
                    <a:pt x="1061" y="735"/>
                  </a:lnTo>
                  <a:lnTo>
                    <a:pt x="1061" y="735"/>
                  </a:lnTo>
                  <a:lnTo>
                    <a:pt x="1061" y="735"/>
                  </a:lnTo>
                  <a:lnTo>
                    <a:pt x="1061" y="735"/>
                  </a:lnTo>
                  <a:close/>
                  <a:moveTo>
                    <a:pt x="1090" y="628"/>
                  </a:moveTo>
                  <a:lnTo>
                    <a:pt x="1092" y="629"/>
                  </a:lnTo>
                  <a:lnTo>
                    <a:pt x="1095" y="633"/>
                  </a:lnTo>
                  <a:lnTo>
                    <a:pt x="1097" y="633"/>
                  </a:lnTo>
                  <a:lnTo>
                    <a:pt x="1097" y="629"/>
                  </a:lnTo>
                  <a:lnTo>
                    <a:pt x="1093" y="628"/>
                  </a:lnTo>
                  <a:lnTo>
                    <a:pt x="1092" y="628"/>
                  </a:lnTo>
                  <a:lnTo>
                    <a:pt x="1090" y="628"/>
                  </a:lnTo>
                  <a:lnTo>
                    <a:pt x="1090" y="628"/>
                  </a:lnTo>
                  <a:lnTo>
                    <a:pt x="1090" y="628"/>
                  </a:lnTo>
                  <a:lnTo>
                    <a:pt x="1090" y="628"/>
                  </a:lnTo>
                  <a:close/>
                  <a:moveTo>
                    <a:pt x="1071" y="592"/>
                  </a:moveTo>
                  <a:lnTo>
                    <a:pt x="1071" y="594"/>
                  </a:lnTo>
                  <a:lnTo>
                    <a:pt x="1073" y="597"/>
                  </a:lnTo>
                  <a:lnTo>
                    <a:pt x="1076" y="597"/>
                  </a:lnTo>
                  <a:lnTo>
                    <a:pt x="1078" y="599"/>
                  </a:lnTo>
                  <a:lnTo>
                    <a:pt x="1078" y="594"/>
                  </a:lnTo>
                  <a:lnTo>
                    <a:pt x="1076" y="594"/>
                  </a:lnTo>
                  <a:lnTo>
                    <a:pt x="1073" y="594"/>
                  </a:lnTo>
                  <a:lnTo>
                    <a:pt x="1071" y="592"/>
                  </a:lnTo>
                  <a:lnTo>
                    <a:pt x="1071" y="592"/>
                  </a:lnTo>
                  <a:lnTo>
                    <a:pt x="1071" y="592"/>
                  </a:lnTo>
                  <a:lnTo>
                    <a:pt x="1071" y="592"/>
                  </a:lnTo>
                  <a:close/>
                  <a:moveTo>
                    <a:pt x="1093" y="816"/>
                  </a:moveTo>
                  <a:lnTo>
                    <a:pt x="1095" y="816"/>
                  </a:lnTo>
                  <a:lnTo>
                    <a:pt x="1097" y="816"/>
                  </a:lnTo>
                  <a:lnTo>
                    <a:pt x="1097" y="812"/>
                  </a:lnTo>
                  <a:lnTo>
                    <a:pt x="1097" y="806"/>
                  </a:lnTo>
                  <a:lnTo>
                    <a:pt x="1097" y="803"/>
                  </a:lnTo>
                  <a:lnTo>
                    <a:pt x="1097" y="799"/>
                  </a:lnTo>
                  <a:lnTo>
                    <a:pt x="1103" y="791"/>
                  </a:lnTo>
                  <a:lnTo>
                    <a:pt x="1103" y="786"/>
                  </a:lnTo>
                  <a:lnTo>
                    <a:pt x="1107" y="786"/>
                  </a:lnTo>
                  <a:lnTo>
                    <a:pt x="1103" y="786"/>
                  </a:lnTo>
                  <a:lnTo>
                    <a:pt x="1107" y="776"/>
                  </a:lnTo>
                  <a:lnTo>
                    <a:pt x="1107" y="773"/>
                  </a:lnTo>
                  <a:lnTo>
                    <a:pt x="1103" y="767"/>
                  </a:lnTo>
                  <a:lnTo>
                    <a:pt x="1107" y="763"/>
                  </a:lnTo>
                  <a:lnTo>
                    <a:pt x="1107" y="756"/>
                  </a:lnTo>
                  <a:lnTo>
                    <a:pt x="1108" y="750"/>
                  </a:lnTo>
                  <a:lnTo>
                    <a:pt x="1108" y="750"/>
                  </a:lnTo>
                  <a:lnTo>
                    <a:pt x="1108" y="746"/>
                  </a:lnTo>
                  <a:lnTo>
                    <a:pt x="1107" y="742"/>
                  </a:lnTo>
                  <a:lnTo>
                    <a:pt x="1107" y="742"/>
                  </a:lnTo>
                  <a:lnTo>
                    <a:pt x="1103" y="739"/>
                  </a:lnTo>
                  <a:lnTo>
                    <a:pt x="1097" y="739"/>
                  </a:lnTo>
                  <a:lnTo>
                    <a:pt x="1097" y="739"/>
                  </a:lnTo>
                  <a:lnTo>
                    <a:pt x="1097" y="742"/>
                  </a:lnTo>
                  <a:lnTo>
                    <a:pt x="1093" y="742"/>
                  </a:lnTo>
                  <a:lnTo>
                    <a:pt x="1090" y="748"/>
                  </a:lnTo>
                  <a:lnTo>
                    <a:pt x="1086" y="756"/>
                  </a:lnTo>
                  <a:lnTo>
                    <a:pt x="1086" y="756"/>
                  </a:lnTo>
                  <a:lnTo>
                    <a:pt x="1086" y="757"/>
                  </a:lnTo>
                  <a:lnTo>
                    <a:pt x="1084" y="759"/>
                  </a:lnTo>
                  <a:lnTo>
                    <a:pt x="1082" y="767"/>
                  </a:lnTo>
                  <a:lnTo>
                    <a:pt x="1078" y="774"/>
                  </a:lnTo>
                  <a:lnTo>
                    <a:pt x="1076" y="776"/>
                  </a:lnTo>
                  <a:lnTo>
                    <a:pt x="1076" y="776"/>
                  </a:lnTo>
                  <a:lnTo>
                    <a:pt x="1078" y="786"/>
                  </a:lnTo>
                  <a:lnTo>
                    <a:pt x="1078" y="791"/>
                  </a:lnTo>
                  <a:lnTo>
                    <a:pt x="1082" y="793"/>
                  </a:lnTo>
                  <a:lnTo>
                    <a:pt x="1082" y="795"/>
                  </a:lnTo>
                  <a:lnTo>
                    <a:pt x="1082" y="795"/>
                  </a:lnTo>
                  <a:lnTo>
                    <a:pt x="1082" y="797"/>
                  </a:lnTo>
                  <a:lnTo>
                    <a:pt x="1082" y="801"/>
                  </a:lnTo>
                  <a:lnTo>
                    <a:pt x="1084" y="801"/>
                  </a:lnTo>
                  <a:lnTo>
                    <a:pt x="1084" y="805"/>
                  </a:lnTo>
                  <a:lnTo>
                    <a:pt x="1090" y="806"/>
                  </a:lnTo>
                  <a:lnTo>
                    <a:pt x="1093" y="810"/>
                  </a:lnTo>
                  <a:lnTo>
                    <a:pt x="1093" y="812"/>
                  </a:lnTo>
                  <a:lnTo>
                    <a:pt x="1093" y="816"/>
                  </a:lnTo>
                  <a:lnTo>
                    <a:pt x="1093" y="816"/>
                  </a:lnTo>
                  <a:lnTo>
                    <a:pt x="1093" y="816"/>
                  </a:lnTo>
                  <a:lnTo>
                    <a:pt x="1093" y="816"/>
                  </a:lnTo>
                  <a:close/>
                  <a:moveTo>
                    <a:pt x="905" y="837"/>
                  </a:moveTo>
                  <a:lnTo>
                    <a:pt x="909" y="837"/>
                  </a:lnTo>
                  <a:lnTo>
                    <a:pt x="911" y="837"/>
                  </a:lnTo>
                  <a:lnTo>
                    <a:pt x="915" y="840"/>
                  </a:lnTo>
                  <a:lnTo>
                    <a:pt x="915" y="837"/>
                  </a:lnTo>
                  <a:lnTo>
                    <a:pt x="911" y="837"/>
                  </a:lnTo>
                  <a:lnTo>
                    <a:pt x="905" y="837"/>
                  </a:lnTo>
                  <a:lnTo>
                    <a:pt x="905" y="837"/>
                  </a:lnTo>
                  <a:lnTo>
                    <a:pt x="905" y="837"/>
                  </a:lnTo>
                  <a:lnTo>
                    <a:pt x="905" y="837"/>
                  </a:lnTo>
                  <a:close/>
                  <a:moveTo>
                    <a:pt x="909" y="855"/>
                  </a:moveTo>
                  <a:lnTo>
                    <a:pt x="903" y="855"/>
                  </a:lnTo>
                  <a:lnTo>
                    <a:pt x="901" y="855"/>
                  </a:lnTo>
                  <a:lnTo>
                    <a:pt x="900" y="857"/>
                  </a:lnTo>
                  <a:lnTo>
                    <a:pt x="896" y="857"/>
                  </a:lnTo>
                  <a:lnTo>
                    <a:pt x="892" y="859"/>
                  </a:lnTo>
                  <a:lnTo>
                    <a:pt x="888" y="859"/>
                  </a:lnTo>
                  <a:lnTo>
                    <a:pt x="886" y="861"/>
                  </a:lnTo>
                  <a:lnTo>
                    <a:pt x="881" y="867"/>
                  </a:lnTo>
                  <a:lnTo>
                    <a:pt x="879" y="870"/>
                  </a:lnTo>
                  <a:lnTo>
                    <a:pt x="881" y="874"/>
                  </a:lnTo>
                  <a:lnTo>
                    <a:pt x="881" y="882"/>
                  </a:lnTo>
                  <a:lnTo>
                    <a:pt x="881" y="886"/>
                  </a:lnTo>
                  <a:lnTo>
                    <a:pt x="881" y="887"/>
                  </a:lnTo>
                  <a:lnTo>
                    <a:pt x="884" y="891"/>
                  </a:lnTo>
                  <a:lnTo>
                    <a:pt x="888" y="891"/>
                  </a:lnTo>
                  <a:lnTo>
                    <a:pt x="890" y="893"/>
                  </a:lnTo>
                  <a:lnTo>
                    <a:pt x="894" y="893"/>
                  </a:lnTo>
                  <a:lnTo>
                    <a:pt x="898" y="895"/>
                  </a:lnTo>
                  <a:lnTo>
                    <a:pt x="900" y="893"/>
                  </a:lnTo>
                  <a:lnTo>
                    <a:pt x="900" y="889"/>
                  </a:lnTo>
                  <a:lnTo>
                    <a:pt x="903" y="889"/>
                  </a:lnTo>
                  <a:lnTo>
                    <a:pt x="905" y="891"/>
                  </a:lnTo>
                  <a:lnTo>
                    <a:pt x="909" y="887"/>
                  </a:lnTo>
                  <a:lnTo>
                    <a:pt x="909" y="886"/>
                  </a:lnTo>
                  <a:lnTo>
                    <a:pt x="911" y="884"/>
                  </a:lnTo>
                  <a:lnTo>
                    <a:pt x="915" y="882"/>
                  </a:lnTo>
                  <a:lnTo>
                    <a:pt x="915" y="878"/>
                  </a:lnTo>
                  <a:lnTo>
                    <a:pt x="915" y="874"/>
                  </a:lnTo>
                  <a:lnTo>
                    <a:pt x="916" y="870"/>
                  </a:lnTo>
                  <a:lnTo>
                    <a:pt x="918" y="869"/>
                  </a:lnTo>
                  <a:lnTo>
                    <a:pt x="920" y="865"/>
                  </a:lnTo>
                  <a:lnTo>
                    <a:pt x="920" y="859"/>
                  </a:lnTo>
                  <a:lnTo>
                    <a:pt x="915" y="857"/>
                  </a:lnTo>
                  <a:lnTo>
                    <a:pt x="911" y="855"/>
                  </a:lnTo>
                  <a:lnTo>
                    <a:pt x="909" y="857"/>
                  </a:lnTo>
                  <a:lnTo>
                    <a:pt x="909" y="857"/>
                  </a:lnTo>
                  <a:lnTo>
                    <a:pt x="909" y="855"/>
                  </a:lnTo>
                  <a:lnTo>
                    <a:pt x="909" y="855"/>
                  </a:lnTo>
                  <a:lnTo>
                    <a:pt x="909" y="855"/>
                  </a:lnTo>
                  <a:lnTo>
                    <a:pt x="909" y="855"/>
                  </a:lnTo>
                  <a:close/>
                </a:path>
              </a:pathLst>
            </a:custGeom>
            <a:solidFill>
              <a:srgbClr val="0A9A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5">
              <a:extLst>
                <a:ext uri="{FF2B5EF4-FFF2-40B4-BE49-F238E27FC236}">
                  <a16:creationId xmlns:a16="http://schemas.microsoft.com/office/drawing/2014/main" id="{AE189A88-4369-2244-9DC3-F7BAF8292DD2}"/>
                </a:ext>
              </a:extLst>
            </p:cNvPr>
            <p:cNvSpPr>
              <a:spLocks noEditPoints="1"/>
            </p:cNvSpPr>
            <p:nvPr/>
          </p:nvSpPr>
          <p:spPr bwMode="auto">
            <a:xfrm>
              <a:off x="6472584" y="1228717"/>
              <a:ext cx="2073609" cy="1132876"/>
            </a:xfrm>
            <a:custGeom>
              <a:avLst/>
              <a:gdLst/>
              <a:ahLst/>
              <a:cxnLst>
                <a:cxn ang="0">
                  <a:pos x="1854" y="1205"/>
                </a:cxn>
                <a:cxn ang="0">
                  <a:pos x="1686" y="1057"/>
                </a:cxn>
                <a:cxn ang="0">
                  <a:pos x="1470" y="1205"/>
                </a:cxn>
                <a:cxn ang="0">
                  <a:pos x="1135" y="1196"/>
                </a:cxn>
                <a:cxn ang="0">
                  <a:pos x="792" y="1134"/>
                </a:cxn>
                <a:cxn ang="0">
                  <a:pos x="615" y="1213"/>
                </a:cxn>
                <a:cxn ang="0">
                  <a:pos x="433" y="1343"/>
                </a:cxn>
                <a:cxn ang="0">
                  <a:pos x="280" y="1418"/>
                </a:cxn>
                <a:cxn ang="0">
                  <a:pos x="124" y="1177"/>
                </a:cxn>
                <a:cxn ang="0">
                  <a:pos x="28" y="765"/>
                </a:cxn>
                <a:cxn ang="0">
                  <a:pos x="173" y="738"/>
                </a:cxn>
                <a:cxn ang="0">
                  <a:pos x="163" y="881"/>
                </a:cxn>
                <a:cxn ang="0">
                  <a:pos x="282" y="774"/>
                </a:cxn>
                <a:cxn ang="0">
                  <a:pos x="465" y="701"/>
                </a:cxn>
                <a:cxn ang="0">
                  <a:pos x="547" y="501"/>
                </a:cxn>
                <a:cxn ang="0">
                  <a:pos x="687" y="706"/>
                </a:cxn>
                <a:cxn ang="0">
                  <a:pos x="673" y="559"/>
                </a:cxn>
                <a:cxn ang="0">
                  <a:pos x="788" y="573"/>
                </a:cxn>
                <a:cxn ang="0">
                  <a:pos x="753" y="339"/>
                </a:cxn>
                <a:cxn ang="0">
                  <a:pos x="864" y="211"/>
                </a:cxn>
                <a:cxn ang="0">
                  <a:pos x="1067" y="234"/>
                </a:cxn>
                <a:cxn ang="0">
                  <a:pos x="1093" y="324"/>
                </a:cxn>
                <a:cxn ang="0">
                  <a:pos x="1342" y="288"/>
                </a:cxn>
                <a:cxn ang="0">
                  <a:pos x="1528" y="328"/>
                </a:cxn>
                <a:cxn ang="0">
                  <a:pos x="1686" y="264"/>
                </a:cxn>
                <a:cxn ang="0">
                  <a:pos x="2042" y="271"/>
                </a:cxn>
                <a:cxn ang="0">
                  <a:pos x="2289" y="226"/>
                </a:cxn>
                <a:cxn ang="0">
                  <a:pos x="2400" y="296"/>
                </a:cxn>
                <a:cxn ang="0">
                  <a:pos x="2337" y="411"/>
                </a:cxn>
                <a:cxn ang="0">
                  <a:pos x="2345" y="565"/>
                </a:cxn>
                <a:cxn ang="0">
                  <a:pos x="2232" y="774"/>
                </a:cxn>
                <a:cxn ang="0">
                  <a:pos x="2255" y="1036"/>
                </a:cxn>
                <a:cxn ang="0">
                  <a:pos x="2161" y="586"/>
                </a:cxn>
                <a:cxn ang="0">
                  <a:pos x="2083" y="748"/>
                </a:cxn>
                <a:cxn ang="0">
                  <a:pos x="1886" y="831"/>
                </a:cxn>
                <a:cxn ang="0">
                  <a:pos x="1978" y="1053"/>
                </a:cxn>
                <a:cxn ang="0">
                  <a:pos x="114" y="179"/>
                </a:cxn>
                <a:cxn ang="0">
                  <a:pos x="141" y="173"/>
                </a:cxn>
                <a:cxn ang="0">
                  <a:pos x="231" y="100"/>
                </a:cxn>
                <a:cxn ang="0">
                  <a:pos x="237" y="149"/>
                </a:cxn>
                <a:cxn ang="0">
                  <a:pos x="225" y="183"/>
                </a:cxn>
                <a:cxn ang="0">
                  <a:pos x="267" y="186"/>
                </a:cxn>
                <a:cxn ang="0">
                  <a:pos x="301" y="128"/>
                </a:cxn>
                <a:cxn ang="0">
                  <a:pos x="410" y="405"/>
                </a:cxn>
                <a:cxn ang="0">
                  <a:pos x="321" y="433"/>
                </a:cxn>
                <a:cxn ang="0">
                  <a:pos x="395" y="612"/>
                </a:cxn>
                <a:cxn ang="0">
                  <a:pos x="352" y="622"/>
                </a:cxn>
                <a:cxn ang="0">
                  <a:pos x="384" y="710"/>
                </a:cxn>
                <a:cxn ang="0">
                  <a:pos x="444" y="637"/>
                </a:cxn>
                <a:cxn ang="0">
                  <a:pos x="617" y="456"/>
                </a:cxn>
                <a:cxn ang="0">
                  <a:pos x="719" y="394"/>
                </a:cxn>
                <a:cxn ang="0">
                  <a:pos x="796" y="258"/>
                </a:cxn>
                <a:cxn ang="0">
                  <a:pos x="655" y="88"/>
                </a:cxn>
                <a:cxn ang="0">
                  <a:pos x="1498" y="85"/>
                </a:cxn>
                <a:cxn ang="0">
                  <a:pos x="1402" y="83"/>
                </a:cxn>
                <a:cxn ang="0">
                  <a:pos x="1426" y="77"/>
                </a:cxn>
                <a:cxn ang="0">
                  <a:pos x="905" y="134"/>
                </a:cxn>
                <a:cxn ang="0">
                  <a:pos x="1528" y="198"/>
                </a:cxn>
                <a:cxn ang="0">
                  <a:pos x="1997" y="241"/>
                </a:cxn>
                <a:cxn ang="0">
                  <a:pos x="1997" y="1008"/>
                </a:cxn>
                <a:cxn ang="0">
                  <a:pos x="1869" y="968"/>
                </a:cxn>
                <a:cxn ang="0">
                  <a:pos x="2238" y="1057"/>
                </a:cxn>
                <a:cxn ang="0">
                  <a:pos x="2225" y="1187"/>
                </a:cxn>
              </a:cxnLst>
              <a:rect l="0" t="0" r="r" b="b"/>
              <a:pathLst>
                <a:path w="2430" h="1477">
                  <a:moveTo>
                    <a:pt x="1886" y="1354"/>
                  </a:moveTo>
                  <a:lnTo>
                    <a:pt x="1886" y="1354"/>
                  </a:lnTo>
                  <a:lnTo>
                    <a:pt x="1882" y="1352"/>
                  </a:lnTo>
                  <a:lnTo>
                    <a:pt x="1882" y="1352"/>
                  </a:lnTo>
                  <a:lnTo>
                    <a:pt x="1882" y="1351"/>
                  </a:lnTo>
                  <a:lnTo>
                    <a:pt x="1882" y="1349"/>
                  </a:lnTo>
                  <a:lnTo>
                    <a:pt x="1882" y="1345"/>
                  </a:lnTo>
                  <a:lnTo>
                    <a:pt x="1880" y="1343"/>
                  </a:lnTo>
                  <a:lnTo>
                    <a:pt x="1880" y="1341"/>
                  </a:lnTo>
                  <a:lnTo>
                    <a:pt x="1884" y="1341"/>
                  </a:lnTo>
                  <a:lnTo>
                    <a:pt x="1888" y="1341"/>
                  </a:lnTo>
                  <a:lnTo>
                    <a:pt x="1889" y="1341"/>
                  </a:lnTo>
                  <a:lnTo>
                    <a:pt x="1889" y="1337"/>
                  </a:lnTo>
                  <a:lnTo>
                    <a:pt x="1889" y="1335"/>
                  </a:lnTo>
                  <a:lnTo>
                    <a:pt x="1889" y="1334"/>
                  </a:lnTo>
                  <a:lnTo>
                    <a:pt x="1889" y="1334"/>
                  </a:lnTo>
                  <a:lnTo>
                    <a:pt x="1889" y="1328"/>
                  </a:lnTo>
                  <a:lnTo>
                    <a:pt x="1889" y="1324"/>
                  </a:lnTo>
                  <a:lnTo>
                    <a:pt x="1888" y="1324"/>
                  </a:lnTo>
                  <a:lnTo>
                    <a:pt x="1888" y="1317"/>
                  </a:lnTo>
                  <a:lnTo>
                    <a:pt x="1888" y="1315"/>
                  </a:lnTo>
                  <a:lnTo>
                    <a:pt x="1886" y="1309"/>
                  </a:lnTo>
                  <a:lnTo>
                    <a:pt x="1886" y="1305"/>
                  </a:lnTo>
                  <a:lnTo>
                    <a:pt x="1884" y="1302"/>
                  </a:lnTo>
                  <a:lnTo>
                    <a:pt x="1882" y="1300"/>
                  </a:lnTo>
                  <a:lnTo>
                    <a:pt x="1882" y="1300"/>
                  </a:lnTo>
                  <a:lnTo>
                    <a:pt x="1878" y="1290"/>
                  </a:lnTo>
                  <a:lnTo>
                    <a:pt x="1878" y="1288"/>
                  </a:lnTo>
                  <a:lnTo>
                    <a:pt x="1878" y="1286"/>
                  </a:lnTo>
                  <a:lnTo>
                    <a:pt x="1878" y="1285"/>
                  </a:lnTo>
                  <a:lnTo>
                    <a:pt x="1882" y="1285"/>
                  </a:lnTo>
                  <a:lnTo>
                    <a:pt x="1884" y="1283"/>
                  </a:lnTo>
                  <a:lnTo>
                    <a:pt x="1884" y="1279"/>
                  </a:lnTo>
                  <a:lnTo>
                    <a:pt x="1888" y="1273"/>
                  </a:lnTo>
                  <a:lnTo>
                    <a:pt x="1889" y="1273"/>
                  </a:lnTo>
                  <a:lnTo>
                    <a:pt x="1891" y="1275"/>
                  </a:lnTo>
                  <a:lnTo>
                    <a:pt x="1895" y="1275"/>
                  </a:lnTo>
                  <a:lnTo>
                    <a:pt x="1905" y="1277"/>
                  </a:lnTo>
                  <a:lnTo>
                    <a:pt x="1908" y="1279"/>
                  </a:lnTo>
                  <a:lnTo>
                    <a:pt x="1910" y="1279"/>
                  </a:lnTo>
                  <a:lnTo>
                    <a:pt x="1910" y="1277"/>
                  </a:lnTo>
                  <a:lnTo>
                    <a:pt x="1910" y="1273"/>
                  </a:lnTo>
                  <a:lnTo>
                    <a:pt x="1910" y="1271"/>
                  </a:lnTo>
                  <a:lnTo>
                    <a:pt x="1908" y="1270"/>
                  </a:lnTo>
                  <a:lnTo>
                    <a:pt x="1910" y="1270"/>
                  </a:lnTo>
                  <a:lnTo>
                    <a:pt x="1908" y="1266"/>
                  </a:lnTo>
                  <a:lnTo>
                    <a:pt x="1908" y="1266"/>
                  </a:lnTo>
                  <a:lnTo>
                    <a:pt x="1910" y="1260"/>
                  </a:lnTo>
                  <a:lnTo>
                    <a:pt x="1912" y="1260"/>
                  </a:lnTo>
                  <a:lnTo>
                    <a:pt x="1910" y="1256"/>
                  </a:lnTo>
                  <a:lnTo>
                    <a:pt x="1910" y="1254"/>
                  </a:lnTo>
                  <a:lnTo>
                    <a:pt x="1910" y="1254"/>
                  </a:lnTo>
                  <a:lnTo>
                    <a:pt x="1914" y="1253"/>
                  </a:lnTo>
                  <a:lnTo>
                    <a:pt x="1912" y="1251"/>
                  </a:lnTo>
                  <a:lnTo>
                    <a:pt x="1912" y="1249"/>
                  </a:lnTo>
                  <a:lnTo>
                    <a:pt x="1910" y="1247"/>
                  </a:lnTo>
                  <a:lnTo>
                    <a:pt x="1912" y="1243"/>
                  </a:lnTo>
                  <a:lnTo>
                    <a:pt x="1914" y="1241"/>
                  </a:lnTo>
                  <a:lnTo>
                    <a:pt x="1914" y="1241"/>
                  </a:lnTo>
                  <a:lnTo>
                    <a:pt x="1912" y="1239"/>
                  </a:lnTo>
                  <a:lnTo>
                    <a:pt x="1910" y="1236"/>
                  </a:lnTo>
                  <a:lnTo>
                    <a:pt x="1910" y="1230"/>
                  </a:lnTo>
                  <a:lnTo>
                    <a:pt x="1912" y="1230"/>
                  </a:lnTo>
                  <a:lnTo>
                    <a:pt x="1912" y="1230"/>
                  </a:lnTo>
                  <a:lnTo>
                    <a:pt x="1912" y="1226"/>
                  </a:lnTo>
                  <a:lnTo>
                    <a:pt x="1912" y="1226"/>
                  </a:lnTo>
                  <a:lnTo>
                    <a:pt x="1912" y="1224"/>
                  </a:lnTo>
                  <a:lnTo>
                    <a:pt x="1910" y="1224"/>
                  </a:lnTo>
                  <a:lnTo>
                    <a:pt x="1908" y="1222"/>
                  </a:lnTo>
                  <a:lnTo>
                    <a:pt x="1910" y="1219"/>
                  </a:lnTo>
                  <a:lnTo>
                    <a:pt x="1910" y="1217"/>
                  </a:lnTo>
                  <a:lnTo>
                    <a:pt x="1910" y="1215"/>
                  </a:lnTo>
                  <a:lnTo>
                    <a:pt x="1908" y="1213"/>
                  </a:lnTo>
                  <a:lnTo>
                    <a:pt x="1908" y="1211"/>
                  </a:lnTo>
                  <a:lnTo>
                    <a:pt x="1910" y="1207"/>
                  </a:lnTo>
                  <a:lnTo>
                    <a:pt x="1914" y="1207"/>
                  </a:lnTo>
                  <a:lnTo>
                    <a:pt x="1914" y="1205"/>
                  </a:lnTo>
                  <a:lnTo>
                    <a:pt x="1914" y="1202"/>
                  </a:lnTo>
                  <a:lnTo>
                    <a:pt x="1916" y="1200"/>
                  </a:lnTo>
                  <a:lnTo>
                    <a:pt x="1912" y="1196"/>
                  </a:lnTo>
                  <a:lnTo>
                    <a:pt x="1910" y="1196"/>
                  </a:lnTo>
                  <a:lnTo>
                    <a:pt x="1910" y="1194"/>
                  </a:lnTo>
                  <a:lnTo>
                    <a:pt x="1908" y="1190"/>
                  </a:lnTo>
                  <a:lnTo>
                    <a:pt x="1908" y="1189"/>
                  </a:lnTo>
                  <a:lnTo>
                    <a:pt x="1908" y="1187"/>
                  </a:lnTo>
                  <a:lnTo>
                    <a:pt x="1908" y="1183"/>
                  </a:lnTo>
                  <a:lnTo>
                    <a:pt x="1905" y="1181"/>
                  </a:lnTo>
                  <a:lnTo>
                    <a:pt x="1903" y="1181"/>
                  </a:lnTo>
                  <a:lnTo>
                    <a:pt x="1903" y="1179"/>
                  </a:lnTo>
                  <a:lnTo>
                    <a:pt x="1899" y="1177"/>
                  </a:lnTo>
                  <a:lnTo>
                    <a:pt x="1897" y="1179"/>
                  </a:lnTo>
                  <a:lnTo>
                    <a:pt x="1893" y="1179"/>
                  </a:lnTo>
                  <a:lnTo>
                    <a:pt x="1891" y="1181"/>
                  </a:lnTo>
                  <a:lnTo>
                    <a:pt x="1889" y="1185"/>
                  </a:lnTo>
                  <a:lnTo>
                    <a:pt x="1888" y="1185"/>
                  </a:lnTo>
                  <a:lnTo>
                    <a:pt x="1886" y="1187"/>
                  </a:lnTo>
                  <a:lnTo>
                    <a:pt x="1886" y="1190"/>
                  </a:lnTo>
                  <a:lnTo>
                    <a:pt x="1882" y="1190"/>
                  </a:lnTo>
                  <a:lnTo>
                    <a:pt x="1878" y="1190"/>
                  </a:lnTo>
                  <a:lnTo>
                    <a:pt x="1878" y="1192"/>
                  </a:lnTo>
                  <a:lnTo>
                    <a:pt x="1878" y="1196"/>
                  </a:lnTo>
                  <a:lnTo>
                    <a:pt x="1874" y="1196"/>
                  </a:lnTo>
                  <a:lnTo>
                    <a:pt x="1874" y="1202"/>
                  </a:lnTo>
                  <a:lnTo>
                    <a:pt x="1874" y="1202"/>
                  </a:lnTo>
                  <a:lnTo>
                    <a:pt x="1874" y="1202"/>
                  </a:lnTo>
                  <a:lnTo>
                    <a:pt x="1873" y="1205"/>
                  </a:lnTo>
                  <a:lnTo>
                    <a:pt x="1865" y="1205"/>
                  </a:lnTo>
                  <a:lnTo>
                    <a:pt x="1865" y="1205"/>
                  </a:lnTo>
                  <a:lnTo>
                    <a:pt x="1861" y="1205"/>
                  </a:lnTo>
                  <a:lnTo>
                    <a:pt x="1859" y="1207"/>
                  </a:lnTo>
                  <a:lnTo>
                    <a:pt x="1857" y="1207"/>
                  </a:lnTo>
                  <a:lnTo>
                    <a:pt x="1856" y="1205"/>
                  </a:lnTo>
                  <a:lnTo>
                    <a:pt x="1854" y="1205"/>
                  </a:lnTo>
                  <a:lnTo>
                    <a:pt x="1854" y="1205"/>
                  </a:lnTo>
                  <a:lnTo>
                    <a:pt x="1850" y="1205"/>
                  </a:lnTo>
                  <a:lnTo>
                    <a:pt x="1848" y="1205"/>
                  </a:lnTo>
                  <a:lnTo>
                    <a:pt x="1844" y="1205"/>
                  </a:lnTo>
                  <a:lnTo>
                    <a:pt x="1844" y="1202"/>
                  </a:lnTo>
                  <a:lnTo>
                    <a:pt x="1841" y="1200"/>
                  </a:lnTo>
                  <a:lnTo>
                    <a:pt x="1839" y="1196"/>
                  </a:lnTo>
                  <a:lnTo>
                    <a:pt x="1839" y="1192"/>
                  </a:lnTo>
                  <a:lnTo>
                    <a:pt x="1839" y="1192"/>
                  </a:lnTo>
                  <a:lnTo>
                    <a:pt x="1841" y="1189"/>
                  </a:lnTo>
                  <a:lnTo>
                    <a:pt x="1839" y="1185"/>
                  </a:lnTo>
                  <a:lnTo>
                    <a:pt x="1839" y="1181"/>
                  </a:lnTo>
                  <a:lnTo>
                    <a:pt x="1835" y="1181"/>
                  </a:lnTo>
                  <a:lnTo>
                    <a:pt x="1835" y="1179"/>
                  </a:lnTo>
                  <a:lnTo>
                    <a:pt x="1835" y="1177"/>
                  </a:lnTo>
                  <a:lnTo>
                    <a:pt x="1837" y="1175"/>
                  </a:lnTo>
                  <a:lnTo>
                    <a:pt x="1837" y="1172"/>
                  </a:lnTo>
                  <a:lnTo>
                    <a:pt x="1835" y="1172"/>
                  </a:lnTo>
                  <a:lnTo>
                    <a:pt x="1833" y="1172"/>
                  </a:lnTo>
                  <a:lnTo>
                    <a:pt x="1831" y="1175"/>
                  </a:lnTo>
                  <a:lnTo>
                    <a:pt x="1829" y="1175"/>
                  </a:lnTo>
                  <a:lnTo>
                    <a:pt x="1827" y="1175"/>
                  </a:lnTo>
                  <a:lnTo>
                    <a:pt x="1824" y="1175"/>
                  </a:lnTo>
                  <a:lnTo>
                    <a:pt x="1822" y="1172"/>
                  </a:lnTo>
                  <a:lnTo>
                    <a:pt x="1820" y="1172"/>
                  </a:lnTo>
                  <a:lnTo>
                    <a:pt x="1820" y="1172"/>
                  </a:lnTo>
                  <a:lnTo>
                    <a:pt x="1816" y="1170"/>
                  </a:lnTo>
                  <a:lnTo>
                    <a:pt x="1816" y="1168"/>
                  </a:lnTo>
                  <a:lnTo>
                    <a:pt x="1814" y="1166"/>
                  </a:lnTo>
                  <a:lnTo>
                    <a:pt x="1814" y="1166"/>
                  </a:lnTo>
                  <a:lnTo>
                    <a:pt x="1810" y="1162"/>
                  </a:lnTo>
                  <a:lnTo>
                    <a:pt x="1810" y="1162"/>
                  </a:lnTo>
                  <a:lnTo>
                    <a:pt x="1809" y="1162"/>
                  </a:lnTo>
                  <a:lnTo>
                    <a:pt x="1807" y="1160"/>
                  </a:lnTo>
                  <a:lnTo>
                    <a:pt x="1807" y="1158"/>
                  </a:lnTo>
                  <a:lnTo>
                    <a:pt x="1805" y="1157"/>
                  </a:lnTo>
                  <a:lnTo>
                    <a:pt x="1803" y="1157"/>
                  </a:lnTo>
                  <a:lnTo>
                    <a:pt x="1801" y="1160"/>
                  </a:lnTo>
                  <a:lnTo>
                    <a:pt x="1799" y="1158"/>
                  </a:lnTo>
                  <a:lnTo>
                    <a:pt x="1797" y="1160"/>
                  </a:lnTo>
                  <a:lnTo>
                    <a:pt x="1797" y="1160"/>
                  </a:lnTo>
                  <a:lnTo>
                    <a:pt x="1795" y="1160"/>
                  </a:lnTo>
                  <a:lnTo>
                    <a:pt x="1795" y="1158"/>
                  </a:lnTo>
                  <a:lnTo>
                    <a:pt x="1792" y="1157"/>
                  </a:lnTo>
                  <a:lnTo>
                    <a:pt x="1790" y="1157"/>
                  </a:lnTo>
                  <a:lnTo>
                    <a:pt x="1786" y="1155"/>
                  </a:lnTo>
                  <a:lnTo>
                    <a:pt x="1790" y="1155"/>
                  </a:lnTo>
                  <a:lnTo>
                    <a:pt x="1790" y="1153"/>
                  </a:lnTo>
                  <a:lnTo>
                    <a:pt x="1786" y="1153"/>
                  </a:lnTo>
                  <a:lnTo>
                    <a:pt x="1784" y="1155"/>
                  </a:lnTo>
                  <a:lnTo>
                    <a:pt x="1780" y="1155"/>
                  </a:lnTo>
                  <a:lnTo>
                    <a:pt x="1778" y="1155"/>
                  </a:lnTo>
                  <a:lnTo>
                    <a:pt x="1777" y="1153"/>
                  </a:lnTo>
                  <a:lnTo>
                    <a:pt x="1775" y="1155"/>
                  </a:lnTo>
                  <a:lnTo>
                    <a:pt x="1773" y="1155"/>
                  </a:lnTo>
                  <a:lnTo>
                    <a:pt x="1771" y="1151"/>
                  </a:lnTo>
                  <a:lnTo>
                    <a:pt x="1767" y="1151"/>
                  </a:lnTo>
                  <a:lnTo>
                    <a:pt x="1765" y="1145"/>
                  </a:lnTo>
                  <a:lnTo>
                    <a:pt x="1761" y="1141"/>
                  </a:lnTo>
                  <a:lnTo>
                    <a:pt x="1761" y="1141"/>
                  </a:lnTo>
                  <a:lnTo>
                    <a:pt x="1761" y="1138"/>
                  </a:lnTo>
                  <a:lnTo>
                    <a:pt x="1760" y="1138"/>
                  </a:lnTo>
                  <a:lnTo>
                    <a:pt x="1758" y="1136"/>
                  </a:lnTo>
                  <a:lnTo>
                    <a:pt x="1758" y="1132"/>
                  </a:lnTo>
                  <a:lnTo>
                    <a:pt x="1756" y="1130"/>
                  </a:lnTo>
                  <a:lnTo>
                    <a:pt x="1756" y="1126"/>
                  </a:lnTo>
                  <a:lnTo>
                    <a:pt x="1754" y="1123"/>
                  </a:lnTo>
                  <a:lnTo>
                    <a:pt x="1746" y="1121"/>
                  </a:lnTo>
                  <a:lnTo>
                    <a:pt x="1743" y="1113"/>
                  </a:lnTo>
                  <a:lnTo>
                    <a:pt x="1743" y="1111"/>
                  </a:lnTo>
                  <a:lnTo>
                    <a:pt x="1741" y="1108"/>
                  </a:lnTo>
                  <a:lnTo>
                    <a:pt x="1741" y="1111"/>
                  </a:lnTo>
                  <a:lnTo>
                    <a:pt x="1737" y="1108"/>
                  </a:lnTo>
                  <a:lnTo>
                    <a:pt x="1741" y="1108"/>
                  </a:lnTo>
                  <a:lnTo>
                    <a:pt x="1741" y="1106"/>
                  </a:lnTo>
                  <a:lnTo>
                    <a:pt x="1737" y="1104"/>
                  </a:lnTo>
                  <a:lnTo>
                    <a:pt x="1737" y="1102"/>
                  </a:lnTo>
                  <a:lnTo>
                    <a:pt x="1735" y="1100"/>
                  </a:lnTo>
                  <a:lnTo>
                    <a:pt x="1731" y="1096"/>
                  </a:lnTo>
                  <a:lnTo>
                    <a:pt x="1731" y="1094"/>
                  </a:lnTo>
                  <a:lnTo>
                    <a:pt x="1728" y="1091"/>
                  </a:lnTo>
                  <a:lnTo>
                    <a:pt x="1726" y="1089"/>
                  </a:lnTo>
                  <a:lnTo>
                    <a:pt x="1726" y="1087"/>
                  </a:lnTo>
                  <a:lnTo>
                    <a:pt x="1726" y="1083"/>
                  </a:lnTo>
                  <a:lnTo>
                    <a:pt x="1726" y="1083"/>
                  </a:lnTo>
                  <a:lnTo>
                    <a:pt x="1720" y="1083"/>
                  </a:lnTo>
                  <a:lnTo>
                    <a:pt x="1720" y="1081"/>
                  </a:lnTo>
                  <a:lnTo>
                    <a:pt x="1720" y="1077"/>
                  </a:lnTo>
                  <a:lnTo>
                    <a:pt x="1718" y="1077"/>
                  </a:lnTo>
                  <a:lnTo>
                    <a:pt x="1718" y="1074"/>
                  </a:lnTo>
                  <a:lnTo>
                    <a:pt x="1718" y="1072"/>
                  </a:lnTo>
                  <a:lnTo>
                    <a:pt x="1714" y="1072"/>
                  </a:lnTo>
                  <a:lnTo>
                    <a:pt x="1714" y="1070"/>
                  </a:lnTo>
                  <a:lnTo>
                    <a:pt x="1714" y="1068"/>
                  </a:lnTo>
                  <a:lnTo>
                    <a:pt x="1713" y="1068"/>
                  </a:lnTo>
                  <a:lnTo>
                    <a:pt x="1711" y="1068"/>
                  </a:lnTo>
                  <a:lnTo>
                    <a:pt x="1707" y="1066"/>
                  </a:lnTo>
                  <a:lnTo>
                    <a:pt x="1711" y="1064"/>
                  </a:lnTo>
                  <a:lnTo>
                    <a:pt x="1711" y="1062"/>
                  </a:lnTo>
                  <a:lnTo>
                    <a:pt x="1707" y="1060"/>
                  </a:lnTo>
                  <a:lnTo>
                    <a:pt x="1703" y="1062"/>
                  </a:lnTo>
                  <a:lnTo>
                    <a:pt x="1703" y="1062"/>
                  </a:lnTo>
                  <a:lnTo>
                    <a:pt x="1703" y="1060"/>
                  </a:lnTo>
                  <a:lnTo>
                    <a:pt x="1701" y="1059"/>
                  </a:lnTo>
                  <a:lnTo>
                    <a:pt x="1701" y="1057"/>
                  </a:lnTo>
                  <a:lnTo>
                    <a:pt x="1701" y="1057"/>
                  </a:lnTo>
                  <a:lnTo>
                    <a:pt x="1697" y="1057"/>
                  </a:lnTo>
                  <a:lnTo>
                    <a:pt x="1696" y="1057"/>
                  </a:lnTo>
                  <a:lnTo>
                    <a:pt x="1694" y="1053"/>
                  </a:lnTo>
                  <a:lnTo>
                    <a:pt x="1694" y="1053"/>
                  </a:lnTo>
                  <a:lnTo>
                    <a:pt x="1690" y="1053"/>
                  </a:lnTo>
                  <a:lnTo>
                    <a:pt x="1688" y="1053"/>
                  </a:lnTo>
                  <a:lnTo>
                    <a:pt x="1686" y="1053"/>
                  </a:lnTo>
                  <a:lnTo>
                    <a:pt x="1686" y="1057"/>
                  </a:lnTo>
                  <a:lnTo>
                    <a:pt x="1686" y="1057"/>
                  </a:lnTo>
                  <a:lnTo>
                    <a:pt x="1682" y="1057"/>
                  </a:lnTo>
                  <a:lnTo>
                    <a:pt x="1682" y="1053"/>
                  </a:lnTo>
                  <a:lnTo>
                    <a:pt x="1679" y="1057"/>
                  </a:lnTo>
                  <a:lnTo>
                    <a:pt x="1673" y="1057"/>
                  </a:lnTo>
                  <a:lnTo>
                    <a:pt x="1673" y="1053"/>
                  </a:lnTo>
                  <a:lnTo>
                    <a:pt x="1671" y="1053"/>
                  </a:lnTo>
                  <a:lnTo>
                    <a:pt x="1665" y="1053"/>
                  </a:lnTo>
                  <a:lnTo>
                    <a:pt x="1664" y="1049"/>
                  </a:lnTo>
                  <a:lnTo>
                    <a:pt x="1662" y="1049"/>
                  </a:lnTo>
                  <a:lnTo>
                    <a:pt x="1658" y="1049"/>
                  </a:lnTo>
                  <a:lnTo>
                    <a:pt x="1656" y="1049"/>
                  </a:lnTo>
                  <a:lnTo>
                    <a:pt x="1652" y="1051"/>
                  </a:lnTo>
                  <a:lnTo>
                    <a:pt x="1652" y="1053"/>
                  </a:lnTo>
                  <a:lnTo>
                    <a:pt x="1649" y="1053"/>
                  </a:lnTo>
                  <a:lnTo>
                    <a:pt x="1649" y="1053"/>
                  </a:lnTo>
                  <a:lnTo>
                    <a:pt x="1645" y="1053"/>
                  </a:lnTo>
                  <a:lnTo>
                    <a:pt x="1641" y="1053"/>
                  </a:lnTo>
                  <a:lnTo>
                    <a:pt x="1637" y="1053"/>
                  </a:lnTo>
                  <a:lnTo>
                    <a:pt x="1635" y="1057"/>
                  </a:lnTo>
                  <a:lnTo>
                    <a:pt x="1632" y="1057"/>
                  </a:lnTo>
                  <a:lnTo>
                    <a:pt x="1630" y="1059"/>
                  </a:lnTo>
                  <a:lnTo>
                    <a:pt x="1628" y="1060"/>
                  </a:lnTo>
                  <a:lnTo>
                    <a:pt x="1624" y="1059"/>
                  </a:lnTo>
                  <a:lnTo>
                    <a:pt x="1624" y="1060"/>
                  </a:lnTo>
                  <a:lnTo>
                    <a:pt x="1624" y="1060"/>
                  </a:lnTo>
                  <a:lnTo>
                    <a:pt x="1618" y="1060"/>
                  </a:lnTo>
                  <a:lnTo>
                    <a:pt x="1617" y="1062"/>
                  </a:lnTo>
                  <a:lnTo>
                    <a:pt x="1613" y="1064"/>
                  </a:lnTo>
                  <a:lnTo>
                    <a:pt x="1613" y="1066"/>
                  </a:lnTo>
                  <a:lnTo>
                    <a:pt x="1611" y="1070"/>
                  </a:lnTo>
                  <a:lnTo>
                    <a:pt x="1609" y="1074"/>
                  </a:lnTo>
                  <a:lnTo>
                    <a:pt x="1607" y="1076"/>
                  </a:lnTo>
                  <a:lnTo>
                    <a:pt x="1607" y="1077"/>
                  </a:lnTo>
                  <a:lnTo>
                    <a:pt x="1607" y="1077"/>
                  </a:lnTo>
                  <a:lnTo>
                    <a:pt x="1607" y="1083"/>
                  </a:lnTo>
                  <a:lnTo>
                    <a:pt x="1607" y="1083"/>
                  </a:lnTo>
                  <a:lnTo>
                    <a:pt x="1611" y="1083"/>
                  </a:lnTo>
                  <a:lnTo>
                    <a:pt x="1615" y="1083"/>
                  </a:lnTo>
                  <a:lnTo>
                    <a:pt x="1617" y="1081"/>
                  </a:lnTo>
                  <a:lnTo>
                    <a:pt x="1618" y="1081"/>
                  </a:lnTo>
                  <a:lnTo>
                    <a:pt x="1622" y="1087"/>
                  </a:lnTo>
                  <a:lnTo>
                    <a:pt x="1624" y="1089"/>
                  </a:lnTo>
                  <a:lnTo>
                    <a:pt x="1624" y="1091"/>
                  </a:lnTo>
                  <a:lnTo>
                    <a:pt x="1624" y="1094"/>
                  </a:lnTo>
                  <a:lnTo>
                    <a:pt x="1628" y="1096"/>
                  </a:lnTo>
                  <a:lnTo>
                    <a:pt x="1628" y="1100"/>
                  </a:lnTo>
                  <a:lnTo>
                    <a:pt x="1624" y="1102"/>
                  </a:lnTo>
                  <a:lnTo>
                    <a:pt x="1622" y="1106"/>
                  </a:lnTo>
                  <a:lnTo>
                    <a:pt x="1622" y="1111"/>
                  </a:lnTo>
                  <a:lnTo>
                    <a:pt x="1618" y="1111"/>
                  </a:lnTo>
                  <a:lnTo>
                    <a:pt x="1617" y="1117"/>
                  </a:lnTo>
                  <a:lnTo>
                    <a:pt x="1617" y="1121"/>
                  </a:lnTo>
                  <a:lnTo>
                    <a:pt x="1618" y="1121"/>
                  </a:lnTo>
                  <a:lnTo>
                    <a:pt x="1618" y="1124"/>
                  </a:lnTo>
                  <a:lnTo>
                    <a:pt x="1618" y="1128"/>
                  </a:lnTo>
                  <a:lnTo>
                    <a:pt x="1618" y="1130"/>
                  </a:lnTo>
                  <a:lnTo>
                    <a:pt x="1618" y="1134"/>
                  </a:lnTo>
                  <a:lnTo>
                    <a:pt x="1618" y="1136"/>
                  </a:lnTo>
                  <a:lnTo>
                    <a:pt x="1617" y="1138"/>
                  </a:lnTo>
                  <a:lnTo>
                    <a:pt x="1618" y="1141"/>
                  </a:lnTo>
                  <a:lnTo>
                    <a:pt x="1618" y="1145"/>
                  </a:lnTo>
                  <a:lnTo>
                    <a:pt x="1618" y="1147"/>
                  </a:lnTo>
                  <a:lnTo>
                    <a:pt x="1618" y="1153"/>
                  </a:lnTo>
                  <a:lnTo>
                    <a:pt x="1618" y="1153"/>
                  </a:lnTo>
                  <a:lnTo>
                    <a:pt x="1622" y="1153"/>
                  </a:lnTo>
                  <a:lnTo>
                    <a:pt x="1622" y="1153"/>
                  </a:lnTo>
                  <a:lnTo>
                    <a:pt x="1624" y="1153"/>
                  </a:lnTo>
                  <a:lnTo>
                    <a:pt x="1624" y="1158"/>
                  </a:lnTo>
                  <a:lnTo>
                    <a:pt x="1624" y="1162"/>
                  </a:lnTo>
                  <a:lnTo>
                    <a:pt x="1618" y="1162"/>
                  </a:lnTo>
                  <a:lnTo>
                    <a:pt x="1615" y="1166"/>
                  </a:lnTo>
                  <a:lnTo>
                    <a:pt x="1609" y="1168"/>
                  </a:lnTo>
                  <a:lnTo>
                    <a:pt x="1600" y="1175"/>
                  </a:lnTo>
                  <a:lnTo>
                    <a:pt x="1598" y="1175"/>
                  </a:lnTo>
                  <a:lnTo>
                    <a:pt x="1598" y="1175"/>
                  </a:lnTo>
                  <a:lnTo>
                    <a:pt x="1592" y="1175"/>
                  </a:lnTo>
                  <a:lnTo>
                    <a:pt x="1588" y="1175"/>
                  </a:lnTo>
                  <a:lnTo>
                    <a:pt x="1586" y="1172"/>
                  </a:lnTo>
                  <a:lnTo>
                    <a:pt x="1585" y="1172"/>
                  </a:lnTo>
                  <a:lnTo>
                    <a:pt x="1583" y="1172"/>
                  </a:lnTo>
                  <a:lnTo>
                    <a:pt x="1581" y="1172"/>
                  </a:lnTo>
                  <a:lnTo>
                    <a:pt x="1573" y="1170"/>
                  </a:lnTo>
                  <a:lnTo>
                    <a:pt x="1566" y="1172"/>
                  </a:lnTo>
                  <a:lnTo>
                    <a:pt x="1566" y="1172"/>
                  </a:lnTo>
                  <a:lnTo>
                    <a:pt x="1564" y="1175"/>
                  </a:lnTo>
                  <a:lnTo>
                    <a:pt x="1560" y="1175"/>
                  </a:lnTo>
                  <a:lnTo>
                    <a:pt x="1558" y="1172"/>
                  </a:lnTo>
                  <a:lnTo>
                    <a:pt x="1554" y="1175"/>
                  </a:lnTo>
                  <a:lnTo>
                    <a:pt x="1551" y="1175"/>
                  </a:lnTo>
                  <a:lnTo>
                    <a:pt x="1549" y="1172"/>
                  </a:lnTo>
                  <a:lnTo>
                    <a:pt x="1545" y="1168"/>
                  </a:lnTo>
                  <a:lnTo>
                    <a:pt x="1541" y="1168"/>
                  </a:lnTo>
                  <a:lnTo>
                    <a:pt x="1536" y="1170"/>
                  </a:lnTo>
                  <a:lnTo>
                    <a:pt x="1536" y="1168"/>
                  </a:lnTo>
                  <a:lnTo>
                    <a:pt x="1532" y="1168"/>
                  </a:lnTo>
                  <a:lnTo>
                    <a:pt x="1530" y="1172"/>
                  </a:lnTo>
                  <a:lnTo>
                    <a:pt x="1528" y="1175"/>
                  </a:lnTo>
                  <a:lnTo>
                    <a:pt x="1524" y="1177"/>
                  </a:lnTo>
                  <a:lnTo>
                    <a:pt x="1521" y="1179"/>
                  </a:lnTo>
                  <a:lnTo>
                    <a:pt x="1519" y="1183"/>
                  </a:lnTo>
                  <a:lnTo>
                    <a:pt x="1519" y="1185"/>
                  </a:lnTo>
                  <a:lnTo>
                    <a:pt x="1517" y="1189"/>
                  </a:lnTo>
                  <a:lnTo>
                    <a:pt x="1515" y="1192"/>
                  </a:lnTo>
                  <a:lnTo>
                    <a:pt x="1505" y="1192"/>
                  </a:lnTo>
                  <a:lnTo>
                    <a:pt x="1504" y="1192"/>
                  </a:lnTo>
                  <a:lnTo>
                    <a:pt x="1500" y="1196"/>
                  </a:lnTo>
                  <a:lnTo>
                    <a:pt x="1494" y="1196"/>
                  </a:lnTo>
                  <a:lnTo>
                    <a:pt x="1490" y="1200"/>
                  </a:lnTo>
                  <a:lnTo>
                    <a:pt x="1485" y="1205"/>
                  </a:lnTo>
                  <a:lnTo>
                    <a:pt x="1485" y="1205"/>
                  </a:lnTo>
                  <a:lnTo>
                    <a:pt x="1481" y="1202"/>
                  </a:lnTo>
                  <a:lnTo>
                    <a:pt x="1475" y="1202"/>
                  </a:lnTo>
                  <a:lnTo>
                    <a:pt x="1473" y="1202"/>
                  </a:lnTo>
                  <a:lnTo>
                    <a:pt x="1470" y="1205"/>
                  </a:lnTo>
                  <a:lnTo>
                    <a:pt x="1457" y="1205"/>
                  </a:lnTo>
                  <a:lnTo>
                    <a:pt x="1451" y="1202"/>
                  </a:lnTo>
                  <a:lnTo>
                    <a:pt x="1443" y="1202"/>
                  </a:lnTo>
                  <a:lnTo>
                    <a:pt x="1440" y="1202"/>
                  </a:lnTo>
                  <a:lnTo>
                    <a:pt x="1436" y="1200"/>
                  </a:lnTo>
                  <a:lnTo>
                    <a:pt x="1436" y="1200"/>
                  </a:lnTo>
                  <a:lnTo>
                    <a:pt x="1430" y="1196"/>
                  </a:lnTo>
                  <a:lnTo>
                    <a:pt x="1426" y="1196"/>
                  </a:lnTo>
                  <a:lnTo>
                    <a:pt x="1426" y="1189"/>
                  </a:lnTo>
                  <a:lnTo>
                    <a:pt x="1423" y="1187"/>
                  </a:lnTo>
                  <a:lnTo>
                    <a:pt x="1421" y="1189"/>
                  </a:lnTo>
                  <a:lnTo>
                    <a:pt x="1415" y="1189"/>
                  </a:lnTo>
                  <a:lnTo>
                    <a:pt x="1408" y="1185"/>
                  </a:lnTo>
                  <a:lnTo>
                    <a:pt x="1406" y="1179"/>
                  </a:lnTo>
                  <a:lnTo>
                    <a:pt x="1398" y="1181"/>
                  </a:lnTo>
                  <a:lnTo>
                    <a:pt x="1393" y="1179"/>
                  </a:lnTo>
                  <a:lnTo>
                    <a:pt x="1389" y="1177"/>
                  </a:lnTo>
                  <a:lnTo>
                    <a:pt x="1383" y="1179"/>
                  </a:lnTo>
                  <a:lnTo>
                    <a:pt x="1377" y="1179"/>
                  </a:lnTo>
                  <a:lnTo>
                    <a:pt x="1374" y="1181"/>
                  </a:lnTo>
                  <a:lnTo>
                    <a:pt x="1368" y="1181"/>
                  </a:lnTo>
                  <a:lnTo>
                    <a:pt x="1362" y="1183"/>
                  </a:lnTo>
                  <a:lnTo>
                    <a:pt x="1359" y="1187"/>
                  </a:lnTo>
                  <a:lnTo>
                    <a:pt x="1357" y="1189"/>
                  </a:lnTo>
                  <a:lnTo>
                    <a:pt x="1355" y="1187"/>
                  </a:lnTo>
                  <a:lnTo>
                    <a:pt x="1351" y="1187"/>
                  </a:lnTo>
                  <a:lnTo>
                    <a:pt x="1349" y="1189"/>
                  </a:lnTo>
                  <a:lnTo>
                    <a:pt x="1344" y="1189"/>
                  </a:lnTo>
                  <a:lnTo>
                    <a:pt x="1344" y="1190"/>
                  </a:lnTo>
                  <a:lnTo>
                    <a:pt x="1340" y="1190"/>
                  </a:lnTo>
                  <a:lnTo>
                    <a:pt x="1334" y="1187"/>
                  </a:lnTo>
                  <a:lnTo>
                    <a:pt x="1329" y="1185"/>
                  </a:lnTo>
                  <a:lnTo>
                    <a:pt x="1327" y="1183"/>
                  </a:lnTo>
                  <a:lnTo>
                    <a:pt x="1323" y="1179"/>
                  </a:lnTo>
                  <a:lnTo>
                    <a:pt x="1323" y="1179"/>
                  </a:lnTo>
                  <a:lnTo>
                    <a:pt x="1319" y="1177"/>
                  </a:lnTo>
                  <a:lnTo>
                    <a:pt x="1319" y="1175"/>
                  </a:lnTo>
                  <a:lnTo>
                    <a:pt x="1319" y="1172"/>
                  </a:lnTo>
                  <a:lnTo>
                    <a:pt x="1317" y="1170"/>
                  </a:lnTo>
                  <a:lnTo>
                    <a:pt x="1317" y="1166"/>
                  </a:lnTo>
                  <a:lnTo>
                    <a:pt x="1313" y="1162"/>
                  </a:lnTo>
                  <a:lnTo>
                    <a:pt x="1313" y="1160"/>
                  </a:lnTo>
                  <a:lnTo>
                    <a:pt x="1313" y="1158"/>
                  </a:lnTo>
                  <a:lnTo>
                    <a:pt x="1310" y="1157"/>
                  </a:lnTo>
                  <a:lnTo>
                    <a:pt x="1302" y="1157"/>
                  </a:lnTo>
                  <a:lnTo>
                    <a:pt x="1298" y="1157"/>
                  </a:lnTo>
                  <a:lnTo>
                    <a:pt x="1295" y="1155"/>
                  </a:lnTo>
                  <a:lnTo>
                    <a:pt x="1293" y="1155"/>
                  </a:lnTo>
                  <a:lnTo>
                    <a:pt x="1289" y="1153"/>
                  </a:lnTo>
                  <a:lnTo>
                    <a:pt x="1285" y="1151"/>
                  </a:lnTo>
                  <a:lnTo>
                    <a:pt x="1281" y="1151"/>
                  </a:lnTo>
                  <a:lnTo>
                    <a:pt x="1276" y="1151"/>
                  </a:lnTo>
                  <a:lnTo>
                    <a:pt x="1272" y="1151"/>
                  </a:lnTo>
                  <a:lnTo>
                    <a:pt x="1270" y="1147"/>
                  </a:lnTo>
                  <a:lnTo>
                    <a:pt x="1265" y="1145"/>
                  </a:lnTo>
                  <a:lnTo>
                    <a:pt x="1261" y="1145"/>
                  </a:lnTo>
                  <a:lnTo>
                    <a:pt x="1259" y="1141"/>
                  </a:lnTo>
                  <a:lnTo>
                    <a:pt x="1255" y="1141"/>
                  </a:lnTo>
                  <a:lnTo>
                    <a:pt x="1253" y="1145"/>
                  </a:lnTo>
                  <a:lnTo>
                    <a:pt x="1253" y="1147"/>
                  </a:lnTo>
                  <a:lnTo>
                    <a:pt x="1253" y="1151"/>
                  </a:lnTo>
                  <a:lnTo>
                    <a:pt x="1251" y="1153"/>
                  </a:lnTo>
                  <a:lnTo>
                    <a:pt x="1249" y="1153"/>
                  </a:lnTo>
                  <a:lnTo>
                    <a:pt x="1248" y="1155"/>
                  </a:lnTo>
                  <a:lnTo>
                    <a:pt x="1246" y="1157"/>
                  </a:lnTo>
                  <a:lnTo>
                    <a:pt x="1246" y="1160"/>
                  </a:lnTo>
                  <a:lnTo>
                    <a:pt x="1240" y="1162"/>
                  </a:lnTo>
                  <a:lnTo>
                    <a:pt x="1240" y="1175"/>
                  </a:lnTo>
                  <a:lnTo>
                    <a:pt x="1244" y="1177"/>
                  </a:lnTo>
                  <a:lnTo>
                    <a:pt x="1248" y="1179"/>
                  </a:lnTo>
                  <a:lnTo>
                    <a:pt x="1249" y="1181"/>
                  </a:lnTo>
                  <a:lnTo>
                    <a:pt x="1253" y="1183"/>
                  </a:lnTo>
                  <a:lnTo>
                    <a:pt x="1255" y="1185"/>
                  </a:lnTo>
                  <a:lnTo>
                    <a:pt x="1253" y="1192"/>
                  </a:lnTo>
                  <a:lnTo>
                    <a:pt x="1253" y="1196"/>
                  </a:lnTo>
                  <a:lnTo>
                    <a:pt x="1255" y="1200"/>
                  </a:lnTo>
                  <a:lnTo>
                    <a:pt x="1259" y="1202"/>
                  </a:lnTo>
                  <a:lnTo>
                    <a:pt x="1255" y="1207"/>
                  </a:lnTo>
                  <a:lnTo>
                    <a:pt x="1249" y="1207"/>
                  </a:lnTo>
                  <a:lnTo>
                    <a:pt x="1246" y="1207"/>
                  </a:lnTo>
                  <a:lnTo>
                    <a:pt x="1244" y="1207"/>
                  </a:lnTo>
                  <a:lnTo>
                    <a:pt x="1240" y="1209"/>
                  </a:lnTo>
                  <a:lnTo>
                    <a:pt x="1238" y="1207"/>
                  </a:lnTo>
                  <a:lnTo>
                    <a:pt x="1231" y="1207"/>
                  </a:lnTo>
                  <a:lnTo>
                    <a:pt x="1227" y="1207"/>
                  </a:lnTo>
                  <a:lnTo>
                    <a:pt x="1225" y="1205"/>
                  </a:lnTo>
                  <a:lnTo>
                    <a:pt x="1221" y="1205"/>
                  </a:lnTo>
                  <a:lnTo>
                    <a:pt x="1217" y="1205"/>
                  </a:lnTo>
                  <a:lnTo>
                    <a:pt x="1214" y="1207"/>
                  </a:lnTo>
                  <a:lnTo>
                    <a:pt x="1210" y="1209"/>
                  </a:lnTo>
                  <a:lnTo>
                    <a:pt x="1206" y="1211"/>
                  </a:lnTo>
                  <a:lnTo>
                    <a:pt x="1201" y="1207"/>
                  </a:lnTo>
                  <a:lnTo>
                    <a:pt x="1199" y="1205"/>
                  </a:lnTo>
                  <a:lnTo>
                    <a:pt x="1187" y="1202"/>
                  </a:lnTo>
                  <a:lnTo>
                    <a:pt x="1187" y="1196"/>
                  </a:lnTo>
                  <a:lnTo>
                    <a:pt x="1185" y="1196"/>
                  </a:lnTo>
                  <a:lnTo>
                    <a:pt x="1185" y="1192"/>
                  </a:lnTo>
                  <a:lnTo>
                    <a:pt x="1180" y="1192"/>
                  </a:lnTo>
                  <a:lnTo>
                    <a:pt x="1176" y="1194"/>
                  </a:lnTo>
                  <a:lnTo>
                    <a:pt x="1174" y="1194"/>
                  </a:lnTo>
                  <a:lnTo>
                    <a:pt x="1172" y="1194"/>
                  </a:lnTo>
                  <a:lnTo>
                    <a:pt x="1169" y="1196"/>
                  </a:lnTo>
                  <a:lnTo>
                    <a:pt x="1167" y="1192"/>
                  </a:lnTo>
                  <a:lnTo>
                    <a:pt x="1165" y="1190"/>
                  </a:lnTo>
                  <a:lnTo>
                    <a:pt x="1163" y="1187"/>
                  </a:lnTo>
                  <a:lnTo>
                    <a:pt x="1161" y="1187"/>
                  </a:lnTo>
                  <a:lnTo>
                    <a:pt x="1159" y="1189"/>
                  </a:lnTo>
                  <a:lnTo>
                    <a:pt x="1155" y="1189"/>
                  </a:lnTo>
                  <a:lnTo>
                    <a:pt x="1152" y="1189"/>
                  </a:lnTo>
                  <a:lnTo>
                    <a:pt x="1150" y="1190"/>
                  </a:lnTo>
                  <a:lnTo>
                    <a:pt x="1142" y="1190"/>
                  </a:lnTo>
                  <a:lnTo>
                    <a:pt x="1138" y="1192"/>
                  </a:lnTo>
                  <a:lnTo>
                    <a:pt x="1137" y="1196"/>
                  </a:lnTo>
                  <a:lnTo>
                    <a:pt x="1135" y="1196"/>
                  </a:lnTo>
                  <a:lnTo>
                    <a:pt x="1127" y="1196"/>
                  </a:lnTo>
                  <a:lnTo>
                    <a:pt x="1127" y="1196"/>
                  </a:lnTo>
                  <a:lnTo>
                    <a:pt x="1127" y="1202"/>
                  </a:lnTo>
                  <a:lnTo>
                    <a:pt x="1131" y="1202"/>
                  </a:lnTo>
                  <a:lnTo>
                    <a:pt x="1127" y="1202"/>
                  </a:lnTo>
                  <a:lnTo>
                    <a:pt x="1125" y="1205"/>
                  </a:lnTo>
                  <a:lnTo>
                    <a:pt x="1121" y="1207"/>
                  </a:lnTo>
                  <a:lnTo>
                    <a:pt x="1118" y="1211"/>
                  </a:lnTo>
                  <a:lnTo>
                    <a:pt x="1118" y="1213"/>
                  </a:lnTo>
                  <a:lnTo>
                    <a:pt x="1114" y="1215"/>
                  </a:lnTo>
                  <a:lnTo>
                    <a:pt x="1114" y="1219"/>
                  </a:lnTo>
                  <a:lnTo>
                    <a:pt x="1112" y="1224"/>
                  </a:lnTo>
                  <a:lnTo>
                    <a:pt x="1106" y="1226"/>
                  </a:lnTo>
                  <a:lnTo>
                    <a:pt x="1103" y="1230"/>
                  </a:lnTo>
                  <a:lnTo>
                    <a:pt x="1103" y="1230"/>
                  </a:lnTo>
                  <a:lnTo>
                    <a:pt x="1093" y="1230"/>
                  </a:lnTo>
                  <a:lnTo>
                    <a:pt x="1091" y="1232"/>
                  </a:lnTo>
                  <a:lnTo>
                    <a:pt x="1088" y="1239"/>
                  </a:lnTo>
                  <a:lnTo>
                    <a:pt x="1088" y="1239"/>
                  </a:lnTo>
                  <a:lnTo>
                    <a:pt x="1086" y="1239"/>
                  </a:lnTo>
                  <a:lnTo>
                    <a:pt x="1082" y="1239"/>
                  </a:lnTo>
                  <a:lnTo>
                    <a:pt x="1080" y="1239"/>
                  </a:lnTo>
                  <a:lnTo>
                    <a:pt x="1078" y="1236"/>
                  </a:lnTo>
                  <a:lnTo>
                    <a:pt x="1073" y="1236"/>
                  </a:lnTo>
                  <a:lnTo>
                    <a:pt x="1069" y="1230"/>
                  </a:lnTo>
                  <a:lnTo>
                    <a:pt x="1067" y="1230"/>
                  </a:lnTo>
                  <a:lnTo>
                    <a:pt x="1067" y="1226"/>
                  </a:lnTo>
                  <a:lnTo>
                    <a:pt x="1067" y="1222"/>
                  </a:lnTo>
                  <a:lnTo>
                    <a:pt x="1067" y="1222"/>
                  </a:lnTo>
                  <a:lnTo>
                    <a:pt x="1063" y="1224"/>
                  </a:lnTo>
                  <a:lnTo>
                    <a:pt x="1061" y="1226"/>
                  </a:lnTo>
                  <a:lnTo>
                    <a:pt x="1056" y="1230"/>
                  </a:lnTo>
                  <a:lnTo>
                    <a:pt x="1046" y="1230"/>
                  </a:lnTo>
                  <a:lnTo>
                    <a:pt x="1044" y="1230"/>
                  </a:lnTo>
                  <a:lnTo>
                    <a:pt x="1042" y="1232"/>
                  </a:lnTo>
                  <a:lnTo>
                    <a:pt x="1042" y="1230"/>
                  </a:lnTo>
                  <a:lnTo>
                    <a:pt x="1039" y="1230"/>
                  </a:lnTo>
                  <a:lnTo>
                    <a:pt x="1037" y="1230"/>
                  </a:lnTo>
                  <a:lnTo>
                    <a:pt x="1035" y="1230"/>
                  </a:lnTo>
                  <a:lnTo>
                    <a:pt x="1033" y="1226"/>
                  </a:lnTo>
                  <a:lnTo>
                    <a:pt x="1033" y="1224"/>
                  </a:lnTo>
                  <a:lnTo>
                    <a:pt x="1029" y="1222"/>
                  </a:lnTo>
                  <a:lnTo>
                    <a:pt x="1033" y="1221"/>
                  </a:lnTo>
                  <a:lnTo>
                    <a:pt x="1033" y="1217"/>
                  </a:lnTo>
                  <a:lnTo>
                    <a:pt x="1029" y="1217"/>
                  </a:lnTo>
                  <a:lnTo>
                    <a:pt x="1027" y="1217"/>
                  </a:lnTo>
                  <a:lnTo>
                    <a:pt x="1024" y="1213"/>
                  </a:lnTo>
                  <a:lnTo>
                    <a:pt x="1020" y="1211"/>
                  </a:lnTo>
                  <a:lnTo>
                    <a:pt x="1018" y="1211"/>
                  </a:lnTo>
                  <a:lnTo>
                    <a:pt x="1018" y="1207"/>
                  </a:lnTo>
                  <a:lnTo>
                    <a:pt x="1012" y="1202"/>
                  </a:lnTo>
                  <a:lnTo>
                    <a:pt x="1009" y="1200"/>
                  </a:lnTo>
                  <a:lnTo>
                    <a:pt x="1003" y="1196"/>
                  </a:lnTo>
                  <a:lnTo>
                    <a:pt x="995" y="1196"/>
                  </a:lnTo>
                  <a:lnTo>
                    <a:pt x="990" y="1196"/>
                  </a:lnTo>
                  <a:lnTo>
                    <a:pt x="988" y="1200"/>
                  </a:lnTo>
                  <a:lnTo>
                    <a:pt x="990" y="1202"/>
                  </a:lnTo>
                  <a:lnTo>
                    <a:pt x="988" y="1202"/>
                  </a:lnTo>
                  <a:lnTo>
                    <a:pt x="984" y="1205"/>
                  </a:lnTo>
                  <a:lnTo>
                    <a:pt x="984" y="1205"/>
                  </a:lnTo>
                  <a:lnTo>
                    <a:pt x="978" y="1205"/>
                  </a:lnTo>
                  <a:lnTo>
                    <a:pt x="975" y="1202"/>
                  </a:lnTo>
                  <a:lnTo>
                    <a:pt x="971" y="1205"/>
                  </a:lnTo>
                  <a:lnTo>
                    <a:pt x="967" y="1205"/>
                  </a:lnTo>
                  <a:lnTo>
                    <a:pt x="965" y="1205"/>
                  </a:lnTo>
                  <a:lnTo>
                    <a:pt x="963" y="1202"/>
                  </a:lnTo>
                  <a:lnTo>
                    <a:pt x="960" y="1202"/>
                  </a:lnTo>
                  <a:lnTo>
                    <a:pt x="956" y="1200"/>
                  </a:lnTo>
                  <a:lnTo>
                    <a:pt x="960" y="1196"/>
                  </a:lnTo>
                  <a:lnTo>
                    <a:pt x="954" y="1194"/>
                  </a:lnTo>
                  <a:lnTo>
                    <a:pt x="950" y="1196"/>
                  </a:lnTo>
                  <a:lnTo>
                    <a:pt x="950" y="1200"/>
                  </a:lnTo>
                  <a:lnTo>
                    <a:pt x="950" y="1202"/>
                  </a:lnTo>
                  <a:lnTo>
                    <a:pt x="950" y="1202"/>
                  </a:lnTo>
                  <a:lnTo>
                    <a:pt x="948" y="1205"/>
                  </a:lnTo>
                  <a:lnTo>
                    <a:pt x="943" y="1205"/>
                  </a:lnTo>
                  <a:lnTo>
                    <a:pt x="896" y="1147"/>
                  </a:lnTo>
                  <a:lnTo>
                    <a:pt x="864" y="1123"/>
                  </a:lnTo>
                  <a:lnTo>
                    <a:pt x="864" y="1121"/>
                  </a:lnTo>
                  <a:lnTo>
                    <a:pt x="865" y="1121"/>
                  </a:lnTo>
                  <a:lnTo>
                    <a:pt x="867" y="1117"/>
                  </a:lnTo>
                  <a:lnTo>
                    <a:pt x="867" y="1111"/>
                  </a:lnTo>
                  <a:lnTo>
                    <a:pt x="867" y="1111"/>
                  </a:lnTo>
                  <a:lnTo>
                    <a:pt x="862" y="1113"/>
                  </a:lnTo>
                  <a:lnTo>
                    <a:pt x="858" y="1113"/>
                  </a:lnTo>
                  <a:lnTo>
                    <a:pt x="854" y="1117"/>
                  </a:lnTo>
                  <a:lnTo>
                    <a:pt x="852" y="1117"/>
                  </a:lnTo>
                  <a:lnTo>
                    <a:pt x="847" y="1123"/>
                  </a:lnTo>
                  <a:lnTo>
                    <a:pt x="847" y="1124"/>
                  </a:lnTo>
                  <a:lnTo>
                    <a:pt x="847" y="1128"/>
                  </a:lnTo>
                  <a:lnTo>
                    <a:pt x="843" y="1130"/>
                  </a:lnTo>
                  <a:lnTo>
                    <a:pt x="841" y="1134"/>
                  </a:lnTo>
                  <a:lnTo>
                    <a:pt x="835" y="1134"/>
                  </a:lnTo>
                  <a:lnTo>
                    <a:pt x="832" y="1136"/>
                  </a:lnTo>
                  <a:lnTo>
                    <a:pt x="832" y="1138"/>
                  </a:lnTo>
                  <a:lnTo>
                    <a:pt x="830" y="1141"/>
                  </a:lnTo>
                  <a:lnTo>
                    <a:pt x="828" y="1138"/>
                  </a:lnTo>
                  <a:lnTo>
                    <a:pt x="820" y="1138"/>
                  </a:lnTo>
                  <a:lnTo>
                    <a:pt x="817" y="1138"/>
                  </a:lnTo>
                  <a:lnTo>
                    <a:pt x="813" y="1141"/>
                  </a:lnTo>
                  <a:lnTo>
                    <a:pt x="813" y="1141"/>
                  </a:lnTo>
                  <a:lnTo>
                    <a:pt x="809" y="1138"/>
                  </a:lnTo>
                  <a:lnTo>
                    <a:pt x="809" y="1134"/>
                  </a:lnTo>
                  <a:lnTo>
                    <a:pt x="813" y="1132"/>
                  </a:lnTo>
                  <a:lnTo>
                    <a:pt x="813" y="1128"/>
                  </a:lnTo>
                  <a:lnTo>
                    <a:pt x="811" y="1126"/>
                  </a:lnTo>
                  <a:lnTo>
                    <a:pt x="809" y="1130"/>
                  </a:lnTo>
                  <a:lnTo>
                    <a:pt x="805" y="1130"/>
                  </a:lnTo>
                  <a:lnTo>
                    <a:pt x="798" y="1126"/>
                  </a:lnTo>
                  <a:lnTo>
                    <a:pt x="794" y="1126"/>
                  </a:lnTo>
                  <a:lnTo>
                    <a:pt x="796" y="1128"/>
                  </a:lnTo>
                  <a:lnTo>
                    <a:pt x="798" y="1130"/>
                  </a:lnTo>
                  <a:lnTo>
                    <a:pt x="794" y="1132"/>
                  </a:lnTo>
                  <a:lnTo>
                    <a:pt x="792" y="1134"/>
                  </a:lnTo>
                  <a:lnTo>
                    <a:pt x="792" y="1128"/>
                  </a:lnTo>
                  <a:lnTo>
                    <a:pt x="788" y="1123"/>
                  </a:lnTo>
                  <a:lnTo>
                    <a:pt x="783" y="1117"/>
                  </a:lnTo>
                  <a:lnTo>
                    <a:pt x="783" y="1117"/>
                  </a:lnTo>
                  <a:lnTo>
                    <a:pt x="783" y="1123"/>
                  </a:lnTo>
                  <a:lnTo>
                    <a:pt x="783" y="1124"/>
                  </a:lnTo>
                  <a:lnTo>
                    <a:pt x="781" y="1124"/>
                  </a:lnTo>
                  <a:lnTo>
                    <a:pt x="781" y="1121"/>
                  </a:lnTo>
                  <a:lnTo>
                    <a:pt x="777" y="1123"/>
                  </a:lnTo>
                  <a:lnTo>
                    <a:pt x="777" y="1126"/>
                  </a:lnTo>
                  <a:lnTo>
                    <a:pt x="775" y="1126"/>
                  </a:lnTo>
                  <a:lnTo>
                    <a:pt x="771" y="1124"/>
                  </a:lnTo>
                  <a:lnTo>
                    <a:pt x="768" y="1126"/>
                  </a:lnTo>
                  <a:lnTo>
                    <a:pt x="768" y="1124"/>
                  </a:lnTo>
                  <a:lnTo>
                    <a:pt x="764" y="1121"/>
                  </a:lnTo>
                  <a:lnTo>
                    <a:pt x="768" y="1121"/>
                  </a:lnTo>
                  <a:lnTo>
                    <a:pt x="768" y="1121"/>
                  </a:lnTo>
                  <a:lnTo>
                    <a:pt x="768" y="1117"/>
                  </a:lnTo>
                  <a:lnTo>
                    <a:pt x="768" y="1111"/>
                  </a:lnTo>
                  <a:lnTo>
                    <a:pt x="768" y="1111"/>
                  </a:lnTo>
                  <a:lnTo>
                    <a:pt x="764" y="1108"/>
                  </a:lnTo>
                  <a:lnTo>
                    <a:pt x="762" y="1106"/>
                  </a:lnTo>
                  <a:lnTo>
                    <a:pt x="762" y="1102"/>
                  </a:lnTo>
                  <a:lnTo>
                    <a:pt x="758" y="1102"/>
                  </a:lnTo>
                  <a:lnTo>
                    <a:pt x="758" y="1096"/>
                  </a:lnTo>
                  <a:lnTo>
                    <a:pt x="754" y="1096"/>
                  </a:lnTo>
                  <a:lnTo>
                    <a:pt x="751" y="1098"/>
                  </a:lnTo>
                  <a:lnTo>
                    <a:pt x="745" y="1098"/>
                  </a:lnTo>
                  <a:lnTo>
                    <a:pt x="741" y="1094"/>
                  </a:lnTo>
                  <a:lnTo>
                    <a:pt x="737" y="1096"/>
                  </a:lnTo>
                  <a:lnTo>
                    <a:pt x="732" y="1092"/>
                  </a:lnTo>
                  <a:lnTo>
                    <a:pt x="730" y="1094"/>
                  </a:lnTo>
                  <a:lnTo>
                    <a:pt x="724" y="1094"/>
                  </a:lnTo>
                  <a:lnTo>
                    <a:pt x="722" y="1096"/>
                  </a:lnTo>
                  <a:lnTo>
                    <a:pt x="722" y="1100"/>
                  </a:lnTo>
                  <a:lnTo>
                    <a:pt x="717" y="1100"/>
                  </a:lnTo>
                  <a:lnTo>
                    <a:pt x="715" y="1102"/>
                  </a:lnTo>
                  <a:lnTo>
                    <a:pt x="717" y="1104"/>
                  </a:lnTo>
                  <a:lnTo>
                    <a:pt x="717" y="1108"/>
                  </a:lnTo>
                  <a:lnTo>
                    <a:pt x="713" y="1108"/>
                  </a:lnTo>
                  <a:lnTo>
                    <a:pt x="709" y="1108"/>
                  </a:lnTo>
                  <a:lnTo>
                    <a:pt x="707" y="1111"/>
                  </a:lnTo>
                  <a:lnTo>
                    <a:pt x="704" y="1111"/>
                  </a:lnTo>
                  <a:lnTo>
                    <a:pt x="700" y="1111"/>
                  </a:lnTo>
                  <a:lnTo>
                    <a:pt x="700" y="1111"/>
                  </a:lnTo>
                  <a:lnTo>
                    <a:pt x="690" y="1117"/>
                  </a:lnTo>
                  <a:lnTo>
                    <a:pt x="687" y="1121"/>
                  </a:lnTo>
                  <a:lnTo>
                    <a:pt x="683" y="1121"/>
                  </a:lnTo>
                  <a:lnTo>
                    <a:pt x="681" y="1121"/>
                  </a:lnTo>
                  <a:lnTo>
                    <a:pt x="679" y="1117"/>
                  </a:lnTo>
                  <a:lnTo>
                    <a:pt x="675" y="1121"/>
                  </a:lnTo>
                  <a:lnTo>
                    <a:pt x="675" y="1123"/>
                  </a:lnTo>
                  <a:lnTo>
                    <a:pt x="673" y="1123"/>
                  </a:lnTo>
                  <a:lnTo>
                    <a:pt x="670" y="1124"/>
                  </a:lnTo>
                  <a:lnTo>
                    <a:pt x="670" y="1128"/>
                  </a:lnTo>
                  <a:lnTo>
                    <a:pt x="670" y="1130"/>
                  </a:lnTo>
                  <a:lnTo>
                    <a:pt x="666" y="1128"/>
                  </a:lnTo>
                  <a:lnTo>
                    <a:pt x="664" y="1130"/>
                  </a:lnTo>
                  <a:lnTo>
                    <a:pt x="660" y="1132"/>
                  </a:lnTo>
                  <a:lnTo>
                    <a:pt x="655" y="1132"/>
                  </a:lnTo>
                  <a:lnTo>
                    <a:pt x="651" y="1134"/>
                  </a:lnTo>
                  <a:lnTo>
                    <a:pt x="649" y="1136"/>
                  </a:lnTo>
                  <a:lnTo>
                    <a:pt x="645" y="1138"/>
                  </a:lnTo>
                  <a:lnTo>
                    <a:pt x="641" y="1138"/>
                  </a:lnTo>
                  <a:lnTo>
                    <a:pt x="636" y="1138"/>
                  </a:lnTo>
                  <a:lnTo>
                    <a:pt x="630" y="1141"/>
                  </a:lnTo>
                  <a:lnTo>
                    <a:pt x="628" y="1145"/>
                  </a:lnTo>
                  <a:lnTo>
                    <a:pt x="626" y="1145"/>
                  </a:lnTo>
                  <a:lnTo>
                    <a:pt x="625" y="1141"/>
                  </a:lnTo>
                  <a:lnTo>
                    <a:pt x="621" y="1141"/>
                  </a:lnTo>
                  <a:lnTo>
                    <a:pt x="621" y="1145"/>
                  </a:lnTo>
                  <a:lnTo>
                    <a:pt x="621" y="1147"/>
                  </a:lnTo>
                  <a:lnTo>
                    <a:pt x="619" y="1151"/>
                  </a:lnTo>
                  <a:lnTo>
                    <a:pt x="615" y="1145"/>
                  </a:lnTo>
                  <a:lnTo>
                    <a:pt x="609" y="1147"/>
                  </a:lnTo>
                  <a:lnTo>
                    <a:pt x="609" y="1145"/>
                  </a:lnTo>
                  <a:lnTo>
                    <a:pt x="606" y="1145"/>
                  </a:lnTo>
                  <a:lnTo>
                    <a:pt x="604" y="1147"/>
                  </a:lnTo>
                  <a:lnTo>
                    <a:pt x="600" y="1147"/>
                  </a:lnTo>
                  <a:lnTo>
                    <a:pt x="600" y="1147"/>
                  </a:lnTo>
                  <a:lnTo>
                    <a:pt x="600" y="1153"/>
                  </a:lnTo>
                  <a:lnTo>
                    <a:pt x="600" y="1155"/>
                  </a:lnTo>
                  <a:lnTo>
                    <a:pt x="602" y="1157"/>
                  </a:lnTo>
                  <a:lnTo>
                    <a:pt x="608" y="1155"/>
                  </a:lnTo>
                  <a:lnTo>
                    <a:pt x="609" y="1158"/>
                  </a:lnTo>
                  <a:lnTo>
                    <a:pt x="604" y="1158"/>
                  </a:lnTo>
                  <a:lnTo>
                    <a:pt x="602" y="1160"/>
                  </a:lnTo>
                  <a:lnTo>
                    <a:pt x="602" y="1162"/>
                  </a:lnTo>
                  <a:lnTo>
                    <a:pt x="608" y="1162"/>
                  </a:lnTo>
                  <a:lnTo>
                    <a:pt x="611" y="1166"/>
                  </a:lnTo>
                  <a:lnTo>
                    <a:pt x="613" y="1162"/>
                  </a:lnTo>
                  <a:lnTo>
                    <a:pt x="617" y="1162"/>
                  </a:lnTo>
                  <a:lnTo>
                    <a:pt x="621" y="1166"/>
                  </a:lnTo>
                  <a:lnTo>
                    <a:pt x="625" y="1168"/>
                  </a:lnTo>
                  <a:lnTo>
                    <a:pt x="625" y="1172"/>
                  </a:lnTo>
                  <a:lnTo>
                    <a:pt x="621" y="1172"/>
                  </a:lnTo>
                  <a:lnTo>
                    <a:pt x="619" y="1172"/>
                  </a:lnTo>
                  <a:lnTo>
                    <a:pt x="609" y="1172"/>
                  </a:lnTo>
                  <a:lnTo>
                    <a:pt x="606" y="1175"/>
                  </a:lnTo>
                  <a:lnTo>
                    <a:pt x="600" y="1181"/>
                  </a:lnTo>
                  <a:lnTo>
                    <a:pt x="602" y="1185"/>
                  </a:lnTo>
                  <a:lnTo>
                    <a:pt x="604" y="1187"/>
                  </a:lnTo>
                  <a:lnTo>
                    <a:pt x="606" y="1190"/>
                  </a:lnTo>
                  <a:lnTo>
                    <a:pt x="602" y="1194"/>
                  </a:lnTo>
                  <a:lnTo>
                    <a:pt x="602" y="1196"/>
                  </a:lnTo>
                  <a:lnTo>
                    <a:pt x="600" y="1196"/>
                  </a:lnTo>
                  <a:lnTo>
                    <a:pt x="600" y="1200"/>
                  </a:lnTo>
                  <a:lnTo>
                    <a:pt x="600" y="1202"/>
                  </a:lnTo>
                  <a:lnTo>
                    <a:pt x="600" y="1205"/>
                  </a:lnTo>
                  <a:lnTo>
                    <a:pt x="604" y="1205"/>
                  </a:lnTo>
                  <a:lnTo>
                    <a:pt x="606" y="1205"/>
                  </a:lnTo>
                  <a:lnTo>
                    <a:pt x="611" y="1207"/>
                  </a:lnTo>
                  <a:lnTo>
                    <a:pt x="611" y="1209"/>
                  </a:lnTo>
                  <a:lnTo>
                    <a:pt x="615" y="1213"/>
                  </a:lnTo>
                  <a:lnTo>
                    <a:pt x="621" y="1213"/>
                  </a:lnTo>
                  <a:lnTo>
                    <a:pt x="621" y="1215"/>
                  </a:lnTo>
                  <a:lnTo>
                    <a:pt x="625" y="1230"/>
                  </a:lnTo>
                  <a:lnTo>
                    <a:pt x="621" y="1232"/>
                  </a:lnTo>
                  <a:lnTo>
                    <a:pt x="615" y="1236"/>
                  </a:lnTo>
                  <a:lnTo>
                    <a:pt x="609" y="1232"/>
                  </a:lnTo>
                  <a:lnTo>
                    <a:pt x="604" y="1230"/>
                  </a:lnTo>
                  <a:lnTo>
                    <a:pt x="602" y="1230"/>
                  </a:lnTo>
                  <a:lnTo>
                    <a:pt x="602" y="1236"/>
                  </a:lnTo>
                  <a:lnTo>
                    <a:pt x="600" y="1239"/>
                  </a:lnTo>
                  <a:lnTo>
                    <a:pt x="596" y="1239"/>
                  </a:lnTo>
                  <a:lnTo>
                    <a:pt x="591" y="1236"/>
                  </a:lnTo>
                  <a:lnTo>
                    <a:pt x="583" y="1236"/>
                  </a:lnTo>
                  <a:lnTo>
                    <a:pt x="581" y="1236"/>
                  </a:lnTo>
                  <a:lnTo>
                    <a:pt x="579" y="1236"/>
                  </a:lnTo>
                  <a:lnTo>
                    <a:pt x="576" y="1236"/>
                  </a:lnTo>
                  <a:lnTo>
                    <a:pt x="572" y="1230"/>
                  </a:lnTo>
                  <a:lnTo>
                    <a:pt x="576" y="1230"/>
                  </a:lnTo>
                  <a:lnTo>
                    <a:pt x="576" y="1226"/>
                  </a:lnTo>
                  <a:lnTo>
                    <a:pt x="574" y="1226"/>
                  </a:lnTo>
                  <a:lnTo>
                    <a:pt x="570" y="1224"/>
                  </a:lnTo>
                  <a:lnTo>
                    <a:pt x="566" y="1226"/>
                  </a:lnTo>
                  <a:lnTo>
                    <a:pt x="562" y="1226"/>
                  </a:lnTo>
                  <a:lnTo>
                    <a:pt x="561" y="1226"/>
                  </a:lnTo>
                  <a:lnTo>
                    <a:pt x="562" y="1230"/>
                  </a:lnTo>
                  <a:lnTo>
                    <a:pt x="557" y="1230"/>
                  </a:lnTo>
                  <a:lnTo>
                    <a:pt x="555" y="1230"/>
                  </a:lnTo>
                  <a:lnTo>
                    <a:pt x="549" y="1224"/>
                  </a:lnTo>
                  <a:lnTo>
                    <a:pt x="545" y="1226"/>
                  </a:lnTo>
                  <a:lnTo>
                    <a:pt x="545" y="1226"/>
                  </a:lnTo>
                  <a:lnTo>
                    <a:pt x="542" y="1226"/>
                  </a:lnTo>
                  <a:lnTo>
                    <a:pt x="538" y="1226"/>
                  </a:lnTo>
                  <a:lnTo>
                    <a:pt x="538" y="1230"/>
                  </a:lnTo>
                  <a:lnTo>
                    <a:pt x="536" y="1230"/>
                  </a:lnTo>
                  <a:lnTo>
                    <a:pt x="532" y="1236"/>
                  </a:lnTo>
                  <a:lnTo>
                    <a:pt x="530" y="1239"/>
                  </a:lnTo>
                  <a:lnTo>
                    <a:pt x="527" y="1239"/>
                  </a:lnTo>
                  <a:lnTo>
                    <a:pt x="525" y="1236"/>
                  </a:lnTo>
                  <a:lnTo>
                    <a:pt x="517" y="1236"/>
                  </a:lnTo>
                  <a:lnTo>
                    <a:pt x="513" y="1230"/>
                  </a:lnTo>
                  <a:lnTo>
                    <a:pt x="512" y="1232"/>
                  </a:lnTo>
                  <a:lnTo>
                    <a:pt x="512" y="1239"/>
                  </a:lnTo>
                  <a:lnTo>
                    <a:pt x="508" y="1241"/>
                  </a:lnTo>
                  <a:lnTo>
                    <a:pt x="508" y="1241"/>
                  </a:lnTo>
                  <a:lnTo>
                    <a:pt x="508" y="1236"/>
                  </a:lnTo>
                  <a:lnTo>
                    <a:pt x="506" y="1236"/>
                  </a:lnTo>
                  <a:lnTo>
                    <a:pt x="502" y="1236"/>
                  </a:lnTo>
                  <a:lnTo>
                    <a:pt x="498" y="1230"/>
                  </a:lnTo>
                  <a:lnTo>
                    <a:pt x="495" y="1226"/>
                  </a:lnTo>
                  <a:lnTo>
                    <a:pt x="491" y="1226"/>
                  </a:lnTo>
                  <a:lnTo>
                    <a:pt x="487" y="1222"/>
                  </a:lnTo>
                  <a:lnTo>
                    <a:pt x="483" y="1221"/>
                  </a:lnTo>
                  <a:lnTo>
                    <a:pt x="483" y="1219"/>
                  </a:lnTo>
                  <a:lnTo>
                    <a:pt x="481" y="1219"/>
                  </a:lnTo>
                  <a:lnTo>
                    <a:pt x="474" y="1221"/>
                  </a:lnTo>
                  <a:lnTo>
                    <a:pt x="468" y="1217"/>
                  </a:lnTo>
                  <a:lnTo>
                    <a:pt x="466" y="1213"/>
                  </a:lnTo>
                  <a:lnTo>
                    <a:pt x="463" y="1213"/>
                  </a:lnTo>
                  <a:lnTo>
                    <a:pt x="459" y="1215"/>
                  </a:lnTo>
                  <a:lnTo>
                    <a:pt x="457" y="1215"/>
                  </a:lnTo>
                  <a:lnTo>
                    <a:pt x="457" y="1219"/>
                  </a:lnTo>
                  <a:lnTo>
                    <a:pt x="453" y="1221"/>
                  </a:lnTo>
                  <a:lnTo>
                    <a:pt x="453" y="1217"/>
                  </a:lnTo>
                  <a:lnTo>
                    <a:pt x="451" y="1219"/>
                  </a:lnTo>
                  <a:lnTo>
                    <a:pt x="449" y="1222"/>
                  </a:lnTo>
                  <a:lnTo>
                    <a:pt x="448" y="1224"/>
                  </a:lnTo>
                  <a:lnTo>
                    <a:pt x="444" y="1222"/>
                  </a:lnTo>
                  <a:lnTo>
                    <a:pt x="448" y="1219"/>
                  </a:lnTo>
                  <a:lnTo>
                    <a:pt x="448" y="1217"/>
                  </a:lnTo>
                  <a:lnTo>
                    <a:pt x="444" y="1215"/>
                  </a:lnTo>
                  <a:lnTo>
                    <a:pt x="438" y="1211"/>
                  </a:lnTo>
                  <a:lnTo>
                    <a:pt x="436" y="1213"/>
                  </a:lnTo>
                  <a:lnTo>
                    <a:pt x="438" y="1217"/>
                  </a:lnTo>
                  <a:lnTo>
                    <a:pt x="436" y="1221"/>
                  </a:lnTo>
                  <a:lnTo>
                    <a:pt x="433" y="1219"/>
                  </a:lnTo>
                  <a:lnTo>
                    <a:pt x="433" y="1222"/>
                  </a:lnTo>
                  <a:lnTo>
                    <a:pt x="429" y="1226"/>
                  </a:lnTo>
                  <a:lnTo>
                    <a:pt x="425" y="1226"/>
                  </a:lnTo>
                  <a:lnTo>
                    <a:pt x="419" y="1230"/>
                  </a:lnTo>
                  <a:lnTo>
                    <a:pt x="419" y="1236"/>
                  </a:lnTo>
                  <a:lnTo>
                    <a:pt x="423" y="1239"/>
                  </a:lnTo>
                  <a:lnTo>
                    <a:pt x="423" y="1241"/>
                  </a:lnTo>
                  <a:lnTo>
                    <a:pt x="416" y="1241"/>
                  </a:lnTo>
                  <a:lnTo>
                    <a:pt x="410" y="1243"/>
                  </a:lnTo>
                  <a:lnTo>
                    <a:pt x="416" y="1258"/>
                  </a:lnTo>
                  <a:lnTo>
                    <a:pt x="412" y="1260"/>
                  </a:lnTo>
                  <a:lnTo>
                    <a:pt x="414" y="1266"/>
                  </a:lnTo>
                  <a:lnTo>
                    <a:pt x="408" y="1266"/>
                  </a:lnTo>
                  <a:lnTo>
                    <a:pt x="401" y="1264"/>
                  </a:lnTo>
                  <a:lnTo>
                    <a:pt x="401" y="1260"/>
                  </a:lnTo>
                  <a:lnTo>
                    <a:pt x="391" y="1251"/>
                  </a:lnTo>
                  <a:lnTo>
                    <a:pt x="389" y="1254"/>
                  </a:lnTo>
                  <a:lnTo>
                    <a:pt x="389" y="1258"/>
                  </a:lnTo>
                  <a:lnTo>
                    <a:pt x="384" y="1266"/>
                  </a:lnTo>
                  <a:lnTo>
                    <a:pt x="380" y="1266"/>
                  </a:lnTo>
                  <a:lnTo>
                    <a:pt x="380" y="1275"/>
                  </a:lnTo>
                  <a:lnTo>
                    <a:pt x="384" y="1277"/>
                  </a:lnTo>
                  <a:lnTo>
                    <a:pt x="382" y="1290"/>
                  </a:lnTo>
                  <a:lnTo>
                    <a:pt x="378" y="1296"/>
                  </a:lnTo>
                  <a:lnTo>
                    <a:pt x="387" y="1300"/>
                  </a:lnTo>
                  <a:lnTo>
                    <a:pt x="389" y="1303"/>
                  </a:lnTo>
                  <a:lnTo>
                    <a:pt x="389" y="1307"/>
                  </a:lnTo>
                  <a:lnTo>
                    <a:pt x="395" y="1313"/>
                  </a:lnTo>
                  <a:lnTo>
                    <a:pt x="395" y="1309"/>
                  </a:lnTo>
                  <a:lnTo>
                    <a:pt x="408" y="1313"/>
                  </a:lnTo>
                  <a:lnTo>
                    <a:pt x="417" y="1320"/>
                  </a:lnTo>
                  <a:lnTo>
                    <a:pt x="425" y="1334"/>
                  </a:lnTo>
                  <a:lnTo>
                    <a:pt x="417" y="1334"/>
                  </a:lnTo>
                  <a:lnTo>
                    <a:pt x="417" y="1335"/>
                  </a:lnTo>
                  <a:lnTo>
                    <a:pt x="423" y="1341"/>
                  </a:lnTo>
                  <a:lnTo>
                    <a:pt x="429" y="1339"/>
                  </a:lnTo>
                  <a:lnTo>
                    <a:pt x="433" y="1343"/>
                  </a:lnTo>
                  <a:lnTo>
                    <a:pt x="433" y="1343"/>
                  </a:lnTo>
                  <a:lnTo>
                    <a:pt x="433" y="1343"/>
                  </a:lnTo>
                  <a:lnTo>
                    <a:pt x="433" y="1343"/>
                  </a:lnTo>
                  <a:lnTo>
                    <a:pt x="433" y="1345"/>
                  </a:lnTo>
                  <a:lnTo>
                    <a:pt x="429" y="1345"/>
                  </a:lnTo>
                  <a:lnTo>
                    <a:pt x="433" y="1349"/>
                  </a:lnTo>
                  <a:lnTo>
                    <a:pt x="433" y="1351"/>
                  </a:lnTo>
                  <a:lnTo>
                    <a:pt x="429" y="1351"/>
                  </a:lnTo>
                  <a:lnTo>
                    <a:pt x="433" y="1352"/>
                  </a:lnTo>
                  <a:lnTo>
                    <a:pt x="433" y="1354"/>
                  </a:lnTo>
                  <a:lnTo>
                    <a:pt x="429" y="1352"/>
                  </a:lnTo>
                  <a:lnTo>
                    <a:pt x="425" y="1354"/>
                  </a:lnTo>
                  <a:lnTo>
                    <a:pt x="423" y="1352"/>
                  </a:lnTo>
                  <a:lnTo>
                    <a:pt x="419" y="1352"/>
                  </a:lnTo>
                  <a:lnTo>
                    <a:pt x="425" y="1354"/>
                  </a:lnTo>
                  <a:lnTo>
                    <a:pt x="425" y="1358"/>
                  </a:lnTo>
                  <a:lnTo>
                    <a:pt x="425" y="1358"/>
                  </a:lnTo>
                  <a:lnTo>
                    <a:pt x="425" y="1358"/>
                  </a:lnTo>
                  <a:lnTo>
                    <a:pt x="425" y="1358"/>
                  </a:lnTo>
                  <a:lnTo>
                    <a:pt x="419" y="1358"/>
                  </a:lnTo>
                  <a:lnTo>
                    <a:pt x="419" y="1358"/>
                  </a:lnTo>
                  <a:lnTo>
                    <a:pt x="419" y="1358"/>
                  </a:lnTo>
                  <a:lnTo>
                    <a:pt x="417" y="1358"/>
                  </a:lnTo>
                  <a:lnTo>
                    <a:pt x="419" y="1358"/>
                  </a:lnTo>
                  <a:lnTo>
                    <a:pt x="419" y="1360"/>
                  </a:lnTo>
                  <a:lnTo>
                    <a:pt x="417" y="1362"/>
                  </a:lnTo>
                  <a:lnTo>
                    <a:pt x="416" y="1362"/>
                  </a:lnTo>
                  <a:lnTo>
                    <a:pt x="414" y="1362"/>
                  </a:lnTo>
                  <a:lnTo>
                    <a:pt x="412" y="1360"/>
                  </a:lnTo>
                  <a:lnTo>
                    <a:pt x="412" y="1364"/>
                  </a:lnTo>
                  <a:lnTo>
                    <a:pt x="410" y="1364"/>
                  </a:lnTo>
                  <a:lnTo>
                    <a:pt x="408" y="1362"/>
                  </a:lnTo>
                  <a:lnTo>
                    <a:pt x="408" y="1362"/>
                  </a:lnTo>
                  <a:lnTo>
                    <a:pt x="408" y="1364"/>
                  </a:lnTo>
                  <a:lnTo>
                    <a:pt x="404" y="1367"/>
                  </a:lnTo>
                  <a:lnTo>
                    <a:pt x="402" y="1371"/>
                  </a:lnTo>
                  <a:lnTo>
                    <a:pt x="401" y="1373"/>
                  </a:lnTo>
                  <a:lnTo>
                    <a:pt x="401" y="1377"/>
                  </a:lnTo>
                  <a:lnTo>
                    <a:pt x="399" y="1379"/>
                  </a:lnTo>
                  <a:lnTo>
                    <a:pt x="399" y="1388"/>
                  </a:lnTo>
                  <a:lnTo>
                    <a:pt x="399" y="1388"/>
                  </a:lnTo>
                  <a:lnTo>
                    <a:pt x="395" y="1390"/>
                  </a:lnTo>
                  <a:lnTo>
                    <a:pt x="399" y="1398"/>
                  </a:lnTo>
                  <a:lnTo>
                    <a:pt x="401" y="1398"/>
                  </a:lnTo>
                  <a:lnTo>
                    <a:pt x="402" y="1398"/>
                  </a:lnTo>
                  <a:lnTo>
                    <a:pt x="404" y="1401"/>
                  </a:lnTo>
                  <a:lnTo>
                    <a:pt x="408" y="1401"/>
                  </a:lnTo>
                  <a:lnTo>
                    <a:pt x="408" y="1409"/>
                  </a:lnTo>
                  <a:lnTo>
                    <a:pt x="414" y="1409"/>
                  </a:lnTo>
                  <a:lnTo>
                    <a:pt x="416" y="1409"/>
                  </a:lnTo>
                  <a:lnTo>
                    <a:pt x="417" y="1409"/>
                  </a:lnTo>
                  <a:lnTo>
                    <a:pt x="416" y="1413"/>
                  </a:lnTo>
                  <a:lnTo>
                    <a:pt x="416" y="1415"/>
                  </a:lnTo>
                  <a:lnTo>
                    <a:pt x="412" y="1413"/>
                  </a:lnTo>
                  <a:lnTo>
                    <a:pt x="412" y="1418"/>
                  </a:lnTo>
                  <a:lnTo>
                    <a:pt x="416" y="1418"/>
                  </a:lnTo>
                  <a:lnTo>
                    <a:pt x="416" y="1418"/>
                  </a:lnTo>
                  <a:lnTo>
                    <a:pt x="417" y="1422"/>
                  </a:lnTo>
                  <a:lnTo>
                    <a:pt x="417" y="1428"/>
                  </a:lnTo>
                  <a:lnTo>
                    <a:pt x="419" y="1432"/>
                  </a:lnTo>
                  <a:lnTo>
                    <a:pt x="419" y="1437"/>
                  </a:lnTo>
                  <a:lnTo>
                    <a:pt x="429" y="1443"/>
                  </a:lnTo>
                  <a:lnTo>
                    <a:pt x="438" y="1452"/>
                  </a:lnTo>
                  <a:lnTo>
                    <a:pt x="440" y="1454"/>
                  </a:lnTo>
                  <a:lnTo>
                    <a:pt x="438" y="1454"/>
                  </a:lnTo>
                  <a:lnTo>
                    <a:pt x="433" y="1462"/>
                  </a:lnTo>
                  <a:lnTo>
                    <a:pt x="429" y="1464"/>
                  </a:lnTo>
                  <a:lnTo>
                    <a:pt x="425" y="1467"/>
                  </a:lnTo>
                  <a:lnTo>
                    <a:pt x="417" y="1467"/>
                  </a:lnTo>
                  <a:lnTo>
                    <a:pt x="416" y="1462"/>
                  </a:lnTo>
                  <a:lnTo>
                    <a:pt x="408" y="1456"/>
                  </a:lnTo>
                  <a:lnTo>
                    <a:pt x="401" y="1454"/>
                  </a:lnTo>
                  <a:lnTo>
                    <a:pt x="399" y="1462"/>
                  </a:lnTo>
                  <a:lnTo>
                    <a:pt x="404" y="1464"/>
                  </a:lnTo>
                  <a:lnTo>
                    <a:pt x="408" y="1469"/>
                  </a:lnTo>
                  <a:lnTo>
                    <a:pt x="404" y="1477"/>
                  </a:lnTo>
                  <a:lnTo>
                    <a:pt x="399" y="1473"/>
                  </a:lnTo>
                  <a:lnTo>
                    <a:pt x="393" y="1471"/>
                  </a:lnTo>
                  <a:lnTo>
                    <a:pt x="382" y="1464"/>
                  </a:lnTo>
                  <a:lnTo>
                    <a:pt x="374" y="1469"/>
                  </a:lnTo>
                  <a:lnTo>
                    <a:pt x="374" y="1471"/>
                  </a:lnTo>
                  <a:lnTo>
                    <a:pt x="378" y="1473"/>
                  </a:lnTo>
                  <a:lnTo>
                    <a:pt x="374" y="1471"/>
                  </a:lnTo>
                  <a:lnTo>
                    <a:pt x="363" y="1471"/>
                  </a:lnTo>
                  <a:lnTo>
                    <a:pt x="361" y="1471"/>
                  </a:lnTo>
                  <a:lnTo>
                    <a:pt x="352" y="1473"/>
                  </a:lnTo>
                  <a:lnTo>
                    <a:pt x="346" y="1473"/>
                  </a:lnTo>
                  <a:lnTo>
                    <a:pt x="346" y="1473"/>
                  </a:lnTo>
                  <a:lnTo>
                    <a:pt x="344" y="1473"/>
                  </a:lnTo>
                  <a:lnTo>
                    <a:pt x="337" y="1467"/>
                  </a:lnTo>
                  <a:lnTo>
                    <a:pt x="333" y="1464"/>
                  </a:lnTo>
                  <a:lnTo>
                    <a:pt x="329" y="1467"/>
                  </a:lnTo>
                  <a:lnTo>
                    <a:pt x="327" y="1469"/>
                  </a:lnTo>
                  <a:lnTo>
                    <a:pt x="321" y="1467"/>
                  </a:lnTo>
                  <a:lnTo>
                    <a:pt x="320" y="1469"/>
                  </a:lnTo>
                  <a:lnTo>
                    <a:pt x="320" y="1467"/>
                  </a:lnTo>
                  <a:lnTo>
                    <a:pt x="320" y="1464"/>
                  </a:lnTo>
                  <a:lnTo>
                    <a:pt x="316" y="1464"/>
                  </a:lnTo>
                  <a:lnTo>
                    <a:pt x="316" y="1464"/>
                  </a:lnTo>
                  <a:lnTo>
                    <a:pt x="316" y="1464"/>
                  </a:lnTo>
                  <a:lnTo>
                    <a:pt x="316" y="1460"/>
                  </a:lnTo>
                  <a:lnTo>
                    <a:pt x="316" y="1458"/>
                  </a:lnTo>
                  <a:lnTo>
                    <a:pt x="314" y="1452"/>
                  </a:lnTo>
                  <a:lnTo>
                    <a:pt x="314" y="1443"/>
                  </a:lnTo>
                  <a:lnTo>
                    <a:pt x="310" y="1443"/>
                  </a:lnTo>
                  <a:lnTo>
                    <a:pt x="306" y="1435"/>
                  </a:lnTo>
                  <a:lnTo>
                    <a:pt x="303" y="1435"/>
                  </a:lnTo>
                  <a:lnTo>
                    <a:pt x="301" y="1433"/>
                  </a:lnTo>
                  <a:lnTo>
                    <a:pt x="297" y="1428"/>
                  </a:lnTo>
                  <a:lnTo>
                    <a:pt x="295" y="1430"/>
                  </a:lnTo>
                  <a:lnTo>
                    <a:pt x="295" y="1428"/>
                  </a:lnTo>
                  <a:lnTo>
                    <a:pt x="289" y="1428"/>
                  </a:lnTo>
                  <a:lnTo>
                    <a:pt x="286" y="1424"/>
                  </a:lnTo>
                  <a:lnTo>
                    <a:pt x="286" y="1424"/>
                  </a:lnTo>
                  <a:lnTo>
                    <a:pt x="282" y="1422"/>
                  </a:lnTo>
                  <a:lnTo>
                    <a:pt x="280" y="1418"/>
                  </a:lnTo>
                  <a:lnTo>
                    <a:pt x="276" y="1418"/>
                  </a:lnTo>
                  <a:lnTo>
                    <a:pt x="274" y="1418"/>
                  </a:lnTo>
                  <a:lnTo>
                    <a:pt x="273" y="1415"/>
                  </a:lnTo>
                  <a:lnTo>
                    <a:pt x="269" y="1413"/>
                  </a:lnTo>
                  <a:lnTo>
                    <a:pt x="267" y="1409"/>
                  </a:lnTo>
                  <a:lnTo>
                    <a:pt x="256" y="1401"/>
                  </a:lnTo>
                  <a:lnTo>
                    <a:pt x="250" y="1399"/>
                  </a:lnTo>
                  <a:lnTo>
                    <a:pt x="242" y="1394"/>
                  </a:lnTo>
                  <a:lnTo>
                    <a:pt x="237" y="1396"/>
                  </a:lnTo>
                  <a:lnTo>
                    <a:pt x="231" y="1390"/>
                  </a:lnTo>
                  <a:lnTo>
                    <a:pt x="231" y="1388"/>
                  </a:lnTo>
                  <a:lnTo>
                    <a:pt x="227" y="1384"/>
                  </a:lnTo>
                  <a:lnTo>
                    <a:pt x="225" y="1384"/>
                  </a:lnTo>
                  <a:lnTo>
                    <a:pt x="222" y="1384"/>
                  </a:lnTo>
                  <a:lnTo>
                    <a:pt x="224" y="1383"/>
                  </a:lnTo>
                  <a:lnTo>
                    <a:pt x="227" y="1379"/>
                  </a:lnTo>
                  <a:lnTo>
                    <a:pt x="225" y="1379"/>
                  </a:lnTo>
                  <a:lnTo>
                    <a:pt x="225" y="1377"/>
                  </a:lnTo>
                  <a:lnTo>
                    <a:pt x="227" y="1377"/>
                  </a:lnTo>
                  <a:lnTo>
                    <a:pt x="231" y="1379"/>
                  </a:lnTo>
                  <a:lnTo>
                    <a:pt x="231" y="1379"/>
                  </a:lnTo>
                  <a:lnTo>
                    <a:pt x="237" y="1379"/>
                  </a:lnTo>
                  <a:lnTo>
                    <a:pt x="237" y="1375"/>
                  </a:lnTo>
                  <a:lnTo>
                    <a:pt x="237" y="1373"/>
                  </a:lnTo>
                  <a:lnTo>
                    <a:pt x="237" y="1369"/>
                  </a:lnTo>
                  <a:lnTo>
                    <a:pt x="239" y="1366"/>
                  </a:lnTo>
                  <a:lnTo>
                    <a:pt x="239" y="1364"/>
                  </a:lnTo>
                  <a:lnTo>
                    <a:pt x="241" y="1362"/>
                  </a:lnTo>
                  <a:lnTo>
                    <a:pt x="242" y="1362"/>
                  </a:lnTo>
                  <a:lnTo>
                    <a:pt x="244" y="1360"/>
                  </a:lnTo>
                  <a:lnTo>
                    <a:pt x="248" y="1360"/>
                  </a:lnTo>
                  <a:lnTo>
                    <a:pt x="248" y="1358"/>
                  </a:lnTo>
                  <a:lnTo>
                    <a:pt x="242" y="1358"/>
                  </a:lnTo>
                  <a:lnTo>
                    <a:pt x="242" y="1354"/>
                  </a:lnTo>
                  <a:lnTo>
                    <a:pt x="241" y="1358"/>
                  </a:lnTo>
                  <a:lnTo>
                    <a:pt x="237" y="1354"/>
                  </a:lnTo>
                  <a:lnTo>
                    <a:pt x="237" y="1349"/>
                  </a:lnTo>
                  <a:lnTo>
                    <a:pt x="241" y="1349"/>
                  </a:lnTo>
                  <a:lnTo>
                    <a:pt x="246" y="1349"/>
                  </a:lnTo>
                  <a:lnTo>
                    <a:pt x="248" y="1345"/>
                  </a:lnTo>
                  <a:lnTo>
                    <a:pt x="246" y="1345"/>
                  </a:lnTo>
                  <a:lnTo>
                    <a:pt x="244" y="1345"/>
                  </a:lnTo>
                  <a:lnTo>
                    <a:pt x="248" y="1341"/>
                  </a:lnTo>
                  <a:lnTo>
                    <a:pt x="257" y="1335"/>
                  </a:lnTo>
                  <a:lnTo>
                    <a:pt x="257" y="1334"/>
                  </a:lnTo>
                  <a:lnTo>
                    <a:pt x="257" y="1334"/>
                  </a:lnTo>
                  <a:lnTo>
                    <a:pt x="252" y="1334"/>
                  </a:lnTo>
                  <a:lnTo>
                    <a:pt x="248" y="1335"/>
                  </a:lnTo>
                  <a:lnTo>
                    <a:pt x="244" y="1334"/>
                  </a:lnTo>
                  <a:lnTo>
                    <a:pt x="244" y="1334"/>
                  </a:lnTo>
                  <a:lnTo>
                    <a:pt x="244" y="1334"/>
                  </a:lnTo>
                  <a:lnTo>
                    <a:pt x="244" y="1326"/>
                  </a:lnTo>
                  <a:lnTo>
                    <a:pt x="248" y="1324"/>
                  </a:lnTo>
                  <a:lnTo>
                    <a:pt x="252" y="1318"/>
                  </a:lnTo>
                  <a:lnTo>
                    <a:pt x="261" y="1318"/>
                  </a:lnTo>
                  <a:lnTo>
                    <a:pt x="265" y="1317"/>
                  </a:lnTo>
                  <a:lnTo>
                    <a:pt x="265" y="1311"/>
                  </a:lnTo>
                  <a:lnTo>
                    <a:pt x="265" y="1303"/>
                  </a:lnTo>
                  <a:lnTo>
                    <a:pt x="265" y="1300"/>
                  </a:lnTo>
                  <a:lnTo>
                    <a:pt x="257" y="1294"/>
                  </a:lnTo>
                  <a:lnTo>
                    <a:pt x="261" y="1286"/>
                  </a:lnTo>
                  <a:lnTo>
                    <a:pt x="265" y="1286"/>
                  </a:lnTo>
                  <a:lnTo>
                    <a:pt x="267" y="1283"/>
                  </a:lnTo>
                  <a:lnTo>
                    <a:pt x="267" y="1277"/>
                  </a:lnTo>
                  <a:lnTo>
                    <a:pt x="265" y="1275"/>
                  </a:lnTo>
                  <a:lnTo>
                    <a:pt x="265" y="1271"/>
                  </a:lnTo>
                  <a:lnTo>
                    <a:pt x="261" y="1273"/>
                  </a:lnTo>
                  <a:lnTo>
                    <a:pt x="256" y="1273"/>
                  </a:lnTo>
                  <a:lnTo>
                    <a:pt x="250" y="1270"/>
                  </a:lnTo>
                  <a:lnTo>
                    <a:pt x="246" y="1270"/>
                  </a:lnTo>
                  <a:lnTo>
                    <a:pt x="242" y="1270"/>
                  </a:lnTo>
                  <a:lnTo>
                    <a:pt x="237" y="1270"/>
                  </a:lnTo>
                  <a:lnTo>
                    <a:pt x="231" y="1266"/>
                  </a:lnTo>
                  <a:lnTo>
                    <a:pt x="227" y="1270"/>
                  </a:lnTo>
                  <a:lnTo>
                    <a:pt x="227" y="1266"/>
                  </a:lnTo>
                  <a:lnTo>
                    <a:pt x="222" y="1264"/>
                  </a:lnTo>
                  <a:lnTo>
                    <a:pt x="216" y="1253"/>
                  </a:lnTo>
                  <a:lnTo>
                    <a:pt x="214" y="1254"/>
                  </a:lnTo>
                  <a:lnTo>
                    <a:pt x="207" y="1258"/>
                  </a:lnTo>
                  <a:lnTo>
                    <a:pt x="203" y="1258"/>
                  </a:lnTo>
                  <a:lnTo>
                    <a:pt x="201" y="1260"/>
                  </a:lnTo>
                  <a:lnTo>
                    <a:pt x="195" y="1256"/>
                  </a:lnTo>
                  <a:lnTo>
                    <a:pt x="192" y="1260"/>
                  </a:lnTo>
                  <a:lnTo>
                    <a:pt x="182" y="1253"/>
                  </a:lnTo>
                  <a:lnTo>
                    <a:pt x="182" y="1245"/>
                  </a:lnTo>
                  <a:lnTo>
                    <a:pt x="182" y="1239"/>
                  </a:lnTo>
                  <a:lnTo>
                    <a:pt x="178" y="1239"/>
                  </a:lnTo>
                  <a:lnTo>
                    <a:pt x="178" y="1236"/>
                  </a:lnTo>
                  <a:lnTo>
                    <a:pt x="173" y="1232"/>
                  </a:lnTo>
                  <a:lnTo>
                    <a:pt x="163" y="1236"/>
                  </a:lnTo>
                  <a:lnTo>
                    <a:pt x="158" y="1226"/>
                  </a:lnTo>
                  <a:lnTo>
                    <a:pt x="160" y="1224"/>
                  </a:lnTo>
                  <a:lnTo>
                    <a:pt x="156" y="1221"/>
                  </a:lnTo>
                  <a:lnTo>
                    <a:pt x="152" y="1211"/>
                  </a:lnTo>
                  <a:lnTo>
                    <a:pt x="148" y="1211"/>
                  </a:lnTo>
                  <a:lnTo>
                    <a:pt x="145" y="1213"/>
                  </a:lnTo>
                  <a:lnTo>
                    <a:pt x="135" y="1213"/>
                  </a:lnTo>
                  <a:lnTo>
                    <a:pt x="128" y="1211"/>
                  </a:lnTo>
                  <a:lnTo>
                    <a:pt x="124" y="1213"/>
                  </a:lnTo>
                  <a:lnTo>
                    <a:pt x="124" y="1217"/>
                  </a:lnTo>
                  <a:lnTo>
                    <a:pt x="118" y="1219"/>
                  </a:lnTo>
                  <a:lnTo>
                    <a:pt x="114" y="1217"/>
                  </a:lnTo>
                  <a:lnTo>
                    <a:pt x="114" y="1213"/>
                  </a:lnTo>
                  <a:lnTo>
                    <a:pt x="113" y="1207"/>
                  </a:lnTo>
                  <a:lnTo>
                    <a:pt x="113" y="1202"/>
                  </a:lnTo>
                  <a:lnTo>
                    <a:pt x="109" y="1196"/>
                  </a:lnTo>
                  <a:lnTo>
                    <a:pt x="109" y="1192"/>
                  </a:lnTo>
                  <a:lnTo>
                    <a:pt x="111" y="1190"/>
                  </a:lnTo>
                  <a:lnTo>
                    <a:pt x="114" y="1194"/>
                  </a:lnTo>
                  <a:lnTo>
                    <a:pt x="124" y="1192"/>
                  </a:lnTo>
                  <a:lnTo>
                    <a:pt x="128" y="1185"/>
                  </a:lnTo>
                  <a:lnTo>
                    <a:pt x="129" y="1183"/>
                  </a:lnTo>
                  <a:lnTo>
                    <a:pt x="124" y="1181"/>
                  </a:lnTo>
                  <a:lnTo>
                    <a:pt x="124" y="1177"/>
                  </a:lnTo>
                  <a:lnTo>
                    <a:pt x="118" y="1172"/>
                  </a:lnTo>
                  <a:lnTo>
                    <a:pt x="111" y="1170"/>
                  </a:lnTo>
                  <a:lnTo>
                    <a:pt x="109" y="1162"/>
                  </a:lnTo>
                  <a:lnTo>
                    <a:pt x="105" y="1160"/>
                  </a:lnTo>
                  <a:lnTo>
                    <a:pt x="103" y="1153"/>
                  </a:lnTo>
                  <a:lnTo>
                    <a:pt x="97" y="1151"/>
                  </a:lnTo>
                  <a:lnTo>
                    <a:pt x="94" y="1145"/>
                  </a:lnTo>
                  <a:lnTo>
                    <a:pt x="94" y="1138"/>
                  </a:lnTo>
                  <a:lnTo>
                    <a:pt x="90" y="1136"/>
                  </a:lnTo>
                  <a:lnTo>
                    <a:pt x="94" y="1130"/>
                  </a:lnTo>
                  <a:lnTo>
                    <a:pt x="90" y="1126"/>
                  </a:lnTo>
                  <a:lnTo>
                    <a:pt x="84" y="1123"/>
                  </a:lnTo>
                  <a:lnTo>
                    <a:pt x="81" y="1123"/>
                  </a:lnTo>
                  <a:lnTo>
                    <a:pt x="79" y="1121"/>
                  </a:lnTo>
                  <a:lnTo>
                    <a:pt x="73" y="1121"/>
                  </a:lnTo>
                  <a:lnTo>
                    <a:pt x="69" y="1124"/>
                  </a:lnTo>
                  <a:lnTo>
                    <a:pt x="65" y="1121"/>
                  </a:lnTo>
                  <a:lnTo>
                    <a:pt x="60" y="1121"/>
                  </a:lnTo>
                  <a:lnTo>
                    <a:pt x="56" y="1121"/>
                  </a:lnTo>
                  <a:lnTo>
                    <a:pt x="52" y="1117"/>
                  </a:lnTo>
                  <a:lnTo>
                    <a:pt x="49" y="1117"/>
                  </a:lnTo>
                  <a:lnTo>
                    <a:pt x="45" y="1117"/>
                  </a:lnTo>
                  <a:lnTo>
                    <a:pt x="43" y="1117"/>
                  </a:lnTo>
                  <a:lnTo>
                    <a:pt x="43" y="1111"/>
                  </a:lnTo>
                  <a:lnTo>
                    <a:pt x="41" y="1108"/>
                  </a:lnTo>
                  <a:lnTo>
                    <a:pt x="39" y="1102"/>
                  </a:lnTo>
                  <a:lnTo>
                    <a:pt x="39" y="1100"/>
                  </a:lnTo>
                  <a:lnTo>
                    <a:pt x="35" y="1094"/>
                  </a:lnTo>
                  <a:lnTo>
                    <a:pt x="35" y="1092"/>
                  </a:lnTo>
                  <a:lnTo>
                    <a:pt x="35" y="1089"/>
                  </a:lnTo>
                  <a:lnTo>
                    <a:pt x="33" y="1089"/>
                  </a:lnTo>
                  <a:lnTo>
                    <a:pt x="35" y="1087"/>
                  </a:lnTo>
                  <a:lnTo>
                    <a:pt x="33" y="1083"/>
                  </a:lnTo>
                  <a:lnTo>
                    <a:pt x="30" y="1083"/>
                  </a:lnTo>
                  <a:lnTo>
                    <a:pt x="33" y="1077"/>
                  </a:lnTo>
                  <a:lnTo>
                    <a:pt x="33" y="1076"/>
                  </a:lnTo>
                  <a:lnTo>
                    <a:pt x="35" y="1074"/>
                  </a:lnTo>
                  <a:lnTo>
                    <a:pt x="35" y="1070"/>
                  </a:lnTo>
                  <a:lnTo>
                    <a:pt x="26" y="1053"/>
                  </a:lnTo>
                  <a:lnTo>
                    <a:pt x="28" y="1040"/>
                  </a:lnTo>
                  <a:lnTo>
                    <a:pt x="30" y="1038"/>
                  </a:lnTo>
                  <a:lnTo>
                    <a:pt x="32" y="1032"/>
                  </a:lnTo>
                  <a:lnTo>
                    <a:pt x="35" y="1028"/>
                  </a:lnTo>
                  <a:lnTo>
                    <a:pt x="35" y="1027"/>
                  </a:lnTo>
                  <a:lnTo>
                    <a:pt x="35" y="1027"/>
                  </a:lnTo>
                  <a:lnTo>
                    <a:pt x="33" y="1023"/>
                  </a:lnTo>
                  <a:lnTo>
                    <a:pt x="33" y="1023"/>
                  </a:lnTo>
                  <a:lnTo>
                    <a:pt x="35" y="1019"/>
                  </a:lnTo>
                  <a:lnTo>
                    <a:pt x="33" y="1017"/>
                  </a:lnTo>
                  <a:lnTo>
                    <a:pt x="33" y="1015"/>
                  </a:lnTo>
                  <a:lnTo>
                    <a:pt x="35" y="1015"/>
                  </a:lnTo>
                  <a:lnTo>
                    <a:pt x="35" y="1019"/>
                  </a:lnTo>
                  <a:lnTo>
                    <a:pt x="39" y="1017"/>
                  </a:lnTo>
                  <a:lnTo>
                    <a:pt x="39" y="1013"/>
                  </a:lnTo>
                  <a:lnTo>
                    <a:pt x="39" y="1011"/>
                  </a:lnTo>
                  <a:lnTo>
                    <a:pt x="43" y="1013"/>
                  </a:lnTo>
                  <a:lnTo>
                    <a:pt x="49" y="1010"/>
                  </a:lnTo>
                  <a:lnTo>
                    <a:pt x="50" y="1008"/>
                  </a:lnTo>
                  <a:lnTo>
                    <a:pt x="52" y="1006"/>
                  </a:lnTo>
                  <a:lnTo>
                    <a:pt x="58" y="1008"/>
                  </a:lnTo>
                  <a:lnTo>
                    <a:pt x="60" y="1004"/>
                  </a:lnTo>
                  <a:lnTo>
                    <a:pt x="56" y="1002"/>
                  </a:lnTo>
                  <a:lnTo>
                    <a:pt x="54" y="1002"/>
                  </a:lnTo>
                  <a:lnTo>
                    <a:pt x="52" y="1002"/>
                  </a:lnTo>
                  <a:lnTo>
                    <a:pt x="47" y="1002"/>
                  </a:lnTo>
                  <a:lnTo>
                    <a:pt x="45" y="998"/>
                  </a:lnTo>
                  <a:lnTo>
                    <a:pt x="41" y="998"/>
                  </a:lnTo>
                  <a:lnTo>
                    <a:pt x="35" y="993"/>
                  </a:lnTo>
                  <a:lnTo>
                    <a:pt x="35" y="989"/>
                  </a:lnTo>
                  <a:lnTo>
                    <a:pt x="41" y="993"/>
                  </a:lnTo>
                  <a:lnTo>
                    <a:pt x="41" y="989"/>
                  </a:lnTo>
                  <a:lnTo>
                    <a:pt x="39" y="989"/>
                  </a:lnTo>
                  <a:lnTo>
                    <a:pt x="43" y="987"/>
                  </a:lnTo>
                  <a:lnTo>
                    <a:pt x="39" y="987"/>
                  </a:lnTo>
                  <a:lnTo>
                    <a:pt x="39" y="987"/>
                  </a:lnTo>
                  <a:lnTo>
                    <a:pt x="33" y="989"/>
                  </a:lnTo>
                  <a:lnTo>
                    <a:pt x="33" y="989"/>
                  </a:lnTo>
                  <a:lnTo>
                    <a:pt x="33" y="989"/>
                  </a:lnTo>
                  <a:lnTo>
                    <a:pt x="33" y="989"/>
                  </a:lnTo>
                  <a:lnTo>
                    <a:pt x="32" y="985"/>
                  </a:lnTo>
                  <a:lnTo>
                    <a:pt x="39" y="978"/>
                  </a:lnTo>
                  <a:lnTo>
                    <a:pt x="45" y="974"/>
                  </a:lnTo>
                  <a:lnTo>
                    <a:pt x="50" y="964"/>
                  </a:lnTo>
                  <a:lnTo>
                    <a:pt x="54" y="959"/>
                  </a:lnTo>
                  <a:lnTo>
                    <a:pt x="60" y="949"/>
                  </a:lnTo>
                  <a:lnTo>
                    <a:pt x="65" y="938"/>
                  </a:lnTo>
                  <a:lnTo>
                    <a:pt x="71" y="923"/>
                  </a:lnTo>
                  <a:lnTo>
                    <a:pt x="69" y="917"/>
                  </a:lnTo>
                  <a:lnTo>
                    <a:pt x="64" y="908"/>
                  </a:lnTo>
                  <a:lnTo>
                    <a:pt x="58" y="908"/>
                  </a:lnTo>
                  <a:lnTo>
                    <a:pt x="49" y="895"/>
                  </a:lnTo>
                  <a:lnTo>
                    <a:pt x="50" y="889"/>
                  </a:lnTo>
                  <a:lnTo>
                    <a:pt x="54" y="883"/>
                  </a:lnTo>
                  <a:lnTo>
                    <a:pt x="54" y="878"/>
                  </a:lnTo>
                  <a:lnTo>
                    <a:pt x="49" y="874"/>
                  </a:lnTo>
                  <a:lnTo>
                    <a:pt x="45" y="870"/>
                  </a:lnTo>
                  <a:lnTo>
                    <a:pt x="45" y="865"/>
                  </a:lnTo>
                  <a:lnTo>
                    <a:pt x="47" y="863"/>
                  </a:lnTo>
                  <a:lnTo>
                    <a:pt x="45" y="859"/>
                  </a:lnTo>
                  <a:lnTo>
                    <a:pt x="41" y="857"/>
                  </a:lnTo>
                  <a:lnTo>
                    <a:pt x="39" y="855"/>
                  </a:lnTo>
                  <a:lnTo>
                    <a:pt x="39" y="849"/>
                  </a:lnTo>
                  <a:lnTo>
                    <a:pt x="41" y="844"/>
                  </a:lnTo>
                  <a:lnTo>
                    <a:pt x="39" y="844"/>
                  </a:lnTo>
                  <a:lnTo>
                    <a:pt x="39" y="840"/>
                  </a:lnTo>
                  <a:lnTo>
                    <a:pt x="39" y="829"/>
                  </a:lnTo>
                  <a:lnTo>
                    <a:pt x="41" y="829"/>
                  </a:lnTo>
                  <a:lnTo>
                    <a:pt x="33" y="810"/>
                  </a:lnTo>
                  <a:lnTo>
                    <a:pt x="26" y="795"/>
                  </a:lnTo>
                  <a:lnTo>
                    <a:pt x="24" y="789"/>
                  </a:lnTo>
                  <a:lnTo>
                    <a:pt x="20" y="785"/>
                  </a:lnTo>
                  <a:lnTo>
                    <a:pt x="22" y="776"/>
                  </a:lnTo>
                  <a:lnTo>
                    <a:pt x="26" y="770"/>
                  </a:lnTo>
                  <a:lnTo>
                    <a:pt x="28" y="765"/>
                  </a:lnTo>
                  <a:lnTo>
                    <a:pt x="26" y="763"/>
                  </a:lnTo>
                  <a:lnTo>
                    <a:pt x="17" y="757"/>
                  </a:lnTo>
                  <a:lnTo>
                    <a:pt x="17" y="755"/>
                  </a:lnTo>
                  <a:lnTo>
                    <a:pt x="15" y="750"/>
                  </a:lnTo>
                  <a:lnTo>
                    <a:pt x="9" y="748"/>
                  </a:lnTo>
                  <a:lnTo>
                    <a:pt x="7" y="746"/>
                  </a:lnTo>
                  <a:lnTo>
                    <a:pt x="1" y="738"/>
                  </a:lnTo>
                  <a:lnTo>
                    <a:pt x="0" y="735"/>
                  </a:lnTo>
                  <a:lnTo>
                    <a:pt x="1" y="727"/>
                  </a:lnTo>
                  <a:lnTo>
                    <a:pt x="1" y="725"/>
                  </a:lnTo>
                  <a:lnTo>
                    <a:pt x="0" y="721"/>
                  </a:lnTo>
                  <a:lnTo>
                    <a:pt x="1" y="721"/>
                  </a:lnTo>
                  <a:lnTo>
                    <a:pt x="7" y="718"/>
                  </a:lnTo>
                  <a:lnTo>
                    <a:pt x="7" y="718"/>
                  </a:lnTo>
                  <a:lnTo>
                    <a:pt x="11" y="718"/>
                  </a:lnTo>
                  <a:lnTo>
                    <a:pt x="11" y="712"/>
                  </a:lnTo>
                  <a:lnTo>
                    <a:pt x="15" y="706"/>
                  </a:lnTo>
                  <a:lnTo>
                    <a:pt x="18" y="706"/>
                  </a:lnTo>
                  <a:lnTo>
                    <a:pt x="22" y="703"/>
                  </a:lnTo>
                  <a:lnTo>
                    <a:pt x="20" y="697"/>
                  </a:lnTo>
                  <a:lnTo>
                    <a:pt x="24" y="697"/>
                  </a:lnTo>
                  <a:lnTo>
                    <a:pt x="28" y="697"/>
                  </a:lnTo>
                  <a:lnTo>
                    <a:pt x="32" y="697"/>
                  </a:lnTo>
                  <a:lnTo>
                    <a:pt x="30" y="691"/>
                  </a:lnTo>
                  <a:lnTo>
                    <a:pt x="32" y="691"/>
                  </a:lnTo>
                  <a:lnTo>
                    <a:pt x="35" y="691"/>
                  </a:lnTo>
                  <a:lnTo>
                    <a:pt x="35" y="693"/>
                  </a:lnTo>
                  <a:lnTo>
                    <a:pt x="35" y="697"/>
                  </a:lnTo>
                  <a:lnTo>
                    <a:pt x="39" y="701"/>
                  </a:lnTo>
                  <a:lnTo>
                    <a:pt x="39" y="693"/>
                  </a:lnTo>
                  <a:lnTo>
                    <a:pt x="39" y="691"/>
                  </a:lnTo>
                  <a:lnTo>
                    <a:pt x="41" y="691"/>
                  </a:lnTo>
                  <a:lnTo>
                    <a:pt x="43" y="691"/>
                  </a:lnTo>
                  <a:lnTo>
                    <a:pt x="39" y="687"/>
                  </a:lnTo>
                  <a:lnTo>
                    <a:pt x="39" y="687"/>
                  </a:lnTo>
                  <a:lnTo>
                    <a:pt x="41" y="687"/>
                  </a:lnTo>
                  <a:lnTo>
                    <a:pt x="45" y="687"/>
                  </a:lnTo>
                  <a:lnTo>
                    <a:pt x="45" y="687"/>
                  </a:lnTo>
                  <a:lnTo>
                    <a:pt x="43" y="687"/>
                  </a:lnTo>
                  <a:lnTo>
                    <a:pt x="41" y="684"/>
                  </a:lnTo>
                  <a:lnTo>
                    <a:pt x="43" y="684"/>
                  </a:lnTo>
                  <a:lnTo>
                    <a:pt x="47" y="684"/>
                  </a:lnTo>
                  <a:lnTo>
                    <a:pt x="50" y="686"/>
                  </a:lnTo>
                  <a:lnTo>
                    <a:pt x="52" y="687"/>
                  </a:lnTo>
                  <a:lnTo>
                    <a:pt x="54" y="687"/>
                  </a:lnTo>
                  <a:lnTo>
                    <a:pt x="56" y="687"/>
                  </a:lnTo>
                  <a:lnTo>
                    <a:pt x="58" y="687"/>
                  </a:lnTo>
                  <a:lnTo>
                    <a:pt x="60" y="691"/>
                  </a:lnTo>
                  <a:lnTo>
                    <a:pt x="60" y="691"/>
                  </a:lnTo>
                  <a:lnTo>
                    <a:pt x="60" y="693"/>
                  </a:lnTo>
                  <a:lnTo>
                    <a:pt x="60" y="697"/>
                  </a:lnTo>
                  <a:lnTo>
                    <a:pt x="56" y="697"/>
                  </a:lnTo>
                  <a:lnTo>
                    <a:pt x="52" y="697"/>
                  </a:lnTo>
                  <a:lnTo>
                    <a:pt x="49" y="691"/>
                  </a:lnTo>
                  <a:lnTo>
                    <a:pt x="49" y="691"/>
                  </a:lnTo>
                  <a:lnTo>
                    <a:pt x="47" y="691"/>
                  </a:lnTo>
                  <a:lnTo>
                    <a:pt x="47" y="697"/>
                  </a:lnTo>
                  <a:lnTo>
                    <a:pt x="47" y="701"/>
                  </a:lnTo>
                  <a:lnTo>
                    <a:pt x="50" y="697"/>
                  </a:lnTo>
                  <a:lnTo>
                    <a:pt x="52" y="701"/>
                  </a:lnTo>
                  <a:lnTo>
                    <a:pt x="52" y="703"/>
                  </a:lnTo>
                  <a:lnTo>
                    <a:pt x="56" y="701"/>
                  </a:lnTo>
                  <a:lnTo>
                    <a:pt x="58" y="701"/>
                  </a:lnTo>
                  <a:lnTo>
                    <a:pt x="60" y="703"/>
                  </a:lnTo>
                  <a:lnTo>
                    <a:pt x="60" y="703"/>
                  </a:lnTo>
                  <a:lnTo>
                    <a:pt x="60" y="701"/>
                  </a:lnTo>
                  <a:lnTo>
                    <a:pt x="64" y="703"/>
                  </a:lnTo>
                  <a:lnTo>
                    <a:pt x="60" y="703"/>
                  </a:lnTo>
                  <a:lnTo>
                    <a:pt x="60" y="706"/>
                  </a:lnTo>
                  <a:lnTo>
                    <a:pt x="65" y="701"/>
                  </a:lnTo>
                  <a:lnTo>
                    <a:pt x="65" y="701"/>
                  </a:lnTo>
                  <a:lnTo>
                    <a:pt x="69" y="701"/>
                  </a:lnTo>
                  <a:lnTo>
                    <a:pt x="65" y="703"/>
                  </a:lnTo>
                  <a:lnTo>
                    <a:pt x="65" y="704"/>
                  </a:lnTo>
                  <a:lnTo>
                    <a:pt x="69" y="704"/>
                  </a:lnTo>
                  <a:lnTo>
                    <a:pt x="69" y="706"/>
                  </a:lnTo>
                  <a:lnTo>
                    <a:pt x="69" y="708"/>
                  </a:lnTo>
                  <a:lnTo>
                    <a:pt x="65" y="712"/>
                  </a:lnTo>
                  <a:lnTo>
                    <a:pt x="69" y="710"/>
                  </a:lnTo>
                  <a:lnTo>
                    <a:pt x="71" y="706"/>
                  </a:lnTo>
                  <a:lnTo>
                    <a:pt x="71" y="704"/>
                  </a:lnTo>
                  <a:lnTo>
                    <a:pt x="73" y="703"/>
                  </a:lnTo>
                  <a:lnTo>
                    <a:pt x="77" y="701"/>
                  </a:lnTo>
                  <a:lnTo>
                    <a:pt x="79" y="704"/>
                  </a:lnTo>
                  <a:lnTo>
                    <a:pt x="81" y="703"/>
                  </a:lnTo>
                  <a:lnTo>
                    <a:pt x="79" y="701"/>
                  </a:lnTo>
                  <a:lnTo>
                    <a:pt x="79" y="701"/>
                  </a:lnTo>
                  <a:lnTo>
                    <a:pt x="82" y="701"/>
                  </a:lnTo>
                  <a:lnTo>
                    <a:pt x="84" y="703"/>
                  </a:lnTo>
                  <a:lnTo>
                    <a:pt x="90" y="703"/>
                  </a:lnTo>
                  <a:lnTo>
                    <a:pt x="94" y="704"/>
                  </a:lnTo>
                  <a:lnTo>
                    <a:pt x="96" y="703"/>
                  </a:lnTo>
                  <a:lnTo>
                    <a:pt x="94" y="701"/>
                  </a:lnTo>
                  <a:lnTo>
                    <a:pt x="99" y="703"/>
                  </a:lnTo>
                  <a:lnTo>
                    <a:pt x="103" y="704"/>
                  </a:lnTo>
                  <a:lnTo>
                    <a:pt x="103" y="703"/>
                  </a:lnTo>
                  <a:lnTo>
                    <a:pt x="109" y="704"/>
                  </a:lnTo>
                  <a:lnTo>
                    <a:pt x="128" y="716"/>
                  </a:lnTo>
                  <a:lnTo>
                    <a:pt x="141" y="725"/>
                  </a:lnTo>
                  <a:lnTo>
                    <a:pt x="143" y="727"/>
                  </a:lnTo>
                  <a:lnTo>
                    <a:pt x="145" y="727"/>
                  </a:lnTo>
                  <a:lnTo>
                    <a:pt x="152" y="735"/>
                  </a:lnTo>
                  <a:lnTo>
                    <a:pt x="152" y="735"/>
                  </a:lnTo>
                  <a:lnTo>
                    <a:pt x="152" y="733"/>
                  </a:lnTo>
                  <a:lnTo>
                    <a:pt x="152" y="731"/>
                  </a:lnTo>
                  <a:lnTo>
                    <a:pt x="154" y="731"/>
                  </a:lnTo>
                  <a:lnTo>
                    <a:pt x="160" y="736"/>
                  </a:lnTo>
                  <a:lnTo>
                    <a:pt x="163" y="736"/>
                  </a:lnTo>
                  <a:lnTo>
                    <a:pt x="167" y="740"/>
                  </a:lnTo>
                  <a:lnTo>
                    <a:pt x="169" y="740"/>
                  </a:lnTo>
                  <a:lnTo>
                    <a:pt x="167" y="735"/>
                  </a:lnTo>
                  <a:lnTo>
                    <a:pt x="167" y="733"/>
                  </a:lnTo>
                  <a:lnTo>
                    <a:pt x="169" y="733"/>
                  </a:lnTo>
                  <a:lnTo>
                    <a:pt x="173" y="738"/>
                  </a:lnTo>
                  <a:lnTo>
                    <a:pt x="173" y="740"/>
                  </a:lnTo>
                  <a:lnTo>
                    <a:pt x="178" y="746"/>
                  </a:lnTo>
                  <a:lnTo>
                    <a:pt x="178" y="750"/>
                  </a:lnTo>
                  <a:lnTo>
                    <a:pt x="182" y="752"/>
                  </a:lnTo>
                  <a:lnTo>
                    <a:pt x="184" y="750"/>
                  </a:lnTo>
                  <a:lnTo>
                    <a:pt x="186" y="750"/>
                  </a:lnTo>
                  <a:lnTo>
                    <a:pt x="192" y="755"/>
                  </a:lnTo>
                  <a:lnTo>
                    <a:pt x="192" y="757"/>
                  </a:lnTo>
                  <a:lnTo>
                    <a:pt x="195" y="759"/>
                  </a:lnTo>
                  <a:lnTo>
                    <a:pt x="197" y="765"/>
                  </a:lnTo>
                  <a:lnTo>
                    <a:pt x="199" y="763"/>
                  </a:lnTo>
                  <a:lnTo>
                    <a:pt x="201" y="765"/>
                  </a:lnTo>
                  <a:lnTo>
                    <a:pt x="201" y="770"/>
                  </a:lnTo>
                  <a:lnTo>
                    <a:pt x="201" y="774"/>
                  </a:lnTo>
                  <a:lnTo>
                    <a:pt x="199" y="780"/>
                  </a:lnTo>
                  <a:lnTo>
                    <a:pt x="199" y="782"/>
                  </a:lnTo>
                  <a:lnTo>
                    <a:pt x="199" y="785"/>
                  </a:lnTo>
                  <a:lnTo>
                    <a:pt x="193" y="789"/>
                  </a:lnTo>
                  <a:lnTo>
                    <a:pt x="193" y="793"/>
                  </a:lnTo>
                  <a:lnTo>
                    <a:pt x="186" y="802"/>
                  </a:lnTo>
                  <a:lnTo>
                    <a:pt x="182" y="806"/>
                  </a:lnTo>
                  <a:lnTo>
                    <a:pt x="177" y="806"/>
                  </a:lnTo>
                  <a:lnTo>
                    <a:pt x="173" y="806"/>
                  </a:lnTo>
                  <a:lnTo>
                    <a:pt x="167" y="806"/>
                  </a:lnTo>
                  <a:lnTo>
                    <a:pt x="167" y="810"/>
                  </a:lnTo>
                  <a:lnTo>
                    <a:pt x="158" y="810"/>
                  </a:lnTo>
                  <a:lnTo>
                    <a:pt x="148" y="810"/>
                  </a:lnTo>
                  <a:lnTo>
                    <a:pt x="141" y="810"/>
                  </a:lnTo>
                  <a:lnTo>
                    <a:pt x="137" y="806"/>
                  </a:lnTo>
                  <a:lnTo>
                    <a:pt x="133" y="806"/>
                  </a:lnTo>
                  <a:lnTo>
                    <a:pt x="131" y="806"/>
                  </a:lnTo>
                  <a:lnTo>
                    <a:pt x="128" y="806"/>
                  </a:lnTo>
                  <a:lnTo>
                    <a:pt x="124" y="804"/>
                  </a:lnTo>
                  <a:lnTo>
                    <a:pt x="124" y="804"/>
                  </a:lnTo>
                  <a:lnTo>
                    <a:pt x="118" y="806"/>
                  </a:lnTo>
                  <a:lnTo>
                    <a:pt x="114" y="800"/>
                  </a:lnTo>
                  <a:lnTo>
                    <a:pt x="114" y="799"/>
                  </a:lnTo>
                  <a:lnTo>
                    <a:pt x="111" y="799"/>
                  </a:lnTo>
                  <a:lnTo>
                    <a:pt x="109" y="799"/>
                  </a:lnTo>
                  <a:lnTo>
                    <a:pt x="109" y="799"/>
                  </a:lnTo>
                  <a:lnTo>
                    <a:pt x="103" y="799"/>
                  </a:lnTo>
                  <a:lnTo>
                    <a:pt x="103" y="800"/>
                  </a:lnTo>
                  <a:lnTo>
                    <a:pt x="97" y="800"/>
                  </a:lnTo>
                  <a:lnTo>
                    <a:pt x="97" y="797"/>
                  </a:lnTo>
                  <a:lnTo>
                    <a:pt x="96" y="797"/>
                  </a:lnTo>
                  <a:lnTo>
                    <a:pt x="99" y="795"/>
                  </a:lnTo>
                  <a:lnTo>
                    <a:pt x="96" y="791"/>
                  </a:lnTo>
                  <a:lnTo>
                    <a:pt x="96" y="793"/>
                  </a:lnTo>
                  <a:lnTo>
                    <a:pt x="90" y="793"/>
                  </a:lnTo>
                  <a:lnTo>
                    <a:pt x="86" y="791"/>
                  </a:lnTo>
                  <a:lnTo>
                    <a:pt x="86" y="791"/>
                  </a:lnTo>
                  <a:lnTo>
                    <a:pt x="84" y="791"/>
                  </a:lnTo>
                  <a:lnTo>
                    <a:pt x="75" y="785"/>
                  </a:lnTo>
                  <a:lnTo>
                    <a:pt x="75" y="782"/>
                  </a:lnTo>
                  <a:lnTo>
                    <a:pt x="69" y="782"/>
                  </a:lnTo>
                  <a:lnTo>
                    <a:pt x="69" y="782"/>
                  </a:lnTo>
                  <a:lnTo>
                    <a:pt x="65" y="782"/>
                  </a:lnTo>
                  <a:lnTo>
                    <a:pt x="65" y="782"/>
                  </a:lnTo>
                  <a:lnTo>
                    <a:pt x="69" y="785"/>
                  </a:lnTo>
                  <a:lnTo>
                    <a:pt x="69" y="789"/>
                  </a:lnTo>
                  <a:lnTo>
                    <a:pt x="73" y="791"/>
                  </a:lnTo>
                  <a:lnTo>
                    <a:pt x="75" y="795"/>
                  </a:lnTo>
                  <a:lnTo>
                    <a:pt x="81" y="797"/>
                  </a:lnTo>
                  <a:lnTo>
                    <a:pt x="81" y="797"/>
                  </a:lnTo>
                  <a:lnTo>
                    <a:pt x="77" y="800"/>
                  </a:lnTo>
                  <a:lnTo>
                    <a:pt x="75" y="802"/>
                  </a:lnTo>
                  <a:lnTo>
                    <a:pt x="77" y="802"/>
                  </a:lnTo>
                  <a:lnTo>
                    <a:pt x="82" y="800"/>
                  </a:lnTo>
                  <a:lnTo>
                    <a:pt x="86" y="800"/>
                  </a:lnTo>
                  <a:lnTo>
                    <a:pt x="88" y="802"/>
                  </a:lnTo>
                  <a:lnTo>
                    <a:pt x="86" y="802"/>
                  </a:lnTo>
                  <a:lnTo>
                    <a:pt x="86" y="804"/>
                  </a:lnTo>
                  <a:lnTo>
                    <a:pt x="90" y="804"/>
                  </a:lnTo>
                  <a:lnTo>
                    <a:pt x="88" y="806"/>
                  </a:lnTo>
                  <a:lnTo>
                    <a:pt x="84" y="806"/>
                  </a:lnTo>
                  <a:lnTo>
                    <a:pt x="82" y="810"/>
                  </a:lnTo>
                  <a:lnTo>
                    <a:pt x="88" y="810"/>
                  </a:lnTo>
                  <a:lnTo>
                    <a:pt x="90" y="810"/>
                  </a:lnTo>
                  <a:lnTo>
                    <a:pt x="90" y="810"/>
                  </a:lnTo>
                  <a:lnTo>
                    <a:pt x="94" y="810"/>
                  </a:lnTo>
                  <a:lnTo>
                    <a:pt x="96" y="810"/>
                  </a:lnTo>
                  <a:lnTo>
                    <a:pt x="103" y="812"/>
                  </a:lnTo>
                  <a:lnTo>
                    <a:pt x="109" y="819"/>
                  </a:lnTo>
                  <a:lnTo>
                    <a:pt x="111" y="819"/>
                  </a:lnTo>
                  <a:lnTo>
                    <a:pt x="109" y="821"/>
                  </a:lnTo>
                  <a:lnTo>
                    <a:pt x="109" y="823"/>
                  </a:lnTo>
                  <a:lnTo>
                    <a:pt x="111" y="823"/>
                  </a:lnTo>
                  <a:lnTo>
                    <a:pt x="111" y="827"/>
                  </a:lnTo>
                  <a:lnTo>
                    <a:pt x="111" y="834"/>
                  </a:lnTo>
                  <a:lnTo>
                    <a:pt x="107" y="834"/>
                  </a:lnTo>
                  <a:lnTo>
                    <a:pt x="107" y="838"/>
                  </a:lnTo>
                  <a:lnTo>
                    <a:pt x="109" y="840"/>
                  </a:lnTo>
                  <a:lnTo>
                    <a:pt x="109" y="844"/>
                  </a:lnTo>
                  <a:lnTo>
                    <a:pt x="114" y="849"/>
                  </a:lnTo>
                  <a:lnTo>
                    <a:pt x="114" y="849"/>
                  </a:lnTo>
                  <a:lnTo>
                    <a:pt x="118" y="853"/>
                  </a:lnTo>
                  <a:lnTo>
                    <a:pt x="118" y="857"/>
                  </a:lnTo>
                  <a:lnTo>
                    <a:pt x="118" y="861"/>
                  </a:lnTo>
                  <a:lnTo>
                    <a:pt x="118" y="865"/>
                  </a:lnTo>
                  <a:lnTo>
                    <a:pt x="118" y="866"/>
                  </a:lnTo>
                  <a:lnTo>
                    <a:pt x="120" y="870"/>
                  </a:lnTo>
                  <a:lnTo>
                    <a:pt x="128" y="870"/>
                  </a:lnTo>
                  <a:lnTo>
                    <a:pt x="131" y="870"/>
                  </a:lnTo>
                  <a:lnTo>
                    <a:pt x="133" y="870"/>
                  </a:lnTo>
                  <a:lnTo>
                    <a:pt x="135" y="874"/>
                  </a:lnTo>
                  <a:lnTo>
                    <a:pt x="139" y="874"/>
                  </a:lnTo>
                  <a:lnTo>
                    <a:pt x="139" y="880"/>
                  </a:lnTo>
                  <a:lnTo>
                    <a:pt x="141" y="880"/>
                  </a:lnTo>
                  <a:lnTo>
                    <a:pt x="145" y="880"/>
                  </a:lnTo>
                  <a:lnTo>
                    <a:pt x="148" y="881"/>
                  </a:lnTo>
                  <a:lnTo>
                    <a:pt x="154" y="883"/>
                  </a:lnTo>
                  <a:lnTo>
                    <a:pt x="158" y="885"/>
                  </a:lnTo>
                  <a:lnTo>
                    <a:pt x="160" y="885"/>
                  </a:lnTo>
                  <a:lnTo>
                    <a:pt x="163" y="881"/>
                  </a:lnTo>
                  <a:lnTo>
                    <a:pt x="167" y="881"/>
                  </a:lnTo>
                  <a:lnTo>
                    <a:pt x="169" y="880"/>
                  </a:lnTo>
                  <a:lnTo>
                    <a:pt x="169" y="874"/>
                  </a:lnTo>
                  <a:lnTo>
                    <a:pt x="167" y="874"/>
                  </a:lnTo>
                  <a:lnTo>
                    <a:pt x="167" y="870"/>
                  </a:lnTo>
                  <a:lnTo>
                    <a:pt x="167" y="870"/>
                  </a:lnTo>
                  <a:lnTo>
                    <a:pt x="163" y="868"/>
                  </a:lnTo>
                  <a:lnTo>
                    <a:pt x="163" y="865"/>
                  </a:lnTo>
                  <a:lnTo>
                    <a:pt x="160" y="866"/>
                  </a:lnTo>
                  <a:lnTo>
                    <a:pt x="158" y="866"/>
                  </a:lnTo>
                  <a:lnTo>
                    <a:pt x="154" y="868"/>
                  </a:lnTo>
                  <a:lnTo>
                    <a:pt x="148" y="866"/>
                  </a:lnTo>
                  <a:lnTo>
                    <a:pt x="145" y="861"/>
                  </a:lnTo>
                  <a:lnTo>
                    <a:pt x="143" y="859"/>
                  </a:lnTo>
                  <a:lnTo>
                    <a:pt x="141" y="855"/>
                  </a:lnTo>
                  <a:lnTo>
                    <a:pt x="137" y="849"/>
                  </a:lnTo>
                  <a:lnTo>
                    <a:pt x="143" y="849"/>
                  </a:lnTo>
                  <a:lnTo>
                    <a:pt x="145" y="849"/>
                  </a:lnTo>
                  <a:lnTo>
                    <a:pt x="143" y="846"/>
                  </a:lnTo>
                  <a:lnTo>
                    <a:pt x="145" y="844"/>
                  </a:lnTo>
                  <a:lnTo>
                    <a:pt x="143" y="840"/>
                  </a:lnTo>
                  <a:lnTo>
                    <a:pt x="143" y="840"/>
                  </a:lnTo>
                  <a:lnTo>
                    <a:pt x="148" y="840"/>
                  </a:lnTo>
                  <a:lnTo>
                    <a:pt x="152" y="840"/>
                  </a:lnTo>
                  <a:lnTo>
                    <a:pt x="156" y="844"/>
                  </a:lnTo>
                  <a:lnTo>
                    <a:pt x="160" y="846"/>
                  </a:lnTo>
                  <a:lnTo>
                    <a:pt x="161" y="849"/>
                  </a:lnTo>
                  <a:lnTo>
                    <a:pt x="169" y="849"/>
                  </a:lnTo>
                  <a:lnTo>
                    <a:pt x="169" y="851"/>
                  </a:lnTo>
                  <a:lnTo>
                    <a:pt x="173" y="851"/>
                  </a:lnTo>
                  <a:lnTo>
                    <a:pt x="186" y="859"/>
                  </a:lnTo>
                  <a:lnTo>
                    <a:pt x="192" y="863"/>
                  </a:lnTo>
                  <a:lnTo>
                    <a:pt x="193" y="859"/>
                  </a:lnTo>
                  <a:lnTo>
                    <a:pt x="195" y="857"/>
                  </a:lnTo>
                  <a:lnTo>
                    <a:pt x="195" y="853"/>
                  </a:lnTo>
                  <a:lnTo>
                    <a:pt x="199" y="853"/>
                  </a:lnTo>
                  <a:lnTo>
                    <a:pt x="203" y="849"/>
                  </a:lnTo>
                  <a:lnTo>
                    <a:pt x="197" y="844"/>
                  </a:lnTo>
                  <a:lnTo>
                    <a:pt x="188" y="834"/>
                  </a:lnTo>
                  <a:lnTo>
                    <a:pt x="186" y="829"/>
                  </a:lnTo>
                  <a:lnTo>
                    <a:pt x="186" y="825"/>
                  </a:lnTo>
                  <a:lnTo>
                    <a:pt x="192" y="821"/>
                  </a:lnTo>
                  <a:lnTo>
                    <a:pt x="195" y="816"/>
                  </a:lnTo>
                  <a:lnTo>
                    <a:pt x="197" y="810"/>
                  </a:lnTo>
                  <a:lnTo>
                    <a:pt x="201" y="806"/>
                  </a:lnTo>
                  <a:lnTo>
                    <a:pt x="203" y="806"/>
                  </a:lnTo>
                  <a:lnTo>
                    <a:pt x="210" y="802"/>
                  </a:lnTo>
                  <a:lnTo>
                    <a:pt x="214" y="793"/>
                  </a:lnTo>
                  <a:lnTo>
                    <a:pt x="218" y="791"/>
                  </a:lnTo>
                  <a:lnTo>
                    <a:pt x="222" y="791"/>
                  </a:lnTo>
                  <a:lnTo>
                    <a:pt x="225" y="795"/>
                  </a:lnTo>
                  <a:lnTo>
                    <a:pt x="231" y="795"/>
                  </a:lnTo>
                  <a:lnTo>
                    <a:pt x="237" y="795"/>
                  </a:lnTo>
                  <a:lnTo>
                    <a:pt x="239" y="797"/>
                  </a:lnTo>
                  <a:lnTo>
                    <a:pt x="237" y="802"/>
                  </a:lnTo>
                  <a:lnTo>
                    <a:pt x="242" y="797"/>
                  </a:lnTo>
                  <a:lnTo>
                    <a:pt x="246" y="800"/>
                  </a:lnTo>
                  <a:lnTo>
                    <a:pt x="248" y="806"/>
                  </a:lnTo>
                  <a:lnTo>
                    <a:pt x="252" y="806"/>
                  </a:lnTo>
                  <a:lnTo>
                    <a:pt x="250" y="800"/>
                  </a:lnTo>
                  <a:lnTo>
                    <a:pt x="248" y="795"/>
                  </a:lnTo>
                  <a:lnTo>
                    <a:pt x="250" y="793"/>
                  </a:lnTo>
                  <a:lnTo>
                    <a:pt x="250" y="785"/>
                  </a:lnTo>
                  <a:lnTo>
                    <a:pt x="250" y="782"/>
                  </a:lnTo>
                  <a:lnTo>
                    <a:pt x="248" y="782"/>
                  </a:lnTo>
                  <a:lnTo>
                    <a:pt x="248" y="780"/>
                  </a:lnTo>
                  <a:lnTo>
                    <a:pt x="250" y="776"/>
                  </a:lnTo>
                  <a:lnTo>
                    <a:pt x="248" y="776"/>
                  </a:lnTo>
                  <a:lnTo>
                    <a:pt x="250" y="774"/>
                  </a:lnTo>
                  <a:lnTo>
                    <a:pt x="246" y="770"/>
                  </a:lnTo>
                  <a:lnTo>
                    <a:pt x="242" y="768"/>
                  </a:lnTo>
                  <a:lnTo>
                    <a:pt x="237" y="768"/>
                  </a:lnTo>
                  <a:lnTo>
                    <a:pt x="237" y="763"/>
                  </a:lnTo>
                  <a:lnTo>
                    <a:pt x="237" y="757"/>
                  </a:lnTo>
                  <a:lnTo>
                    <a:pt x="237" y="752"/>
                  </a:lnTo>
                  <a:lnTo>
                    <a:pt x="237" y="750"/>
                  </a:lnTo>
                  <a:lnTo>
                    <a:pt x="237" y="748"/>
                  </a:lnTo>
                  <a:lnTo>
                    <a:pt x="237" y="744"/>
                  </a:lnTo>
                  <a:lnTo>
                    <a:pt x="239" y="742"/>
                  </a:lnTo>
                  <a:lnTo>
                    <a:pt x="237" y="738"/>
                  </a:lnTo>
                  <a:lnTo>
                    <a:pt x="237" y="735"/>
                  </a:lnTo>
                  <a:lnTo>
                    <a:pt x="233" y="727"/>
                  </a:lnTo>
                  <a:lnTo>
                    <a:pt x="227" y="721"/>
                  </a:lnTo>
                  <a:lnTo>
                    <a:pt x="220" y="716"/>
                  </a:lnTo>
                  <a:lnTo>
                    <a:pt x="220" y="714"/>
                  </a:lnTo>
                  <a:lnTo>
                    <a:pt x="224" y="714"/>
                  </a:lnTo>
                  <a:lnTo>
                    <a:pt x="231" y="718"/>
                  </a:lnTo>
                  <a:lnTo>
                    <a:pt x="237" y="718"/>
                  </a:lnTo>
                  <a:lnTo>
                    <a:pt x="239" y="718"/>
                  </a:lnTo>
                  <a:lnTo>
                    <a:pt x="246" y="718"/>
                  </a:lnTo>
                  <a:lnTo>
                    <a:pt x="256" y="718"/>
                  </a:lnTo>
                  <a:lnTo>
                    <a:pt x="261" y="721"/>
                  </a:lnTo>
                  <a:lnTo>
                    <a:pt x="261" y="725"/>
                  </a:lnTo>
                  <a:lnTo>
                    <a:pt x="265" y="727"/>
                  </a:lnTo>
                  <a:lnTo>
                    <a:pt x="267" y="731"/>
                  </a:lnTo>
                  <a:lnTo>
                    <a:pt x="269" y="731"/>
                  </a:lnTo>
                  <a:lnTo>
                    <a:pt x="274" y="738"/>
                  </a:lnTo>
                  <a:lnTo>
                    <a:pt x="273" y="742"/>
                  </a:lnTo>
                  <a:lnTo>
                    <a:pt x="267" y="742"/>
                  </a:lnTo>
                  <a:lnTo>
                    <a:pt x="265" y="744"/>
                  </a:lnTo>
                  <a:lnTo>
                    <a:pt x="257" y="744"/>
                  </a:lnTo>
                  <a:lnTo>
                    <a:pt x="257" y="746"/>
                  </a:lnTo>
                  <a:lnTo>
                    <a:pt x="257" y="748"/>
                  </a:lnTo>
                  <a:lnTo>
                    <a:pt x="257" y="752"/>
                  </a:lnTo>
                  <a:lnTo>
                    <a:pt x="256" y="750"/>
                  </a:lnTo>
                  <a:lnTo>
                    <a:pt x="252" y="752"/>
                  </a:lnTo>
                  <a:lnTo>
                    <a:pt x="252" y="757"/>
                  </a:lnTo>
                  <a:lnTo>
                    <a:pt x="257" y="757"/>
                  </a:lnTo>
                  <a:lnTo>
                    <a:pt x="265" y="765"/>
                  </a:lnTo>
                  <a:lnTo>
                    <a:pt x="271" y="776"/>
                  </a:lnTo>
                  <a:lnTo>
                    <a:pt x="274" y="776"/>
                  </a:lnTo>
                  <a:lnTo>
                    <a:pt x="280" y="772"/>
                  </a:lnTo>
                  <a:lnTo>
                    <a:pt x="282" y="776"/>
                  </a:lnTo>
                  <a:lnTo>
                    <a:pt x="282" y="774"/>
                  </a:lnTo>
                  <a:lnTo>
                    <a:pt x="286" y="774"/>
                  </a:lnTo>
                  <a:lnTo>
                    <a:pt x="289" y="770"/>
                  </a:lnTo>
                  <a:lnTo>
                    <a:pt x="295" y="768"/>
                  </a:lnTo>
                  <a:lnTo>
                    <a:pt x="295" y="765"/>
                  </a:lnTo>
                  <a:lnTo>
                    <a:pt x="295" y="757"/>
                  </a:lnTo>
                  <a:lnTo>
                    <a:pt x="297" y="755"/>
                  </a:lnTo>
                  <a:lnTo>
                    <a:pt x="297" y="752"/>
                  </a:lnTo>
                  <a:lnTo>
                    <a:pt x="295" y="748"/>
                  </a:lnTo>
                  <a:lnTo>
                    <a:pt x="295" y="746"/>
                  </a:lnTo>
                  <a:lnTo>
                    <a:pt x="306" y="746"/>
                  </a:lnTo>
                  <a:lnTo>
                    <a:pt x="306" y="742"/>
                  </a:lnTo>
                  <a:lnTo>
                    <a:pt x="314" y="746"/>
                  </a:lnTo>
                  <a:lnTo>
                    <a:pt x="314" y="742"/>
                  </a:lnTo>
                  <a:lnTo>
                    <a:pt x="306" y="738"/>
                  </a:lnTo>
                  <a:lnTo>
                    <a:pt x="306" y="735"/>
                  </a:lnTo>
                  <a:lnTo>
                    <a:pt x="306" y="735"/>
                  </a:lnTo>
                  <a:lnTo>
                    <a:pt x="310" y="738"/>
                  </a:lnTo>
                  <a:lnTo>
                    <a:pt x="314" y="736"/>
                  </a:lnTo>
                  <a:lnTo>
                    <a:pt x="320" y="727"/>
                  </a:lnTo>
                  <a:lnTo>
                    <a:pt x="321" y="727"/>
                  </a:lnTo>
                  <a:lnTo>
                    <a:pt x="331" y="718"/>
                  </a:lnTo>
                  <a:lnTo>
                    <a:pt x="331" y="716"/>
                  </a:lnTo>
                  <a:lnTo>
                    <a:pt x="333" y="714"/>
                  </a:lnTo>
                  <a:lnTo>
                    <a:pt x="337" y="716"/>
                  </a:lnTo>
                  <a:lnTo>
                    <a:pt x="340" y="714"/>
                  </a:lnTo>
                  <a:lnTo>
                    <a:pt x="340" y="710"/>
                  </a:lnTo>
                  <a:lnTo>
                    <a:pt x="350" y="708"/>
                  </a:lnTo>
                  <a:lnTo>
                    <a:pt x="350" y="712"/>
                  </a:lnTo>
                  <a:lnTo>
                    <a:pt x="352" y="712"/>
                  </a:lnTo>
                  <a:lnTo>
                    <a:pt x="352" y="714"/>
                  </a:lnTo>
                  <a:lnTo>
                    <a:pt x="350" y="716"/>
                  </a:lnTo>
                  <a:lnTo>
                    <a:pt x="352" y="718"/>
                  </a:lnTo>
                  <a:lnTo>
                    <a:pt x="357" y="714"/>
                  </a:lnTo>
                  <a:lnTo>
                    <a:pt x="357" y="710"/>
                  </a:lnTo>
                  <a:lnTo>
                    <a:pt x="355" y="710"/>
                  </a:lnTo>
                  <a:lnTo>
                    <a:pt x="352" y="706"/>
                  </a:lnTo>
                  <a:lnTo>
                    <a:pt x="352" y="704"/>
                  </a:lnTo>
                  <a:lnTo>
                    <a:pt x="359" y="697"/>
                  </a:lnTo>
                  <a:lnTo>
                    <a:pt x="361" y="697"/>
                  </a:lnTo>
                  <a:lnTo>
                    <a:pt x="361" y="701"/>
                  </a:lnTo>
                  <a:lnTo>
                    <a:pt x="359" y="701"/>
                  </a:lnTo>
                  <a:lnTo>
                    <a:pt x="357" y="703"/>
                  </a:lnTo>
                  <a:lnTo>
                    <a:pt x="361" y="706"/>
                  </a:lnTo>
                  <a:lnTo>
                    <a:pt x="365" y="706"/>
                  </a:lnTo>
                  <a:lnTo>
                    <a:pt x="365" y="703"/>
                  </a:lnTo>
                  <a:lnTo>
                    <a:pt x="365" y="701"/>
                  </a:lnTo>
                  <a:lnTo>
                    <a:pt x="363" y="697"/>
                  </a:lnTo>
                  <a:lnTo>
                    <a:pt x="363" y="697"/>
                  </a:lnTo>
                  <a:lnTo>
                    <a:pt x="365" y="693"/>
                  </a:lnTo>
                  <a:lnTo>
                    <a:pt x="374" y="691"/>
                  </a:lnTo>
                  <a:lnTo>
                    <a:pt x="382" y="687"/>
                  </a:lnTo>
                  <a:lnTo>
                    <a:pt x="382" y="691"/>
                  </a:lnTo>
                  <a:lnTo>
                    <a:pt x="378" y="691"/>
                  </a:lnTo>
                  <a:lnTo>
                    <a:pt x="374" y="691"/>
                  </a:lnTo>
                  <a:lnTo>
                    <a:pt x="369" y="697"/>
                  </a:lnTo>
                  <a:lnTo>
                    <a:pt x="370" y="697"/>
                  </a:lnTo>
                  <a:lnTo>
                    <a:pt x="374" y="697"/>
                  </a:lnTo>
                  <a:lnTo>
                    <a:pt x="374" y="697"/>
                  </a:lnTo>
                  <a:lnTo>
                    <a:pt x="378" y="701"/>
                  </a:lnTo>
                  <a:lnTo>
                    <a:pt x="376" y="701"/>
                  </a:lnTo>
                  <a:lnTo>
                    <a:pt x="374" y="703"/>
                  </a:lnTo>
                  <a:lnTo>
                    <a:pt x="378" y="706"/>
                  </a:lnTo>
                  <a:lnTo>
                    <a:pt x="376" y="710"/>
                  </a:lnTo>
                  <a:lnTo>
                    <a:pt x="374" y="710"/>
                  </a:lnTo>
                  <a:lnTo>
                    <a:pt x="370" y="714"/>
                  </a:lnTo>
                  <a:lnTo>
                    <a:pt x="370" y="718"/>
                  </a:lnTo>
                  <a:lnTo>
                    <a:pt x="374" y="718"/>
                  </a:lnTo>
                  <a:lnTo>
                    <a:pt x="374" y="718"/>
                  </a:lnTo>
                  <a:lnTo>
                    <a:pt x="378" y="718"/>
                  </a:lnTo>
                  <a:lnTo>
                    <a:pt x="380" y="716"/>
                  </a:lnTo>
                  <a:lnTo>
                    <a:pt x="384" y="718"/>
                  </a:lnTo>
                  <a:lnTo>
                    <a:pt x="384" y="721"/>
                  </a:lnTo>
                  <a:lnTo>
                    <a:pt x="385" y="718"/>
                  </a:lnTo>
                  <a:lnTo>
                    <a:pt x="389" y="712"/>
                  </a:lnTo>
                  <a:lnTo>
                    <a:pt x="391" y="712"/>
                  </a:lnTo>
                  <a:lnTo>
                    <a:pt x="393" y="714"/>
                  </a:lnTo>
                  <a:lnTo>
                    <a:pt x="395" y="718"/>
                  </a:lnTo>
                  <a:lnTo>
                    <a:pt x="399" y="716"/>
                  </a:lnTo>
                  <a:lnTo>
                    <a:pt x="395" y="714"/>
                  </a:lnTo>
                  <a:lnTo>
                    <a:pt x="399" y="710"/>
                  </a:lnTo>
                  <a:lnTo>
                    <a:pt x="395" y="708"/>
                  </a:lnTo>
                  <a:lnTo>
                    <a:pt x="395" y="706"/>
                  </a:lnTo>
                  <a:lnTo>
                    <a:pt x="399" y="703"/>
                  </a:lnTo>
                  <a:lnTo>
                    <a:pt x="401" y="703"/>
                  </a:lnTo>
                  <a:lnTo>
                    <a:pt x="402" y="701"/>
                  </a:lnTo>
                  <a:lnTo>
                    <a:pt x="408" y="697"/>
                  </a:lnTo>
                  <a:lnTo>
                    <a:pt x="410" y="701"/>
                  </a:lnTo>
                  <a:lnTo>
                    <a:pt x="412" y="701"/>
                  </a:lnTo>
                  <a:lnTo>
                    <a:pt x="414" y="701"/>
                  </a:lnTo>
                  <a:lnTo>
                    <a:pt x="417" y="701"/>
                  </a:lnTo>
                  <a:lnTo>
                    <a:pt x="425" y="701"/>
                  </a:lnTo>
                  <a:lnTo>
                    <a:pt x="429" y="697"/>
                  </a:lnTo>
                  <a:lnTo>
                    <a:pt x="429" y="697"/>
                  </a:lnTo>
                  <a:lnTo>
                    <a:pt x="429" y="691"/>
                  </a:lnTo>
                  <a:lnTo>
                    <a:pt x="433" y="691"/>
                  </a:lnTo>
                  <a:lnTo>
                    <a:pt x="434" y="691"/>
                  </a:lnTo>
                  <a:lnTo>
                    <a:pt x="438" y="687"/>
                  </a:lnTo>
                  <a:lnTo>
                    <a:pt x="440" y="687"/>
                  </a:lnTo>
                  <a:lnTo>
                    <a:pt x="446" y="682"/>
                  </a:lnTo>
                  <a:lnTo>
                    <a:pt x="448" y="682"/>
                  </a:lnTo>
                  <a:lnTo>
                    <a:pt x="451" y="680"/>
                  </a:lnTo>
                  <a:lnTo>
                    <a:pt x="451" y="682"/>
                  </a:lnTo>
                  <a:lnTo>
                    <a:pt x="448" y="686"/>
                  </a:lnTo>
                  <a:lnTo>
                    <a:pt x="451" y="686"/>
                  </a:lnTo>
                  <a:lnTo>
                    <a:pt x="453" y="691"/>
                  </a:lnTo>
                  <a:lnTo>
                    <a:pt x="453" y="691"/>
                  </a:lnTo>
                  <a:lnTo>
                    <a:pt x="453" y="693"/>
                  </a:lnTo>
                  <a:lnTo>
                    <a:pt x="453" y="697"/>
                  </a:lnTo>
                  <a:lnTo>
                    <a:pt x="453" y="701"/>
                  </a:lnTo>
                  <a:lnTo>
                    <a:pt x="453" y="704"/>
                  </a:lnTo>
                  <a:lnTo>
                    <a:pt x="465" y="704"/>
                  </a:lnTo>
                  <a:lnTo>
                    <a:pt x="466" y="703"/>
                  </a:lnTo>
                  <a:lnTo>
                    <a:pt x="466" y="701"/>
                  </a:lnTo>
                  <a:lnTo>
                    <a:pt x="465" y="701"/>
                  </a:lnTo>
                  <a:lnTo>
                    <a:pt x="461" y="693"/>
                  </a:lnTo>
                  <a:lnTo>
                    <a:pt x="461" y="691"/>
                  </a:lnTo>
                  <a:lnTo>
                    <a:pt x="463" y="691"/>
                  </a:lnTo>
                  <a:lnTo>
                    <a:pt x="468" y="691"/>
                  </a:lnTo>
                  <a:lnTo>
                    <a:pt x="472" y="687"/>
                  </a:lnTo>
                  <a:lnTo>
                    <a:pt x="474" y="684"/>
                  </a:lnTo>
                  <a:lnTo>
                    <a:pt x="478" y="684"/>
                  </a:lnTo>
                  <a:lnTo>
                    <a:pt x="478" y="686"/>
                  </a:lnTo>
                  <a:lnTo>
                    <a:pt x="483" y="686"/>
                  </a:lnTo>
                  <a:lnTo>
                    <a:pt x="478" y="680"/>
                  </a:lnTo>
                  <a:lnTo>
                    <a:pt x="474" y="678"/>
                  </a:lnTo>
                  <a:lnTo>
                    <a:pt x="474" y="676"/>
                  </a:lnTo>
                  <a:lnTo>
                    <a:pt x="470" y="669"/>
                  </a:lnTo>
                  <a:lnTo>
                    <a:pt x="468" y="669"/>
                  </a:lnTo>
                  <a:lnTo>
                    <a:pt x="468" y="672"/>
                  </a:lnTo>
                  <a:lnTo>
                    <a:pt x="465" y="669"/>
                  </a:lnTo>
                  <a:lnTo>
                    <a:pt x="463" y="663"/>
                  </a:lnTo>
                  <a:lnTo>
                    <a:pt x="461" y="661"/>
                  </a:lnTo>
                  <a:lnTo>
                    <a:pt x="457" y="657"/>
                  </a:lnTo>
                  <a:lnTo>
                    <a:pt x="457" y="655"/>
                  </a:lnTo>
                  <a:lnTo>
                    <a:pt x="463" y="654"/>
                  </a:lnTo>
                  <a:lnTo>
                    <a:pt x="463" y="652"/>
                  </a:lnTo>
                  <a:lnTo>
                    <a:pt x="461" y="646"/>
                  </a:lnTo>
                  <a:lnTo>
                    <a:pt x="463" y="644"/>
                  </a:lnTo>
                  <a:lnTo>
                    <a:pt x="466" y="646"/>
                  </a:lnTo>
                  <a:lnTo>
                    <a:pt x="468" y="644"/>
                  </a:lnTo>
                  <a:lnTo>
                    <a:pt x="470" y="646"/>
                  </a:lnTo>
                  <a:lnTo>
                    <a:pt x="474" y="646"/>
                  </a:lnTo>
                  <a:lnTo>
                    <a:pt x="478" y="648"/>
                  </a:lnTo>
                  <a:lnTo>
                    <a:pt x="491" y="646"/>
                  </a:lnTo>
                  <a:lnTo>
                    <a:pt x="508" y="646"/>
                  </a:lnTo>
                  <a:lnTo>
                    <a:pt x="513" y="650"/>
                  </a:lnTo>
                  <a:lnTo>
                    <a:pt x="527" y="655"/>
                  </a:lnTo>
                  <a:lnTo>
                    <a:pt x="527" y="657"/>
                  </a:lnTo>
                  <a:lnTo>
                    <a:pt x="527" y="657"/>
                  </a:lnTo>
                  <a:lnTo>
                    <a:pt x="529" y="663"/>
                  </a:lnTo>
                  <a:lnTo>
                    <a:pt x="532" y="661"/>
                  </a:lnTo>
                  <a:lnTo>
                    <a:pt x="536" y="657"/>
                  </a:lnTo>
                  <a:lnTo>
                    <a:pt x="542" y="661"/>
                  </a:lnTo>
                  <a:lnTo>
                    <a:pt x="542" y="661"/>
                  </a:lnTo>
                  <a:lnTo>
                    <a:pt x="545" y="663"/>
                  </a:lnTo>
                  <a:lnTo>
                    <a:pt x="549" y="667"/>
                  </a:lnTo>
                  <a:lnTo>
                    <a:pt x="561" y="671"/>
                  </a:lnTo>
                  <a:lnTo>
                    <a:pt x="570" y="672"/>
                  </a:lnTo>
                  <a:lnTo>
                    <a:pt x="574" y="674"/>
                  </a:lnTo>
                  <a:lnTo>
                    <a:pt x="576" y="680"/>
                  </a:lnTo>
                  <a:lnTo>
                    <a:pt x="581" y="682"/>
                  </a:lnTo>
                  <a:lnTo>
                    <a:pt x="587" y="686"/>
                  </a:lnTo>
                  <a:lnTo>
                    <a:pt x="591" y="693"/>
                  </a:lnTo>
                  <a:lnTo>
                    <a:pt x="596" y="693"/>
                  </a:lnTo>
                  <a:lnTo>
                    <a:pt x="596" y="691"/>
                  </a:lnTo>
                  <a:lnTo>
                    <a:pt x="594" y="687"/>
                  </a:lnTo>
                  <a:lnTo>
                    <a:pt x="596" y="687"/>
                  </a:lnTo>
                  <a:lnTo>
                    <a:pt x="596" y="686"/>
                  </a:lnTo>
                  <a:lnTo>
                    <a:pt x="596" y="682"/>
                  </a:lnTo>
                  <a:lnTo>
                    <a:pt x="596" y="678"/>
                  </a:lnTo>
                  <a:lnTo>
                    <a:pt x="596" y="669"/>
                  </a:lnTo>
                  <a:lnTo>
                    <a:pt x="600" y="667"/>
                  </a:lnTo>
                  <a:lnTo>
                    <a:pt x="596" y="667"/>
                  </a:lnTo>
                  <a:lnTo>
                    <a:pt x="596" y="663"/>
                  </a:lnTo>
                  <a:lnTo>
                    <a:pt x="591" y="663"/>
                  </a:lnTo>
                  <a:lnTo>
                    <a:pt x="587" y="667"/>
                  </a:lnTo>
                  <a:lnTo>
                    <a:pt x="585" y="667"/>
                  </a:lnTo>
                  <a:lnTo>
                    <a:pt x="577" y="657"/>
                  </a:lnTo>
                  <a:lnTo>
                    <a:pt x="576" y="655"/>
                  </a:lnTo>
                  <a:lnTo>
                    <a:pt x="572" y="652"/>
                  </a:lnTo>
                  <a:lnTo>
                    <a:pt x="572" y="646"/>
                  </a:lnTo>
                  <a:lnTo>
                    <a:pt x="570" y="644"/>
                  </a:lnTo>
                  <a:lnTo>
                    <a:pt x="566" y="648"/>
                  </a:lnTo>
                  <a:lnTo>
                    <a:pt x="562" y="646"/>
                  </a:lnTo>
                  <a:lnTo>
                    <a:pt x="559" y="646"/>
                  </a:lnTo>
                  <a:lnTo>
                    <a:pt x="555" y="644"/>
                  </a:lnTo>
                  <a:lnTo>
                    <a:pt x="553" y="646"/>
                  </a:lnTo>
                  <a:lnTo>
                    <a:pt x="553" y="640"/>
                  </a:lnTo>
                  <a:lnTo>
                    <a:pt x="549" y="637"/>
                  </a:lnTo>
                  <a:lnTo>
                    <a:pt x="545" y="631"/>
                  </a:lnTo>
                  <a:lnTo>
                    <a:pt x="545" y="627"/>
                  </a:lnTo>
                  <a:lnTo>
                    <a:pt x="549" y="629"/>
                  </a:lnTo>
                  <a:lnTo>
                    <a:pt x="551" y="627"/>
                  </a:lnTo>
                  <a:lnTo>
                    <a:pt x="551" y="622"/>
                  </a:lnTo>
                  <a:lnTo>
                    <a:pt x="545" y="618"/>
                  </a:lnTo>
                  <a:lnTo>
                    <a:pt x="545" y="614"/>
                  </a:lnTo>
                  <a:lnTo>
                    <a:pt x="549" y="612"/>
                  </a:lnTo>
                  <a:lnTo>
                    <a:pt x="551" y="612"/>
                  </a:lnTo>
                  <a:lnTo>
                    <a:pt x="547" y="606"/>
                  </a:lnTo>
                  <a:lnTo>
                    <a:pt x="545" y="606"/>
                  </a:lnTo>
                  <a:lnTo>
                    <a:pt x="542" y="599"/>
                  </a:lnTo>
                  <a:lnTo>
                    <a:pt x="538" y="599"/>
                  </a:lnTo>
                  <a:lnTo>
                    <a:pt x="536" y="599"/>
                  </a:lnTo>
                  <a:lnTo>
                    <a:pt x="532" y="595"/>
                  </a:lnTo>
                  <a:lnTo>
                    <a:pt x="532" y="590"/>
                  </a:lnTo>
                  <a:lnTo>
                    <a:pt x="532" y="586"/>
                  </a:lnTo>
                  <a:lnTo>
                    <a:pt x="532" y="582"/>
                  </a:lnTo>
                  <a:lnTo>
                    <a:pt x="532" y="578"/>
                  </a:lnTo>
                  <a:lnTo>
                    <a:pt x="532" y="576"/>
                  </a:lnTo>
                  <a:lnTo>
                    <a:pt x="542" y="569"/>
                  </a:lnTo>
                  <a:lnTo>
                    <a:pt x="545" y="565"/>
                  </a:lnTo>
                  <a:lnTo>
                    <a:pt x="545" y="563"/>
                  </a:lnTo>
                  <a:lnTo>
                    <a:pt x="545" y="558"/>
                  </a:lnTo>
                  <a:lnTo>
                    <a:pt x="545" y="554"/>
                  </a:lnTo>
                  <a:lnTo>
                    <a:pt x="545" y="550"/>
                  </a:lnTo>
                  <a:lnTo>
                    <a:pt x="542" y="544"/>
                  </a:lnTo>
                  <a:lnTo>
                    <a:pt x="542" y="539"/>
                  </a:lnTo>
                  <a:lnTo>
                    <a:pt x="545" y="537"/>
                  </a:lnTo>
                  <a:lnTo>
                    <a:pt x="542" y="535"/>
                  </a:lnTo>
                  <a:lnTo>
                    <a:pt x="542" y="529"/>
                  </a:lnTo>
                  <a:lnTo>
                    <a:pt x="542" y="527"/>
                  </a:lnTo>
                  <a:lnTo>
                    <a:pt x="542" y="520"/>
                  </a:lnTo>
                  <a:lnTo>
                    <a:pt x="545" y="518"/>
                  </a:lnTo>
                  <a:lnTo>
                    <a:pt x="542" y="514"/>
                  </a:lnTo>
                  <a:lnTo>
                    <a:pt x="542" y="509"/>
                  </a:lnTo>
                  <a:lnTo>
                    <a:pt x="542" y="501"/>
                  </a:lnTo>
                  <a:lnTo>
                    <a:pt x="545" y="501"/>
                  </a:lnTo>
                  <a:lnTo>
                    <a:pt x="547" y="501"/>
                  </a:lnTo>
                  <a:lnTo>
                    <a:pt x="545" y="503"/>
                  </a:lnTo>
                  <a:lnTo>
                    <a:pt x="547" y="505"/>
                  </a:lnTo>
                  <a:lnTo>
                    <a:pt x="551" y="503"/>
                  </a:lnTo>
                  <a:lnTo>
                    <a:pt x="557" y="503"/>
                  </a:lnTo>
                  <a:lnTo>
                    <a:pt x="562" y="501"/>
                  </a:lnTo>
                  <a:lnTo>
                    <a:pt x="562" y="501"/>
                  </a:lnTo>
                  <a:lnTo>
                    <a:pt x="566" y="503"/>
                  </a:lnTo>
                  <a:lnTo>
                    <a:pt x="570" y="501"/>
                  </a:lnTo>
                  <a:lnTo>
                    <a:pt x="574" y="501"/>
                  </a:lnTo>
                  <a:lnTo>
                    <a:pt x="585" y="505"/>
                  </a:lnTo>
                  <a:lnTo>
                    <a:pt x="591" y="505"/>
                  </a:lnTo>
                  <a:lnTo>
                    <a:pt x="594" y="505"/>
                  </a:lnTo>
                  <a:lnTo>
                    <a:pt x="596" y="509"/>
                  </a:lnTo>
                  <a:lnTo>
                    <a:pt x="591" y="512"/>
                  </a:lnTo>
                  <a:lnTo>
                    <a:pt x="596" y="514"/>
                  </a:lnTo>
                  <a:lnTo>
                    <a:pt x="596" y="518"/>
                  </a:lnTo>
                  <a:lnTo>
                    <a:pt x="596" y="522"/>
                  </a:lnTo>
                  <a:lnTo>
                    <a:pt x="596" y="527"/>
                  </a:lnTo>
                  <a:lnTo>
                    <a:pt x="600" y="535"/>
                  </a:lnTo>
                  <a:lnTo>
                    <a:pt x="596" y="542"/>
                  </a:lnTo>
                  <a:lnTo>
                    <a:pt x="600" y="548"/>
                  </a:lnTo>
                  <a:lnTo>
                    <a:pt x="600" y="548"/>
                  </a:lnTo>
                  <a:lnTo>
                    <a:pt x="600" y="552"/>
                  </a:lnTo>
                  <a:lnTo>
                    <a:pt x="600" y="556"/>
                  </a:lnTo>
                  <a:lnTo>
                    <a:pt x="596" y="558"/>
                  </a:lnTo>
                  <a:lnTo>
                    <a:pt x="600" y="561"/>
                  </a:lnTo>
                  <a:lnTo>
                    <a:pt x="602" y="565"/>
                  </a:lnTo>
                  <a:lnTo>
                    <a:pt x="604" y="569"/>
                  </a:lnTo>
                  <a:lnTo>
                    <a:pt x="609" y="573"/>
                  </a:lnTo>
                  <a:lnTo>
                    <a:pt x="609" y="573"/>
                  </a:lnTo>
                  <a:lnTo>
                    <a:pt x="611" y="573"/>
                  </a:lnTo>
                  <a:lnTo>
                    <a:pt x="615" y="573"/>
                  </a:lnTo>
                  <a:lnTo>
                    <a:pt x="615" y="578"/>
                  </a:lnTo>
                  <a:lnTo>
                    <a:pt x="621" y="582"/>
                  </a:lnTo>
                  <a:lnTo>
                    <a:pt x="621" y="586"/>
                  </a:lnTo>
                  <a:lnTo>
                    <a:pt x="625" y="599"/>
                  </a:lnTo>
                  <a:lnTo>
                    <a:pt x="626" y="603"/>
                  </a:lnTo>
                  <a:lnTo>
                    <a:pt x="626" y="603"/>
                  </a:lnTo>
                  <a:lnTo>
                    <a:pt x="625" y="606"/>
                  </a:lnTo>
                  <a:lnTo>
                    <a:pt x="628" y="612"/>
                  </a:lnTo>
                  <a:lnTo>
                    <a:pt x="628" y="616"/>
                  </a:lnTo>
                  <a:lnTo>
                    <a:pt x="636" y="623"/>
                  </a:lnTo>
                  <a:lnTo>
                    <a:pt x="634" y="631"/>
                  </a:lnTo>
                  <a:lnTo>
                    <a:pt x="636" y="633"/>
                  </a:lnTo>
                  <a:lnTo>
                    <a:pt x="640" y="637"/>
                  </a:lnTo>
                  <a:lnTo>
                    <a:pt x="638" y="639"/>
                  </a:lnTo>
                  <a:lnTo>
                    <a:pt x="640" y="640"/>
                  </a:lnTo>
                  <a:lnTo>
                    <a:pt x="641" y="650"/>
                  </a:lnTo>
                  <a:lnTo>
                    <a:pt x="649" y="657"/>
                  </a:lnTo>
                  <a:lnTo>
                    <a:pt x="655" y="661"/>
                  </a:lnTo>
                  <a:lnTo>
                    <a:pt x="657" y="663"/>
                  </a:lnTo>
                  <a:lnTo>
                    <a:pt x="660" y="663"/>
                  </a:lnTo>
                  <a:lnTo>
                    <a:pt x="666" y="669"/>
                  </a:lnTo>
                  <a:lnTo>
                    <a:pt x="666" y="672"/>
                  </a:lnTo>
                  <a:lnTo>
                    <a:pt x="664" y="672"/>
                  </a:lnTo>
                  <a:lnTo>
                    <a:pt x="664" y="676"/>
                  </a:lnTo>
                  <a:lnTo>
                    <a:pt x="662" y="682"/>
                  </a:lnTo>
                  <a:lnTo>
                    <a:pt x="666" y="687"/>
                  </a:lnTo>
                  <a:lnTo>
                    <a:pt x="670" y="691"/>
                  </a:lnTo>
                  <a:lnTo>
                    <a:pt x="670" y="697"/>
                  </a:lnTo>
                  <a:lnTo>
                    <a:pt x="666" y="701"/>
                  </a:lnTo>
                  <a:lnTo>
                    <a:pt x="666" y="703"/>
                  </a:lnTo>
                  <a:lnTo>
                    <a:pt x="664" y="706"/>
                  </a:lnTo>
                  <a:lnTo>
                    <a:pt x="666" y="708"/>
                  </a:lnTo>
                  <a:lnTo>
                    <a:pt x="666" y="716"/>
                  </a:lnTo>
                  <a:lnTo>
                    <a:pt x="662" y="718"/>
                  </a:lnTo>
                  <a:lnTo>
                    <a:pt x="662" y="718"/>
                  </a:lnTo>
                  <a:lnTo>
                    <a:pt x="666" y="718"/>
                  </a:lnTo>
                  <a:lnTo>
                    <a:pt x="666" y="721"/>
                  </a:lnTo>
                  <a:lnTo>
                    <a:pt x="660" y="725"/>
                  </a:lnTo>
                  <a:lnTo>
                    <a:pt x="660" y="731"/>
                  </a:lnTo>
                  <a:lnTo>
                    <a:pt x="658" y="733"/>
                  </a:lnTo>
                  <a:lnTo>
                    <a:pt x="655" y="731"/>
                  </a:lnTo>
                  <a:lnTo>
                    <a:pt x="655" y="735"/>
                  </a:lnTo>
                  <a:lnTo>
                    <a:pt x="658" y="738"/>
                  </a:lnTo>
                  <a:lnTo>
                    <a:pt x="658" y="740"/>
                  </a:lnTo>
                  <a:lnTo>
                    <a:pt x="655" y="744"/>
                  </a:lnTo>
                  <a:lnTo>
                    <a:pt x="651" y="748"/>
                  </a:lnTo>
                  <a:lnTo>
                    <a:pt x="645" y="748"/>
                  </a:lnTo>
                  <a:lnTo>
                    <a:pt x="641" y="744"/>
                  </a:lnTo>
                  <a:lnTo>
                    <a:pt x="649" y="740"/>
                  </a:lnTo>
                  <a:lnTo>
                    <a:pt x="649" y="738"/>
                  </a:lnTo>
                  <a:lnTo>
                    <a:pt x="645" y="738"/>
                  </a:lnTo>
                  <a:lnTo>
                    <a:pt x="643" y="740"/>
                  </a:lnTo>
                  <a:lnTo>
                    <a:pt x="640" y="740"/>
                  </a:lnTo>
                  <a:lnTo>
                    <a:pt x="632" y="736"/>
                  </a:lnTo>
                  <a:lnTo>
                    <a:pt x="630" y="738"/>
                  </a:lnTo>
                  <a:lnTo>
                    <a:pt x="621" y="740"/>
                  </a:lnTo>
                  <a:lnTo>
                    <a:pt x="615" y="740"/>
                  </a:lnTo>
                  <a:lnTo>
                    <a:pt x="611" y="746"/>
                  </a:lnTo>
                  <a:lnTo>
                    <a:pt x="615" y="746"/>
                  </a:lnTo>
                  <a:lnTo>
                    <a:pt x="615" y="748"/>
                  </a:lnTo>
                  <a:lnTo>
                    <a:pt x="617" y="744"/>
                  </a:lnTo>
                  <a:lnTo>
                    <a:pt x="625" y="742"/>
                  </a:lnTo>
                  <a:lnTo>
                    <a:pt x="625" y="746"/>
                  </a:lnTo>
                  <a:lnTo>
                    <a:pt x="628" y="752"/>
                  </a:lnTo>
                  <a:lnTo>
                    <a:pt x="643" y="752"/>
                  </a:lnTo>
                  <a:lnTo>
                    <a:pt x="649" y="755"/>
                  </a:lnTo>
                  <a:lnTo>
                    <a:pt x="655" y="752"/>
                  </a:lnTo>
                  <a:lnTo>
                    <a:pt x="662" y="752"/>
                  </a:lnTo>
                  <a:lnTo>
                    <a:pt x="664" y="755"/>
                  </a:lnTo>
                  <a:lnTo>
                    <a:pt x="670" y="755"/>
                  </a:lnTo>
                  <a:lnTo>
                    <a:pt x="675" y="755"/>
                  </a:lnTo>
                  <a:lnTo>
                    <a:pt x="675" y="750"/>
                  </a:lnTo>
                  <a:lnTo>
                    <a:pt x="675" y="748"/>
                  </a:lnTo>
                  <a:lnTo>
                    <a:pt x="675" y="742"/>
                  </a:lnTo>
                  <a:lnTo>
                    <a:pt x="675" y="740"/>
                  </a:lnTo>
                  <a:lnTo>
                    <a:pt x="679" y="738"/>
                  </a:lnTo>
                  <a:lnTo>
                    <a:pt x="679" y="735"/>
                  </a:lnTo>
                  <a:lnTo>
                    <a:pt x="685" y="731"/>
                  </a:lnTo>
                  <a:lnTo>
                    <a:pt x="685" y="725"/>
                  </a:lnTo>
                  <a:lnTo>
                    <a:pt x="689" y="718"/>
                  </a:lnTo>
                  <a:lnTo>
                    <a:pt x="685" y="712"/>
                  </a:lnTo>
                  <a:lnTo>
                    <a:pt x="687" y="706"/>
                  </a:lnTo>
                  <a:lnTo>
                    <a:pt x="692" y="697"/>
                  </a:lnTo>
                  <a:lnTo>
                    <a:pt x="692" y="691"/>
                  </a:lnTo>
                  <a:lnTo>
                    <a:pt x="687" y="680"/>
                  </a:lnTo>
                  <a:lnTo>
                    <a:pt x="679" y="674"/>
                  </a:lnTo>
                  <a:lnTo>
                    <a:pt x="679" y="671"/>
                  </a:lnTo>
                  <a:lnTo>
                    <a:pt x="675" y="661"/>
                  </a:lnTo>
                  <a:lnTo>
                    <a:pt x="683" y="657"/>
                  </a:lnTo>
                  <a:lnTo>
                    <a:pt x="685" y="652"/>
                  </a:lnTo>
                  <a:lnTo>
                    <a:pt x="690" y="652"/>
                  </a:lnTo>
                  <a:lnTo>
                    <a:pt x="698" y="644"/>
                  </a:lnTo>
                  <a:lnTo>
                    <a:pt x="704" y="642"/>
                  </a:lnTo>
                  <a:lnTo>
                    <a:pt x="707" y="650"/>
                  </a:lnTo>
                  <a:lnTo>
                    <a:pt x="707" y="655"/>
                  </a:lnTo>
                  <a:lnTo>
                    <a:pt x="715" y="657"/>
                  </a:lnTo>
                  <a:lnTo>
                    <a:pt x="717" y="661"/>
                  </a:lnTo>
                  <a:lnTo>
                    <a:pt x="719" y="661"/>
                  </a:lnTo>
                  <a:lnTo>
                    <a:pt x="722" y="667"/>
                  </a:lnTo>
                  <a:lnTo>
                    <a:pt x="722" y="671"/>
                  </a:lnTo>
                  <a:lnTo>
                    <a:pt x="724" y="672"/>
                  </a:lnTo>
                  <a:lnTo>
                    <a:pt x="724" y="676"/>
                  </a:lnTo>
                  <a:lnTo>
                    <a:pt x="730" y="682"/>
                  </a:lnTo>
                  <a:lnTo>
                    <a:pt x="732" y="686"/>
                  </a:lnTo>
                  <a:lnTo>
                    <a:pt x="730" y="687"/>
                  </a:lnTo>
                  <a:lnTo>
                    <a:pt x="732" y="691"/>
                  </a:lnTo>
                  <a:lnTo>
                    <a:pt x="737" y="691"/>
                  </a:lnTo>
                  <a:lnTo>
                    <a:pt x="739" y="697"/>
                  </a:lnTo>
                  <a:lnTo>
                    <a:pt x="745" y="693"/>
                  </a:lnTo>
                  <a:lnTo>
                    <a:pt x="749" y="693"/>
                  </a:lnTo>
                  <a:lnTo>
                    <a:pt x="754" y="691"/>
                  </a:lnTo>
                  <a:lnTo>
                    <a:pt x="756" y="691"/>
                  </a:lnTo>
                  <a:lnTo>
                    <a:pt x="758" y="687"/>
                  </a:lnTo>
                  <a:lnTo>
                    <a:pt x="756" y="687"/>
                  </a:lnTo>
                  <a:lnTo>
                    <a:pt x="753" y="687"/>
                  </a:lnTo>
                  <a:lnTo>
                    <a:pt x="751" y="687"/>
                  </a:lnTo>
                  <a:lnTo>
                    <a:pt x="747" y="691"/>
                  </a:lnTo>
                  <a:lnTo>
                    <a:pt x="741" y="691"/>
                  </a:lnTo>
                  <a:lnTo>
                    <a:pt x="739" y="687"/>
                  </a:lnTo>
                  <a:lnTo>
                    <a:pt x="737" y="687"/>
                  </a:lnTo>
                  <a:lnTo>
                    <a:pt x="734" y="686"/>
                  </a:lnTo>
                  <a:lnTo>
                    <a:pt x="734" y="682"/>
                  </a:lnTo>
                  <a:lnTo>
                    <a:pt x="734" y="680"/>
                  </a:lnTo>
                  <a:lnTo>
                    <a:pt x="730" y="674"/>
                  </a:lnTo>
                  <a:lnTo>
                    <a:pt x="732" y="669"/>
                  </a:lnTo>
                  <a:lnTo>
                    <a:pt x="734" y="667"/>
                  </a:lnTo>
                  <a:lnTo>
                    <a:pt x="737" y="667"/>
                  </a:lnTo>
                  <a:lnTo>
                    <a:pt x="734" y="663"/>
                  </a:lnTo>
                  <a:lnTo>
                    <a:pt x="734" y="661"/>
                  </a:lnTo>
                  <a:lnTo>
                    <a:pt x="734" y="657"/>
                  </a:lnTo>
                  <a:lnTo>
                    <a:pt x="732" y="657"/>
                  </a:lnTo>
                  <a:lnTo>
                    <a:pt x="724" y="654"/>
                  </a:lnTo>
                  <a:lnTo>
                    <a:pt x="724" y="650"/>
                  </a:lnTo>
                  <a:lnTo>
                    <a:pt x="721" y="644"/>
                  </a:lnTo>
                  <a:lnTo>
                    <a:pt x="715" y="644"/>
                  </a:lnTo>
                  <a:lnTo>
                    <a:pt x="707" y="640"/>
                  </a:lnTo>
                  <a:lnTo>
                    <a:pt x="704" y="637"/>
                  </a:lnTo>
                  <a:lnTo>
                    <a:pt x="700" y="639"/>
                  </a:lnTo>
                  <a:lnTo>
                    <a:pt x="692" y="633"/>
                  </a:lnTo>
                  <a:lnTo>
                    <a:pt x="690" y="637"/>
                  </a:lnTo>
                  <a:lnTo>
                    <a:pt x="685" y="633"/>
                  </a:lnTo>
                  <a:lnTo>
                    <a:pt x="679" y="639"/>
                  </a:lnTo>
                  <a:lnTo>
                    <a:pt x="679" y="644"/>
                  </a:lnTo>
                  <a:lnTo>
                    <a:pt x="675" y="646"/>
                  </a:lnTo>
                  <a:lnTo>
                    <a:pt x="670" y="644"/>
                  </a:lnTo>
                  <a:lnTo>
                    <a:pt x="664" y="648"/>
                  </a:lnTo>
                  <a:lnTo>
                    <a:pt x="660" y="646"/>
                  </a:lnTo>
                  <a:lnTo>
                    <a:pt x="657" y="642"/>
                  </a:lnTo>
                  <a:lnTo>
                    <a:pt x="658" y="639"/>
                  </a:lnTo>
                  <a:lnTo>
                    <a:pt x="657" y="633"/>
                  </a:lnTo>
                  <a:lnTo>
                    <a:pt x="649" y="627"/>
                  </a:lnTo>
                  <a:lnTo>
                    <a:pt x="649" y="623"/>
                  </a:lnTo>
                  <a:lnTo>
                    <a:pt x="649" y="614"/>
                  </a:lnTo>
                  <a:lnTo>
                    <a:pt x="645" y="606"/>
                  </a:lnTo>
                  <a:lnTo>
                    <a:pt x="645" y="603"/>
                  </a:lnTo>
                  <a:lnTo>
                    <a:pt x="645" y="591"/>
                  </a:lnTo>
                  <a:lnTo>
                    <a:pt x="645" y="584"/>
                  </a:lnTo>
                  <a:lnTo>
                    <a:pt x="640" y="578"/>
                  </a:lnTo>
                  <a:lnTo>
                    <a:pt x="636" y="578"/>
                  </a:lnTo>
                  <a:lnTo>
                    <a:pt x="632" y="573"/>
                  </a:lnTo>
                  <a:lnTo>
                    <a:pt x="625" y="567"/>
                  </a:lnTo>
                  <a:lnTo>
                    <a:pt x="619" y="563"/>
                  </a:lnTo>
                  <a:lnTo>
                    <a:pt x="619" y="558"/>
                  </a:lnTo>
                  <a:lnTo>
                    <a:pt x="621" y="550"/>
                  </a:lnTo>
                  <a:lnTo>
                    <a:pt x="619" y="544"/>
                  </a:lnTo>
                  <a:lnTo>
                    <a:pt x="617" y="542"/>
                  </a:lnTo>
                  <a:lnTo>
                    <a:pt x="617" y="539"/>
                  </a:lnTo>
                  <a:lnTo>
                    <a:pt x="621" y="537"/>
                  </a:lnTo>
                  <a:lnTo>
                    <a:pt x="625" y="529"/>
                  </a:lnTo>
                  <a:lnTo>
                    <a:pt x="628" y="522"/>
                  </a:lnTo>
                  <a:lnTo>
                    <a:pt x="625" y="512"/>
                  </a:lnTo>
                  <a:lnTo>
                    <a:pt x="619" y="495"/>
                  </a:lnTo>
                  <a:lnTo>
                    <a:pt x="621" y="495"/>
                  </a:lnTo>
                  <a:lnTo>
                    <a:pt x="625" y="499"/>
                  </a:lnTo>
                  <a:lnTo>
                    <a:pt x="626" y="505"/>
                  </a:lnTo>
                  <a:lnTo>
                    <a:pt x="628" y="505"/>
                  </a:lnTo>
                  <a:lnTo>
                    <a:pt x="630" y="505"/>
                  </a:lnTo>
                  <a:lnTo>
                    <a:pt x="630" y="512"/>
                  </a:lnTo>
                  <a:lnTo>
                    <a:pt x="636" y="518"/>
                  </a:lnTo>
                  <a:lnTo>
                    <a:pt x="634" y="524"/>
                  </a:lnTo>
                  <a:lnTo>
                    <a:pt x="638" y="529"/>
                  </a:lnTo>
                  <a:lnTo>
                    <a:pt x="636" y="535"/>
                  </a:lnTo>
                  <a:lnTo>
                    <a:pt x="638" y="539"/>
                  </a:lnTo>
                  <a:lnTo>
                    <a:pt x="643" y="542"/>
                  </a:lnTo>
                  <a:lnTo>
                    <a:pt x="643" y="544"/>
                  </a:lnTo>
                  <a:lnTo>
                    <a:pt x="645" y="548"/>
                  </a:lnTo>
                  <a:lnTo>
                    <a:pt x="645" y="550"/>
                  </a:lnTo>
                  <a:lnTo>
                    <a:pt x="643" y="554"/>
                  </a:lnTo>
                  <a:lnTo>
                    <a:pt x="645" y="556"/>
                  </a:lnTo>
                  <a:lnTo>
                    <a:pt x="649" y="556"/>
                  </a:lnTo>
                  <a:lnTo>
                    <a:pt x="655" y="559"/>
                  </a:lnTo>
                  <a:lnTo>
                    <a:pt x="662" y="559"/>
                  </a:lnTo>
                  <a:lnTo>
                    <a:pt x="666" y="558"/>
                  </a:lnTo>
                  <a:lnTo>
                    <a:pt x="668" y="559"/>
                  </a:lnTo>
                  <a:lnTo>
                    <a:pt x="670" y="563"/>
                  </a:lnTo>
                  <a:lnTo>
                    <a:pt x="673" y="559"/>
                  </a:lnTo>
                  <a:lnTo>
                    <a:pt x="675" y="558"/>
                  </a:lnTo>
                  <a:lnTo>
                    <a:pt x="679" y="556"/>
                  </a:lnTo>
                  <a:lnTo>
                    <a:pt x="683" y="558"/>
                  </a:lnTo>
                  <a:lnTo>
                    <a:pt x="689" y="563"/>
                  </a:lnTo>
                  <a:lnTo>
                    <a:pt x="692" y="563"/>
                  </a:lnTo>
                  <a:lnTo>
                    <a:pt x="698" y="567"/>
                  </a:lnTo>
                  <a:lnTo>
                    <a:pt x="704" y="565"/>
                  </a:lnTo>
                  <a:lnTo>
                    <a:pt x="707" y="561"/>
                  </a:lnTo>
                  <a:lnTo>
                    <a:pt x="704" y="563"/>
                  </a:lnTo>
                  <a:lnTo>
                    <a:pt x="698" y="563"/>
                  </a:lnTo>
                  <a:lnTo>
                    <a:pt x="696" y="559"/>
                  </a:lnTo>
                  <a:lnTo>
                    <a:pt x="694" y="558"/>
                  </a:lnTo>
                  <a:lnTo>
                    <a:pt x="692" y="552"/>
                  </a:lnTo>
                  <a:lnTo>
                    <a:pt x="685" y="552"/>
                  </a:lnTo>
                  <a:lnTo>
                    <a:pt x="685" y="550"/>
                  </a:lnTo>
                  <a:lnTo>
                    <a:pt x="683" y="550"/>
                  </a:lnTo>
                  <a:lnTo>
                    <a:pt x="679" y="552"/>
                  </a:lnTo>
                  <a:lnTo>
                    <a:pt x="670" y="552"/>
                  </a:lnTo>
                  <a:lnTo>
                    <a:pt x="668" y="548"/>
                  </a:lnTo>
                  <a:lnTo>
                    <a:pt x="662" y="548"/>
                  </a:lnTo>
                  <a:lnTo>
                    <a:pt x="655" y="542"/>
                  </a:lnTo>
                  <a:lnTo>
                    <a:pt x="655" y="539"/>
                  </a:lnTo>
                  <a:lnTo>
                    <a:pt x="651" y="539"/>
                  </a:lnTo>
                  <a:lnTo>
                    <a:pt x="645" y="529"/>
                  </a:lnTo>
                  <a:lnTo>
                    <a:pt x="649" y="527"/>
                  </a:lnTo>
                  <a:lnTo>
                    <a:pt x="649" y="525"/>
                  </a:lnTo>
                  <a:lnTo>
                    <a:pt x="655" y="522"/>
                  </a:lnTo>
                  <a:lnTo>
                    <a:pt x="658" y="522"/>
                  </a:lnTo>
                  <a:lnTo>
                    <a:pt x="664" y="527"/>
                  </a:lnTo>
                  <a:lnTo>
                    <a:pt x="670" y="531"/>
                  </a:lnTo>
                  <a:lnTo>
                    <a:pt x="675" y="531"/>
                  </a:lnTo>
                  <a:lnTo>
                    <a:pt x="681" y="524"/>
                  </a:lnTo>
                  <a:lnTo>
                    <a:pt x="679" y="518"/>
                  </a:lnTo>
                  <a:lnTo>
                    <a:pt x="670" y="514"/>
                  </a:lnTo>
                  <a:lnTo>
                    <a:pt x="664" y="518"/>
                  </a:lnTo>
                  <a:lnTo>
                    <a:pt x="662" y="518"/>
                  </a:lnTo>
                  <a:lnTo>
                    <a:pt x="664" y="514"/>
                  </a:lnTo>
                  <a:lnTo>
                    <a:pt x="666" y="514"/>
                  </a:lnTo>
                  <a:lnTo>
                    <a:pt x="668" y="514"/>
                  </a:lnTo>
                  <a:lnTo>
                    <a:pt x="668" y="509"/>
                  </a:lnTo>
                  <a:lnTo>
                    <a:pt x="673" y="503"/>
                  </a:lnTo>
                  <a:lnTo>
                    <a:pt x="675" y="499"/>
                  </a:lnTo>
                  <a:lnTo>
                    <a:pt x="679" y="501"/>
                  </a:lnTo>
                  <a:lnTo>
                    <a:pt x="692" y="501"/>
                  </a:lnTo>
                  <a:lnTo>
                    <a:pt x="698" y="505"/>
                  </a:lnTo>
                  <a:lnTo>
                    <a:pt x="700" y="509"/>
                  </a:lnTo>
                  <a:lnTo>
                    <a:pt x="713" y="509"/>
                  </a:lnTo>
                  <a:lnTo>
                    <a:pt x="713" y="514"/>
                  </a:lnTo>
                  <a:lnTo>
                    <a:pt x="717" y="518"/>
                  </a:lnTo>
                  <a:lnTo>
                    <a:pt x="724" y="524"/>
                  </a:lnTo>
                  <a:lnTo>
                    <a:pt x="732" y="524"/>
                  </a:lnTo>
                  <a:lnTo>
                    <a:pt x="739" y="524"/>
                  </a:lnTo>
                  <a:lnTo>
                    <a:pt x="749" y="518"/>
                  </a:lnTo>
                  <a:lnTo>
                    <a:pt x="751" y="520"/>
                  </a:lnTo>
                  <a:lnTo>
                    <a:pt x="753" y="520"/>
                  </a:lnTo>
                  <a:lnTo>
                    <a:pt x="758" y="520"/>
                  </a:lnTo>
                  <a:lnTo>
                    <a:pt x="756" y="527"/>
                  </a:lnTo>
                  <a:lnTo>
                    <a:pt x="756" y="531"/>
                  </a:lnTo>
                  <a:lnTo>
                    <a:pt x="756" y="535"/>
                  </a:lnTo>
                  <a:lnTo>
                    <a:pt x="751" y="539"/>
                  </a:lnTo>
                  <a:lnTo>
                    <a:pt x="751" y="542"/>
                  </a:lnTo>
                  <a:lnTo>
                    <a:pt x="754" y="548"/>
                  </a:lnTo>
                  <a:lnTo>
                    <a:pt x="754" y="552"/>
                  </a:lnTo>
                  <a:lnTo>
                    <a:pt x="758" y="558"/>
                  </a:lnTo>
                  <a:lnTo>
                    <a:pt x="758" y="561"/>
                  </a:lnTo>
                  <a:lnTo>
                    <a:pt x="758" y="565"/>
                  </a:lnTo>
                  <a:lnTo>
                    <a:pt x="758" y="576"/>
                  </a:lnTo>
                  <a:lnTo>
                    <a:pt x="762" y="576"/>
                  </a:lnTo>
                  <a:lnTo>
                    <a:pt x="762" y="573"/>
                  </a:lnTo>
                  <a:lnTo>
                    <a:pt x="762" y="569"/>
                  </a:lnTo>
                  <a:lnTo>
                    <a:pt x="762" y="567"/>
                  </a:lnTo>
                  <a:lnTo>
                    <a:pt x="762" y="563"/>
                  </a:lnTo>
                  <a:lnTo>
                    <a:pt x="768" y="561"/>
                  </a:lnTo>
                  <a:lnTo>
                    <a:pt x="768" y="556"/>
                  </a:lnTo>
                  <a:lnTo>
                    <a:pt x="771" y="558"/>
                  </a:lnTo>
                  <a:lnTo>
                    <a:pt x="773" y="565"/>
                  </a:lnTo>
                  <a:lnTo>
                    <a:pt x="773" y="573"/>
                  </a:lnTo>
                  <a:lnTo>
                    <a:pt x="775" y="574"/>
                  </a:lnTo>
                  <a:lnTo>
                    <a:pt x="771" y="576"/>
                  </a:lnTo>
                  <a:lnTo>
                    <a:pt x="771" y="582"/>
                  </a:lnTo>
                  <a:lnTo>
                    <a:pt x="769" y="582"/>
                  </a:lnTo>
                  <a:lnTo>
                    <a:pt x="777" y="588"/>
                  </a:lnTo>
                  <a:lnTo>
                    <a:pt x="783" y="588"/>
                  </a:lnTo>
                  <a:lnTo>
                    <a:pt x="788" y="590"/>
                  </a:lnTo>
                  <a:lnTo>
                    <a:pt x="792" y="593"/>
                  </a:lnTo>
                  <a:lnTo>
                    <a:pt x="792" y="597"/>
                  </a:lnTo>
                  <a:lnTo>
                    <a:pt x="796" y="599"/>
                  </a:lnTo>
                  <a:lnTo>
                    <a:pt x="803" y="599"/>
                  </a:lnTo>
                  <a:lnTo>
                    <a:pt x="811" y="608"/>
                  </a:lnTo>
                  <a:lnTo>
                    <a:pt x="811" y="606"/>
                  </a:lnTo>
                  <a:lnTo>
                    <a:pt x="811" y="599"/>
                  </a:lnTo>
                  <a:lnTo>
                    <a:pt x="817" y="595"/>
                  </a:lnTo>
                  <a:lnTo>
                    <a:pt x="818" y="595"/>
                  </a:lnTo>
                  <a:lnTo>
                    <a:pt x="828" y="599"/>
                  </a:lnTo>
                  <a:lnTo>
                    <a:pt x="833" y="599"/>
                  </a:lnTo>
                  <a:lnTo>
                    <a:pt x="837" y="603"/>
                  </a:lnTo>
                  <a:lnTo>
                    <a:pt x="837" y="612"/>
                  </a:lnTo>
                  <a:lnTo>
                    <a:pt x="837" y="603"/>
                  </a:lnTo>
                  <a:lnTo>
                    <a:pt x="835" y="599"/>
                  </a:lnTo>
                  <a:lnTo>
                    <a:pt x="832" y="599"/>
                  </a:lnTo>
                  <a:lnTo>
                    <a:pt x="826" y="597"/>
                  </a:lnTo>
                  <a:lnTo>
                    <a:pt x="818" y="593"/>
                  </a:lnTo>
                  <a:lnTo>
                    <a:pt x="813" y="593"/>
                  </a:lnTo>
                  <a:lnTo>
                    <a:pt x="809" y="599"/>
                  </a:lnTo>
                  <a:lnTo>
                    <a:pt x="805" y="597"/>
                  </a:lnTo>
                  <a:lnTo>
                    <a:pt x="805" y="599"/>
                  </a:lnTo>
                  <a:lnTo>
                    <a:pt x="798" y="595"/>
                  </a:lnTo>
                  <a:lnTo>
                    <a:pt x="792" y="588"/>
                  </a:lnTo>
                  <a:lnTo>
                    <a:pt x="788" y="586"/>
                  </a:lnTo>
                  <a:lnTo>
                    <a:pt x="781" y="584"/>
                  </a:lnTo>
                  <a:lnTo>
                    <a:pt x="777" y="578"/>
                  </a:lnTo>
                  <a:lnTo>
                    <a:pt x="781" y="582"/>
                  </a:lnTo>
                  <a:lnTo>
                    <a:pt x="783" y="582"/>
                  </a:lnTo>
                  <a:lnTo>
                    <a:pt x="788" y="573"/>
                  </a:lnTo>
                  <a:lnTo>
                    <a:pt x="786" y="569"/>
                  </a:lnTo>
                  <a:lnTo>
                    <a:pt x="781" y="563"/>
                  </a:lnTo>
                  <a:lnTo>
                    <a:pt x="779" y="556"/>
                  </a:lnTo>
                  <a:lnTo>
                    <a:pt x="773" y="548"/>
                  </a:lnTo>
                  <a:lnTo>
                    <a:pt x="768" y="542"/>
                  </a:lnTo>
                  <a:lnTo>
                    <a:pt x="764" y="539"/>
                  </a:lnTo>
                  <a:lnTo>
                    <a:pt x="768" y="535"/>
                  </a:lnTo>
                  <a:lnTo>
                    <a:pt x="764" y="531"/>
                  </a:lnTo>
                  <a:lnTo>
                    <a:pt x="762" y="522"/>
                  </a:lnTo>
                  <a:lnTo>
                    <a:pt x="758" y="518"/>
                  </a:lnTo>
                  <a:lnTo>
                    <a:pt x="758" y="518"/>
                  </a:lnTo>
                  <a:lnTo>
                    <a:pt x="751" y="514"/>
                  </a:lnTo>
                  <a:lnTo>
                    <a:pt x="741" y="512"/>
                  </a:lnTo>
                  <a:lnTo>
                    <a:pt x="737" y="509"/>
                  </a:lnTo>
                  <a:lnTo>
                    <a:pt x="734" y="505"/>
                  </a:lnTo>
                  <a:lnTo>
                    <a:pt x="734" y="499"/>
                  </a:lnTo>
                  <a:lnTo>
                    <a:pt x="732" y="495"/>
                  </a:lnTo>
                  <a:lnTo>
                    <a:pt x="732" y="493"/>
                  </a:lnTo>
                  <a:lnTo>
                    <a:pt x="728" y="495"/>
                  </a:lnTo>
                  <a:lnTo>
                    <a:pt x="713" y="495"/>
                  </a:lnTo>
                  <a:lnTo>
                    <a:pt x="709" y="495"/>
                  </a:lnTo>
                  <a:lnTo>
                    <a:pt x="704" y="492"/>
                  </a:lnTo>
                  <a:lnTo>
                    <a:pt x="704" y="488"/>
                  </a:lnTo>
                  <a:lnTo>
                    <a:pt x="704" y="488"/>
                  </a:lnTo>
                  <a:lnTo>
                    <a:pt x="700" y="484"/>
                  </a:lnTo>
                  <a:lnTo>
                    <a:pt x="700" y="478"/>
                  </a:lnTo>
                  <a:lnTo>
                    <a:pt x="696" y="469"/>
                  </a:lnTo>
                  <a:lnTo>
                    <a:pt x="689" y="465"/>
                  </a:lnTo>
                  <a:lnTo>
                    <a:pt x="690" y="463"/>
                  </a:lnTo>
                  <a:lnTo>
                    <a:pt x="690" y="460"/>
                  </a:lnTo>
                  <a:lnTo>
                    <a:pt x="687" y="460"/>
                  </a:lnTo>
                  <a:lnTo>
                    <a:pt x="685" y="458"/>
                  </a:lnTo>
                  <a:lnTo>
                    <a:pt x="685" y="454"/>
                  </a:lnTo>
                  <a:lnTo>
                    <a:pt x="687" y="450"/>
                  </a:lnTo>
                  <a:lnTo>
                    <a:pt x="681" y="446"/>
                  </a:lnTo>
                  <a:lnTo>
                    <a:pt x="685" y="444"/>
                  </a:lnTo>
                  <a:lnTo>
                    <a:pt x="690" y="444"/>
                  </a:lnTo>
                  <a:lnTo>
                    <a:pt x="694" y="441"/>
                  </a:lnTo>
                  <a:lnTo>
                    <a:pt x="700" y="441"/>
                  </a:lnTo>
                  <a:lnTo>
                    <a:pt x="707" y="437"/>
                  </a:lnTo>
                  <a:lnTo>
                    <a:pt x="722" y="431"/>
                  </a:lnTo>
                  <a:lnTo>
                    <a:pt x="728" y="429"/>
                  </a:lnTo>
                  <a:lnTo>
                    <a:pt x="734" y="426"/>
                  </a:lnTo>
                  <a:lnTo>
                    <a:pt x="737" y="429"/>
                  </a:lnTo>
                  <a:lnTo>
                    <a:pt x="741" y="426"/>
                  </a:lnTo>
                  <a:lnTo>
                    <a:pt x="743" y="420"/>
                  </a:lnTo>
                  <a:lnTo>
                    <a:pt x="751" y="420"/>
                  </a:lnTo>
                  <a:lnTo>
                    <a:pt x="762" y="414"/>
                  </a:lnTo>
                  <a:lnTo>
                    <a:pt x="764" y="416"/>
                  </a:lnTo>
                  <a:lnTo>
                    <a:pt x="762" y="420"/>
                  </a:lnTo>
                  <a:lnTo>
                    <a:pt x="762" y="424"/>
                  </a:lnTo>
                  <a:lnTo>
                    <a:pt x="758" y="424"/>
                  </a:lnTo>
                  <a:lnTo>
                    <a:pt x="756" y="431"/>
                  </a:lnTo>
                  <a:lnTo>
                    <a:pt x="756" y="435"/>
                  </a:lnTo>
                  <a:lnTo>
                    <a:pt x="762" y="443"/>
                  </a:lnTo>
                  <a:lnTo>
                    <a:pt x="769" y="443"/>
                  </a:lnTo>
                  <a:lnTo>
                    <a:pt x="768" y="441"/>
                  </a:lnTo>
                  <a:lnTo>
                    <a:pt x="758" y="433"/>
                  </a:lnTo>
                  <a:lnTo>
                    <a:pt x="758" y="431"/>
                  </a:lnTo>
                  <a:lnTo>
                    <a:pt x="762" y="426"/>
                  </a:lnTo>
                  <a:lnTo>
                    <a:pt x="769" y="424"/>
                  </a:lnTo>
                  <a:lnTo>
                    <a:pt x="773" y="416"/>
                  </a:lnTo>
                  <a:lnTo>
                    <a:pt x="769" y="411"/>
                  </a:lnTo>
                  <a:lnTo>
                    <a:pt x="768" y="411"/>
                  </a:lnTo>
                  <a:lnTo>
                    <a:pt x="762" y="407"/>
                  </a:lnTo>
                  <a:lnTo>
                    <a:pt x="762" y="403"/>
                  </a:lnTo>
                  <a:lnTo>
                    <a:pt x="756" y="403"/>
                  </a:lnTo>
                  <a:lnTo>
                    <a:pt x="754" y="405"/>
                  </a:lnTo>
                  <a:lnTo>
                    <a:pt x="753" y="403"/>
                  </a:lnTo>
                  <a:lnTo>
                    <a:pt x="751" y="399"/>
                  </a:lnTo>
                  <a:lnTo>
                    <a:pt x="743" y="399"/>
                  </a:lnTo>
                  <a:lnTo>
                    <a:pt x="741" y="399"/>
                  </a:lnTo>
                  <a:lnTo>
                    <a:pt x="737" y="396"/>
                  </a:lnTo>
                  <a:lnTo>
                    <a:pt x="737" y="394"/>
                  </a:lnTo>
                  <a:lnTo>
                    <a:pt x="737" y="390"/>
                  </a:lnTo>
                  <a:lnTo>
                    <a:pt x="741" y="390"/>
                  </a:lnTo>
                  <a:lnTo>
                    <a:pt x="745" y="394"/>
                  </a:lnTo>
                  <a:lnTo>
                    <a:pt x="749" y="394"/>
                  </a:lnTo>
                  <a:lnTo>
                    <a:pt x="753" y="390"/>
                  </a:lnTo>
                  <a:lnTo>
                    <a:pt x="751" y="390"/>
                  </a:lnTo>
                  <a:lnTo>
                    <a:pt x="749" y="390"/>
                  </a:lnTo>
                  <a:lnTo>
                    <a:pt x="745" y="390"/>
                  </a:lnTo>
                  <a:lnTo>
                    <a:pt x="741" y="386"/>
                  </a:lnTo>
                  <a:lnTo>
                    <a:pt x="741" y="384"/>
                  </a:lnTo>
                  <a:lnTo>
                    <a:pt x="737" y="384"/>
                  </a:lnTo>
                  <a:lnTo>
                    <a:pt x="732" y="382"/>
                  </a:lnTo>
                  <a:lnTo>
                    <a:pt x="728" y="384"/>
                  </a:lnTo>
                  <a:lnTo>
                    <a:pt x="724" y="380"/>
                  </a:lnTo>
                  <a:lnTo>
                    <a:pt x="728" y="377"/>
                  </a:lnTo>
                  <a:lnTo>
                    <a:pt x="728" y="373"/>
                  </a:lnTo>
                  <a:lnTo>
                    <a:pt x="724" y="371"/>
                  </a:lnTo>
                  <a:lnTo>
                    <a:pt x="724" y="369"/>
                  </a:lnTo>
                  <a:lnTo>
                    <a:pt x="728" y="371"/>
                  </a:lnTo>
                  <a:lnTo>
                    <a:pt x="734" y="377"/>
                  </a:lnTo>
                  <a:lnTo>
                    <a:pt x="737" y="375"/>
                  </a:lnTo>
                  <a:lnTo>
                    <a:pt x="739" y="380"/>
                  </a:lnTo>
                  <a:lnTo>
                    <a:pt x="739" y="377"/>
                  </a:lnTo>
                  <a:lnTo>
                    <a:pt x="739" y="375"/>
                  </a:lnTo>
                  <a:lnTo>
                    <a:pt x="743" y="373"/>
                  </a:lnTo>
                  <a:lnTo>
                    <a:pt x="743" y="365"/>
                  </a:lnTo>
                  <a:lnTo>
                    <a:pt x="741" y="362"/>
                  </a:lnTo>
                  <a:lnTo>
                    <a:pt x="741" y="362"/>
                  </a:lnTo>
                  <a:lnTo>
                    <a:pt x="745" y="362"/>
                  </a:lnTo>
                  <a:lnTo>
                    <a:pt x="747" y="360"/>
                  </a:lnTo>
                  <a:lnTo>
                    <a:pt x="737" y="356"/>
                  </a:lnTo>
                  <a:lnTo>
                    <a:pt x="737" y="360"/>
                  </a:lnTo>
                  <a:lnTo>
                    <a:pt x="734" y="360"/>
                  </a:lnTo>
                  <a:lnTo>
                    <a:pt x="734" y="356"/>
                  </a:lnTo>
                  <a:lnTo>
                    <a:pt x="737" y="354"/>
                  </a:lnTo>
                  <a:lnTo>
                    <a:pt x="743" y="352"/>
                  </a:lnTo>
                  <a:lnTo>
                    <a:pt x="749" y="352"/>
                  </a:lnTo>
                  <a:lnTo>
                    <a:pt x="749" y="348"/>
                  </a:lnTo>
                  <a:lnTo>
                    <a:pt x="753" y="343"/>
                  </a:lnTo>
                  <a:lnTo>
                    <a:pt x="753" y="339"/>
                  </a:lnTo>
                  <a:lnTo>
                    <a:pt x="753" y="339"/>
                  </a:lnTo>
                  <a:lnTo>
                    <a:pt x="753" y="337"/>
                  </a:lnTo>
                  <a:lnTo>
                    <a:pt x="756" y="331"/>
                  </a:lnTo>
                  <a:lnTo>
                    <a:pt x="758" y="331"/>
                  </a:lnTo>
                  <a:lnTo>
                    <a:pt x="758" y="335"/>
                  </a:lnTo>
                  <a:lnTo>
                    <a:pt x="762" y="335"/>
                  </a:lnTo>
                  <a:lnTo>
                    <a:pt x="762" y="331"/>
                  </a:lnTo>
                  <a:lnTo>
                    <a:pt x="762" y="331"/>
                  </a:lnTo>
                  <a:lnTo>
                    <a:pt x="762" y="328"/>
                  </a:lnTo>
                  <a:lnTo>
                    <a:pt x="762" y="326"/>
                  </a:lnTo>
                  <a:lnTo>
                    <a:pt x="768" y="324"/>
                  </a:lnTo>
                  <a:lnTo>
                    <a:pt x="769" y="322"/>
                  </a:lnTo>
                  <a:lnTo>
                    <a:pt x="769" y="318"/>
                  </a:lnTo>
                  <a:lnTo>
                    <a:pt x="773" y="318"/>
                  </a:lnTo>
                  <a:lnTo>
                    <a:pt x="775" y="320"/>
                  </a:lnTo>
                  <a:lnTo>
                    <a:pt x="783" y="318"/>
                  </a:lnTo>
                  <a:lnTo>
                    <a:pt x="781" y="316"/>
                  </a:lnTo>
                  <a:lnTo>
                    <a:pt x="781" y="313"/>
                  </a:lnTo>
                  <a:lnTo>
                    <a:pt x="788" y="311"/>
                  </a:lnTo>
                  <a:lnTo>
                    <a:pt x="794" y="311"/>
                  </a:lnTo>
                  <a:lnTo>
                    <a:pt x="796" y="305"/>
                  </a:lnTo>
                  <a:lnTo>
                    <a:pt x="807" y="301"/>
                  </a:lnTo>
                  <a:lnTo>
                    <a:pt x="807" y="298"/>
                  </a:lnTo>
                  <a:lnTo>
                    <a:pt x="805" y="298"/>
                  </a:lnTo>
                  <a:lnTo>
                    <a:pt x="798" y="301"/>
                  </a:lnTo>
                  <a:lnTo>
                    <a:pt x="796" y="299"/>
                  </a:lnTo>
                  <a:lnTo>
                    <a:pt x="792" y="301"/>
                  </a:lnTo>
                  <a:lnTo>
                    <a:pt x="788" y="301"/>
                  </a:lnTo>
                  <a:lnTo>
                    <a:pt x="788" y="292"/>
                  </a:lnTo>
                  <a:lnTo>
                    <a:pt x="792" y="292"/>
                  </a:lnTo>
                  <a:lnTo>
                    <a:pt x="792" y="288"/>
                  </a:lnTo>
                  <a:lnTo>
                    <a:pt x="794" y="288"/>
                  </a:lnTo>
                  <a:lnTo>
                    <a:pt x="796" y="290"/>
                  </a:lnTo>
                  <a:lnTo>
                    <a:pt x="796" y="290"/>
                  </a:lnTo>
                  <a:lnTo>
                    <a:pt x="800" y="288"/>
                  </a:lnTo>
                  <a:lnTo>
                    <a:pt x="794" y="284"/>
                  </a:lnTo>
                  <a:lnTo>
                    <a:pt x="800" y="282"/>
                  </a:lnTo>
                  <a:lnTo>
                    <a:pt x="803" y="284"/>
                  </a:lnTo>
                  <a:lnTo>
                    <a:pt x="807" y="286"/>
                  </a:lnTo>
                  <a:lnTo>
                    <a:pt x="813" y="282"/>
                  </a:lnTo>
                  <a:lnTo>
                    <a:pt x="817" y="282"/>
                  </a:lnTo>
                  <a:lnTo>
                    <a:pt x="826" y="281"/>
                  </a:lnTo>
                  <a:lnTo>
                    <a:pt x="830" y="281"/>
                  </a:lnTo>
                  <a:lnTo>
                    <a:pt x="832" y="282"/>
                  </a:lnTo>
                  <a:lnTo>
                    <a:pt x="826" y="292"/>
                  </a:lnTo>
                  <a:lnTo>
                    <a:pt x="826" y="296"/>
                  </a:lnTo>
                  <a:lnTo>
                    <a:pt x="832" y="298"/>
                  </a:lnTo>
                  <a:lnTo>
                    <a:pt x="832" y="292"/>
                  </a:lnTo>
                  <a:lnTo>
                    <a:pt x="835" y="286"/>
                  </a:lnTo>
                  <a:lnTo>
                    <a:pt x="835" y="282"/>
                  </a:lnTo>
                  <a:lnTo>
                    <a:pt x="835" y="281"/>
                  </a:lnTo>
                  <a:lnTo>
                    <a:pt x="837" y="284"/>
                  </a:lnTo>
                  <a:lnTo>
                    <a:pt x="837" y="290"/>
                  </a:lnTo>
                  <a:lnTo>
                    <a:pt x="841" y="290"/>
                  </a:lnTo>
                  <a:lnTo>
                    <a:pt x="843" y="286"/>
                  </a:lnTo>
                  <a:lnTo>
                    <a:pt x="841" y="282"/>
                  </a:lnTo>
                  <a:lnTo>
                    <a:pt x="847" y="281"/>
                  </a:lnTo>
                  <a:lnTo>
                    <a:pt x="847" y="281"/>
                  </a:lnTo>
                  <a:lnTo>
                    <a:pt x="847" y="284"/>
                  </a:lnTo>
                  <a:lnTo>
                    <a:pt x="852" y="281"/>
                  </a:lnTo>
                  <a:lnTo>
                    <a:pt x="852" y="277"/>
                  </a:lnTo>
                  <a:lnTo>
                    <a:pt x="850" y="277"/>
                  </a:lnTo>
                  <a:lnTo>
                    <a:pt x="854" y="277"/>
                  </a:lnTo>
                  <a:lnTo>
                    <a:pt x="856" y="273"/>
                  </a:lnTo>
                  <a:lnTo>
                    <a:pt x="852" y="271"/>
                  </a:lnTo>
                  <a:lnTo>
                    <a:pt x="858" y="267"/>
                  </a:lnTo>
                  <a:lnTo>
                    <a:pt x="862" y="267"/>
                  </a:lnTo>
                  <a:lnTo>
                    <a:pt x="865" y="266"/>
                  </a:lnTo>
                  <a:lnTo>
                    <a:pt x="867" y="267"/>
                  </a:lnTo>
                  <a:lnTo>
                    <a:pt x="867" y="267"/>
                  </a:lnTo>
                  <a:lnTo>
                    <a:pt x="867" y="271"/>
                  </a:lnTo>
                  <a:lnTo>
                    <a:pt x="875" y="271"/>
                  </a:lnTo>
                  <a:lnTo>
                    <a:pt x="875" y="277"/>
                  </a:lnTo>
                  <a:lnTo>
                    <a:pt x="877" y="277"/>
                  </a:lnTo>
                  <a:lnTo>
                    <a:pt x="875" y="286"/>
                  </a:lnTo>
                  <a:lnTo>
                    <a:pt x="879" y="282"/>
                  </a:lnTo>
                  <a:lnTo>
                    <a:pt x="882" y="277"/>
                  </a:lnTo>
                  <a:lnTo>
                    <a:pt x="879" y="267"/>
                  </a:lnTo>
                  <a:lnTo>
                    <a:pt x="875" y="266"/>
                  </a:lnTo>
                  <a:lnTo>
                    <a:pt x="871" y="260"/>
                  </a:lnTo>
                  <a:lnTo>
                    <a:pt x="867" y="264"/>
                  </a:lnTo>
                  <a:lnTo>
                    <a:pt x="865" y="262"/>
                  </a:lnTo>
                  <a:lnTo>
                    <a:pt x="860" y="262"/>
                  </a:lnTo>
                  <a:lnTo>
                    <a:pt x="860" y="260"/>
                  </a:lnTo>
                  <a:lnTo>
                    <a:pt x="854" y="258"/>
                  </a:lnTo>
                  <a:lnTo>
                    <a:pt x="854" y="256"/>
                  </a:lnTo>
                  <a:lnTo>
                    <a:pt x="858" y="252"/>
                  </a:lnTo>
                  <a:lnTo>
                    <a:pt x="865" y="252"/>
                  </a:lnTo>
                  <a:lnTo>
                    <a:pt x="867" y="250"/>
                  </a:lnTo>
                  <a:lnTo>
                    <a:pt x="871" y="250"/>
                  </a:lnTo>
                  <a:lnTo>
                    <a:pt x="875" y="250"/>
                  </a:lnTo>
                  <a:lnTo>
                    <a:pt x="877" y="250"/>
                  </a:lnTo>
                  <a:lnTo>
                    <a:pt x="881" y="250"/>
                  </a:lnTo>
                  <a:lnTo>
                    <a:pt x="888" y="247"/>
                  </a:lnTo>
                  <a:lnTo>
                    <a:pt x="894" y="250"/>
                  </a:lnTo>
                  <a:lnTo>
                    <a:pt x="896" y="250"/>
                  </a:lnTo>
                  <a:lnTo>
                    <a:pt x="899" y="250"/>
                  </a:lnTo>
                  <a:lnTo>
                    <a:pt x="901" y="249"/>
                  </a:lnTo>
                  <a:lnTo>
                    <a:pt x="901" y="247"/>
                  </a:lnTo>
                  <a:lnTo>
                    <a:pt x="896" y="247"/>
                  </a:lnTo>
                  <a:lnTo>
                    <a:pt x="890" y="243"/>
                  </a:lnTo>
                  <a:lnTo>
                    <a:pt x="884" y="247"/>
                  </a:lnTo>
                  <a:lnTo>
                    <a:pt x="877" y="243"/>
                  </a:lnTo>
                  <a:lnTo>
                    <a:pt x="877" y="241"/>
                  </a:lnTo>
                  <a:lnTo>
                    <a:pt x="875" y="237"/>
                  </a:lnTo>
                  <a:lnTo>
                    <a:pt x="881" y="234"/>
                  </a:lnTo>
                  <a:lnTo>
                    <a:pt x="877" y="234"/>
                  </a:lnTo>
                  <a:lnTo>
                    <a:pt x="871" y="228"/>
                  </a:lnTo>
                  <a:lnTo>
                    <a:pt x="867" y="228"/>
                  </a:lnTo>
                  <a:lnTo>
                    <a:pt x="865" y="222"/>
                  </a:lnTo>
                  <a:lnTo>
                    <a:pt x="865" y="218"/>
                  </a:lnTo>
                  <a:lnTo>
                    <a:pt x="867" y="218"/>
                  </a:lnTo>
                  <a:lnTo>
                    <a:pt x="867" y="213"/>
                  </a:lnTo>
                  <a:lnTo>
                    <a:pt x="864" y="211"/>
                  </a:lnTo>
                  <a:lnTo>
                    <a:pt x="865" y="192"/>
                  </a:lnTo>
                  <a:lnTo>
                    <a:pt x="867" y="188"/>
                  </a:lnTo>
                  <a:lnTo>
                    <a:pt x="867" y="183"/>
                  </a:lnTo>
                  <a:lnTo>
                    <a:pt x="867" y="179"/>
                  </a:lnTo>
                  <a:lnTo>
                    <a:pt x="871" y="173"/>
                  </a:lnTo>
                  <a:lnTo>
                    <a:pt x="867" y="171"/>
                  </a:lnTo>
                  <a:lnTo>
                    <a:pt x="871" y="169"/>
                  </a:lnTo>
                  <a:lnTo>
                    <a:pt x="871" y="166"/>
                  </a:lnTo>
                  <a:lnTo>
                    <a:pt x="877" y="162"/>
                  </a:lnTo>
                  <a:lnTo>
                    <a:pt x="881" y="162"/>
                  </a:lnTo>
                  <a:lnTo>
                    <a:pt x="884" y="168"/>
                  </a:lnTo>
                  <a:lnTo>
                    <a:pt x="888" y="164"/>
                  </a:lnTo>
                  <a:lnTo>
                    <a:pt x="892" y="164"/>
                  </a:lnTo>
                  <a:lnTo>
                    <a:pt x="894" y="169"/>
                  </a:lnTo>
                  <a:lnTo>
                    <a:pt x="899" y="169"/>
                  </a:lnTo>
                  <a:lnTo>
                    <a:pt x="905" y="166"/>
                  </a:lnTo>
                  <a:lnTo>
                    <a:pt x="905" y="166"/>
                  </a:lnTo>
                  <a:lnTo>
                    <a:pt x="905" y="171"/>
                  </a:lnTo>
                  <a:lnTo>
                    <a:pt x="907" y="173"/>
                  </a:lnTo>
                  <a:lnTo>
                    <a:pt x="913" y="173"/>
                  </a:lnTo>
                  <a:lnTo>
                    <a:pt x="913" y="177"/>
                  </a:lnTo>
                  <a:lnTo>
                    <a:pt x="909" y="179"/>
                  </a:lnTo>
                  <a:lnTo>
                    <a:pt x="909" y="179"/>
                  </a:lnTo>
                  <a:lnTo>
                    <a:pt x="907" y="183"/>
                  </a:lnTo>
                  <a:lnTo>
                    <a:pt x="909" y="186"/>
                  </a:lnTo>
                  <a:lnTo>
                    <a:pt x="905" y="192"/>
                  </a:lnTo>
                  <a:lnTo>
                    <a:pt x="901" y="194"/>
                  </a:lnTo>
                  <a:lnTo>
                    <a:pt x="899" y="200"/>
                  </a:lnTo>
                  <a:lnTo>
                    <a:pt x="901" y="200"/>
                  </a:lnTo>
                  <a:lnTo>
                    <a:pt x="909" y="196"/>
                  </a:lnTo>
                  <a:lnTo>
                    <a:pt x="914" y="186"/>
                  </a:lnTo>
                  <a:lnTo>
                    <a:pt x="918" y="188"/>
                  </a:lnTo>
                  <a:lnTo>
                    <a:pt x="918" y="190"/>
                  </a:lnTo>
                  <a:lnTo>
                    <a:pt x="914" y="194"/>
                  </a:lnTo>
                  <a:lnTo>
                    <a:pt x="916" y="198"/>
                  </a:lnTo>
                  <a:lnTo>
                    <a:pt x="920" y="198"/>
                  </a:lnTo>
                  <a:lnTo>
                    <a:pt x="922" y="192"/>
                  </a:lnTo>
                  <a:lnTo>
                    <a:pt x="926" y="190"/>
                  </a:lnTo>
                  <a:lnTo>
                    <a:pt x="929" y="192"/>
                  </a:lnTo>
                  <a:lnTo>
                    <a:pt x="931" y="190"/>
                  </a:lnTo>
                  <a:lnTo>
                    <a:pt x="933" y="186"/>
                  </a:lnTo>
                  <a:lnTo>
                    <a:pt x="935" y="186"/>
                  </a:lnTo>
                  <a:lnTo>
                    <a:pt x="937" y="188"/>
                  </a:lnTo>
                  <a:lnTo>
                    <a:pt x="941" y="186"/>
                  </a:lnTo>
                  <a:lnTo>
                    <a:pt x="946" y="192"/>
                  </a:lnTo>
                  <a:lnTo>
                    <a:pt x="946" y="196"/>
                  </a:lnTo>
                  <a:lnTo>
                    <a:pt x="948" y="201"/>
                  </a:lnTo>
                  <a:lnTo>
                    <a:pt x="946" y="203"/>
                  </a:lnTo>
                  <a:lnTo>
                    <a:pt x="946" y="207"/>
                  </a:lnTo>
                  <a:lnTo>
                    <a:pt x="945" y="213"/>
                  </a:lnTo>
                  <a:lnTo>
                    <a:pt x="948" y="218"/>
                  </a:lnTo>
                  <a:lnTo>
                    <a:pt x="948" y="224"/>
                  </a:lnTo>
                  <a:lnTo>
                    <a:pt x="945" y="224"/>
                  </a:lnTo>
                  <a:lnTo>
                    <a:pt x="943" y="228"/>
                  </a:lnTo>
                  <a:lnTo>
                    <a:pt x="945" y="228"/>
                  </a:lnTo>
                  <a:lnTo>
                    <a:pt x="950" y="226"/>
                  </a:lnTo>
                  <a:lnTo>
                    <a:pt x="954" y="222"/>
                  </a:lnTo>
                  <a:lnTo>
                    <a:pt x="963" y="222"/>
                  </a:lnTo>
                  <a:lnTo>
                    <a:pt x="963" y="217"/>
                  </a:lnTo>
                  <a:lnTo>
                    <a:pt x="963" y="211"/>
                  </a:lnTo>
                  <a:lnTo>
                    <a:pt x="963" y="205"/>
                  </a:lnTo>
                  <a:lnTo>
                    <a:pt x="960" y="205"/>
                  </a:lnTo>
                  <a:lnTo>
                    <a:pt x="956" y="205"/>
                  </a:lnTo>
                  <a:lnTo>
                    <a:pt x="956" y="201"/>
                  </a:lnTo>
                  <a:lnTo>
                    <a:pt x="960" y="200"/>
                  </a:lnTo>
                  <a:lnTo>
                    <a:pt x="960" y="200"/>
                  </a:lnTo>
                  <a:lnTo>
                    <a:pt x="963" y="201"/>
                  </a:lnTo>
                  <a:lnTo>
                    <a:pt x="965" y="200"/>
                  </a:lnTo>
                  <a:lnTo>
                    <a:pt x="971" y="198"/>
                  </a:lnTo>
                  <a:lnTo>
                    <a:pt x="977" y="192"/>
                  </a:lnTo>
                  <a:lnTo>
                    <a:pt x="978" y="194"/>
                  </a:lnTo>
                  <a:lnTo>
                    <a:pt x="984" y="194"/>
                  </a:lnTo>
                  <a:lnTo>
                    <a:pt x="984" y="190"/>
                  </a:lnTo>
                  <a:lnTo>
                    <a:pt x="988" y="186"/>
                  </a:lnTo>
                  <a:lnTo>
                    <a:pt x="990" y="186"/>
                  </a:lnTo>
                  <a:lnTo>
                    <a:pt x="992" y="186"/>
                  </a:lnTo>
                  <a:lnTo>
                    <a:pt x="995" y="183"/>
                  </a:lnTo>
                  <a:lnTo>
                    <a:pt x="997" y="186"/>
                  </a:lnTo>
                  <a:lnTo>
                    <a:pt x="1001" y="186"/>
                  </a:lnTo>
                  <a:lnTo>
                    <a:pt x="1003" y="186"/>
                  </a:lnTo>
                  <a:lnTo>
                    <a:pt x="1001" y="188"/>
                  </a:lnTo>
                  <a:lnTo>
                    <a:pt x="1001" y="192"/>
                  </a:lnTo>
                  <a:lnTo>
                    <a:pt x="1009" y="190"/>
                  </a:lnTo>
                  <a:lnTo>
                    <a:pt x="1012" y="192"/>
                  </a:lnTo>
                  <a:lnTo>
                    <a:pt x="1014" y="194"/>
                  </a:lnTo>
                  <a:lnTo>
                    <a:pt x="1027" y="201"/>
                  </a:lnTo>
                  <a:lnTo>
                    <a:pt x="1029" y="203"/>
                  </a:lnTo>
                  <a:lnTo>
                    <a:pt x="1033" y="207"/>
                  </a:lnTo>
                  <a:lnTo>
                    <a:pt x="1033" y="207"/>
                  </a:lnTo>
                  <a:lnTo>
                    <a:pt x="1039" y="217"/>
                  </a:lnTo>
                  <a:lnTo>
                    <a:pt x="1042" y="217"/>
                  </a:lnTo>
                  <a:lnTo>
                    <a:pt x="1042" y="213"/>
                  </a:lnTo>
                  <a:lnTo>
                    <a:pt x="1042" y="213"/>
                  </a:lnTo>
                  <a:lnTo>
                    <a:pt x="1042" y="211"/>
                  </a:lnTo>
                  <a:lnTo>
                    <a:pt x="1042" y="207"/>
                  </a:lnTo>
                  <a:lnTo>
                    <a:pt x="1039" y="207"/>
                  </a:lnTo>
                  <a:lnTo>
                    <a:pt x="1039" y="205"/>
                  </a:lnTo>
                  <a:lnTo>
                    <a:pt x="1042" y="203"/>
                  </a:lnTo>
                  <a:lnTo>
                    <a:pt x="1042" y="203"/>
                  </a:lnTo>
                  <a:lnTo>
                    <a:pt x="1044" y="205"/>
                  </a:lnTo>
                  <a:lnTo>
                    <a:pt x="1048" y="207"/>
                  </a:lnTo>
                  <a:lnTo>
                    <a:pt x="1048" y="211"/>
                  </a:lnTo>
                  <a:lnTo>
                    <a:pt x="1054" y="217"/>
                  </a:lnTo>
                  <a:lnTo>
                    <a:pt x="1054" y="218"/>
                  </a:lnTo>
                  <a:lnTo>
                    <a:pt x="1057" y="220"/>
                  </a:lnTo>
                  <a:lnTo>
                    <a:pt x="1059" y="218"/>
                  </a:lnTo>
                  <a:lnTo>
                    <a:pt x="1061" y="218"/>
                  </a:lnTo>
                  <a:lnTo>
                    <a:pt x="1063" y="220"/>
                  </a:lnTo>
                  <a:lnTo>
                    <a:pt x="1063" y="224"/>
                  </a:lnTo>
                  <a:lnTo>
                    <a:pt x="1067" y="228"/>
                  </a:lnTo>
                  <a:lnTo>
                    <a:pt x="1067" y="232"/>
                  </a:lnTo>
                  <a:lnTo>
                    <a:pt x="1067" y="235"/>
                  </a:lnTo>
                  <a:lnTo>
                    <a:pt x="1067" y="235"/>
                  </a:lnTo>
                  <a:lnTo>
                    <a:pt x="1067" y="234"/>
                  </a:lnTo>
                  <a:lnTo>
                    <a:pt x="1063" y="230"/>
                  </a:lnTo>
                  <a:lnTo>
                    <a:pt x="1063" y="230"/>
                  </a:lnTo>
                  <a:lnTo>
                    <a:pt x="1063" y="232"/>
                  </a:lnTo>
                  <a:lnTo>
                    <a:pt x="1059" y="230"/>
                  </a:lnTo>
                  <a:lnTo>
                    <a:pt x="1052" y="226"/>
                  </a:lnTo>
                  <a:lnTo>
                    <a:pt x="1046" y="228"/>
                  </a:lnTo>
                  <a:lnTo>
                    <a:pt x="1046" y="228"/>
                  </a:lnTo>
                  <a:lnTo>
                    <a:pt x="1048" y="232"/>
                  </a:lnTo>
                  <a:lnTo>
                    <a:pt x="1054" y="232"/>
                  </a:lnTo>
                  <a:lnTo>
                    <a:pt x="1056" y="234"/>
                  </a:lnTo>
                  <a:lnTo>
                    <a:pt x="1056" y="235"/>
                  </a:lnTo>
                  <a:lnTo>
                    <a:pt x="1057" y="237"/>
                  </a:lnTo>
                  <a:lnTo>
                    <a:pt x="1059" y="241"/>
                  </a:lnTo>
                  <a:lnTo>
                    <a:pt x="1061" y="237"/>
                  </a:lnTo>
                  <a:lnTo>
                    <a:pt x="1063" y="235"/>
                  </a:lnTo>
                  <a:lnTo>
                    <a:pt x="1063" y="235"/>
                  </a:lnTo>
                  <a:lnTo>
                    <a:pt x="1067" y="237"/>
                  </a:lnTo>
                  <a:lnTo>
                    <a:pt x="1067" y="237"/>
                  </a:lnTo>
                  <a:lnTo>
                    <a:pt x="1069" y="237"/>
                  </a:lnTo>
                  <a:lnTo>
                    <a:pt x="1073" y="237"/>
                  </a:lnTo>
                  <a:lnTo>
                    <a:pt x="1073" y="241"/>
                  </a:lnTo>
                  <a:lnTo>
                    <a:pt x="1073" y="243"/>
                  </a:lnTo>
                  <a:lnTo>
                    <a:pt x="1074" y="249"/>
                  </a:lnTo>
                  <a:lnTo>
                    <a:pt x="1076" y="256"/>
                  </a:lnTo>
                  <a:lnTo>
                    <a:pt x="1076" y="264"/>
                  </a:lnTo>
                  <a:lnTo>
                    <a:pt x="1073" y="267"/>
                  </a:lnTo>
                  <a:lnTo>
                    <a:pt x="1073" y="267"/>
                  </a:lnTo>
                  <a:lnTo>
                    <a:pt x="1073" y="271"/>
                  </a:lnTo>
                  <a:lnTo>
                    <a:pt x="1073" y="277"/>
                  </a:lnTo>
                  <a:lnTo>
                    <a:pt x="1069" y="281"/>
                  </a:lnTo>
                  <a:lnTo>
                    <a:pt x="1069" y="282"/>
                  </a:lnTo>
                  <a:lnTo>
                    <a:pt x="1073" y="284"/>
                  </a:lnTo>
                  <a:lnTo>
                    <a:pt x="1073" y="288"/>
                  </a:lnTo>
                  <a:lnTo>
                    <a:pt x="1067" y="290"/>
                  </a:lnTo>
                  <a:lnTo>
                    <a:pt x="1067" y="294"/>
                  </a:lnTo>
                  <a:lnTo>
                    <a:pt x="1067" y="296"/>
                  </a:lnTo>
                  <a:lnTo>
                    <a:pt x="1063" y="301"/>
                  </a:lnTo>
                  <a:lnTo>
                    <a:pt x="1063" y="305"/>
                  </a:lnTo>
                  <a:lnTo>
                    <a:pt x="1063" y="305"/>
                  </a:lnTo>
                  <a:lnTo>
                    <a:pt x="1061" y="311"/>
                  </a:lnTo>
                  <a:lnTo>
                    <a:pt x="1057" y="311"/>
                  </a:lnTo>
                  <a:lnTo>
                    <a:pt x="1054" y="315"/>
                  </a:lnTo>
                  <a:lnTo>
                    <a:pt x="1048" y="315"/>
                  </a:lnTo>
                  <a:lnTo>
                    <a:pt x="1054" y="316"/>
                  </a:lnTo>
                  <a:lnTo>
                    <a:pt x="1056" y="316"/>
                  </a:lnTo>
                  <a:lnTo>
                    <a:pt x="1059" y="313"/>
                  </a:lnTo>
                  <a:lnTo>
                    <a:pt x="1059" y="313"/>
                  </a:lnTo>
                  <a:lnTo>
                    <a:pt x="1061" y="318"/>
                  </a:lnTo>
                  <a:lnTo>
                    <a:pt x="1059" y="326"/>
                  </a:lnTo>
                  <a:lnTo>
                    <a:pt x="1056" y="330"/>
                  </a:lnTo>
                  <a:lnTo>
                    <a:pt x="1054" y="337"/>
                  </a:lnTo>
                  <a:lnTo>
                    <a:pt x="1056" y="341"/>
                  </a:lnTo>
                  <a:lnTo>
                    <a:pt x="1056" y="345"/>
                  </a:lnTo>
                  <a:lnTo>
                    <a:pt x="1054" y="354"/>
                  </a:lnTo>
                  <a:lnTo>
                    <a:pt x="1048" y="356"/>
                  </a:lnTo>
                  <a:lnTo>
                    <a:pt x="1046" y="354"/>
                  </a:lnTo>
                  <a:lnTo>
                    <a:pt x="1044" y="356"/>
                  </a:lnTo>
                  <a:lnTo>
                    <a:pt x="1042" y="356"/>
                  </a:lnTo>
                  <a:lnTo>
                    <a:pt x="1042" y="360"/>
                  </a:lnTo>
                  <a:lnTo>
                    <a:pt x="1046" y="365"/>
                  </a:lnTo>
                  <a:lnTo>
                    <a:pt x="1044" y="369"/>
                  </a:lnTo>
                  <a:lnTo>
                    <a:pt x="1042" y="371"/>
                  </a:lnTo>
                  <a:lnTo>
                    <a:pt x="1039" y="377"/>
                  </a:lnTo>
                  <a:lnTo>
                    <a:pt x="1042" y="382"/>
                  </a:lnTo>
                  <a:lnTo>
                    <a:pt x="1042" y="386"/>
                  </a:lnTo>
                  <a:lnTo>
                    <a:pt x="1039" y="390"/>
                  </a:lnTo>
                  <a:lnTo>
                    <a:pt x="1039" y="390"/>
                  </a:lnTo>
                  <a:lnTo>
                    <a:pt x="1042" y="394"/>
                  </a:lnTo>
                  <a:lnTo>
                    <a:pt x="1039" y="403"/>
                  </a:lnTo>
                  <a:lnTo>
                    <a:pt x="1039" y="405"/>
                  </a:lnTo>
                  <a:lnTo>
                    <a:pt x="1037" y="409"/>
                  </a:lnTo>
                  <a:lnTo>
                    <a:pt x="1039" y="407"/>
                  </a:lnTo>
                  <a:lnTo>
                    <a:pt x="1042" y="407"/>
                  </a:lnTo>
                  <a:lnTo>
                    <a:pt x="1044" y="403"/>
                  </a:lnTo>
                  <a:lnTo>
                    <a:pt x="1046" y="399"/>
                  </a:lnTo>
                  <a:lnTo>
                    <a:pt x="1044" y="399"/>
                  </a:lnTo>
                  <a:lnTo>
                    <a:pt x="1046" y="396"/>
                  </a:lnTo>
                  <a:lnTo>
                    <a:pt x="1052" y="396"/>
                  </a:lnTo>
                  <a:lnTo>
                    <a:pt x="1054" y="396"/>
                  </a:lnTo>
                  <a:lnTo>
                    <a:pt x="1052" y="396"/>
                  </a:lnTo>
                  <a:lnTo>
                    <a:pt x="1044" y="386"/>
                  </a:lnTo>
                  <a:lnTo>
                    <a:pt x="1042" y="382"/>
                  </a:lnTo>
                  <a:lnTo>
                    <a:pt x="1044" y="379"/>
                  </a:lnTo>
                  <a:lnTo>
                    <a:pt x="1052" y="377"/>
                  </a:lnTo>
                  <a:lnTo>
                    <a:pt x="1059" y="377"/>
                  </a:lnTo>
                  <a:lnTo>
                    <a:pt x="1063" y="371"/>
                  </a:lnTo>
                  <a:lnTo>
                    <a:pt x="1067" y="371"/>
                  </a:lnTo>
                  <a:lnTo>
                    <a:pt x="1067" y="369"/>
                  </a:lnTo>
                  <a:lnTo>
                    <a:pt x="1067" y="365"/>
                  </a:lnTo>
                  <a:lnTo>
                    <a:pt x="1073" y="362"/>
                  </a:lnTo>
                  <a:lnTo>
                    <a:pt x="1074" y="360"/>
                  </a:lnTo>
                  <a:lnTo>
                    <a:pt x="1073" y="354"/>
                  </a:lnTo>
                  <a:lnTo>
                    <a:pt x="1073" y="354"/>
                  </a:lnTo>
                  <a:lnTo>
                    <a:pt x="1076" y="356"/>
                  </a:lnTo>
                  <a:lnTo>
                    <a:pt x="1080" y="354"/>
                  </a:lnTo>
                  <a:lnTo>
                    <a:pt x="1084" y="350"/>
                  </a:lnTo>
                  <a:lnTo>
                    <a:pt x="1082" y="347"/>
                  </a:lnTo>
                  <a:lnTo>
                    <a:pt x="1088" y="341"/>
                  </a:lnTo>
                  <a:lnTo>
                    <a:pt x="1088" y="337"/>
                  </a:lnTo>
                  <a:lnTo>
                    <a:pt x="1088" y="335"/>
                  </a:lnTo>
                  <a:lnTo>
                    <a:pt x="1080" y="339"/>
                  </a:lnTo>
                  <a:lnTo>
                    <a:pt x="1080" y="341"/>
                  </a:lnTo>
                  <a:lnTo>
                    <a:pt x="1074" y="345"/>
                  </a:lnTo>
                  <a:lnTo>
                    <a:pt x="1069" y="343"/>
                  </a:lnTo>
                  <a:lnTo>
                    <a:pt x="1067" y="337"/>
                  </a:lnTo>
                  <a:lnTo>
                    <a:pt x="1073" y="335"/>
                  </a:lnTo>
                  <a:lnTo>
                    <a:pt x="1069" y="330"/>
                  </a:lnTo>
                  <a:lnTo>
                    <a:pt x="1073" y="326"/>
                  </a:lnTo>
                  <a:lnTo>
                    <a:pt x="1078" y="326"/>
                  </a:lnTo>
                  <a:lnTo>
                    <a:pt x="1086" y="330"/>
                  </a:lnTo>
                  <a:lnTo>
                    <a:pt x="1088" y="326"/>
                  </a:lnTo>
                  <a:lnTo>
                    <a:pt x="1088" y="322"/>
                  </a:lnTo>
                  <a:lnTo>
                    <a:pt x="1093" y="320"/>
                  </a:lnTo>
                  <a:lnTo>
                    <a:pt x="1093" y="324"/>
                  </a:lnTo>
                  <a:lnTo>
                    <a:pt x="1091" y="326"/>
                  </a:lnTo>
                  <a:lnTo>
                    <a:pt x="1091" y="330"/>
                  </a:lnTo>
                  <a:lnTo>
                    <a:pt x="1101" y="337"/>
                  </a:lnTo>
                  <a:lnTo>
                    <a:pt x="1106" y="337"/>
                  </a:lnTo>
                  <a:lnTo>
                    <a:pt x="1108" y="335"/>
                  </a:lnTo>
                  <a:lnTo>
                    <a:pt x="1116" y="335"/>
                  </a:lnTo>
                  <a:lnTo>
                    <a:pt x="1118" y="331"/>
                  </a:lnTo>
                  <a:lnTo>
                    <a:pt x="1118" y="328"/>
                  </a:lnTo>
                  <a:lnTo>
                    <a:pt x="1112" y="320"/>
                  </a:lnTo>
                  <a:lnTo>
                    <a:pt x="1112" y="318"/>
                  </a:lnTo>
                  <a:lnTo>
                    <a:pt x="1114" y="318"/>
                  </a:lnTo>
                  <a:lnTo>
                    <a:pt x="1121" y="326"/>
                  </a:lnTo>
                  <a:lnTo>
                    <a:pt x="1123" y="326"/>
                  </a:lnTo>
                  <a:lnTo>
                    <a:pt x="1127" y="330"/>
                  </a:lnTo>
                  <a:lnTo>
                    <a:pt x="1125" y="331"/>
                  </a:lnTo>
                  <a:lnTo>
                    <a:pt x="1127" y="335"/>
                  </a:lnTo>
                  <a:lnTo>
                    <a:pt x="1133" y="339"/>
                  </a:lnTo>
                  <a:lnTo>
                    <a:pt x="1133" y="347"/>
                  </a:lnTo>
                  <a:lnTo>
                    <a:pt x="1135" y="347"/>
                  </a:lnTo>
                  <a:lnTo>
                    <a:pt x="1135" y="345"/>
                  </a:lnTo>
                  <a:lnTo>
                    <a:pt x="1138" y="341"/>
                  </a:lnTo>
                  <a:lnTo>
                    <a:pt x="1140" y="341"/>
                  </a:lnTo>
                  <a:lnTo>
                    <a:pt x="1142" y="337"/>
                  </a:lnTo>
                  <a:lnTo>
                    <a:pt x="1140" y="337"/>
                  </a:lnTo>
                  <a:lnTo>
                    <a:pt x="1137" y="339"/>
                  </a:lnTo>
                  <a:lnTo>
                    <a:pt x="1135" y="337"/>
                  </a:lnTo>
                  <a:lnTo>
                    <a:pt x="1131" y="335"/>
                  </a:lnTo>
                  <a:lnTo>
                    <a:pt x="1137" y="330"/>
                  </a:lnTo>
                  <a:lnTo>
                    <a:pt x="1140" y="328"/>
                  </a:lnTo>
                  <a:lnTo>
                    <a:pt x="1142" y="324"/>
                  </a:lnTo>
                  <a:lnTo>
                    <a:pt x="1146" y="324"/>
                  </a:lnTo>
                  <a:lnTo>
                    <a:pt x="1146" y="322"/>
                  </a:lnTo>
                  <a:lnTo>
                    <a:pt x="1155" y="320"/>
                  </a:lnTo>
                  <a:lnTo>
                    <a:pt x="1167" y="316"/>
                  </a:lnTo>
                  <a:lnTo>
                    <a:pt x="1180" y="316"/>
                  </a:lnTo>
                  <a:lnTo>
                    <a:pt x="1191" y="311"/>
                  </a:lnTo>
                  <a:lnTo>
                    <a:pt x="1199" y="311"/>
                  </a:lnTo>
                  <a:lnTo>
                    <a:pt x="1201" y="313"/>
                  </a:lnTo>
                  <a:lnTo>
                    <a:pt x="1201" y="316"/>
                  </a:lnTo>
                  <a:lnTo>
                    <a:pt x="1201" y="316"/>
                  </a:lnTo>
                  <a:lnTo>
                    <a:pt x="1199" y="322"/>
                  </a:lnTo>
                  <a:lnTo>
                    <a:pt x="1201" y="330"/>
                  </a:lnTo>
                  <a:lnTo>
                    <a:pt x="1206" y="331"/>
                  </a:lnTo>
                  <a:lnTo>
                    <a:pt x="1221" y="331"/>
                  </a:lnTo>
                  <a:lnTo>
                    <a:pt x="1225" y="335"/>
                  </a:lnTo>
                  <a:lnTo>
                    <a:pt x="1227" y="331"/>
                  </a:lnTo>
                  <a:lnTo>
                    <a:pt x="1231" y="331"/>
                  </a:lnTo>
                  <a:lnTo>
                    <a:pt x="1236" y="335"/>
                  </a:lnTo>
                  <a:lnTo>
                    <a:pt x="1248" y="331"/>
                  </a:lnTo>
                  <a:lnTo>
                    <a:pt x="1255" y="330"/>
                  </a:lnTo>
                  <a:lnTo>
                    <a:pt x="1259" y="330"/>
                  </a:lnTo>
                  <a:lnTo>
                    <a:pt x="1265" y="330"/>
                  </a:lnTo>
                  <a:lnTo>
                    <a:pt x="1265" y="326"/>
                  </a:lnTo>
                  <a:lnTo>
                    <a:pt x="1265" y="324"/>
                  </a:lnTo>
                  <a:lnTo>
                    <a:pt x="1268" y="322"/>
                  </a:lnTo>
                  <a:lnTo>
                    <a:pt x="1270" y="324"/>
                  </a:lnTo>
                  <a:lnTo>
                    <a:pt x="1276" y="322"/>
                  </a:lnTo>
                  <a:lnTo>
                    <a:pt x="1276" y="324"/>
                  </a:lnTo>
                  <a:lnTo>
                    <a:pt x="1278" y="326"/>
                  </a:lnTo>
                  <a:lnTo>
                    <a:pt x="1281" y="322"/>
                  </a:lnTo>
                  <a:lnTo>
                    <a:pt x="1280" y="318"/>
                  </a:lnTo>
                  <a:lnTo>
                    <a:pt x="1276" y="315"/>
                  </a:lnTo>
                  <a:lnTo>
                    <a:pt x="1278" y="311"/>
                  </a:lnTo>
                  <a:lnTo>
                    <a:pt x="1276" y="311"/>
                  </a:lnTo>
                  <a:lnTo>
                    <a:pt x="1270" y="307"/>
                  </a:lnTo>
                  <a:lnTo>
                    <a:pt x="1270" y="305"/>
                  </a:lnTo>
                  <a:lnTo>
                    <a:pt x="1268" y="301"/>
                  </a:lnTo>
                  <a:lnTo>
                    <a:pt x="1268" y="299"/>
                  </a:lnTo>
                  <a:lnTo>
                    <a:pt x="1265" y="296"/>
                  </a:lnTo>
                  <a:lnTo>
                    <a:pt x="1265" y="292"/>
                  </a:lnTo>
                  <a:lnTo>
                    <a:pt x="1268" y="288"/>
                  </a:lnTo>
                  <a:lnTo>
                    <a:pt x="1268" y="290"/>
                  </a:lnTo>
                  <a:lnTo>
                    <a:pt x="1268" y="292"/>
                  </a:lnTo>
                  <a:lnTo>
                    <a:pt x="1272" y="288"/>
                  </a:lnTo>
                  <a:lnTo>
                    <a:pt x="1272" y="286"/>
                  </a:lnTo>
                  <a:lnTo>
                    <a:pt x="1270" y="282"/>
                  </a:lnTo>
                  <a:lnTo>
                    <a:pt x="1274" y="282"/>
                  </a:lnTo>
                  <a:lnTo>
                    <a:pt x="1278" y="286"/>
                  </a:lnTo>
                  <a:lnTo>
                    <a:pt x="1281" y="284"/>
                  </a:lnTo>
                  <a:lnTo>
                    <a:pt x="1281" y="281"/>
                  </a:lnTo>
                  <a:lnTo>
                    <a:pt x="1283" y="282"/>
                  </a:lnTo>
                  <a:lnTo>
                    <a:pt x="1289" y="282"/>
                  </a:lnTo>
                  <a:lnTo>
                    <a:pt x="1289" y="282"/>
                  </a:lnTo>
                  <a:lnTo>
                    <a:pt x="1293" y="281"/>
                  </a:lnTo>
                  <a:lnTo>
                    <a:pt x="1295" y="284"/>
                  </a:lnTo>
                  <a:lnTo>
                    <a:pt x="1298" y="284"/>
                  </a:lnTo>
                  <a:lnTo>
                    <a:pt x="1300" y="288"/>
                  </a:lnTo>
                  <a:lnTo>
                    <a:pt x="1302" y="286"/>
                  </a:lnTo>
                  <a:lnTo>
                    <a:pt x="1302" y="282"/>
                  </a:lnTo>
                  <a:lnTo>
                    <a:pt x="1306" y="282"/>
                  </a:lnTo>
                  <a:lnTo>
                    <a:pt x="1308" y="286"/>
                  </a:lnTo>
                  <a:lnTo>
                    <a:pt x="1306" y="290"/>
                  </a:lnTo>
                  <a:lnTo>
                    <a:pt x="1304" y="292"/>
                  </a:lnTo>
                  <a:lnTo>
                    <a:pt x="1306" y="294"/>
                  </a:lnTo>
                  <a:lnTo>
                    <a:pt x="1310" y="292"/>
                  </a:lnTo>
                  <a:lnTo>
                    <a:pt x="1312" y="294"/>
                  </a:lnTo>
                  <a:lnTo>
                    <a:pt x="1312" y="290"/>
                  </a:lnTo>
                  <a:lnTo>
                    <a:pt x="1313" y="290"/>
                  </a:lnTo>
                  <a:lnTo>
                    <a:pt x="1313" y="290"/>
                  </a:lnTo>
                  <a:lnTo>
                    <a:pt x="1313" y="286"/>
                  </a:lnTo>
                  <a:lnTo>
                    <a:pt x="1312" y="284"/>
                  </a:lnTo>
                  <a:lnTo>
                    <a:pt x="1313" y="282"/>
                  </a:lnTo>
                  <a:lnTo>
                    <a:pt x="1313" y="282"/>
                  </a:lnTo>
                  <a:lnTo>
                    <a:pt x="1323" y="281"/>
                  </a:lnTo>
                  <a:lnTo>
                    <a:pt x="1323" y="282"/>
                  </a:lnTo>
                  <a:lnTo>
                    <a:pt x="1325" y="281"/>
                  </a:lnTo>
                  <a:lnTo>
                    <a:pt x="1330" y="281"/>
                  </a:lnTo>
                  <a:lnTo>
                    <a:pt x="1330" y="284"/>
                  </a:lnTo>
                  <a:lnTo>
                    <a:pt x="1330" y="290"/>
                  </a:lnTo>
                  <a:lnTo>
                    <a:pt x="1332" y="286"/>
                  </a:lnTo>
                  <a:lnTo>
                    <a:pt x="1334" y="286"/>
                  </a:lnTo>
                  <a:lnTo>
                    <a:pt x="1338" y="282"/>
                  </a:lnTo>
                  <a:lnTo>
                    <a:pt x="1338" y="288"/>
                  </a:lnTo>
                  <a:lnTo>
                    <a:pt x="1342" y="288"/>
                  </a:lnTo>
                  <a:lnTo>
                    <a:pt x="1344" y="286"/>
                  </a:lnTo>
                  <a:lnTo>
                    <a:pt x="1347" y="290"/>
                  </a:lnTo>
                  <a:lnTo>
                    <a:pt x="1347" y="298"/>
                  </a:lnTo>
                  <a:lnTo>
                    <a:pt x="1351" y="292"/>
                  </a:lnTo>
                  <a:lnTo>
                    <a:pt x="1353" y="290"/>
                  </a:lnTo>
                  <a:lnTo>
                    <a:pt x="1355" y="292"/>
                  </a:lnTo>
                  <a:lnTo>
                    <a:pt x="1353" y="298"/>
                  </a:lnTo>
                  <a:lnTo>
                    <a:pt x="1355" y="299"/>
                  </a:lnTo>
                  <a:lnTo>
                    <a:pt x="1357" y="301"/>
                  </a:lnTo>
                  <a:lnTo>
                    <a:pt x="1361" y="301"/>
                  </a:lnTo>
                  <a:lnTo>
                    <a:pt x="1361" y="305"/>
                  </a:lnTo>
                  <a:lnTo>
                    <a:pt x="1362" y="301"/>
                  </a:lnTo>
                  <a:lnTo>
                    <a:pt x="1364" y="301"/>
                  </a:lnTo>
                  <a:lnTo>
                    <a:pt x="1366" y="305"/>
                  </a:lnTo>
                  <a:lnTo>
                    <a:pt x="1362" y="311"/>
                  </a:lnTo>
                  <a:lnTo>
                    <a:pt x="1362" y="313"/>
                  </a:lnTo>
                  <a:lnTo>
                    <a:pt x="1368" y="311"/>
                  </a:lnTo>
                  <a:lnTo>
                    <a:pt x="1372" y="311"/>
                  </a:lnTo>
                  <a:lnTo>
                    <a:pt x="1372" y="311"/>
                  </a:lnTo>
                  <a:lnTo>
                    <a:pt x="1364" y="318"/>
                  </a:lnTo>
                  <a:lnTo>
                    <a:pt x="1366" y="324"/>
                  </a:lnTo>
                  <a:lnTo>
                    <a:pt x="1372" y="324"/>
                  </a:lnTo>
                  <a:lnTo>
                    <a:pt x="1372" y="322"/>
                  </a:lnTo>
                  <a:lnTo>
                    <a:pt x="1374" y="320"/>
                  </a:lnTo>
                  <a:lnTo>
                    <a:pt x="1377" y="322"/>
                  </a:lnTo>
                  <a:lnTo>
                    <a:pt x="1377" y="324"/>
                  </a:lnTo>
                  <a:lnTo>
                    <a:pt x="1381" y="324"/>
                  </a:lnTo>
                  <a:lnTo>
                    <a:pt x="1385" y="328"/>
                  </a:lnTo>
                  <a:lnTo>
                    <a:pt x="1383" y="331"/>
                  </a:lnTo>
                  <a:lnTo>
                    <a:pt x="1387" y="331"/>
                  </a:lnTo>
                  <a:lnTo>
                    <a:pt x="1389" y="335"/>
                  </a:lnTo>
                  <a:lnTo>
                    <a:pt x="1391" y="335"/>
                  </a:lnTo>
                  <a:lnTo>
                    <a:pt x="1393" y="335"/>
                  </a:lnTo>
                  <a:lnTo>
                    <a:pt x="1389" y="343"/>
                  </a:lnTo>
                  <a:lnTo>
                    <a:pt x="1383" y="345"/>
                  </a:lnTo>
                  <a:lnTo>
                    <a:pt x="1379" y="341"/>
                  </a:lnTo>
                  <a:lnTo>
                    <a:pt x="1372" y="339"/>
                  </a:lnTo>
                  <a:lnTo>
                    <a:pt x="1366" y="339"/>
                  </a:lnTo>
                  <a:lnTo>
                    <a:pt x="1368" y="341"/>
                  </a:lnTo>
                  <a:lnTo>
                    <a:pt x="1368" y="345"/>
                  </a:lnTo>
                  <a:lnTo>
                    <a:pt x="1377" y="347"/>
                  </a:lnTo>
                  <a:lnTo>
                    <a:pt x="1377" y="350"/>
                  </a:lnTo>
                  <a:lnTo>
                    <a:pt x="1385" y="354"/>
                  </a:lnTo>
                  <a:lnTo>
                    <a:pt x="1393" y="356"/>
                  </a:lnTo>
                  <a:lnTo>
                    <a:pt x="1398" y="354"/>
                  </a:lnTo>
                  <a:lnTo>
                    <a:pt x="1398" y="350"/>
                  </a:lnTo>
                  <a:lnTo>
                    <a:pt x="1394" y="347"/>
                  </a:lnTo>
                  <a:lnTo>
                    <a:pt x="1393" y="343"/>
                  </a:lnTo>
                  <a:lnTo>
                    <a:pt x="1394" y="343"/>
                  </a:lnTo>
                  <a:lnTo>
                    <a:pt x="1398" y="348"/>
                  </a:lnTo>
                  <a:lnTo>
                    <a:pt x="1402" y="350"/>
                  </a:lnTo>
                  <a:lnTo>
                    <a:pt x="1406" y="352"/>
                  </a:lnTo>
                  <a:lnTo>
                    <a:pt x="1402" y="352"/>
                  </a:lnTo>
                  <a:lnTo>
                    <a:pt x="1394" y="360"/>
                  </a:lnTo>
                  <a:lnTo>
                    <a:pt x="1396" y="362"/>
                  </a:lnTo>
                  <a:lnTo>
                    <a:pt x="1398" y="362"/>
                  </a:lnTo>
                  <a:lnTo>
                    <a:pt x="1402" y="360"/>
                  </a:lnTo>
                  <a:lnTo>
                    <a:pt x="1402" y="360"/>
                  </a:lnTo>
                  <a:lnTo>
                    <a:pt x="1415" y="369"/>
                  </a:lnTo>
                  <a:lnTo>
                    <a:pt x="1419" y="371"/>
                  </a:lnTo>
                  <a:lnTo>
                    <a:pt x="1423" y="377"/>
                  </a:lnTo>
                  <a:lnTo>
                    <a:pt x="1430" y="377"/>
                  </a:lnTo>
                  <a:lnTo>
                    <a:pt x="1436" y="384"/>
                  </a:lnTo>
                  <a:lnTo>
                    <a:pt x="1441" y="386"/>
                  </a:lnTo>
                  <a:lnTo>
                    <a:pt x="1443" y="382"/>
                  </a:lnTo>
                  <a:lnTo>
                    <a:pt x="1441" y="380"/>
                  </a:lnTo>
                  <a:lnTo>
                    <a:pt x="1443" y="379"/>
                  </a:lnTo>
                  <a:lnTo>
                    <a:pt x="1447" y="382"/>
                  </a:lnTo>
                  <a:lnTo>
                    <a:pt x="1447" y="386"/>
                  </a:lnTo>
                  <a:lnTo>
                    <a:pt x="1451" y="386"/>
                  </a:lnTo>
                  <a:lnTo>
                    <a:pt x="1453" y="386"/>
                  </a:lnTo>
                  <a:lnTo>
                    <a:pt x="1455" y="384"/>
                  </a:lnTo>
                  <a:lnTo>
                    <a:pt x="1451" y="365"/>
                  </a:lnTo>
                  <a:lnTo>
                    <a:pt x="1445" y="356"/>
                  </a:lnTo>
                  <a:lnTo>
                    <a:pt x="1440" y="345"/>
                  </a:lnTo>
                  <a:lnTo>
                    <a:pt x="1440" y="335"/>
                  </a:lnTo>
                  <a:lnTo>
                    <a:pt x="1436" y="330"/>
                  </a:lnTo>
                  <a:lnTo>
                    <a:pt x="1436" y="326"/>
                  </a:lnTo>
                  <a:lnTo>
                    <a:pt x="1440" y="328"/>
                  </a:lnTo>
                  <a:lnTo>
                    <a:pt x="1441" y="331"/>
                  </a:lnTo>
                  <a:lnTo>
                    <a:pt x="1445" y="335"/>
                  </a:lnTo>
                  <a:lnTo>
                    <a:pt x="1451" y="337"/>
                  </a:lnTo>
                  <a:lnTo>
                    <a:pt x="1455" y="341"/>
                  </a:lnTo>
                  <a:lnTo>
                    <a:pt x="1460" y="343"/>
                  </a:lnTo>
                  <a:lnTo>
                    <a:pt x="1475" y="341"/>
                  </a:lnTo>
                  <a:lnTo>
                    <a:pt x="1479" y="341"/>
                  </a:lnTo>
                  <a:lnTo>
                    <a:pt x="1481" y="341"/>
                  </a:lnTo>
                  <a:lnTo>
                    <a:pt x="1485" y="343"/>
                  </a:lnTo>
                  <a:lnTo>
                    <a:pt x="1485" y="343"/>
                  </a:lnTo>
                  <a:lnTo>
                    <a:pt x="1485" y="337"/>
                  </a:lnTo>
                  <a:lnTo>
                    <a:pt x="1485" y="335"/>
                  </a:lnTo>
                  <a:lnTo>
                    <a:pt x="1481" y="335"/>
                  </a:lnTo>
                  <a:lnTo>
                    <a:pt x="1481" y="331"/>
                  </a:lnTo>
                  <a:lnTo>
                    <a:pt x="1485" y="330"/>
                  </a:lnTo>
                  <a:lnTo>
                    <a:pt x="1496" y="324"/>
                  </a:lnTo>
                  <a:lnTo>
                    <a:pt x="1498" y="324"/>
                  </a:lnTo>
                  <a:lnTo>
                    <a:pt x="1500" y="324"/>
                  </a:lnTo>
                  <a:lnTo>
                    <a:pt x="1505" y="326"/>
                  </a:lnTo>
                  <a:lnTo>
                    <a:pt x="1511" y="326"/>
                  </a:lnTo>
                  <a:lnTo>
                    <a:pt x="1515" y="331"/>
                  </a:lnTo>
                  <a:lnTo>
                    <a:pt x="1519" y="331"/>
                  </a:lnTo>
                  <a:lnTo>
                    <a:pt x="1521" y="335"/>
                  </a:lnTo>
                  <a:lnTo>
                    <a:pt x="1528" y="335"/>
                  </a:lnTo>
                  <a:lnTo>
                    <a:pt x="1530" y="339"/>
                  </a:lnTo>
                  <a:lnTo>
                    <a:pt x="1536" y="339"/>
                  </a:lnTo>
                  <a:lnTo>
                    <a:pt x="1534" y="335"/>
                  </a:lnTo>
                  <a:lnTo>
                    <a:pt x="1532" y="335"/>
                  </a:lnTo>
                  <a:lnTo>
                    <a:pt x="1536" y="335"/>
                  </a:lnTo>
                  <a:lnTo>
                    <a:pt x="1539" y="331"/>
                  </a:lnTo>
                  <a:lnTo>
                    <a:pt x="1536" y="331"/>
                  </a:lnTo>
                  <a:lnTo>
                    <a:pt x="1539" y="330"/>
                  </a:lnTo>
                  <a:lnTo>
                    <a:pt x="1536" y="326"/>
                  </a:lnTo>
                  <a:lnTo>
                    <a:pt x="1532" y="328"/>
                  </a:lnTo>
                  <a:lnTo>
                    <a:pt x="1528" y="328"/>
                  </a:lnTo>
                  <a:lnTo>
                    <a:pt x="1526" y="320"/>
                  </a:lnTo>
                  <a:lnTo>
                    <a:pt x="1524" y="316"/>
                  </a:lnTo>
                  <a:lnTo>
                    <a:pt x="1528" y="315"/>
                  </a:lnTo>
                  <a:lnTo>
                    <a:pt x="1530" y="316"/>
                  </a:lnTo>
                  <a:lnTo>
                    <a:pt x="1534" y="315"/>
                  </a:lnTo>
                  <a:lnTo>
                    <a:pt x="1532" y="311"/>
                  </a:lnTo>
                  <a:lnTo>
                    <a:pt x="1534" y="311"/>
                  </a:lnTo>
                  <a:lnTo>
                    <a:pt x="1539" y="315"/>
                  </a:lnTo>
                  <a:lnTo>
                    <a:pt x="1539" y="318"/>
                  </a:lnTo>
                  <a:lnTo>
                    <a:pt x="1543" y="318"/>
                  </a:lnTo>
                  <a:lnTo>
                    <a:pt x="1545" y="320"/>
                  </a:lnTo>
                  <a:lnTo>
                    <a:pt x="1549" y="318"/>
                  </a:lnTo>
                  <a:lnTo>
                    <a:pt x="1545" y="315"/>
                  </a:lnTo>
                  <a:lnTo>
                    <a:pt x="1551" y="313"/>
                  </a:lnTo>
                  <a:lnTo>
                    <a:pt x="1553" y="315"/>
                  </a:lnTo>
                  <a:lnTo>
                    <a:pt x="1554" y="311"/>
                  </a:lnTo>
                  <a:lnTo>
                    <a:pt x="1549" y="305"/>
                  </a:lnTo>
                  <a:lnTo>
                    <a:pt x="1543" y="305"/>
                  </a:lnTo>
                  <a:lnTo>
                    <a:pt x="1539" y="299"/>
                  </a:lnTo>
                  <a:lnTo>
                    <a:pt x="1539" y="296"/>
                  </a:lnTo>
                  <a:lnTo>
                    <a:pt x="1539" y="292"/>
                  </a:lnTo>
                  <a:lnTo>
                    <a:pt x="1536" y="294"/>
                  </a:lnTo>
                  <a:lnTo>
                    <a:pt x="1530" y="294"/>
                  </a:lnTo>
                  <a:lnTo>
                    <a:pt x="1536" y="290"/>
                  </a:lnTo>
                  <a:lnTo>
                    <a:pt x="1534" y="286"/>
                  </a:lnTo>
                  <a:lnTo>
                    <a:pt x="1536" y="286"/>
                  </a:lnTo>
                  <a:lnTo>
                    <a:pt x="1532" y="281"/>
                  </a:lnTo>
                  <a:lnTo>
                    <a:pt x="1536" y="281"/>
                  </a:lnTo>
                  <a:lnTo>
                    <a:pt x="1539" y="273"/>
                  </a:lnTo>
                  <a:lnTo>
                    <a:pt x="1532" y="277"/>
                  </a:lnTo>
                  <a:lnTo>
                    <a:pt x="1528" y="281"/>
                  </a:lnTo>
                  <a:lnTo>
                    <a:pt x="1528" y="284"/>
                  </a:lnTo>
                  <a:lnTo>
                    <a:pt x="1521" y="282"/>
                  </a:lnTo>
                  <a:lnTo>
                    <a:pt x="1517" y="277"/>
                  </a:lnTo>
                  <a:lnTo>
                    <a:pt x="1519" y="271"/>
                  </a:lnTo>
                  <a:lnTo>
                    <a:pt x="1519" y="267"/>
                  </a:lnTo>
                  <a:lnTo>
                    <a:pt x="1526" y="266"/>
                  </a:lnTo>
                  <a:lnTo>
                    <a:pt x="1530" y="266"/>
                  </a:lnTo>
                  <a:lnTo>
                    <a:pt x="1536" y="260"/>
                  </a:lnTo>
                  <a:lnTo>
                    <a:pt x="1536" y="256"/>
                  </a:lnTo>
                  <a:lnTo>
                    <a:pt x="1534" y="252"/>
                  </a:lnTo>
                  <a:lnTo>
                    <a:pt x="1530" y="252"/>
                  </a:lnTo>
                  <a:lnTo>
                    <a:pt x="1526" y="250"/>
                  </a:lnTo>
                  <a:lnTo>
                    <a:pt x="1519" y="250"/>
                  </a:lnTo>
                  <a:lnTo>
                    <a:pt x="1515" y="247"/>
                  </a:lnTo>
                  <a:lnTo>
                    <a:pt x="1521" y="243"/>
                  </a:lnTo>
                  <a:lnTo>
                    <a:pt x="1528" y="243"/>
                  </a:lnTo>
                  <a:lnTo>
                    <a:pt x="1536" y="247"/>
                  </a:lnTo>
                  <a:lnTo>
                    <a:pt x="1543" y="247"/>
                  </a:lnTo>
                  <a:lnTo>
                    <a:pt x="1556" y="247"/>
                  </a:lnTo>
                  <a:lnTo>
                    <a:pt x="1577" y="243"/>
                  </a:lnTo>
                  <a:lnTo>
                    <a:pt x="1581" y="241"/>
                  </a:lnTo>
                  <a:lnTo>
                    <a:pt x="1598" y="241"/>
                  </a:lnTo>
                  <a:lnTo>
                    <a:pt x="1603" y="241"/>
                  </a:lnTo>
                  <a:lnTo>
                    <a:pt x="1609" y="241"/>
                  </a:lnTo>
                  <a:lnTo>
                    <a:pt x="1618" y="241"/>
                  </a:lnTo>
                  <a:lnTo>
                    <a:pt x="1615" y="241"/>
                  </a:lnTo>
                  <a:lnTo>
                    <a:pt x="1601" y="247"/>
                  </a:lnTo>
                  <a:lnTo>
                    <a:pt x="1598" y="247"/>
                  </a:lnTo>
                  <a:lnTo>
                    <a:pt x="1594" y="247"/>
                  </a:lnTo>
                  <a:lnTo>
                    <a:pt x="1592" y="247"/>
                  </a:lnTo>
                  <a:lnTo>
                    <a:pt x="1590" y="252"/>
                  </a:lnTo>
                  <a:lnTo>
                    <a:pt x="1594" y="258"/>
                  </a:lnTo>
                  <a:lnTo>
                    <a:pt x="1590" y="258"/>
                  </a:lnTo>
                  <a:lnTo>
                    <a:pt x="1590" y="262"/>
                  </a:lnTo>
                  <a:lnTo>
                    <a:pt x="1594" y="264"/>
                  </a:lnTo>
                  <a:lnTo>
                    <a:pt x="1598" y="260"/>
                  </a:lnTo>
                  <a:lnTo>
                    <a:pt x="1598" y="256"/>
                  </a:lnTo>
                  <a:lnTo>
                    <a:pt x="1607" y="249"/>
                  </a:lnTo>
                  <a:lnTo>
                    <a:pt x="1622" y="243"/>
                  </a:lnTo>
                  <a:lnTo>
                    <a:pt x="1624" y="250"/>
                  </a:lnTo>
                  <a:lnTo>
                    <a:pt x="1624" y="260"/>
                  </a:lnTo>
                  <a:lnTo>
                    <a:pt x="1622" y="264"/>
                  </a:lnTo>
                  <a:lnTo>
                    <a:pt x="1618" y="256"/>
                  </a:lnTo>
                  <a:lnTo>
                    <a:pt x="1617" y="252"/>
                  </a:lnTo>
                  <a:lnTo>
                    <a:pt x="1617" y="249"/>
                  </a:lnTo>
                  <a:lnTo>
                    <a:pt x="1613" y="252"/>
                  </a:lnTo>
                  <a:lnTo>
                    <a:pt x="1609" y="250"/>
                  </a:lnTo>
                  <a:lnTo>
                    <a:pt x="1613" y="258"/>
                  </a:lnTo>
                  <a:lnTo>
                    <a:pt x="1617" y="260"/>
                  </a:lnTo>
                  <a:lnTo>
                    <a:pt x="1618" y="267"/>
                  </a:lnTo>
                  <a:lnTo>
                    <a:pt x="1615" y="271"/>
                  </a:lnTo>
                  <a:lnTo>
                    <a:pt x="1613" y="271"/>
                  </a:lnTo>
                  <a:lnTo>
                    <a:pt x="1609" y="273"/>
                  </a:lnTo>
                  <a:lnTo>
                    <a:pt x="1615" y="277"/>
                  </a:lnTo>
                  <a:lnTo>
                    <a:pt x="1613" y="281"/>
                  </a:lnTo>
                  <a:lnTo>
                    <a:pt x="1615" y="281"/>
                  </a:lnTo>
                  <a:lnTo>
                    <a:pt x="1618" y="281"/>
                  </a:lnTo>
                  <a:lnTo>
                    <a:pt x="1624" y="277"/>
                  </a:lnTo>
                  <a:lnTo>
                    <a:pt x="1624" y="271"/>
                  </a:lnTo>
                  <a:lnTo>
                    <a:pt x="1628" y="267"/>
                  </a:lnTo>
                  <a:lnTo>
                    <a:pt x="1624" y="264"/>
                  </a:lnTo>
                  <a:lnTo>
                    <a:pt x="1624" y="258"/>
                  </a:lnTo>
                  <a:lnTo>
                    <a:pt x="1624" y="241"/>
                  </a:lnTo>
                  <a:lnTo>
                    <a:pt x="1630" y="235"/>
                  </a:lnTo>
                  <a:lnTo>
                    <a:pt x="1641" y="234"/>
                  </a:lnTo>
                  <a:lnTo>
                    <a:pt x="1652" y="230"/>
                  </a:lnTo>
                  <a:lnTo>
                    <a:pt x="1662" y="232"/>
                  </a:lnTo>
                  <a:lnTo>
                    <a:pt x="1673" y="235"/>
                  </a:lnTo>
                  <a:lnTo>
                    <a:pt x="1679" y="243"/>
                  </a:lnTo>
                  <a:lnTo>
                    <a:pt x="1679" y="247"/>
                  </a:lnTo>
                  <a:lnTo>
                    <a:pt x="1677" y="250"/>
                  </a:lnTo>
                  <a:lnTo>
                    <a:pt x="1669" y="247"/>
                  </a:lnTo>
                  <a:lnTo>
                    <a:pt x="1669" y="247"/>
                  </a:lnTo>
                  <a:lnTo>
                    <a:pt x="1669" y="249"/>
                  </a:lnTo>
                  <a:lnTo>
                    <a:pt x="1669" y="252"/>
                  </a:lnTo>
                  <a:lnTo>
                    <a:pt x="1671" y="256"/>
                  </a:lnTo>
                  <a:lnTo>
                    <a:pt x="1667" y="260"/>
                  </a:lnTo>
                  <a:lnTo>
                    <a:pt x="1669" y="262"/>
                  </a:lnTo>
                  <a:lnTo>
                    <a:pt x="1673" y="258"/>
                  </a:lnTo>
                  <a:lnTo>
                    <a:pt x="1679" y="258"/>
                  </a:lnTo>
                  <a:lnTo>
                    <a:pt x="1682" y="254"/>
                  </a:lnTo>
                  <a:lnTo>
                    <a:pt x="1686" y="260"/>
                  </a:lnTo>
                  <a:lnTo>
                    <a:pt x="1686" y="264"/>
                  </a:lnTo>
                  <a:lnTo>
                    <a:pt x="1688" y="267"/>
                  </a:lnTo>
                  <a:lnTo>
                    <a:pt x="1690" y="271"/>
                  </a:lnTo>
                  <a:lnTo>
                    <a:pt x="1692" y="267"/>
                  </a:lnTo>
                  <a:lnTo>
                    <a:pt x="1692" y="264"/>
                  </a:lnTo>
                  <a:lnTo>
                    <a:pt x="1696" y="260"/>
                  </a:lnTo>
                  <a:lnTo>
                    <a:pt x="1701" y="262"/>
                  </a:lnTo>
                  <a:lnTo>
                    <a:pt x="1703" y="267"/>
                  </a:lnTo>
                  <a:lnTo>
                    <a:pt x="1701" y="267"/>
                  </a:lnTo>
                  <a:lnTo>
                    <a:pt x="1699" y="273"/>
                  </a:lnTo>
                  <a:lnTo>
                    <a:pt x="1701" y="277"/>
                  </a:lnTo>
                  <a:lnTo>
                    <a:pt x="1703" y="273"/>
                  </a:lnTo>
                  <a:lnTo>
                    <a:pt x="1703" y="271"/>
                  </a:lnTo>
                  <a:lnTo>
                    <a:pt x="1707" y="267"/>
                  </a:lnTo>
                  <a:lnTo>
                    <a:pt x="1707" y="271"/>
                  </a:lnTo>
                  <a:lnTo>
                    <a:pt x="1707" y="267"/>
                  </a:lnTo>
                  <a:lnTo>
                    <a:pt x="1711" y="260"/>
                  </a:lnTo>
                  <a:lnTo>
                    <a:pt x="1713" y="258"/>
                  </a:lnTo>
                  <a:lnTo>
                    <a:pt x="1716" y="260"/>
                  </a:lnTo>
                  <a:lnTo>
                    <a:pt x="1726" y="267"/>
                  </a:lnTo>
                  <a:lnTo>
                    <a:pt x="1735" y="267"/>
                  </a:lnTo>
                  <a:lnTo>
                    <a:pt x="1741" y="273"/>
                  </a:lnTo>
                  <a:lnTo>
                    <a:pt x="1741" y="277"/>
                  </a:lnTo>
                  <a:lnTo>
                    <a:pt x="1731" y="281"/>
                  </a:lnTo>
                  <a:lnTo>
                    <a:pt x="1728" y="286"/>
                  </a:lnTo>
                  <a:lnTo>
                    <a:pt x="1735" y="282"/>
                  </a:lnTo>
                  <a:lnTo>
                    <a:pt x="1741" y="281"/>
                  </a:lnTo>
                  <a:lnTo>
                    <a:pt x="1746" y="282"/>
                  </a:lnTo>
                  <a:lnTo>
                    <a:pt x="1754" y="281"/>
                  </a:lnTo>
                  <a:lnTo>
                    <a:pt x="1758" y="277"/>
                  </a:lnTo>
                  <a:lnTo>
                    <a:pt x="1761" y="277"/>
                  </a:lnTo>
                  <a:lnTo>
                    <a:pt x="1769" y="267"/>
                  </a:lnTo>
                  <a:lnTo>
                    <a:pt x="1773" y="267"/>
                  </a:lnTo>
                  <a:lnTo>
                    <a:pt x="1778" y="262"/>
                  </a:lnTo>
                  <a:lnTo>
                    <a:pt x="1784" y="262"/>
                  </a:lnTo>
                  <a:lnTo>
                    <a:pt x="1797" y="254"/>
                  </a:lnTo>
                  <a:lnTo>
                    <a:pt x="1805" y="250"/>
                  </a:lnTo>
                  <a:lnTo>
                    <a:pt x="1809" y="252"/>
                  </a:lnTo>
                  <a:lnTo>
                    <a:pt x="1809" y="250"/>
                  </a:lnTo>
                  <a:lnTo>
                    <a:pt x="1816" y="247"/>
                  </a:lnTo>
                  <a:lnTo>
                    <a:pt x="1820" y="243"/>
                  </a:lnTo>
                  <a:lnTo>
                    <a:pt x="1831" y="247"/>
                  </a:lnTo>
                  <a:lnTo>
                    <a:pt x="1848" y="250"/>
                  </a:lnTo>
                  <a:lnTo>
                    <a:pt x="1856" y="260"/>
                  </a:lnTo>
                  <a:lnTo>
                    <a:pt x="1865" y="264"/>
                  </a:lnTo>
                  <a:lnTo>
                    <a:pt x="1871" y="271"/>
                  </a:lnTo>
                  <a:lnTo>
                    <a:pt x="1874" y="277"/>
                  </a:lnTo>
                  <a:lnTo>
                    <a:pt x="1874" y="281"/>
                  </a:lnTo>
                  <a:lnTo>
                    <a:pt x="1878" y="282"/>
                  </a:lnTo>
                  <a:lnTo>
                    <a:pt x="1874" y="288"/>
                  </a:lnTo>
                  <a:lnTo>
                    <a:pt x="1880" y="296"/>
                  </a:lnTo>
                  <a:lnTo>
                    <a:pt x="1880" y="299"/>
                  </a:lnTo>
                  <a:lnTo>
                    <a:pt x="1878" y="301"/>
                  </a:lnTo>
                  <a:lnTo>
                    <a:pt x="1882" y="301"/>
                  </a:lnTo>
                  <a:lnTo>
                    <a:pt x="1886" y="298"/>
                  </a:lnTo>
                  <a:lnTo>
                    <a:pt x="1891" y="298"/>
                  </a:lnTo>
                  <a:lnTo>
                    <a:pt x="1893" y="299"/>
                  </a:lnTo>
                  <a:lnTo>
                    <a:pt x="1895" y="298"/>
                  </a:lnTo>
                  <a:lnTo>
                    <a:pt x="1899" y="296"/>
                  </a:lnTo>
                  <a:lnTo>
                    <a:pt x="1903" y="299"/>
                  </a:lnTo>
                  <a:lnTo>
                    <a:pt x="1905" y="301"/>
                  </a:lnTo>
                  <a:lnTo>
                    <a:pt x="1905" y="299"/>
                  </a:lnTo>
                  <a:lnTo>
                    <a:pt x="1903" y="294"/>
                  </a:lnTo>
                  <a:lnTo>
                    <a:pt x="1908" y="294"/>
                  </a:lnTo>
                  <a:lnTo>
                    <a:pt x="1910" y="298"/>
                  </a:lnTo>
                  <a:lnTo>
                    <a:pt x="1916" y="305"/>
                  </a:lnTo>
                  <a:lnTo>
                    <a:pt x="1918" y="311"/>
                  </a:lnTo>
                  <a:lnTo>
                    <a:pt x="1921" y="311"/>
                  </a:lnTo>
                  <a:lnTo>
                    <a:pt x="1927" y="316"/>
                  </a:lnTo>
                  <a:lnTo>
                    <a:pt x="1927" y="315"/>
                  </a:lnTo>
                  <a:lnTo>
                    <a:pt x="1923" y="311"/>
                  </a:lnTo>
                  <a:lnTo>
                    <a:pt x="1921" y="307"/>
                  </a:lnTo>
                  <a:lnTo>
                    <a:pt x="1920" y="305"/>
                  </a:lnTo>
                  <a:lnTo>
                    <a:pt x="1923" y="305"/>
                  </a:lnTo>
                  <a:lnTo>
                    <a:pt x="1927" y="305"/>
                  </a:lnTo>
                  <a:lnTo>
                    <a:pt x="1929" y="311"/>
                  </a:lnTo>
                  <a:lnTo>
                    <a:pt x="1935" y="316"/>
                  </a:lnTo>
                  <a:lnTo>
                    <a:pt x="1935" y="311"/>
                  </a:lnTo>
                  <a:lnTo>
                    <a:pt x="1929" y="301"/>
                  </a:lnTo>
                  <a:lnTo>
                    <a:pt x="1929" y="294"/>
                  </a:lnTo>
                  <a:lnTo>
                    <a:pt x="1929" y="286"/>
                  </a:lnTo>
                  <a:lnTo>
                    <a:pt x="1933" y="281"/>
                  </a:lnTo>
                  <a:lnTo>
                    <a:pt x="1938" y="281"/>
                  </a:lnTo>
                  <a:lnTo>
                    <a:pt x="1942" y="277"/>
                  </a:lnTo>
                  <a:lnTo>
                    <a:pt x="1950" y="273"/>
                  </a:lnTo>
                  <a:lnTo>
                    <a:pt x="1950" y="271"/>
                  </a:lnTo>
                  <a:lnTo>
                    <a:pt x="1950" y="271"/>
                  </a:lnTo>
                  <a:lnTo>
                    <a:pt x="1953" y="271"/>
                  </a:lnTo>
                  <a:lnTo>
                    <a:pt x="1957" y="273"/>
                  </a:lnTo>
                  <a:lnTo>
                    <a:pt x="1959" y="277"/>
                  </a:lnTo>
                  <a:lnTo>
                    <a:pt x="1967" y="273"/>
                  </a:lnTo>
                  <a:lnTo>
                    <a:pt x="1970" y="271"/>
                  </a:lnTo>
                  <a:lnTo>
                    <a:pt x="1972" y="271"/>
                  </a:lnTo>
                  <a:lnTo>
                    <a:pt x="1978" y="267"/>
                  </a:lnTo>
                  <a:lnTo>
                    <a:pt x="1987" y="267"/>
                  </a:lnTo>
                  <a:lnTo>
                    <a:pt x="1991" y="267"/>
                  </a:lnTo>
                  <a:lnTo>
                    <a:pt x="1991" y="267"/>
                  </a:lnTo>
                  <a:lnTo>
                    <a:pt x="1991" y="267"/>
                  </a:lnTo>
                  <a:lnTo>
                    <a:pt x="1995" y="271"/>
                  </a:lnTo>
                  <a:lnTo>
                    <a:pt x="1997" y="267"/>
                  </a:lnTo>
                  <a:lnTo>
                    <a:pt x="2001" y="262"/>
                  </a:lnTo>
                  <a:lnTo>
                    <a:pt x="2001" y="258"/>
                  </a:lnTo>
                  <a:lnTo>
                    <a:pt x="2001" y="254"/>
                  </a:lnTo>
                  <a:lnTo>
                    <a:pt x="2001" y="249"/>
                  </a:lnTo>
                  <a:lnTo>
                    <a:pt x="2002" y="247"/>
                  </a:lnTo>
                  <a:lnTo>
                    <a:pt x="2008" y="249"/>
                  </a:lnTo>
                  <a:lnTo>
                    <a:pt x="2012" y="252"/>
                  </a:lnTo>
                  <a:lnTo>
                    <a:pt x="2012" y="256"/>
                  </a:lnTo>
                  <a:lnTo>
                    <a:pt x="2016" y="256"/>
                  </a:lnTo>
                  <a:lnTo>
                    <a:pt x="2019" y="258"/>
                  </a:lnTo>
                  <a:lnTo>
                    <a:pt x="2019" y="264"/>
                  </a:lnTo>
                  <a:lnTo>
                    <a:pt x="2025" y="267"/>
                  </a:lnTo>
                  <a:lnTo>
                    <a:pt x="2027" y="271"/>
                  </a:lnTo>
                  <a:lnTo>
                    <a:pt x="2033" y="271"/>
                  </a:lnTo>
                  <a:lnTo>
                    <a:pt x="2042" y="271"/>
                  </a:lnTo>
                  <a:lnTo>
                    <a:pt x="2042" y="271"/>
                  </a:lnTo>
                  <a:lnTo>
                    <a:pt x="2046" y="271"/>
                  </a:lnTo>
                  <a:lnTo>
                    <a:pt x="2051" y="281"/>
                  </a:lnTo>
                  <a:lnTo>
                    <a:pt x="2051" y="284"/>
                  </a:lnTo>
                  <a:lnTo>
                    <a:pt x="2053" y="286"/>
                  </a:lnTo>
                  <a:lnTo>
                    <a:pt x="2061" y="286"/>
                  </a:lnTo>
                  <a:lnTo>
                    <a:pt x="2063" y="284"/>
                  </a:lnTo>
                  <a:lnTo>
                    <a:pt x="2066" y="284"/>
                  </a:lnTo>
                  <a:lnTo>
                    <a:pt x="2066" y="281"/>
                  </a:lnTo>
                  <a:lnTo>
                    <a:pt x="2070" y="281"/>
                  </a:lnTo>
                  <a:lnTo>
                    <a:pt x="2074" y="281"/>
                  </a:lnTo>
                  <a:lnTo>
                    <a:pt x="2074" y="277"/>
                  </a:lnTo>
                  <a:lnTo>
                    <a:pt x="2072" y="273"/>
                  </a:lnTo>
                  <a:lnTo>
                    <a:pt x="2074" y="271"/>
                  </a:lnTo>
                  <a:lnTo>
                    <a:pt x="2072" y="271"/>
                  </a:lnTo>
                  <a:lnTo>
                    <a:pt x="2074" y="267"/>
                  </a:lnTo>
                  <a:lnTo>
                    <a:pt x="2070" y="264"/>
                  </a:lnTo>
                  <a:lnTo>
                    <a:pt x="2065" y="262"/>
                  </a:lnTo>
                  <a:lnTo>
                    <a:pt x="2065" y="256"/>
                  </a:lnTo>
                  <a:lnTo>
                    <a:pt x="2057" y="249"/>
                  </a:lnTo>
                  <a:lnTo>
                    <a:pt x="2053" y="249"/>
                  </a:lnTo>
                  <a:lnTo>
                    <a:pt x="2053" y="247"/>
                  </a:lnTo>
                  <a:lnTo>
                    <a:pt x="2046" y="241"/>
                  </a:lnTo>
                  <a:lnTo>
                    <a:pt x="2042" y="247"/>
                  </a:lnTo>
                  <a:lnTo>
                    <a:pt x="2042" y="247"/>
                  </a:lnTo>
                  <a:lnTo>
                    <a:pt x="2042" y="241"/>
                  </a:lnTo>
                  <a:lnTo>
                    <a:pt x="2042" y="237"/>
                  </a:lnTo>
                  <a:lnTo>
                    <a:pt x="2040" y="234"/>
                  </a:lnTo>
                  <a:lnTo>
                    <a:pt x="2036" y="230"/>
                  </a:lnTo>
                  <a:lnTo>
                    <a:pt x="2036" y="228"/>
                  </a:lnTo>
                  <a:lnTo>
                    <a:pt x="2034" y="220"/>
                  </a:lnTo>
                  <a:lnTo>
                    <a:pt x="2029" y="217"/>
                  </a:lnTo>
                  <a:lnTo>
                    <a:pt x="2029" y="217"/>
                  </a:lnTo>
                  <a:lnTo>
                    <a:pt x="2036" y="217"/>
                  </a:lnTo>
                  <a:lnTo>
                    <a:pt x="2040" y="217"/>
                  </a:lnTo>
                  <a:lnTo>
                    <a:pt x="2049" y="217"/>
                  </a:lnTo>
                  <a:lnTo>
                    <a:pt x="2059" y="217"/>
                  </a:lnTo>
                  <a:lnTo>
                    <a:pt x="2059" y="213"/>
                  </a:lnTo>
                  <a:lnTo>
                    <a:pt x="2063" y="213"/>
                  </a:lnTo>
                  <a:lnTo>
                    <a:pt x="2066" y="217"/>
                  </a:lnTo>
                  <a:lnTo>
                    <a:pt x="2070" y="213"/>
                  </a:lnTo>
                  <a:lnTo>
                    <a:pt x="2072" y="213"/>
                  </a:lnTo>
                  <a:lnTo>
                    <a:pt x="2072" y="211"/>
                  </a:lnTo>
                  <a:lnTo>
                    <a:pt x="2078" y="211"/>
                  </a:lnTo>
                  <a:lnTo>
                    <a:pt x="2080" y="213"/>
                  </a:lnTo>
                  <a:lnTo>
                    <a:pt x="2081" y="213"/>
                  </a:lnTo>
                  <a:lnTo>
                    <a:pt x="2083" y="207"/>
                  </a:lnTo>
                  <a:lnTo>
                    <a:pt x="2087" y="207"/>
                  </a:lnTo>
                  <a:lnTo>
                    <a:pt x="2087" y="205"/>
                  </a:lnTo>
                  <a:lnTo>
                    <a:pt x="2100" y="201"/>
                  </a:lnTo>
                  <a:lnTo>
                    <a:pt x="2104" y="205"/>
                  </a:lnTo>
                  <a:lnTo>
                    <a:pt x="2104" y="201"/>
                  </a:lnTo>
                  <a:lnTo>
                    <a:pt x="2106" y="200"/>
                  </a:lnTo>
                  <a:lnTo>
                    <a:pt x="2108" y="200"/>
                  </a:lnTo>
                  <a:lnTo>
                    <a:pt x="2113" y="200"/>
                  </a:lnTo>
                  <a:lnTo>
                    <a:pt x="2115" y="200"/>
                  </a:lnTo>
                  <a:lnTo>
                    <a:pt x="2119" y="201"/>
                  </a:lnTo>
                  <a:lnTo>
                    <a:pt x="2125" y="201"/>
                  </a:lnTo>
                  <a:lnTo>
                    <a:pt x="2129" y="200"/>
                  </a:lnTo>
                  <a:lnTo>
                    <a:pt x="2130" y="203"/>
                  </a:lnTo>
                  <a:lnTo>
                    <a:pt x="2134" y="203"/>
                  </a:lnTo>
                  <a:lnTo>
                    <a:pt x="2136" y="201"/>
                  </a:lnTo>
                  <a:lnTo>
                    <a:pt x="2142" y="200"/>
                  </a:lnTo>
                  <a:lnTo>
                    <a:pt x="2155" y="205"/>
                  </a:lnTo>
                  <a:lnTo>
                    <a:pt x="2159" y="207"/>
                  </a:lnTo>
                  <a:lnTo>
                    <a:pt x="2161" y="205"/>
                  </a:lnTo>
                  <a:lnTo>
                    <a:pt x="2159" y="205"/>
                  </a:lnTo>
                  <a:lnTo>
                    <a:pt x="2162" y="203"/>
                  </a:lnTo>
                  <a:lnTo>
                    <a:pt x="2166" y="205"/>
                  </a:lnTo>
                  <a:lnTo>
                    <a:pt x="2164" y="207"/>
                  </a:lnTo>
                  <a:lnTo>
                    <a:pt x="2166" y="207"/>
                  </a:lnTo>
                  <a:lnTo>
                    <a:pt x="2170" y="207"/>
                  </a:lnTo>
                  <a:lnTo>
                    <a:pt x="2183" y="207"/>
                  </a:lnTo>
                  <a:lnTo>
                    <a:pt x="2194" y="217"/>
                  </a:lnTo>
                  <a:lnTo>
                    <a:pt x="2194" y="217"/>
                  </a:lnTo>
                  <a:lnTo>
                    <a:pt x="2191" y="217"/>
                  </a:lnTo>
                  <a:lnTo>
                    <a:pt x="2183" y="213"/>
                  </a:lnTo>
                  <a:lnTo>
                    <a:pt x="2183" y="217"/>
                  </a:lnTo>
                  <a:lnTo>
                    <a:pt x="2194" y="218"/>
                  </a:lnTo>
                  <a:lnTo>
                    <a:pt x="2200" y="218"/>
                  </a:lnTo>
                  <a:lnTo>
                    <a:pt x="2202" y="217"/>
                  </a:lnTo>
                  <a:lnTo>
                    <a:pt x="2208" y="217"/>
                  </a:lnTo>
                  <a:lnTo>
                    <a:pt x="2213" y="217"/>
                  </a:lnTo>
                  <a:lnTo>
                    <a:pt x="2209" y="213"/>
                  </a:lnTo>
                  <a:lnTo>
                    <a:pt x="2213" y="213"/>
                  </a:lnTo>
                  <a:lnTo>
                    <a:pt x="2215" y="213"/>
                  </a:lnTo>
                  <a:lnTo>
                    <a:pt x="2219" y="217"/>
                  </a:lnTo>
                  <a:lnTo>
                    <a:pt x="2221" y="217"/>
                  </a:lnTo>
                  <a:lnTo>
                    <a:pt x="2223" y="217"/>
                  </a:lnTo>
                  <a:lnTo>
                    <a:pt x="2223" y="213"/>
                  </a:lnTo>
                  <a:lnTo>
                    <a:pt x="2228" y="217"/>
                  </a:lnTo>
                  <a:lnTo>
                    <a:pt x="2228" y="217"/>
                  </a:lnTo>
                  <a:lnTo>
                    <a:pt x="2234" y="218"/>
                  </a:lnTo>
                  <a:lnTo>
                    <a:pt x="2238" y="217"/>
                  </a:lnTo>
                  <a:lnTo>
                    <a:pt x="2255" y="220"/>
                  </a:lnTo>
                  <a:lnTo>
                    <a:pt x="2253" y="217"/>
                  </a:lnTo>
                  <a:lnTo>
                    <a:pt x="2258" y="217"/>
                  </a:lnTo>
                  <a:lnTo>
                    <a:pt x="2258" y="220"/>
                  </a:lnTo>
                  <a:lnTo>
                    <a:pt x="2262" y="222"/>
                  </a:lnTo>
                  <a:lnTo>
                    <a:pt x="2262" y="218"/>
                  </a:lnTo>
                  <a:lnTo>
                    <a:pt x="2262" y="217"/>
                  </a:lnTo>
                  <a:lnTo>
                    <a:pt x="2268" y="218"/>
                  </a:lnTo>
                  <a:lnTo>
                    <a:pt x="2268" y="220"/>
                  </a:lnTo>
                  <a:lnTo>
                    <a:pt x="2272" y="224"/>
                  </a:lnTo>
                  <a:lnTo>
                    <a:pt x="2275" y="222"/>
                  </a:lnTo>
                  <a:lnTo>
                    <a:pt x="2275" y="220"/>
                  </a:lnTo>
                  <a:lnTo>
                    <a:pt x="2273" y="220"/>
                  </a:lnTo>
                  <a:lnTo>
                    <a:pt x="2279" y="220"/>
                  </a:lnTo>
                  <a:lnTo>
                    <a:pt x="2283" y="220"/>
                  </a:lnTo>
                  <a:lnTo>
                    <a:pt x="2281" y="224"/>
                  </a:lnTo>
                  <a:lnTo>
                    <a:pt x="2283" y="228"/>
                  </a:lnTo>
                  <a:lnTo>
                    <a:pt x="2292" y="230"/>
                  </a:lnTo>
                  <a:lnTo>
                    <a:pt x="2296" y="228"/>
                  </a:lnTo>
                  <a:lnTo>
                    <a:pt x="2289" y="226"/>
                  </a:lnTo>
                  <a:lnTo>
                    <a:pt x="2287" y="224"/>
                  </a:lnTo>
                  <a:lnTo>
                    <a:pt x="2283" y="220"/>
                  </a:lnTo>
                  <a:lnTo>
                    <a:pt x="2289" y="220"/>
                  </a:lnTo>
                  <a:lnTo>
                    <a:pt x="2292" y="220"/>
                  </a:lnTo>
                  <a:lnTo>
                    <a:pt x="2300" y="224"/>
                  </a:lnTo>
                  <a:lnTo>
                    <a:pt x="2302" y="230"/>
                  </a:lnTo>
                  <a:lnTo>
                    <a:pt x="2304" y="230"/>
                  </a:lnTo>
                  <a:lnTo>
                    <a:pt x="2304" y="228"/>
                  </a:lnTo>
                  <a:lnTo>
                    <a:pt x="2304" y="226"/>
                  </a:lnTo>
                  <a:lnTo>
                    <a:pt x="2307" y="226"/>
                  </a:lnTo>
                  <a:lnTo>
                    <a:pt x="2309" y="228"/>
                  </a:lnTo>
                  <a:lnTo>
                    <a:pt x="2309" y="230"/>
                  </a:lnTo>
                  <a:lnTo>
                    <a:pt x="2313" y="235"/>
                  </a:lnTo>
                  <a:lnTo>
                    <a:pt x="2317" y="247"/>
                  </a:lnTo>
                  <a:lnTo>
                    <a:pt x="2326" y="247"/>
                  </a:lnTo>
                  <a:lnTo>
                    <a:pt x="2326" y="250"/>
                  </a:lnTo>
                  <a:lnTo>
                    <a:pt x="2328" y="254"/>
                  </a:lnTo>
                  <a:lnTo>
                    <a:pt x="2330" y="258"/>
                  </a:lnTo>
                  <a:lnTo>
                    <a:pt x="2328" y="260"/>
                  </a:lnTo>
                  <a:lnTo>
                    <a:pt x="2330" y="264"/>
                  </a:lnTo>
                  <a:lnTo>
                    <a:pt x="2334" y="266"/>
                  </a:lnTo>
                  <a:lnTo>
                    <a:pt x="2337" y="262"/>
                  </a:lnTo>
                  <a:lnTo>
                    <a:pt x="2341" y="264"/>
                  </a:lnTo>
                  <a:lnTo>
                    <a:pt x="2345" y="267"/>
                  </a:lnTo>
                  <a:lnTo>
                    <a:pt x="2347" y="267"/>
                  </a:lnTo>
                  <a:lnTo>
                    <a:pt x="2347" y="267"/>
                  </a:lnTo>
                  <a:lnTo>
                    <a:pt x="2347" y="267"/>
                  </a:lnTo>
                  <a:lnTo>
                    <a:pt x="2347" y="264"/>
                  </a:lnTo>
                  <a:lnTo>
                    <a:pt x="2347" y="260"/>
                  </a:lnTo>
                  <a:lnTo>
                    <a:pt x="2351" y="262"/>
                  </a:lnTo>
                  <a:lnTo>
                    <a:pt x="2353" y="266"/>
                  </a:lnTo>
                  <a:lnTo>
                    <a:pt x="2354" y="267"/>
                  </a:lnTo>
                  <a:lnTo>
                    <a:pt x="2354" y="267"/>
                  </a:lnTo>
                  <a:lnTo>
                    <a:pt x="2353" y="262"/>
                  </a:lnTo>
                  <a:lnTo>
                    <a:pt x="2353" y="258"/>
                  </a:lnTo>
                  <a:lnTo>
                    <a:pt x="2351" y="254"/>
                  </a:lnTo>
                  <a:lnTo>
                    <a:pt x="2347" y="258"/>
                  </a:lnTo>
                  <a:lnTo>
                    <a:pt x="2341" y="258"/>
                  </a:lnTo>
                  <a:lnTo>
                    <a:pt x="2339" y="254"/>
                  </a:lnTo>
                  <a:lnTo>
                    <a:pt x="2341" y="252"/>
                  </a:lnTo>
                  <a:lnTo>
                    <a:pt x="2341" y="247"/>
                  </a:lnTo>
                  <a:lnTo>
                    <a:pt x="2334" y="243"/>
                  </a:lnTo>
                  <a:lnTo>
                    <a:pt x="2332" y="241"/>
                  </a:lnTo>
                  <a:lnTo>
                    <a:pt x="2330" y="237"/>
                  </a:lnTo>
                  <a:lnTo>
                    <a:pt x="2326" y="237"/>
                  </a:lnTo>
                  <a:lnTo>
                    <a:pt x="2321" y="241"/>
                  </a:lnTo>
                  <a:lnTo>
                    <a:pt x="2321" y="237"/>
                  </a:lnTo>
                  <a:lnTo>
                    <a:pt x="2326" y="235"/>
                  </a:lnTo>
                  <a:lnTo>
                    <a:pt x="2328" y="230"/>
                  </a:lnTo>
                  <a:lnTo>
                    <a:pt x="2334" y="222"/>
                  </a:lnTo>
                  <a:lnTo>
                    <a:pt x="2336" y="222"/>
                  </a:lnTo>
                  <a:lnTo>
                    <a:pt x="2336" y="224"/>
                  </a:lnTo>
                  <a:lnTo>
                    <a:pt x="2337" y="232"/>
                  </a:lnTo>
                  <a:lnTo>
                    <a:pt x="2341" y="234"/>
                  </a:lnTo>
                  <a:lnTo>
                    <a:pt x="2341" y="232"/>
                  </a:lnTo>
                  <a:lnTo>
                    <a:pt x="2339" y="228"/>
                  </a:lnTo>
                  <a:lnTo>
                    <a:pt x="2337" y="224"/>
                  </a:lnTo>
                  <a:lnTo>
                    <a:pt x="2339" y="224"/>
                  </a:lnTo>
                  <a:lnTo>
                    <a:pt x="2345" y="222"/>
                  </a:lnTo>
                  <a:lnTo>
                    <a:pt x="2347" y="218"/>
                  </a:lnTo>
                  <a:lnTo>
                    <a:pt x="2341" y="218"/>
                  </a:lnTo>
                  <a:lnTo>
                    <a:pt x="2341" y="217"/>
                  </a:lnTo>
                  <a:lnTo>
                    <a:pt x="2345" y="217"/>
                  </a:lnTo>
                  <a:lnTo>
                    <a:pt x="2347" y="217"/>
                  </a:lnTo>
                  <a:lnTo>
                    <a:pt x="2351" y="211"/>
                  </a:lnTo>
                  <a:lnTo>
                    <a:pt x="2354" y="211"/>
                  </a:lnTo>
                  <a:lnTo>
                    <a:pt x="2356" y="213"/>
                  </a:lnTo>
                  <a:lnTo>
                    <a:pt x="2358" y="213"/>
                  </a:lnTo>
                  <a:lnTo>
                    <a:pt x="2360" y="213"/>
                  </a:lnTo>
                  <a:lnTo>
                    <a:pt x="2362" y="217"/>
                  </a:lnTo>
                  <a:lnTo>
                    <a:pt x="2366" y="217"/>
                  </a:lnTo>
                  <a:lnTo>
                    <a:pt x="2371" y="218"/>
                  </a:lnTo>
                  <a:lnTo>
                    <a:pt x="2371" y="217"/>
                  </a:lnTo>
                  <a:lnTo>
                    <a:pt x="2385" y="218"/>
                  </a:lnTo>
                  <a:lnTo>
                    <a:pt x="2385" y="224"/>
                  </a:lnTo>
                  <a:lnTo>
                    <a:pt x="2385" y="226"/>
                  </a:lnTo>
                  <a:lnTo>
                    <a:pt x="2386" y="224"/>
                  </a:lnTo>
                  <a:lnTo>
                    <a:pt x="2386" y="222"/>
                  </a:lnTo>
                  <a:lnTo>
                    <a:pt x="2390" y="222"/>
                  </a:lnTo>
                  <a:lnTo>
                    <a:pt x="2390" y="226"/>
                  </a:lnTo>
                  <a:lnTo>
                    <a:pt x="2394" y="224"/>
                  </a:lnTo>
                  <a:lnTo>
                    <a:pt x="2396" y="220"/>
                  </a:lnTo>
                  <a:lnTo>
                    <a:pt x="2400" y="220"/>
                  </a:lnTo>
                  <a:lnTo>
                    <a:pt x="2400" y="224"/>
                  </a:lnTo>
                  <a:lnTo>
                    <a:pt x="2396" y="228"/>
                  </a:lnTo>
                  <a:lnTo>
                    <a:pt x="2396" y="230"/>
                  </a:lnTo>
                  <a:lnTo>
                    <a:pt x="2400" y="237"/>
                  </a:lnTo>
                  <a:lnTo>
                    <a:pt x="2400" y="243"/>
                  </a:lnTo>
                  <a:lnTo>
                    <a:pt x="2400" y="247"/>
                  </a:lnTo>
                  <a:lnTo>
                    <a:pt x="2401" y="247"/>
                  </a:lnTo>
                  <a:lnTo>
                    <a:pt x="2405" y="249"/>
                  </a:lnTo>
                  <a:lnTo>
                    <a:pt x="2409" y="250"/>
                  </a:lnTo>
                  <a:lnTo>
                    <a:pt x="2411" y="254"/>
                  </a:lnTo>
                  <a:lnTo>
                    <a:pt x="2409" y="258"/>
                  </a:lnTo>
                  <a:lnTo>
                    <a:pt x="2401" y="258"/>
                  </a:lnTo>
                  <a:lnTo>
                    <a:pt x="2396" y="258"/>
                  </a:lnTo>
                  <a:lnTo>
                    <a:pt x="2405" y="260"/>
                  </a:lnTo>
                  <a:lnTo>
                    <a:pt x="2409" y="264"/>
                  </a:lnTo>
                  <a:lnTo>
                    <a:pt x="2405" y="267"/>
                  </a:lnTo>
                  <a:lnTo>
                    <a:pt x="2401" y="267"/>
                  </a:lnTo>
                  <a:lnTo>
                    <a:pt x="2400" y="273"/>
                  </a:lnTo>
                  <a:lnTo>
                    <a:pt x="2396" y="271"/>
                  </a:lnTo>
                  <a:lnTo>
                    <a:pt x="2392" y="277"/>
                  </a:lnTo>
                  <a:lnTo>
                    <a:pt x="2388" y="277"/>
                  </a:lnTo>
                  <a:lnTo>
                    <a:pt x="2385" y="281"/>
                  </a:lnTo>
                  <a:lnTo>
                    <a:pt x="2388" y="277"/>
                  </a:lnTo>
                  <a:lnTo>
                    <a:pt x="2392" y="281"/>
                  </a:lnTo>
                  <a:lnTo>
                    <a:pt x="2394" y="282"/>
                  </a:lnTo>
                  <a:lnTo>
                    <a:pt x="2396" y="281"/>
                  </a:lnTo>
                  <a:lnTo>
                    <a:pt x="2400" y="281"/>
                  </a:lnTo>
                  <a:lnTo>
                    <a:pt x="2400" y="282"/>
                  </a:lnTo>
                  <a:lnTo>
                    <a:pt x="2401" y="288"/>
                  </a:lnTo>
                  <a:lnTo>
                    <a:pt x="2400" y="290"/>
                  </a:lnTo>
                  <a:lnTo>
                    <a:pt x="2400" y="296"/>
                  </a:lnTo>
                  <a:lnTo>
                    <a:pt x="2401" y="290"/>
                  </a:lnTo>
                  <a:lnTo>
                    <a:pt x="2409" y="290"/>
                  </a:lnTo>
                  <a:lnTo>
                    <a:pt x="2413" y="294"/>
                  </a:lnTo>
                  <a:lnTo>
                    <a:pt x="2411" y="298"/>
                  </a:lnTo>
                  <a:lnTo>
                    <a:pt x="2415" y="301"/>
                  </a:lnTo>
                  <a:lnTo>
                    <a:pt x="2409" y="305"/>
                  </a:lnTo>
                  <a:lnTo>
                    <a:pt x="2413" y="305"/>
                  </a:lnTo>
                  <a:lnTo>
                    <a:pt x="2413" y="311"/>
                  </a:lnTo>
                  <a:lnTo>
                    <a:pt x="2409" y="313"/>
                  </a:lnTo>
                  <a:lnTo>
                    <a:pt x="2409" y="316"/>
                  </a:lnTo>
                  <a:lnTo>
                    <a:pt x="2411" y="318"/>
                  </a:lnTo>
                  <a:lnTo>
                    <a:pt x="2411" y="315"/>
                  </a:lnTo>
                  <a:lnTo>
                    <a:pt x="2415" y="315"/>
                  </a:lnTo>
                  <a:lnTo>
                    <a:pt x="2417" y="316"/>
                  </a:lnTo>
                  <a:lnTo>
                    <a:pt x="2415" y="322"/>
                  </a:lnTo>
                  <a:lnTo>
                    <a:pt x="2420" y="320"/>
                  </a:lnTo>
                  <a:lnTo>
                    <a:pt x="2422" y="324"/>
                  </a:lnTo>
                  <a:lnTo>
                    <a:pt x="2422" y="320"/>
                  </a:lnTo>
                  <a:lnTo>
                    <a:pt x="2424" y="318"/>
                  </a:lnTo>
                  <a:lnTo>
                    <a:pt x="2426" y="320"/>
                  </a:lnTo>
                  <a:lnTo>
                    <a:pt x="2430" y="320"/>
                  </a:lnTo>
                  <a:lnTo>
                    <a:pt x="2430" y="326"/>
                  </a:lnTo>
                  <a:lnTo>
                    <a:pt x="2426" y="328"/>
                  </a:lnTo>
                  <a:lnTo>
                    <a:pt x="2424" y="324"/>
                  </a:lnTo>
                  <a:lnTo>
                    <a:pt x="2422" y="328"/>
                  </a:lnTo>
                  <a:lnTo>
                    <a:pt x="2426" y="331"/>
                  </a:lnTo>
                  <a:lnTo>
                    <a:pt x="2430" y="330"/>
                  </a:lnTo>
                  <a:lnTo>
                    <a:pt x="2430" y="335"/>
                  </a:lnTo>
                  <a:lnTo>
                    <a:pt x="2430" y="337"/>
                  </a:lnTo>
                  <a:lnTo>
                    <a:pt x="2426" y="339"/>
                  </a:lnTo>
                  <a:lnTo>
                    <a:pt x="2422" y="335"/>
                  </a:lnTo>
                  <a:lnTo>
                    <a:pt x="2420" y="331"/>
                  </a:lnTo>
                  <a:lnTo>
                    <a:pt x="2422" y="339"/>
                  </a:lnTo>
                  <a:lnTo>
                    <a:pt x="2420" y="341"/>
                  </a:lnTo>
                  <a:lnTo>
                    <a:pt x="2418" y="341"/>
                  </a:lnTo>
                  <a:lnTo>
                    <a:pt x="2417" y="339"/>
                  </a:lnTo>
                  <a:lnTo>
                    <a:pt x="2415" y="341"/>
                  </a:lnTo>
                  <a:lnTo>
                    <a:pt x="2411" y="339"/>
                  </a:lnTo>
                  <a:lnTo>
                    <a:pt x="2401" y="337"/>
                  </a:lnTo>
                  <a:lnTo>
                    <a:pt x="2400" y="339"/>
                  </a:lnTo>
                  <a:lnTo>
                    <a:pt x="2396" y="339"/>
                  </a:lnTo>
                  <a:lnTo>
                    <a:pt x="2396" y="337"/>
                  </a:lnTo>
                  <a:lnTo>
                    <a:pt x="2396" y="335"/>
                  </a:lnTo>
                  <a:lnTo>
                    <a:pt x="2394" y="335"/>
                  </a:lnTo>
                  <a:lnTo>
                    <a:pt x="2394" y="339"/>
                  </a:lnTo>
                  <a:lnTo>
                    <a:pt x="2392" y="339"/>
                  </a:lnTo>
                  <a:lnTo>
                    <a:pt x="2392" y="339"/>
                  </a:lnTo>
                  <a:lnTo>
                    <a:pt x="2394" y="343"/>
                  </a:lnTo>
                  <a:lnTo>
                    <a:pt x="2390" y="347"/>
                  </a:lnTo>
                  <a:lnTo>
                    <a:pt x="2388" y="347"/>
                  </a:lnTo>
                  <a:lnTo>
                    <a:pt x="2388" y="345"/>
                  </a:lnTo>
                  <a:lnTo>
                    <a:pt x="2386" y="345"/>
                  </a:lnTo>
                  <a:lnTo>
                    <a:pt x="2379" y="347"/>
                  </a:lnTo>
                  <a:lnTo>
                    <a:pt x="2377" y="345"/>
                  </a:lnTo>
                  <a:lnTo>
                    <a:pt x="2377" y="343"/>
                  </a:lnTo>
                  <a:lnTo>
                    <a:pt x="2375" y="337"/>
                  </a:lnTo>
                  <a:lnTo>
                    <a:pt x="2375" y="337"/>
                  </a:lnTo>
                  <a:lnTo>
                    <a:pt x="2366" y="331"/>
                  </a:lnTo>
                  <a:lnTo>
                    <a:pt x="2366" y="330"/>
                  </a:lnTo>
                  <a:lnTo>
                    <a:pt x="2366" y="328"/>
                  </a:lnTo>
                  <a:lnTo>
                    <a:pt x="2360" y="326"/>
                  </a:lnTo>
                  <a:lnTo>
                    <a:pt x="2358" y="330"/>
                  </a:lnTo>
                  <a:lnTo>
                    <a:pt x="2353" y="331"/>
                  </a:lnTo>
                  <a:lnTo>
                    <a:pt x="2351" y="335"/>
                  </a:lnTo>
                  <a:lnTo>
                    <a:pt x="2347" y="335"/>
                  </a:lnTo>
                  <a:lnTo>
                    <a:pt x="2347" y="331"/>
                  </a:lnTo>
                  <a:lnTo>
                    <a:pt x="2345" y="328"/>
                  </a:lnTo>
                  <a:lnTo>
                    <a:pt x="2347" y="331"/>
                  </a:lnTo>
                  <a:lnTo>
                    <a:pt x="2347" y="337"/>
                  </a:lnTo>
                  <a:lnTo>
                    <a:pt x="2347" y="341"/>
                  </a:lnTo>
                  <a:lnTo>
                    <a:pt x="2347" y="347"/>
                  </a:lnTo>
                  <a:lnTo>
                    <a:pt x="2339" y="356"/>
                  </a:lnTo>
                  <a:lnTo>
                    <a:pt x="2336" y="356"/>
                  </a:lnTo>
                  <a:lnTo>
                    <a:pt x="2336" y="348"/>
                  </a:lnTo>
                  <a:lnTo>
                    <a:pt x="2332" y="347"/>
                  </a:lnTo>
                  <a:lnTo>
                    <a:pt x="2328" y="350"/>
                  </a:lnTo>
                  <a:lnTo>
                    <a:pt x="2321" y="343"/>
                  </a:lnTo>
                  <a:lnTo>
                    <a:pt x="2321" y="339"/>
                  </a:lnTo>
                  <a:lnTo>
                    <a:pt x="2317" y="331"/>
                  </a:lnTo>
                  <a:lnTo>
                    <a:pt x="2315" y="330"/>
                  </a:lnTo>
                  <a:lnTo>
                    <a:pt x="2313" y="328"/>
                  </a:lnTo>
                  <a:lnTo>
                    <a:pt x="2311" y="326"/>
                  </a:lnTo>
                  <a:lnTo>
                    <a:pt x="2309" y="328"/>
                  </a:lnTo>
                  <a:lnTo>
                    <a:pt x="2311" y="330"/>
                  </a:lnTo>
                  <a:lnTo>
                    <a:pt x="2311" y="331"/>
                  </a:lnTo>
                  <a:lnTo>
                    <a:pt x="2313" y="335"/>
                  </a:lnTo>
                  <a:lnTo>
                    <a:pt x="2313" y="337"/>
                  </a:lnTo>
                  <a:lnTo>
                    <a:pt x="2305" y="335"/>
                  </a:lnTo>
                  <a:lnTo>
                    <a:pt x="2302" y="330"/>
                  </a:lnTo>
                  <a:lnTo>
                    <a:pt x="2300" y="330"/>
                  </a:lnTo>
                  <a:lnTo>
                    <a:pt x="2304" y="335"/>
                  </a:lnTo>
                  <a:lnTo>
                    <a:pt x="2300" y="335"/>
                  </a:lnTo>
                  <a:lnTo>
                    <a:pt x="2302" y="337"/>
                  </a:lnTo>
                  <a:lnTo>
                    <a:pt x="2307" y="337"/>
                  </a:lnTo>
                  <a:lnTo>
                    <a:pt x="2309" y="341"/>
                  </a:lnTo>
                  <a:lnTo>
                    <a:pt x="2307" y="345"/>
                  </a:lnTo>
                  <a:lnTo>
                    <a:pt x="2302" y="345"/>
                  </a:lnTo>
                  <a:lnTo>
                    <a:pt x="2302" y="347"/>
                  </a:lnTo>
                  <a:lnTo>
                    <a:pt x="2304" y="348"/>
                  </a:lnTo>
                  <a:lnTo>
                    <a:pt x="2315" y="362"/>
                  </a:lnTo>
                  <a:lnTo>
                    <a:pt x="2321" y="362"/>
                  </a:lnTo>
                  <a:lnTo>
                    <a:pt x="2326" y="362"/>
                  </a:lnTo>
                  <a:lnTo>
                    <a:pt x="2330" y="365"/>
                  </a:lnTo>
                  <a:lnTo>
                    <a:pt x="2332" y="367"/>
                  </a:lnTo>
                  <a:lnTo>
                    <a:pt x="2332" y="367"/>
                  </a:lnTo>
                  <a:lnTo>
                    <a:pt x="2328" y="365"/>
                  </a:lnTo>
                  <a:lnTo>
                    <a:pt x="2326" y="365"/>
                  </a:lnTo>
                  <a:lnTo>
                    <a:pt x="2328" y="369"/>
                  </a:lnTo>
                  <a:lnTo>
                    <a:pt x="2334" y="373"/>
                  </a:lnTo>
                  <a:lnTo>
                    <a:pt x="2336" y="379"/>
                  </a:lnTo>
                  <a:lnTo>
                    <a:pt x="2339" y="382"/>
                  </a:lnTo>
                  <a:lnTo>
                    <a:pt x="2339" y="390"/>
                  </a:lnTo>
                  <a:lnTo>
                    <a:pt x="2336" y="403"/>
                  </a:lnTo>
                  <a:lnTo>
                    <a:pt x="2337" y="411"/>
                  </a:lnTo>
                  <a:lnTo>
                    <a:pt x="2337" y="414"/>
                  </a:lnTo>
                  <a:lnTo>
                    <a:pt x="2339" y="418"/>
                  </a:lnTo>
                  <a:lnTo>
                    <a:pt x="2334" y="424"/>
                  </a:lnTo>
                  <a:lnTo>
                    <a:pt x="2334" y="429"/>
                  </a:lnTo>
                  <a:lnTo>
                    <a:pt x="2330" y="431"/>
                  </a:lnTo>
                  <a:lnTo>
                    <a:pt x="2332" y="429"/>
                  </a:lnTo>
                  <a:lnTo>
                    <a:pt x="2330" y="426"/>
                  </a:lnTo>
                  <a:lnTo>
                    <a:pt x="2322" y="433"/>
                  </a:lnTo>
                  <a:lnTo>
                    <a:pt x="2321" y="429"/>
                  </a:lnTo>
                  <a:lnTo>
                    <a:pt x="2317" y="433"/>
                  </a:lnTo>
                  <a:lnTo>
                    <a:pt x="2315" y="431"/>
                  </a:lnTo>
                  <a:lnTo>
                    <a:pt x="2313" y="429"/>
                  </a:lnTo>
                  <a:lnTo>
                    <a:pt x="2307" y="429"/>
                  </a:lnTo>
                  <a:lnTo>
                    <a:pt x="2302" y="424"/>
                  </a:lnTo>
                  <a:lnTo>
                    <a:pt x="2298" y="420"/>
                  </a:lnTo>
                  <a:lnTo>
                    <a:pt x="2292" y="420"/>
                  </a:lnTo>
                  <a:lnTo>
                    <a:pt x="2290" y="418"/>
                  </a:lnTo>
                  <a:lnTo>
                    <a:pt x="2289" y="418"/>
                  </a:lnTo>
                  <a:lnTo>
                    <a:pt x="2283" y="424"/>
                  </a:lnTo>
                  <a:lnTo>
                    <a:pt x="2279" y="424"/>
                  </a:lnTo>
                  <a:lnTo>
                    <a:pt x="2283" y="424"/>
                  </a:lnTo>
                  <a:lnTo>
                    <a:pt x="2290" y="424"/>
                  </a:lnTo>
                  <a:lnTo>
                    <a:pt x="2292" y="420"/>
                  </a:lnTo>
                  <a:lnTo>
                    <a:pt x="2302" y="424"/>
                  </a:lnTo>
                  <a:lnTo>
                    <a:pt x="2304" y="429"/>
                  </a:lnTo>
                  <a:lnTo>
                    <a:pt x="2298" y="431"/>
                  </a:lnTo>
                  <a:lnTo>
                    <a:pt x="2296" y="429"/>
                  </a:lnTo>
                  <a:lnTo>
                    <a:pt x="2292" y="429"/>
                  </a:lnTo>
                  <a:lnTo>
                    <a:pt x="2292" y="433"/>
                  </a:lnTo>
                  <a:lnTo>
                    <a:pt x="2289" y="429"/>
                  </a:lnTo>
                  <a:lnTo>
                    <a:pt x="2283" y="429"/>
                  </a:lnTo>
                  <a:lnTo>
                    <a:pt x="2287" y="429"/>
                  </a:lnTo>
                  <a:lnTo>
                    <a:pt x="2289" y="435"/>
                  </a:lnTo>
                  <a:lnTo>
                    <a:pt x="2292" y="437"/>
                  </a:lnTo>
                  <a:lnTo>
                    <a:pt x="2292" y="443"/>
                  </a:lnTo>
                  <a:lnTo>
                    <a:pt x="2292" y="450"/>
                  </a:lnTo>
                  <a:lnTo>
                    <a:pt x="2296" y="450"/>
                  </a:lnTo>
                  <a:lnTo>
                    <a:pt x="2296" y="450"/>
                  </a:lnTo>
                  <a:lnTo>
                    <a:pt x="2296" y="443"/>
                  </a:lnTo>
                  <a:lnTo>
                    <a:pt x="2298" y="441"/>
                  </a:lnTo>
                  <a:lnTo>
                    <a:pt x="2302" y="441"/>
                  </a:lnTo>
                  <a:lnTo>
                    <a:pt x="2302" y="439"/>
                  </a:lnTo>
                  <a:lnTo>
                    <a:pt x="2307" y="433"/>
                  </a:lnTo>
                  <a:lnTo>
                    <a:pt x="2311" y="433"/>
                  </a:lnTo>
                  <a:lnTo>
                    <a:pt x="2313" y="435"/>
                  </a:lnTo>
                  <a:lnTo>
                    <a:pt x="2313" y="437"/>
                  </a:lnTo>
                  <a:lnTo>
                    <a:pt x="2317" y="444"/>
                  </a:lnTo>
                  <a:lnTo>
                    <a:pt x="2321" y="446"/>
                  </a:lnTo>
                  <a:lnTo>
                    <a:pt x="2326" y="450"/>
                  </a:lnTo>
                  <a:lnTo>
                    <a:pt x="2332" y="450"/>
                  </a:lnTo>
                  <a:lnTo>
                    <a:pt x="2332" y="446"/>
                  </a:lnTo>
                  <a:lnTo>
                    <a:pt x="2332" y="444"/>
                  </a:lnTo>
                  <a:lnTo>
                    <a:pt x="2334" y="444"/>
                  </a:lnTo>
                  <a:lnTo>
                    <a:pt x="2341" y="450"/>
                  </a:lnTo>
                  <a:lnTo>
                    <a:pt x="2345" y="454"/>
                  </a:lnTo>
                  <a:lnTo>
                    <a:pt x="2341" y="454"/>
                  </a:lnTo>
                  <a:lnTo>
                    <a:pt x="2341" y="458"/>
                  </a:lnTo>
                  <a:lnTo>
                    <a:pt x="2347" y="463"/>
                  </a:lnTo>
                  <a:lnTo>
                    <a:pt x="2351" y="463"/>
                  </a:lnTo>
                  <a:lnTo>
                    <a:pt x="2351" y="461"/>
                  </a:lnTo>
                  <a:lnTo>
                    <a:pt x="2351" y="456"/>
                  </a:lnTo>
                  <a:lnTo>
                    <a:pt x="2354" y="461"/>
                  </a:lnTo>
                  <a:lnTo>
                    <a:pt x="2362" y="473"/>
                  </a:lnTo>
                  <a:lnTo>
                    <a:pt x="2360" y="471"/>
                  </a:lnTo>
                  <a:lnTo>
                    <a:pt x="2358" y="471"/>
                  </a:lnTo>
                  <a:lnTo>
                    <a:pt x="2356" y="471"/>
                  </a:lnTo>
                  <a:lnTo>
                    <a:pt x="2360" y="475"/>
                  </a:lnTo>
                  <a:lnTo>
                    <a:pt x="2356" y="478"/>
                  </a:lnTo>
                  <a:lnTo>
                    <a:pt x="2354" y="480"/>
                  </a:lnTo>
                  <a:lnTo>
                    <a:pt x="2356" y="484"/>
                  </a:lnTo>
                  <a:lnTo>
                    <a:pt x="2360" y="484"/>
                  </a:lnTo>
                  <a:lnTo>
                    <a:pt x="2362" y="480"/>
                  </a:lnTo>
                  <a:lnTo>
                    <a:pt x="2362" y="478"/>
                  </a:lnTo>
                  <a:lnTo>
                    <a:pt x="2366" y="480"/>
                  </a:lnTo>
                  <a:lnTo>
                    <a:pt x="2366" y="475"/>
                  </a:lnTo>
                  <a:lnTo>
                    <a:pt x="2369" y="480"/>
                  </a:lnTo>
                  <a:lnTo>
                    <a:pt x="2377" y="488"/>
                  </a:lnTo>
                  <a:lnTo>
                    <a:pt x="2386" y="488"/>
                  </a:lnTo>
                  <a:lnTo>
                    <a:pt x="2390" y="492"/>
                  </a:lnTo>
                  <a:lnTo>
                    <a:pt x="2388" y="495"/>
                  </a:lnTo>
                  <a:lnTo>
                    <a:pt x="2394" y="503"/>
                  </a:lnTo>
                  <a:lnTo>
                    <a:pt x="2396" y="503"/>
                  </a:lnTo>
                  <a:lnTo>
                    <a:pt x="2401" y="512"/>
                  </a:lnTo>
                  <a:lnTo>
                    <a:pt x="2401" y="522"/>
                  </a:lnTo>
                  <a:lnTo>
                    <a:pt x="2400" y="522"/>
                  </a:lnTo>
                  <a:lnTo>
                    <a:pt x="2400" y="524"/>
                  </a:lnTo>
                  <a:lnTo>
                    <a:pt x="2405" y="527"/>
                  </a:lnTo>
                  <a:lnTo>
                    <a:pt x="2405" y="531"/>
                  </a:lnTo>
                  <a:lnTo>
                    <a:pt x="2405" y="533"/>
                  </a:lnTo>
                  <a:lnTo>
                    <a:pt x="2400" y="529"/>
                  </a:lnTo>
                  <a:lnTo>
                    <a:pt x="2388" y="529"/>
                  </a:lnTo>
                  <a:lnTo>
                    <a:pt x="2385" y="527"/>
                  </a:lnTo>
                  <a:lnTo>
                    <a:pt x="2381" y="529"/>
                  </a:lnTo>
                  <a:lnTo>
                    <a:pt x="2377" y="527"/>
                  </a:lnTo>
                  <a:lnTo>
                    <a:pt x="2375" y="525"/>
                  </a:lnTo>
                  <a:lnTo>
                    <a:pt x="2375" y="524"/>
                  </a:lnTo>
                  <a:lnTo>
                    <a:pt x="2375" y="525"/>
                  </a:lnTo>
                  <a:lnTo>
                    <a:pt x="2375" y="527"/>
                  </a:lnTo>
                  <a:lnTo>
                    <a:pt x="2369" y="531"/>
                  </a:lnTo>
                  <a:lnTo>
                    <a:pt x="2366" y="531"/>
                  </a:lnTo>
                  <a:lnTo>
                    <a:pt x="2364" y="533"/>
                  </a:lnTo>
                  <a:lnTo>
                    <a:pt x="2366" y="535"/>
                  </a:lnTo>
                  <a:lnTo>
                    <a:pt x="2360" y="539"/>
                  </a:lnTo>
                  <a:lnTo>
                    <a:pt x="2356" y="539"/>
                  </a:lnTo>
                  <a:lnTo>
                    <a:pt x="2356" y="542"/>
                  </a:lnTo>
                  <a:lnTo>
                    <a:pt x="2358" y="544"/>
                  </a:lnTo>
                  <a:lnTo>
                    <a:pt x="2353" y="552"/>
                  </a:lnTo>
                  <a:lnTo>
                    <a:pt x="2351" y="554"/>
                  </a:lnTo>
                  <a:lnTo>
                    <a:pt x="2351" y="552"/>
                  </a:lnTo>
                  <a:lnTo>
                    <a:pt x="2347" y="552"/>
                  </a:lnTo>
                  <a:lnTo>
                    <a:pt x="2347" y="558"/>
                  </a:lnTo>
                  <a:lnTo>
                    <a:pt x="2351" y="563"/>
                  </a:lnTo>
                  <a:lnTo>
                    <a:pt x="2347" y="567"/>
                  </a:lnTo>
                  <a:lnTo>
                    <a:pt x="2345" y="565"/>
                  </a:lnTo>
                  <a:lnTo>
                    <a:pt x="2341" y="569"/>
                  </a:lnTo>
                  <a:lnTo>
                    <a:pt x="2345" y="573"/>
                  </a:lnTo>
                  <a:lnTo>
                    <a:pt x="2341" y="574"/>
                  </a:lnTo>
                  <a:lnTo>
                    <a:pt x="2337" y="576"/>
                  </a:lnTo>
                  <a:lnTo>
                    <a:pt x="2339" y="578"/>
                  </a:lnTo>
                  <a:lnTo>
                    <a:pt x="2339" y="582"/>
                  </a:lnTo>
                  <a:lnTo>
                    <a:pt x="2337" y="584"/>
                  </a:lnTo>
                  <a:lnTo>
                    <a:pt x="2336" y="582"/>
                  </a:lnTo>
                  <a:lnTo>
                    <a:pt x="2332" y="584"/>
                  </a:lnTo>
                  <a:lnTo>
                    <a:pt x="2334" y="586"/>
                  </a:lnTo>
                  <a:lnTo>
                    <a:pt x="2336" y="590"/>
                  </a:lnTo>
                  <a:lnTo>
                    <a:pt x="2332" y="593"/>
                  </a:lnTo>
                  <a:lnTo>
                    <a:pt x="2334" y="595"/>
                  </a:lnTo>
                  <a:lnTo>
                    <a:pt x="2332" y="599"/>
                  </a:lnTo>
                  <a:lnTo>
                    <a:pt x="2330" y="599"/>
                  </a:lnTo>
                  <a:lnTo>
                    <a:pt x="2328" y="597"/>
                  </a:lnTo>
                  <a:lnTo>
                    <a:pt x="2326" y="599"/>
                  </a:lnTo>
                  <a:lnTo>
                    <a:pt x="2326" y="599"/>
                  </a:lnTo>
                  <a:lnTo>
                    <a:pt x="2332" y="603"/>
                  </a:lnTo>
                  <a:lnTo>
                    <a:pt x="2330" y="606"/>
                  </a:lnTo>
                  <a:lnTo>
                    <a:pt x="2326" y="606"/>
                  </a:lnTo>
                  <a:lnTo>
                    <a:pt x="2326" y="608"/>
                  </a:lnTo>
                  <a:lnTo>
                    <a:pt x="2328" y="612"/>
                  </a:lnTo>
                  <a:lnTo>
                    <a:pt x="2330" y="616"/>
                  </a:lnTo>
                  <a:lnTo>
                    <a:pt x="2328" y="620"/>
                  </a:lnTo>
                  <a:lnTo>
                    <a:pt x="2330" y="622"/>
                  </a:lnTo>
                  <a:lnTo>
                    <a:pt x="2326" y="627"/>
                  </a:lnTo>
                  <a:lnTo>
                    <a:pt x="2326" y="631"/>
                  </a:lnTo>
                  <a:lnTo>
                    <a:pt x="2326" y="637"/>
                  </a:lnTo>
                  <a:lnTo>
                    <a:pt x="2322" y="644"/>
                  </a:lnTo>
                  <a:lnTo>
                    <a:pt x="2321" y="648"/>
                  </a:lnTo>
                  <a:lnTo>
                    <a:pt x="2321" y="652"/>
                  </a:lnTo>
                  <a:lnTo>
                    <a:pt x="2322" y="654"/>
                  </a:lnTo>
                  <a:lnTo>
                    <a:pt x="2326" y="655"/>
                  </a:lnTo>
                  <a:lnTo>
                    <a:pt x="2322" y="657"/>
                  </a:lnTo>
                  <a:lnTo>
                    <a:pt x="2328" y="663"/>
                  </a:lnTo>
                  <a:lnTo>
                    <a:pt x="2328" y="667"/>
                  </a:lnTo>
                  <a:lnTo>
                    <a:pt x="2326" y="667"/>
                  </a:lnTo>
                  <a:lnTo>
                    <a:pt x="2321" y="667"/>
                  </a:lnTo>
                  <a:lnTo>
                    <a:pt x="2317" y="663"/>
                  </a:lnTo>
                  <a:lnTo>
                    <a:pt x="2317" y="667"/>
                  </a:lnTo>
                  <a:lnTo>
                    <a:pt x="2311" y="657"/>
                  </a:lnTo>
                  <a:lnTo>
                    <a:pt x="2313" y="657"/>
                  </a:lnTo>
                  <a:lnTo>
                    <a:pt x="2311" y="657"/>
                  </a:lnTo>
                  <a:lnTo>
                    <a:pt x="2307" y="657"/>
                  </a:lnTo>
                  <a:lnTo>
                    <a:pt x="2304" y="657"/>
                  </a:lnTo>
                  <a:lnTo>
                    <a:pt x="2304" y="655"/>
                  </a:lnTo>
                  <a:lnTo>
                    <a:pt x="2292" y="648"/>
                  </a:lnTo>
                  <a:lnTo>
                    <a:pt x="2290" y="648"/>
                  </a:lnTo>
                  <a:lnTo>
                    <a:pt x="2283" y="652"/>
                  </a:lnTo>
                  <a:lnTo>
                    <a:pt x="2281" y="650"/>
                  </a:lnTo>
                  <a:lnTo>
                    <a:pt x="2277" y="652"/>
                  </a:lnTo>
                  <a:lnTo>
                    <a:pt x="2273" y="657"/>
                  </a:lnTo>
                  <a:lnTo>
                    <a:pt x="2268" y="657"/>
                  </a:lnTo>
                  <a:lnTo>
                    <a:pt x="2266" y="663"/>
                  </a:lnTo>
                  <a:lnTo>
                    <a:pt x="2264" y="667"/>
                  </a:lnTo>
                  <a:lnTo>
                    <a:pt x="2262" y="663"/>
                  </a:lnTo>
                  <a:lnTo>
                    <a:pt x="2264" y="669"/>
                  </a:lnTo>
                  <a:lnTo>
                    <a:pt x="2262" y="671"/>
                  </a:lnTo>
                  <a:lnTo>
                    <a:pt x="2262" y="676"/>
                  </a:lnTo>
                  <a:lnTo>
                    <a:pt x="2262" y="680"/>
                  </a:lnTo>
                  <a:lnTo>
                    <a:pt x="2258" y="687"/>
                  </a:lnTo>
                  <a:lnTo>
                    <a:pt x="2258" y="691"/>
                  </a:lnTo>
                  <a:lnTo>
                    <a:pt x="2257" y="687"/>
                  </a:lnTo>
                  <a:lnTo>
                    <a:pt x="2251" y="676"/>
                  </a:lnTo>
                  <a:lnTo>
                    <a:pt x="2251" y="671"/>
                  </a:lnTo>
                  <a:lnTo>
                    <a:pt x="2247" y="669"/>
                  </a:lnTo>
                  <a:lnTo>
                    <a:pt x="2245" y="667"/>
                  </a:lnTo>
                  <a:lnTo>
                    <a:pt x="2245" y="671"/>
                  </a:lnTo>
                  <a:lnTo>
                    <a:pt x="2240" y="678"/>
                  </a:lnTo>
                  <a:lnTo>
                    <a:pt x="2238" y="680"/>
                  </a:lnTo>
                  <a:lnTo>
                    <a:pt x="2238" y="684"/>
                  </a:lnTo>
                  <a:lnTo>
                    <a:pt x="2240" y="686"/>
                  </a:lnTo>
                  <a:lnTo>
                    <a:pt x="2238" y="693"/>
                  </a:lnTo>
                  <a:lnTo>
                    <a:pt x="2234" y="687"/>
                  </a:lnTo>
                  <a:lnTo>
                    <a:pt x="2232" y="687"/>
                  </a:lnTo>
                  <a:lnTo>
                    <a:pt x="2228" y="687"/>
                  </a:lnTo>
                  <a:lnTo>
                    <a:pt x="2228" y="687"/>
                  </a:lnTo>
                  <a:lnTo>
                    <a:pt x="2226" y="691"/>
                  </a:lnTo>
                  <a:lnTo>
                    <a:pt x="2225" y="691"/>
                  </a:lnTo>
                  <a:lnTo>
                    <a:pt x="2221" y="691"/>
                  </a:lnTo>
                  <a:lnTo>
                    <a:pt x="2217" y="691"/>
                  </a:lnTo>
                  <a:lnTo>
                    <a:pt x="2217" y="693"/>
                  </a:lnTo>
                  <a:lnTo>
                    <a:pt x="2219" y="697"/>
                  </a:lnTo>
                  <a:lnTo>
                    <a:pt x="2217" y="697"/>
                  </a:lnTo>
                  <a:lnTo>
                    <a:pt x="2215" y="701"/>
                  </a:lnTo>
                  <a:lnTo>
                    <a:pt x="2215" y="704"/>
                  </a:lnTo>
                  <a:lnTo>
                    <a:pt x="2219" y="708"/>
                  </a:lnTo>
                  <a:lnTo>
                    <a:pt x="2221" y="714"/>
                  </a:lnTo>
                  <a:lnTo>
                    <a:pt x="2219" y="714"/>
                  </a:lnTo>
                  <a:lnTo>
                    <a:pt x="2219" y="716"/>
                  </a:lnTo>
                  <a:lnTo>
                    <a:pt x="2223" y="718"/>
                  </a:lnTo>
                  <a:lnTo>
                    <a:pt x="2226" y="721"/>
                  </a:lnTo>
                  <a:lnTo>
                    <a:pt x="2226" y="721"/>
                  </a:lnTo>
                  <a:lnTo>
                    <a:pt x="2225" y="721"/>
                  </a:lnTo>
                  <a:lnTo>
                    <a:pt x="2225" y="725"/>
                  </a:lnTo>
                  <a:lnTo>
                    <a:pt x="2226" y="727"/>
                  </a:lnTo>
                  <a:lnTo>
                    <a:pt x="2228" y="731"/>
                  </a:lnTo>
                  <a:lnTo>
                    <a:pt x="2228" y="731"/>
                  </a:lnTo>
                  <a:lnTo>
                    <a:pt x="2226" y="731"/>
                  </a:lnTo>
                  <a:lnTo>
                    <a:pt x="2223" y="731"/>
                  </a:lnTo>
                  <a:lnTo>
                    <a:pt x="2223" y="731"/>
                  </a:lnTo>
                  <a:lnTo>
                    <a:pt x="2226" y="736"/>
                  </a:lnTo>
                  <a:lnTo>
                    <a:pt x="2228" y="735"/>
                  </a:lnTo>
                  <a:lnTo>
                    <a:pt x="2228" y="738"/>
                  </a:lnTo>
                  <a:lnTo>
                    <a:pt x="2228" y="742"/>
                  </a:lnTo>
                  <a:lnTo>
                    <a:pt x="2228" y="746"/>
                  </a:lnTo>
                  <a:lnTo>
                    <a:pt x="2226" y="750"/>
                  </a:lnTo>
                  <a:lnTo>
                    <a:pt x="2228" y="755"/>
                  </a:lnTo>
                  <a:lnTo>
                    <a:pt x="2226" y="757"/>
                  </a:lnTo>
                  <a:lnTo>
                    <a:pt x="2228" y="761"/>
                  </a:lnTo>
                  <a:lnTo>
                    <a:pt x="2228" y="763"/>
                  </a:lnTo>
                  <a:lnTo>
                    <a:pt x="2228" y="767"/>
                  </a:lnTo>
                  <a:lnTo>
                    <a:pt x="2232" y="774"/>
                  </a:lnTo>
                  <a:lnTo>
                    <a:pt x="2228" y="776"/>
                  </a:lnTo>
                  <a:lnTo>
                    <a:pt x="2234" y="776"/>
                  </a:lnTo>
                  <a:lnTo>
                    <a:pt x="2234" y="782"/>
                  </a:lnTo>
                  <a:lnTo>
                    <a:pt x="2240" y="787"/>
                  </a:lnTo>
                  <a:lnTo>
                    <a:pt x="2245" y="789"/>
                  </a:lnTo>
                  <a:lnTo>
                    <a:pt x="2247" y="787"/>
                  </a:lnTo>
                  <a:lnTo>
                    <a:pt x="2247" y="785"/>
                  </a:lnTo>
                  <a:lnTo>
                    <a:pt x="2241" y="780"/>
                  </a:lnTo>
                  <a:lnTo>
                    <a:pt x="2241" y="776"/>
                  </a:lnTo>
                  <a:lnTo>
                    <a:pt x="2245" y="776"/>
                  </a:lnTo>
                  <a:lnTo>
                    <a:pt x="2249" y="776"/>
                  </a:lnTo>
                  <a:lnTo>
                    <a:pt x="2255" y="780"/>
                  </a:lnTo>
                  <a:lnTo>
                    <a:pt x="2258" y="780"/>
                  </a:lnTo>
                  <a:lnTo>
                    <a:pt x="2262" y="782"/>
                  </a:lnTo>
                  <a:lnTo>
                    <a:pt x="2262" y="785"/>
                  </a:lnTo>
                  <a:lnTo>
                    <a:pt x="2258" y="785"/>
                  </a:lnTo>
                  <a:lnTo>
                    <a:pt x="2262" y="789"/>
                  </a:lnTo>
                  <a:lnTo>
                    <a:pt x="2258" y="791"/>
                  </a:lnTo>
                  <a:lnTo>
                    <a:pt x="2262" y="795"/>
                  </a:lnTo>
                  <a:lnTo>
                    <a:pt x="2258" y="797"/>
                  </a:lnTo>
                  <a:lnTo>
                    <a:pt x="2258" y="800"/>
                  </a:lnTo>
                  <a:lnTo>
                    <a:pt x="2262" y="806"/>
                  </a:lnTo>
                  <a:lnTo>
                    <a:pt x="2262" y="810"/>
                  </a:lnTo>
                  <a:lnTo>
                    <a:pt x="2262" y="819"/>
                  </a:lnTo>
                  <a:lnTo>
                    <a:pt x="2266" y="819"/>
                  </a:lnTo>
                  <a:lnTo>
                    <a:pt x="2268" y="819"/>
                  </a:lnTo>
                  <a:lnTo>
                    <a:pt x="2268" y="816"/>
                  </a:lnTo>
                  <a:lnTo>
                    <a:pt x="2272" y="816"/>
                  </a:lnTo>
                  <a:lnTo>
                    <a:pt x="2272" y="812"/>
                  </a:lnTo>
                  <a:lnTo>
                    <a:pt x="2273" y="816"/>
                  </a:lnTo>
                  <a:lnTo>
                    <a:pt x="2277" y="816"/>
                  </a:lnTo>
                  <a:lnTo>
                    <a:pt x="2277" y="825"/>
                  </a:lnTo>
                  <a:lnTo>
                    <a:pt x="2287" y="833"/>
                  </a:lnTo>
                  <a:lnTo>
                    <a:pt x="2289" y="838"/>
                  </a:lnTo>
                  <a:lnTo>
                    <a:pt x="2287" y="840"/>
                  </a:lnTo>
                  <a:lnTo>
                    <a:pt x="2287" y="844"/>
                  </a:lnTo>
                  <a:lnTo>
                    <a:pt x="2283" y="846"/>
                  </a:lnTo>
                  <a:lnTo>
                    <a:pt x="2279" y="844"/>
                  </a:lnTo>
                  <a:lnTo>
                    <a:pt x="2273" y="840"/>
                  </a:lnTo>
                  <a:lnTo>
                    <a:pt x="2273" y="836"/>
                  </a:lnTo>
                  <a:lnTo>
                    <a:pt x="2275" y="831"/>
                  </a:lnTo>
                  <a:lnTo>
                    <a:pt x="2275" y="827"/>
                  </a:lnTo>
                  <a:lnTo>
                    <a:pt x="2273" y="823"/>
                  </a:lnTo>
                  <a:lnTo>
                    <a:pt x="2272" y="825"/>
                  </a:lnTo>
                  <a:lnTo>
                    <a:pt x="2273" y="827"/>
                  </a:lnTo>
                  <a:lnTo>
                    <a:pt x="2273" y="831"/>
                  </a:lnTo>
                  <a:lnTo>
                    <a:pt x="2272" y="831"/>
                  </a:lnTo>
                  <a:lnTo>
                    <a:pt x="2266" y="836"/>
                  </a:lnTo>
                  <a:lnTo>
                    <a:pt x="2266" y="838"/>
                  </a:lnTo>
                  <a:lnTo>
                    <a:pt x="2272" y="838"/>
                  </a:lnTo>
                  <a:lnTo>
                    <a:pt x="2272" y="840"/>
                  </a:lnTo>
                  <a:lnTo>
                    <a:pt x="2268" y="844"/>
                  </a:lnTo>
                  <a:lnTo>
                    <a:pt x="2272" y="849"/>
                  </a:lnTo>
                  <a:lnTo>
                    <a:pt x="2272" y="851"/>
                  </a:lnTo>
                  <a:lnTo>
                    <a:pt x="2272" y="866"/>
                  </a:lnTo>
                  <a:lnTo>
                    <a:pt x="2272" y="868"/>
                  </a:lnTo>
                  <a:lnTo>
                    <a:pt x="2272" y="870"/>
                  </a:lnTo>
                  <a:lnTo>
                    <a:pt x="2283" y="885"/>
                  </a:lnTo>
                  <a:lnTo>
                    <a:pt x="2283" y="885"/>
                  </a:lnTo>
                  <a:lnTo>
                    <a:pt x="2292" y="895"/>
                  </a:lnTo>
                  <a:lnTo>
                    <a:pt x="2296" y="895"/>
                  </a:lnTo>
                  <a:lnTo>
                    <a:pt x="2292" y="900"/>
                  </a:lnTo>
                  <a:lnTo>
                    <a:pt x="2292" y="904"/>
                  </a:lnTo>
                  <a:lnTo>
                    <a:pt x="2283" y="908"/>
                  </a:lnTo>
                  <a:lnTo>
                    <a:pt x="2281" y="908"/>
                  </a:lnTo>
                  <a:lnTo>
                    <a:pt x="2275" y="910"/>
                  </a:lnTo>
                  <a:lnTo>
                    <a:pt x="2272" y="910"/>
                  </a:lnTo>
                  <a:lnTo>
                    <a:pt x="2273" y="912"/>
                  </a:lnTo>
                  <a:lnTo>
                    <a:pt x="2272" y="919"/>
                  </a:lnTo>
                  <a:lnTo>
                    <a:pt x="2272" y="923"/>
                  </a:lnTo>
                  <a:lnTo>
                    <a:pt x="2268" y="925"/>
                  </a:lnTo>
                  <a:lnTo>
                    <a:pt x="2272" y="930"/>
                  </a:lnTo>
                  <a:lnTo>
                    <a:pt x="2268" y="938"/>
                  </a:lnTo>
                  <a:lnTo>
                    <a:pt x="2272" y="949"/>
                  </a:lnTo>
                  <a:lnTo>
                    <a:pt x="2277" y="951"/>
                  </a:lnTo>
                  <a:lnTo>
                    <a:pt x="2277" y="957"/>
                  </a:lnTo>
                  <a:lnTo>
                    <a:pt x="2283" y="959"/>
                  </a:lnTo>
                  <a:lnTo>
                    <a:pt x="2283" y="964"/>
                  </a:lnTo>
                  <a:lnTo>
                    <a:pt x="2281" y="962"/>
                  </a:lnTo>
                  <a:lnTo>
                    <a:pt x="2279" y="962"/>
                  </a:lnTo>
                  <a:lnTo>
                    <a:pt x="2275" y="964"/>
                  </a:lnTo>
                  <a:lnTo>
                    <a:pt x="2272" y="968"/>
                  </a:lnTo>
                  <a:lnTo>
                    <a:pt x="2272" y="964"/>
                  </a:lnTo>
                  <a:lnTo>
                    <a:pt x="2264" y="970"/>
                  </a:lnTo>
                  <a:lnTo>
                    <a:pt x="2262" y="968"/>
                  </a:lnTo>
                  <a:lnTo>
                    <a:pt x="2258" y="972"/>
                  </a:lnTo>
                  <a:lnTo>
                    <a:pt x="2262" y="974"/>
                  </a:lnTo>
                  <a:lnTo>
                    <a:pt x="2264" y="972"/>
                  </a:lnTo>
                  <a:lnTo>
                    <a:pt x="2264" y="978"/>
                  </a:lnTo>
                  <a:lnTo>
                    <a:pt x="2262" y="979"/>
                  </a:lnTo>
                  <a:lnTo>
                    <a:pt x="2266" y="983"/>
                  </a:lnTo>
                  <a:lnTo>
                    <a:pt x="2264" y="985"/>
                  </a:lnTo>
                  <a:lnTo>
                    <a:pt x="2262" y="985"/>
                  </a:lnTo>
                  <a:lnTo>
                    <a:pt x="2266" y="989"/>
                  </a:lnTo>
                  <a:lnTo>
                    <a:pt x="2264" y="993"/>
                  </a:lnTo>
                  <a:lnTo>
                    <a:pt x="2266" y="993"/>
                  </a:lnTo>
                  <a:lnTo>
                    <a:pt x="2268" y="993"/>
                  </a:lnTo>
                  <a:lnTo>
                    <a:pt x="2272" y="995"/>
                  </a:lnTo>
                  <a:lnTo>
                    <a:pt x="2272" y="998"/>
                  </a:lnTo>
                  <a:lnTo>
                    <a:pt x="2268" y="1004"/>
                  </a:lnTo>
                  <a:lnTo>
                    <a:pt x="2272" y="1008"/>
                  </a:lnTo>
                  <a:lnTo>
                    <a:pt x="2272" y="1015"/>
                  </a:lnTo>
                  <a:lnTo>
                    <a:pt x="2268" y="1019"/>
                  </a:lnTo>
                  <a:lnTo>
                    <a:pt x="2268" y="1019"/>
                  </a:lnTo>
                  <a:lnTo>
                    <a:pt x="2268" y="1023"/>
                  </a:lnTo>
                  <a:lnTo>
                    <a:pt x="2262" y="1027"/>
                  </a:lnTo>
                  <a:lnTo>
                    <a:pt x="2262" y="1032"/>
                  </a:lnTo>
                  <a:lnTo>
                    <a:pt x="2262" y="1032"/>
                  </a:lnTo>
                  <a:lnTo>
                    <a:pt x="2258" y="1040"/>
                  </a:lnTo>
                  <a:lnTo>
                    <a:pt x="2257" y="1049"/>
                  </a:lnTo>
                  <a:lnTo>
                    <a:pt x="2258" y="1043"/>
                  </a:lnTo>
                  <a:lnTo>
                    <a:pt x="2257" y="1042"/>
                  </a:lnTo>
                  <a:lnTo>
                    <a:pt x="2257" y="1038"/>
                  </a:lnTo>
                  <a:lnTo>
                    <a:pt x="2255" y="1036"/>
                  </a:lnTo>
                  <a:lnTo>
                    <a:pt x="2247" y="1034"/>
                  </a:lnTo>
                  <a:lnTo>
                    <a:pt x="2243" y="1028"/>
                  </a:lnTo>
                  <a:lnTo>
                    <a:pt x="2243" y="1023"/>
                  </a:lnTo>
                  <a:lnTo>
                    <a:pt x="2238" y="1006"/>
                  </a:lnTo>
                  <a:lnTo>
                    <a:pt x="2232" y="998"/>
                  </a:lnTo>
                  <a:lnTo>
                    <a:pt x="2234" y="998"/>
                  </a:lnTo>
                  <a:lnTo>
                    <a:pt x="2238" y="998"/>
                  </a:lnTo>
                  <a:lnTo>
                    <a:pt x="2238" y="993"/>
                  </a:lnTo>
                  <a:lnTo>
                    <a:pt x="2234" y="995"/>
                  </a:lnTo>
                  <a:lnTo>
                    <a:pt x="2232" y="995"/>
                  </a:lnTo>
                  <a:lnTo>
                    <a:pt x="2225" y="993"/>
                  </a:lnTo>
                  <a:lnTo>
                    <a:pt x="2209" y="968"/>
                  </a:lnTo>
                  <a:lnTo>
                    <a:pt x="2196" y="951"/>
                  </a:lnTo>
                  <a:lnTo>
                    <a:pt x="2196" y="946"/>
                  </a:lnTo>
                  <a:lnTo>
                    <a:pt x="2193" y="940"/>
                  </a:lnTo>
                  <a:lnTo>
                    <a:pt x="2183" y="925"/>
                  </a:lnTo>
                  <a:lnTo>
                    <a:pt x="2170" y="904"/>
                  </a:lnTo>
                  <a:lnTo>
                    <a:pt x="2164" y="885"/>
                  </a:lnTo>
                  <a:lnTo>
                    <a:pt x="2164" y="878"/>
                  </a:lnTo>
                  <a:lnTo>
                    <a:pt x="2159" y="870"/>
                  </a:lnTo>
                  <a:lnTo>
                    <a:pt x="2159" y="859"/>
                  </a:lnTo>
                  <a:lnTo>
                    <a:pt x="2155" y="851"/>
                  </a:lnTo>
                  <a:lnTo>
                    <a:pt x="2155" y="844"/>
                  </a:lnTo>
                  <a:lnTo>
                    <a:pt x="2159" y="840"/>
                  </a:lnTo>
                  <a:lnTo>
                    <a:pt x="2159" y="833"/>
                  </a:lnTo>
                  <a:lnTo>
                    <a:pt x="2162" y="833"/>
                  </a:lnTo>
                  <a:lnTo>
                    <a:pt x="2161" y="829"/>
                  </a:lnTo>
                  <a:lnTo>
                    <a:pt x="2162" y="827"/>
                  </a:lnTo>
                  <a:lnTo>
                    <a:pt x="2162" y="819"/>
                  </a:lnTo>
                  <a:lnTo>
                    <a:pt x="2155" y="806"/>
                  </a:lnTo>
                  <a:lnTo>
                    <a:pt x="2149" y="806"/>
                  </a:lnTo>
                  <a:lnTo>
                    <a:pt x="2149" y="806"/>
                  </a:lnTo>
                  <a:lnTo>
                    <a:pt x="2155" y="802"/>
                  </a:lnTo>
                  <a:lnTo>
                    <a:pt x="2161" y="806"/>
                  </a:lnTo>
                  <a:lnTo>
                    <a:pt x="2166" y="800"/>
                  </a:lnTo>
                  <a:lnTo>
                    <a:pt x="2164" y="799"/>
                  </a:lnTo>
                  <a:lnTo>
                    <a:pt x="2164" y="791"/>
                  </a:lnTo>
                  <a:lnTo>
                    <a:pt x="2170" y="789"/>
                  </a:lnTo>
                  <a:lnTo>
                    <a:pt x="2176" y="791"/>
                  </a:lnTo>
                  <a:lnTo>
                    <a:pt x="2170" y="785"/>
                  </a:lnTo>
                  <a:lnTo>
                    <a:pt x="2177" y="776"/>
                  </a:lnTo>
                  <a:lnTo>
                    <a:pt x="2176" y="768"/>
                  </a:lnTo>
                  <a:lnTo>
                    <a:pt x="2176" y="761"/>
                  </a:lnTo>
                  <a:lnTo>
                    <a:pt x="2174" y="757"/>
                  </a:lnTo>
                  <a:lnTo>
                    <a:pt x="2176" y="755"/>
                  </a:lnTo>
                  <a:lnTo>
                    <a:pt x="2176" y="750"/>
                  </a:lnTo>
                  <a:lnTo>
                    <a:pt x="2176" y="748"/>
                  </a:lnTo>
                  <a:lnTo>
                    <a:pt x="2176" y="742"/>
                  </a:lnTo>
                  <a:lnTo>
                    <a:pt x="2179" y="742"/>
                  </a:lnTo>
                  <a:lnTo>
                    <a:pt x="2176" y="738"/>
                  </a:lnTo>
                  <a:lnTo>
                    <a:pt x="2176" y="735"/>
                  </a:lnTo>
                  <a:lnTo>
                    <a:pt x="2176" y="733"/>
                  </a:lnTo>
                  <a:lnTo>
                    <a:pt x="2177" y="725"/>
                  </a:lnTo>
                  <a:lnTo>
                    <a:pt x="2176" y="725"/>
                  </a:lnTo>
                  <a:lnTo>
                    <a:pt x="2176" y="721"/>
                  </a:lnTo>
                  <a:lnTo>
                    <a:pt x="2179" y="718"/>
                  </a:lnTo>
                  <a:lnTo>
                    <a:pt x="2183" y="718"/>
                  </a:lnTo>
                  <a:lnTo>
                    <a:pt x="2179" y="710"/>
                  </a:lnTo>
                  <a:lnTo>
                    <a:pt x="2183" y="703"/>
                  </a:lnTo>
                  <a:lnTo>
                    <a:pt x="2179" y="701"/>
                  </a:lnTo>
                  <a:lnTo>
                    <a:pt x="2179" y="701"/>
                  </a:lnTo>
                  <a:lnTo>
                    <a:pt x="2183" y="693"/>
                  </a:lnTo>
                  <a:lnTo>
                    <a:pt x="2183" y="687"/>
                  </a:lnTo>
                  <a:lnTo>
                    <a:pt x="2179" y="687"/>
                  </a:lnTo>
                  <a:lnTo>
                    <a:pt x="2179" y="686"/>
                  </a:lnTo>
                  <a:lnTo>
                    <a:pt x="2179" y="682"/>
                  </a:lnTo>
                  <a:lnTo>
                    <a:pt x="2179" y="678"/>
                  </a:lnTo>
                  <a:lnTo>
                    <a:pt x="2183" y="676"/>
                  </a:lnTo>
                  <a:lnTo>
                    <a:pt x="2183" y="674"/>
                  </a:lnTo>
                  <a:lnTo>
                    <a:pt x="2187" y="672"/>
                  </a:lnTo>
                  <a:lnTo>
                    <a:pt x="2189" y="669"/>
                  </a:lnTo>
                  <a:lnTo>
                    <a:pt x="2193" y="663"/>
                  </a:lnTo>
                  <a:lnTo>
                    <a:pt x="2194" y="663"/>
                  </a:lnTo>
                  <a:lnTo>
                    <a:pt x="2198" y="663"/>
                  </a:lnTo>
                  <a:lnTo>
                    <a:pt x="2200" y="663"/>
                  </a:lnTo>
                  <a:lnTo>
                    <a:pt x="2202" y="661"/>
                  </a:lnTo>
                  <a:lnTo>
                    <a:pt x="2200" y="657"/>
                  </a:lnTo>
                  <a:lnTo>
                    <a:pt x="2196" y="657"/>
                  </a:lnTo>
                  <a:lnTo>
                    <a:pt x="2194" y="657"/>
                  </a:lnTo>
                  <a:lnTo>
                    <a:pt x="2191" y="657"/>
                  </a:lnTo>
                  <a:lnTo>
                    <a:pt x="2191" y="650"/>
                  </a:lnTo>
                  <a:lnTo>
                    <a:pt x="2193" y="644"/>
                  </a:lnTo>
                  <a:lnTo>
                    <a:pt x="2193" y="642"/>
                  </a:lnTo>
                  <a:lnTo>
                    <a:pt x="2191" y="639"/>
                  </a:lnTo>
                  <a:lnTo>
                    <a:pt x="2189" y="637"/>
                  </a:lnTo>
                  <a:lnTo>
                    <a:pt x="2187" y="640"/>
                  </a:lnTo>
                  <a:lnTo>
                    <a:pt x="2185" y="640"/>
                  </a:lnTo>
                  <a:lnTo>
                    <a:pt x="2185" y="633"/>
                  </a:lnTo>
                  <a:lnTo>
                    <a:pt x="2187" y="631"/>
                  </a:lnTo>
                  <a:lnTo>
                    <a:pt x="2187" y="627"/>
                  </a:lnTo>
                  <a:lnTo>
                    <a:pt x="2185" y="623"/>
                  </a:lnTo>
                  <a:lnTo>
                    <a:pt x="2183" y="622"/>
                  </a:lnTo>
                  <a:lnTo>
                    <a:pt x="2183" y="620"/>
                  </a:lnTo>
                  <a:lnTo>
                    <a:pt x="2183" y="620"/>
                  </a:lnTo>
                  <a:lnTo>
                    <a:pt x="2183" y="618"/>
                  </a:lnTo>
                  <a:lnTo>
                    <a:pt x="2179" y="612"/>
                  </a:lnTo>
                  <a:lnTo>
                    <a:pt x="2177" y="608"/>
                  </a:lnTo>
                  <a:lnTo>
                    <a:pt x="2176" y="606"/>
                  </a:lnTo>
                  <a:lnTo>
                    <a:pt x="2176" y="603"/>
                  </a:lnTo>
                  <a:lnTo>
                    <a:pt x="2174" y="599"/>
                  </a:lnTo>
                  <a:lnTo>
                    <a:pt x="2174" y="597"/>
                  </a:lnTo>
                  <a:lnTo>
                    <a:pt x="2179" y="591"/>
                  </a:lnTo>
                  <a:lnTo>
                    <a:pt x="2183" y="593"/>
                  </a:lnTo>
                  <a:lnTo>
                    <a:pt x="2185" y="591"/>
                  </a:lnTo>
                  <a:lnTo>
                    <a:pt x="2183" y="590"/>
                  </a:lnTo>
                  <a:lnTo>
                    <a:pt x="2189" y="586"/>
                  </a:lnTo>
                  <a:lnTo>
                    <a:pt x="2187" y="588"/>
                  </a:lnTo>
                  <a:lnTo>
                    <a:pt x="2183" y="586"/>
                  </a:lnTo>
                  <a:lnTo>
                    <a:pt x="2179" y="586"/>
                  </a:lnTo>
                  <a:lnTo>
                    <a:pt x="2176" y="586"/>
                  </a:lnTo>
                  <a:lnTo>
                    <a:pt x="2170" y="582"/>
                  </a:lnTo>
                  <a:lnTo>
                    <a:pt x="2168" y="582"/>
                  </a:lnTo>
                  <a:lnTo>
                    <a:pt x="2164" y="582"/>
                  </a:lnTo>
                  <a:lnTo>
                    <a:pt x="2161" y="586"/>
                  </a:lnTo>
                  <a:lnTo>
                    <a:pt x="2159" y="586"/>
                  </a:lnTo>
                  <a:lnTo>
                    <a:pt x="2153" y="591"/>
                  </a:lnTo>
                  <a:lnTo>
                    <a:pt x="2155" y="593"/>
                  </a:lnTo>
                  <a:lnTo>
                    <a:pt x="2155" y="597"/>
                  </a:lnTo>
                  <a:lnTo>
                    <a:pt x="2159" y="599"/>
                  </a:lnTo>
                  <a:lnTo>
                    <a:pt x="2159" y="603"/>
                  </a:lnTo>
                  <a:lnTo>
                    <a:pt x="2159" y="606"/>
                  </a:lnTo>
                  <a:lnTo>
                    <a:pt x="2159" y="612"/>
                  </a:lnTo>
                  <a:lnTo>
                    <a:pt x="2161" y="612"/>
                  </a:lnTo>
                  <a:lnTo>
                    <a:pt x="2161" y="614"/>
                  </a:lnTo>
                  <a:lnTo>
                    <a:pt x="2164" y="616"/>
                  </a:lnTo>
                  <a:lnTo>
                    <a:pt x="2166" y="623"/>
                  </a:lnTo>
                  <a:lnTo>
                    <a:pt x="2170" y="627"/>
                  </a:lnTo>
                  <a:lnTo>
                    <a:pt x="2170" y="631"/>
                  </a:lnTo>
                  <a:lnTo>
                    <a:pt x="2174" y="633"/>
                  </a:lnTo>
                  <a:lnTo>
                    <a:pt x="2170" y="637"/>
                  </a:lnTo>
                  <a:lnTo>
                    <a:pt x="2170" y="633"/>
                  </a:lnTo>
                  <a:lnTo>
                    <a:pt x="2168" y="631"/>
                  </a:lnTo>
                  <a:lnTo>
                    <a:pt x="2162" y="633"/>
                  </a:lnTo>
                  <a:lnTo>
                    <a:pt x="2159" y="633"/>
                  </a:lnTo>
                  <a:lnTo>
                    <a:pt x="2159" y="639"/>
                  </a:lnTo>
                  <a:lnTo>
                    <a:pt x="2159" y="640"/>
                  </a:lnTo>
                  <a:lnTo>
                    <a:pt x="2159" y="646"/>
                  </a:lnTo>
                  <a:lnTo>
                    <a:pt x="2159" y="648"/>
                  </a:lnTo>
                  <a:lnTo>
                    <a:pt x="2159" y="650"/>
                  </a:lnTo>
                  <a:lnTo>
                    <a:pt x="2159" y="650"/>
                  </a:lnTo>
                  <a:lnTo>
                    <a:pt x="2159" y="654"/>
                  </a:lnTo>
                  <a:lnTo>
                    <a:pt x="2155" y="657"/>
                  </a:lnTo>
                  <a:lnTo>
                    <a:pt x="2159" y="657"/>
                  </a:lnTo>
                  <a:lnTo>
                    <a:pt x="2155" y="661"/>
                  </a:lnTo>
                  <a:lnTo>
                    <a:pt x="2155" y="671"/>
                  </a:lnTo>
                  <a:lnTo>
                    <a:pt x="2155" y="672"/>
                  </a:lnTo>
                  <a:lnTo>
                    <a:pt x="2155" y="674"/>
                  </a:lnTo>
                  <a:lnTo>
                    <a:pt x="2153" y="676"/>
                  </a:lnTo>
                  <a:lnTo>
                    <a:pt x="2149" y="682"/>
                  </a:lnTo>
                  <a:lnTo>
                    <a:pt x="2149" y="678"/>
                  </a:lnTo>
                  <a:lnTo>
                    <a:pt x="2145" y="674"/>
                  </a:lnTo>
                  <a:lnTo>
                    <a:pt x="2149" y="669"/>
                  </a:lnTo>
                  <a:lnTo>
                    <a:pt x="2145" y="667"/>
                  </a:lnTo>
                  <a:lnTo>
                    <a:pt x="2144" y="667"/>
                  </a:lnTo>
                  <a:lnTo>
                    <a:pt x="2140" y="671"/>
                  </a:lnTo>
                  <a:lnTo>
                    <a:pt x="2140" y="672"/>
                  </a:lnTo>
                  <a:lnTo>
                    <a:pt x="2138" y="674"/>
                  </a:lnTo>
                  <a:lnTo>
                    <a:pt x="2138" y="667"/>
                  </a:lnTo>
                  <a:lnTo>
                    <a:pt x="2134" y="667"/>
                  </a:lnTo>
                  <a:lnTo>
                    <a:pt x="2132" y="663"/>
                  </a:lnTo>
                  <a:lnTo>
                    <a:pt x="2129" y="667"/>
                  </a:lnTo>
                  <a:lnTo>
                    <a:pt x="2129" y="667"/>
                  </a:lnTo>
                  <a:lnTo>
                    <a:pt x="2129" y="663"/>
                  </a:lnTo>
                  <a:lnTo>
                    <a:pt x="2130" y="663"/>
                  </a:lnTo>
                  <a:lnTo>
                    <a:pt x="2129" y="661"/>
                  </a:lnTo>
                  <a:lnTo>
                    <a:pt x="2129" y="657"/>
                  </a:lnTo>
                  <a:lnTo>
                    <a:pt x="2130" y="657"/>
                  </a:lnTo>
                  <a:lnTo>
                    <a:pt x="2129" y="654"/>
                  </a:lnTo>
                  <a:lnTo>
                    <a:pt x="2129" y="652"/>
                  </a:lnTo>
                  <a:lnTo>
                    <a:pt x="2130" y="650"/>
                  </a:lnTo>
                  <a:lnTo>
                    <a:pt x="2129" y="646"/>
                  </a:lnTo>
                  <a:lnTo>
                    <a:pt x="2129" y="644"/>
                  </a:lnTo>
                  <a:lnTo>
                    <a:pt x="2129" y="642"/>
                  </a:lnTo>
                  <a:lnTo>
                    <a:pt x="2129" y="637"/>
                  </a:lnTo>
                  <a:lnTo>
                    <a:pt x="2125" y="637"/>
                  </a:lnTo>
                  <a:lnTo>
                    <a:pt x="2125" y="633"/>
                  </a:lnTo>
                  <a:lnTo>
                    <a:pt x="2121" y="633"/>
                  </a:lnTo>
                  <a:lnTo>
                    <a:pt x="2121" y="637"/>
                  </a:lnTo>
                  <a:lnTo>
                    <a:pt x="2119" y="637"/>
                  </a:lnTo>
                  <a:lnTo>
                    <a:pt x="2119" y="642"/>
                  </a:lnTo>
                  <a:lnTo>
                    <a:pt x="2117" y="646"/>
                  </a:lnTo>
                  <a:lnTo>
                    <a:pt x="2115" y="646"/>
                  </a:lnTo>
                  <a:lnTo>
                    <a:pt x="2113" y="640"/>
                  </a:lnTo>
                  <a:lnTo>
                    <a:pt x="2112" y="640"/>
                  </a:lnTo>
                  <a:lnTo>
                    <a:pt x="2110" y="642"/>
                  </a:lnTo>
                  <a:lnTo>
                    <a:pt x="2110" y="639"/>
                  </a:lnTo>
                  <a:lnTo>
                    <a:pt x="2104" y="639"/>
                  </a:lnTo>
                  <a:lnTo>
                    <a:pt x="2104" y="640"/>
                  </a:lnTo>
                  <a:lnTo>
                    <a:pt x="2100" y="640"/>
                  </a:lnTo>
                  <a:lnTo>
                    <a:pt x="2100" y="644"/>
                  </a:lnTo>
                  <a:lnTo>
                    <a:pt x="2097" y="644"/>
                  </a:lnTo>
                  <a:lnTo>
                    <a:pt x="2097" y="646"/>
                  </a:lnTo>
                  <a:lnTo>
                    <a:pt x="2091" y="646"/>
                  </a:lnTo>
                  <a:lnTo>
                    <a:pt x="2089" y="650"/>
                  </a:lnTo>
                  <a:lnTo>
                    <a:pt x="2087" y="648"/>
                  </a:lnTo>
                  <a:lnTo>
                    <a:pt x="2085" y="650"/>
                  </a:lnTo>
                  <a:lnTo>
                    <a:pt x="2080" y="650"/>
                  </a:lnTo>
                  <a:lnTo>
                    <a:pt x="2076" y="657"/>
                  </a:lnTo>
                  <a:lnTo>
                    <a:pt x="2072" y="657"/>
                  </a:lnTo>
                  <a:lnTo>
                    <a:pt x="2074" y="663"/>
                  </a:lnTo>
                  <a:lnTo>
                    <a:pt x="2070" y="667"/>
                  </a:lnTo>
                  <a:lnTo>
                    <a:pt x="2070" y="667"/>
                  </a:lnTo>
                  <a:lnTo>
                    <a:pt x="2072" y="669"/>
                  </a:lnTo>
                  <a:lnTo>
                    <a:pt x="2074" y="672"/>
                  </a:lnTo>
                  <a:lnTo>
                    <a:pt x="2078" y="678"/>
                  </a:lnTo>
                  <a:lnTo>
                    <a:pt x="2074" y="682"/>
                  </a:lnTo>
                  <a:lnTo>
                    <a:pt x="2072" y="693"/>
                  </a:lnTo>
                  <a:lnTo>
                    <a:pt x="2078" y="701"/>
                  </a:lnTo>
                  <a:lnTo>
                    <a:pt x="2072" y="701"/>
                  </a:lnTo>
                  <a:lnTo>
                    <a:pt x="2074" y="701"/>
                  </a:lnTo>
                  <a:lnTo>
                    <a:pt x="2074" y="706"/>
                  </a:lnTo>
                  <a:lnTo>
                    <a:pt x="2070" y="710"/>
                  </a:lnTo>
                  <a:lnTo>
                    <a:pt x="2070" y="716"/>
                  </a:lnTo>
                  <a:lnTo>
                    <a:pt x="2066" y="718"/>
                  </a:lnTo>
                  <a:lnTo>
                    <a:pt x="2066" y="721"/>
                  </a:lnTo>
                  <a:lnTo>
                    <a:pt x="2066" y="731"/>
                  </a:lnTo>
                  <a:lnTo>
                    <a:pt x="2070" y="735"/>
                  </a:lnTo>
                  <a:lnTo>
                    <a:pt x="2066" y="736"/>
                  </a:lnTo>
                  <a:lnTo>
                    <a:pt x="2070" y="744"/>
                  </a:lnTo>
                  <a:lnTo>
                    <a:pt x="2070" y="744"/>
                  </a:lnTo>
                  <a:lnTo>
                    <a:pt x="2070" y="748"/>
                  </a:lnTo>
                  <a:lnTo>
                    <a:pt x="2070" y="750"/>
                  </a:lnTo>
                  <a:lnTo>
                    <a:pt x="2072" y="748"/>
                  </a:lnTo>
                  <a:lnTo>
                    <a:pt x="2076" y="748"/>
                  </a:lnTo>
                  <a:lnTo>
                    <a:pt x="2076" y="746"/>
                  </a:lnTo>
                  <a:lnTo>
                    <a:pt x="2078" y="746"/>
                  </a:lnTo>
                  <a:lnTo>
                    <a:pt x="2080" y="748"/>
                  </a:lnTo>
                  <a:lnTo>
                    <a:pt x="2083" y="748"/>
                  </a:lnTo>
                  <a:lnTo>
                    <a:pt x="2081" y="746"/>
                  </a:lnTo>
                  <a:lnTo>
                    <a:pt x="2083" y="744"/>
                  </a:lnTo>
                  <a:lnTo>
                    <a:pt x="2085" y="746"/>
                  </a:lnTo>
                  <a:lnTo>
                    <a:pt x="2089" y="748"/>
                  </a:lnTo>
                  <a:lnTo>
                    <a:pt x="2089" y="750"/>
                  </a:lnTo>
                  <a:lnTo>
                    <a:pt x="2089" y="752"/>
                  </a:lnTo>
                  <a:lnTo>
                    <a:pt x="2091" y="755"/>
                  </a:lnTo>
                  <a:lnTo>
                    <a:pt x="2091" y="755"/>
                  </a:lnTo>
                  <a:lnTo>
                    <a:pt x="2089" y="755"/>
                  </a:lnTo>
                  <a:lnTo>
                    <a:pt x="2087" y="757"/>
                  </a:lnTo>
                  <a:lnTo>
                    <a:pt x="2083" y="755"/>
                  </a:lnTo>
                  <a:lnTo>
                    <a:pt x="2080" y="757"/>
                  </a:lnTo>
                  <a:lnTo>
                    <a:pt x="2080" y="759"/>
                  </a:lnTo>
                  <a:lnTo>
                    <a:pt x="2081" y="761"/>
                  </a:lnTo>
                  <a:lnTo>
                    <a:pt x="2078" y="767"/>
                  </a:lnTo>
                  <a:lnTo>
                    <a:pt x="2074" y="765"/>
                  </a:lnTo>
                  <a:lnTo>
                    <a:pt x="2074" y="761"/>
                  </a:lnTo>
                  <a:lnTo>
                    <a:pt x="2072" y="759"/>
                  </a:lnTo>
                  <a:lnTo>
                    <a:pt x="2070" y="761"/>
                  </a:lnTo>
                  <a:lnTo>
                    <a:pt x="2066" y="759"/>
                  </a:lnTo>
                  <a:lnTo>
                    <a:pt x="2066" y="761"/>
                  </a:lnTo>
                  <a:lnTo>
                    <a:pt x="2066" y="763"/>
                  </a:lnTo>
                  <a:lnTo>
                    <a:pt x="2066" y="767"/>
                  </a:lnTo>
                  <a:lnTo>
                    <a:pt x="2065" y="767"/>
                  </a:lnTo>
                  <a:lnTo>
                    <a:pt x="2063" y="768"/>
                  </a:lnTo>
                  <a:lnTo>
                    <a:pt x="2061" y="770"/>
                  </a:lnTo>
                  <a:lnTo>
                    <a:pt x="2063" y="772"/>
                  </a:lnTo>
                  <a:lnTo>
                    <a:pt x="2061" y="776"/>
                  </a:lnTo>
                  <a:lnTo>
                    <a:pt x="2059" y="774"/>
                  </a:lnTo>
                  <a:lnTo>
                    <a:pt x="2053" y="770"/>
                  </a:lnTo>
                  <a:lnTo>
                    <a:pt x="2051" y="770"/>
                  </a:lnTo>
                  <a:lnTo>
                    <a:pt x="2053" y="774"/>
                  </a:lnTo>
                  <a:lnTo>
                    <a:pt x="2049" y="776"/>
                  </a:lnTo>
                  <a:lnTo>
                    <a:pt x="2051" y="776"/>
                  </a:lnTo>
                  <a:lnTo>
                    <a:pt x="2048" y="780"/>
                  </a:lnTo>
                  <a:lnTo>
                    <a:pt x="2042" y="782"/>
                  </a:lnTo>
                  <a:lnTo>
                    <a:pt x="2042" y="782"/>
                  </a:lnTo>
                  <a:lnTo>
                    <a:pt x="2036" y="776"/>
                  </a:lnTo>
                  <a:lnTo>
                    <a:pt x="2034" y="776"/>
                  </a:lnTo>
                  <a:lnTo>
                    <a:pt x="2033" y="776"/>
                  </a:lnTo>
                  <a:lnTo>
                    <a:pt x="2033" y="774"/>
                  </a:lnTo>
                  <a:lnTo>
                    <a:pt x="2036" y="774"/>
                  </a:lnTo>
                  <a:lnTo>
                    <a:pt x="2036" y="770"/>
                  </a:lnTo>
                  <a:lnTo>
                    <a:pt x="2036" y="768"/>
                  </a:lnTo>
                  <a:lnTo>
                    <a:pt x="2042" y="768"/>
                  </a:lnTo>
                  <a:lnTo>
                    <a:pt x="2049" y="763"/>
                  </a:lnTo>
                  <a:lnTo>
                    <a:pt x="2048" y="761"/>
                  </a:lnTo>
                  <a:lnTo>
                    <a:pt x="2046" y="761"/>
                  </a:lnTo>
                  <a:lnTo>
                    <a:pt x="2042" y="763"/>
                  </a:lnTo>
                  <a:lnTo>
                    <a:pt x="2036" y="763"/>
                  </a:lnTo>
                  <a:lnTo>
                    <a:pt x="2036" y="761"/>
                  </a:lnTo>
                  <a:lnTo>
                    <a:pt x="2034" y="757"/>
                  </a:lnTo>
                  <a:lnTo>
                    <a:pt x="2031" y="757"/>
                  </a:lnTo>
                  <a:lnTo>
                    <a:pt x="2025" y="757"/>
                  </a:lnTo>
                  <a:lnTo>
                    <a:pt x="2019" y="757"/>
                  </a:lnTo>
                  <a:lnTo>
                    <a:pt x="2021" y="759"/>
                  </a:lnTo>
                  <a:lnTo>
                    <a:pt x="2017" y="761"/>
                  </a:lnTo>
                  <a:lnTo>
                    <a:pt x="2016" y="759"/>
                  </a:lnTo>
                  <a:lnTo>
                    <a:pt x="2016" y="757"/>
                  </a:lnTo>
                  <a:lnTo>
                    <a:pt x="2012" y="757"/>
                  </a:lnTo>
                  <a:lnTo>
                    <a:pt x="2006" y="755"/>
                  </a:lnTo>
                  <a:lnTo>
                    <a:pt x="2002" y="757"/>
                  </a:lnTo>
                  <a:lnTo>
                    <a:pt x="1999" y="755"/>
                  </a:lnTo>
                  <a:lnTo>
                    <a:pt x="1993" y="755"/>
                  </a:lnTo>
                  <a:lnTo>
                    <a:pt x="1991" y="761"/>
                  </a:lnTo>
                  <a:lnTo>
                    <a:pt x="1987" y="761"/>
                  </a:lnTo>
                  <a:lnTo>
                    <a:pt x="1987" y="763"/>
                  </a:lnTo>
                  <a:lnTo>
                    <a:pt x="1991" y="767"/>
                  </a:lnTo>
                  <a:lnTo>
                    <a:pt x="1987" y="768"/>
                  </a:lnTo>
                  <a:lnTo>
                    <a:pt x="1987" y="767"/>
                  </a:lnTo>
                  <a:lnTo>
                    <a:pt x="1984" y="770"/>
                  </a:lnTo>
                  <a:lnTo>
                    <a:pt x="1987" y="772"/>
                  </a:lnTo>
                  <a:lnTo>
                    <a:pt x="1987" y="772"/>
                  </a:lnTo>
                  <a:lnTo>
                    <a:pt x="1991" y="772"/>
                  </a:lnTo>
                  <a:lnTo>
                    <a:pt x="1991" y="776"/>
                  </a:lnTo>
                  <a:lnTo>
                    <a:pt x="1984" y="780"/>
                  </a:lnTo>
                  <a:lnTo>
                    <a:pt x="1982" y="776"/>
                  </a:lnTo>
                  <a:lnTo>
                    <a:pt x="1976" y="776"/>
                  </a:lnTo>
                  <a:lnTo>
                    <a:pt x="1974" y="776"/>
                  </a:lnTo>
                  <a:lnTo>
                    <a:pt x="1974" y="780"/>
                  </a:lnTo>
                  <a:lnTo>
                    <a:pt x="1972" y="780"/>
                  </a:lnTo>
                  <a:lnTo>
                    <a:pt x="1969" y="782"/>
                  </a:lnTo>
                  <a:lnTo>
                    <a:pt x="1967" y="782"/>
                  </a:lnTo>
                  <a:lnTo>
                    <a:pt x="1967" y="780"/>
                  </a:lnTo>
                  <a:lnTo>
                    <a:pt x="1957" y="780"/>
                  </a:lnTo>
                  <a:lnTo>
                    <a:pt x="1957" y="782"/>
                  </a:lnTo>
                  <a:lnTo>
                    <a:pt x="1950" y="780"/>
                  </a:lnTo>
                  <a:lnTo>
                    <a:pt x="1944" y="782"/>
                  </a:lnTo>
                  <a:lnTo>
                    <a:pt x="1944" y="782"/>
                  </a:lnTo>
                  <a:lnTo>
                    <a:pt x="1950" y="787"/>
                  </a:lnTo>
                  <a:lnTo>
                    <a:pt x="1948" y="789"/>
                  </a:lnTo>
                  <a:lnTo>
                    <a:pt x="1944" y="793"/>
                  </a:lnTo>
                  <a:lnTo>
                    <a:pt x="1942" y="789"/>
                  </a:lnTo>
                  <a:lnTo>
                    <a:pt x="1938" y="789"/>
                  </a:lnTo>
                  <a:lnTo>
                    <a:pt x="1940" y="785"/>
                  </a:lnTo>
                  <a:lnTo>
                    <a:pt x="1937" y="782"/>
                  </a:lnTo>
                  <a:lnTo>
                    <a:pt x="1935" y="785"/>
                  </a:lnTo>
                  <a:lnTo>
                    <a:pt x="1933" y="785"/>
                  </a:lnTo>
                  <a:lnTo>
                    <a:pt x="1929" y="785"/>
                  </a:lnTo>
                  <a:lnTo>
                    <a:pt x="1923" y="789"/>
                  </a:lnTo>
                  <a:lnTo>
                    <a:pt x="1921" y="787"/>
                  </a:lnTo>
                  <a:lnTo>
                    <a:pt x="1916" y="791"/>
                  </a:lnTo>
                  <a:lnTo>
                    <a:pt x="1910" y="793"/>
                  </a:lnTo>
                  <a:lnTo>
                    <a:pt x="1903" y="797"/>
                  </a:lnTo>
                  <a:lnTo>
                    <a:pt x="1899" y="799"/>
                  </a:lnTo>
                  <a:lnTo>
                    <a:pt x="1899" y="795"/>
                  </a:lnTo>
                  <a:lnTo>
                    <a:pt x="1895" y="797"/>
                  </a:lnTo>
                  <a:lnTo>
                    <a:pt x="1895" y="800"/>
                  </a:lnTo>
                  <a:lnTo>
                    <a:pt x="1888" y="804"/>
                  </a:lnTo>
                  <a:lnTo>
                    <a:pt x="1888" y="810"/>
                  </a:lnTo>
                  <a:lnTo>
                    <a:pt x="1884" y="810"/>
                  </a:lnTo>
                  <a:lnTo>
                    <a:pt x="1882" y="816"/>
                  </a:lnTo>
                  <a:lnTo>
                    <a:pt x="1888" y="823"/>
                  </a:lnTo>
                  <a:lnTo>
                    <a:pt x="1886" y="831"/>
                  </a:lnTo>
                  <a:lnTo>
                    <a:pt x="1880" y="838"/>
                  </a:lnTo>
                  <a:lnTo>
                    <a:pt x="1878" y="844"/>
                  </a:lnTo>
                  <a:lnTo>
                    <a:pt x="1878" y="846"/>
                  </a:lnTo>
                  <a:lnTo>
                    <a:pt x="1878" y="855"/>
                  </a:lnTo>
                  <a:lnTo>
                    <a:pt x="1880" y="857"/>
                  </a:lnTo>
                  <a:lnTo>
                    <a:pt x="1880" y="861"/>
                  </a:lnTo>
                  <a:lnTo>
                    <a:pt x="1878" y="861"/>
                  </a:lnTo>
                  <a:lnTo>
                    <a:pt x="1878" y="863"/>
                  </a:lnTo>
                  <a:lnTo>
                    <a:pt x="1878" y="868"/>
                  </a:lnTo>
                  <a:lnTo>
                    <a:pt x="1874" y="868"/>
                  </a:lnTo>
                  <a:lnTo>
                    <a:pt x="1878" y="874"/>
                  </a:lnTo>
                  <a:lnTo>
                    <a:pt x="1874" y="878"/>
                  </a:lnTo>
                  <a:lnTo>
                    <a:pt x="1873" y="881"/>
                  </a:lnTo>
                  <a:lnTo>
                    <a:pt x="1869" y="889"/>
                  </a:lnTo>
                  <a:lnTo>
                    <a:pt x="1869" y="893"/>
                  </a:lnTo>
                  <a:lnTo>
                    <a:pt x="1865" y="895"/>
                  </a:lnTo>
                  <a:lnTo>
                    <a:pt x="1865" y="900"/>
                  </a:lnTo>
                  <a:lnTo>
                    <a:pt x="1863" y="900"/>
                  </a:lnTo>
                  <a:lnTo>
                    <a:pt x="1861" y="910"/>
                  </a:lnTo>
                  <a:lnTo>
                    <a:pt x="1861" y="917"/>
                  </a:lnTo>
                  <a:lnTo>
                    <a:pt x="1859" y="919"/>
                  </a:lnTo>
                  <a:lnTo>
                    <a:pt x="1861" y="923"/>
                  </a:lnTo>
                  <a:lnTo>
                    <a:pt x="1859" y="929"/>
                  </a:lnTo>
                  <a:lnTo>
                    <a:pt x="1857" y="932"/>
                  </a:lnTo>
                  <a:lnTo>
                    <a:pt x="1854" y="938"/>
                  </a:lnTo>
                  <a:lnTo>
                    <a:pt x="1854" y="938"/>
                  </a:lnTo>
                  <a:lnTo>
                    <a:pt x="1854" y="938"/>
                  </a:lnTo>
                  <a:lnTo>
                    <a:pt x="1854" y="944"/>
                  </a:lnTo>
                  <a:lnTo>
                    <a:pt x="1848" y="949"/>
                  </a:lnTo>
                  <a:lnTo>
                    <a:pt x="1848" y="955"/>
                  </a:lnTo>
                  <a:lnTo>
                    <a:pt x="1841" y="959"/>
                  </a:lnTo>
                  <a:lnTo>
                    <a:pt x="1841" y="964"/>
                  </a:lnTo>
                  <a:lnTo>
                    <a:pt x="1839" y="968"/>
                  </a:lnTo>
                  <a:lnTo>
                    <a:pt x="1839" y="972"/>
                  </a:lnTo>
                  <a:lnTo>
                    <a:pt x="1835" y="976"/>
                  </a:lnTo>
                  <a:lnTo>
                    <a:pt x="1839" y="979"/>
                  </a:lnTo>
                  <a:lnTo>
                    <a:pt x="1841" y="981"/>
                  </a:lnTo>
                  <a:lnTo>
                    <a:pt x="1844" y="979"/>
                  </a:lnTo>
                  <a:lnTo>
                    <a:pt x="1848" y="983"/>
                  </a:lnTo>
                  <a:lnTo>
                    <a:pt x="1850" y="983"/>
                  </a:lnTo>
                  <a:lnTo>
                    <a:pt x="1856" y="979"/>
                  </a:lnTo>
                  <a:lnTo>
                    <a:pt x="1859" y="979"/>
                  </a:lnTo>
                  <a:lnTo>
                    <a:pt x="1861" y="976"/>
                  </a:lnTo>
                  <a:lnTo>
                    <a:pt x="1863" y="978"/>
                  </a:lnTo>
                  <a:lnTo>
                    <a:pt x="1869" y="976"/>
                  </a:lnTo>
                  <a:lnTo>
                    <a:pt x="1869" y="985"/>
                  </a:lnTo>
                  <a:lnTo>
                    <a:pt x="1873" y="993"/>
                  </a:lnTo>
                  <a:lnTo>
                    <a:pt x="1874" y="998"/>
                  </a:lnTo>
                  <a:lnTo>
                    <a:pt x="1873" y="1002"/>
                  </a:lnTo>
                  <a:lnTo>
                    <a:pt x="1878" y="1006"/>
                  </a:lnTo>
                  <a:lnTo>
                    <a:pt x="1880" y="1002"/>
                  </a:lnTo>
                  <a:lnTo>
                    <a:pt x="1880" y="1002"/>
                  </a:lnTo>
                  <a:lnTo>
                    <a:pt x="1882" y="1002"/>
                  </a:lnTo>
                  <a:lnTo>
                    <a:pt x="1884" y="998"/>
                  </a:lnTo>
                  <a:lnTo>
                    <a:pt x="1888" y="998"/>
                  </a:lnTo>
                  <a:lnTo>
                    <a:pt x="1888" y="998"/>
                  </a:lnTo>
                  <a:lnTo>
                    <a:pt x="1891" y="998"/>
                  </a:lnTo>
                  <a:lnTo>
                    <a:pt x="1895" y="998"/>
                  </a:lnTo>
                  <a:lnTo>
                    <a:pt x="1893" y="998"/>
                  </a:lnTo>
                  <a:lnTo>
                    <a:pt x="1891" y="1002"/>
                  </a:lnTo>
                  <a:lnTo>
                    <a:pt x="1891" y="1006"/>
                  </a:lnTo>
                  <a:lnTo>
                    <a:pt x="1889" y="1006"/>
                  </a:lnTo>
                  <a:lnTo>
                    <a:pt x="1888" y="1010"/>
                  </a:lnTo>
                  <a:lnTo>
                    <a:pt x="1888" y="1011"/>
                  </a:lnTo>
                  <a:lnTo>
                    <a:pt x="1897" y="1010"/>
                  </a:lnTo>
                  <a:lnTo>
                    <a:pt x="1899" y="1008"/>
                  </a:lnTo>
                  <a:lnTo>
                    <a:pt x="1903" y="1002"/>
                  </a:lnTo>
                  <a:lnTo>
                    <a:pt x="1903" y="998"/>
                  </a:lnTo>
                  <a:lnTo>
                    <a:pt x="1903" y="995"/>
                  </a:lnTo>
                  <a:lnTo>
                    <a:pt x="1905" y="1002"/>
                  </a:lnTo>
                  <a:lnTo>
                    <a:pt x="1903" y="1006"/>
                  </a:lnTo>
                  <a:lnTo>
                    <a:pt x="1905" y="1010"/>
                  </a:lnTo>
                  <a:lnTo>
                    <a:pt x="1908" y="1008"/>
                  </a:lnTo>
                  <a:lnTo>
                    <a:pt x="1908" y="1002"/>
                  </a:lnTo>
                  <a:lnTo>
                    <a:pt x="1908" y="998"/>
                  </a:lnTo>
                  <a:lnTo>
                    <a:pt x="1908" y="993"/>
                  </a:lnTo>
                  <a:lnTo>
                    <a:pt x="1905" y="989"/>
                  </a:lnTo>
                  <a:lnTo>
                    <a:pt x="1903" y="985"/>
                  </a:lnTo>
                  <a:lnTo>
                    <a:pt x="1908" y="985"/>
                  </a:lnTo>
                  <a:lnTo>
                    <a:pt x="1910" y="987"/>
                  </a:lnTo>
                  <a:lnTo>
                    <a:pt x="1910" y="989"/>
                  </a:lnTo>
                  <a:lnTo>
                    <a:pt x="1910" y="989"/>
                  </a:lnTo>
                  <a:lnTo>
                    <a:pt x="1912" y="989"/>
                  </a:lnTo>
                  <a:lnTo>
                    <a:pt x="1914" y="987"/>
                  </a:lnTo>
                  <a:lnTo>
                    <a:pt x="1918" y="987"/>
                  </a:lnTo>
                  <a:lnTo>
                    <a:pt x="1923" y="983"/>
                  </a:lnTo>
                  <a:lnTo>
                    <a:pt x="1927" y="987"/>
                  </a:lnTo>
                  <a:lnTo>
                    <a:pt x="1933" y="987"/>
                  </a:lnTo>
                  <a:lnTo>
                    <a:pt x="1933" y="989"/>
                  </a:lnTo>
                  <a:lnTo>
                    <a:pt x="1935" y="993"/>
                  </a:lnTo>
                  <a:lnTo>
                    <a:pt x="1938" y="995"/>
                  </a:lnTo>
                  <a:lnTo>
                    <a:pt x="1942" y="995"/>
                  </a:lnTo>
                  <a:lnTo>
                    <a:pt x="1944" y="998"/>
                  </a:lnTo>
                  <a:lnTo>
                    <a:pt x="1953" y="1002"/>
                  </a:lnTo>
                  <a:lnTo>
                    <a:pt x="1953" y="1004"/>
                  </a:lnTo>
                  <a:lnTo>
                    <a:pt x="1957" y="1004"/>
                  </a:lnTo>
                  <a:lnTo>
                    <a:pt x="1959" y="1008"/>
                  </a:lnTo>
                  <a:lnTo>
                    <a:pt x="1961" y="1008"/>
                  </a:lnTo>
                  <a:lnTo>
                    <a:pt x="1967" y="1013"/>
                  </a:lnTo>
                  <a:lnTo>
                    <a:pt x="1963" y="1017"/>
                  </a:lnTo>
                  <a:lnTo>
                    <a:pt x="1961" y="1019"/>
                  </a:lnTo>
                  <a:lnTo>
                    <a:pt x="1959" y="1019"/>
                  </a:lnTo>
                  <a:lnTo>
                    <a:pt x="1963" y="1027"/>
                  </a:lnTo>
                  <a:lnTo>
                    <a:pt x="1967" y="1027"/>
                  </a:lnTo>
                  <a:lnTo>
                    <a:pt x="1970" y="1032"/>
                  </a:lnTo>
                  <a:lnTo>
                    <a:pt x="1970" y="1034"/>
                  </a:lnTo>
                  <a:lnTo>
                    <a:pt x="1969" y="1038"/>
                  </a:lnTo>
                  <a:lnTo>
                    <a:pt x="1969" y="1042"/>
                  </a:lnTo>
                  <a:lnTo>
                    <a:pt x="1972" y="1043"/>
                  </a:lnTo>
                  <a:lnTo>
                    <a:pt x="1976" y="1043"/>
                  </a:lnTo>
                  <a:lnTo>
                    <a:pt x="1978" y="1043"/>
                  </a:lnTo>
                  <a:lnTo>
                    <a:pt x="1978" y="1047"/>
                  </a:lnTo>
                  <a:lnTo>
                    <a:pt x="1978" y="1049"/>
                  </a:lnTo>
                  <a:lnTo>
                    <a:pt x="1978" y="1053"/>
                  </a:lnTo>
                  <a:lnTo>
                    <a:pt x="1982" y="1057"/>
                  </a:lnTo>
                  <a:lnTo>
                    <a:pt x="1978" y="1057"/>
                  </a:lnTo>
                  <a:lnTo>
                    <a:pt x="1978" y="1060"/>
                  </a:lnTo>
                  <a:lnTo>
                    <a:pt x="1978" y="1062"/>
                  </a:lnTo>
                  <a:lnTo>
                    <a:pt x="1978" y="1068"/>
                  </a:lnTo>
                  <a:lnTo>
                    <a:pt x="1978" y="1068"/>
                  </a:lnTo>
                  <a:lnTo>
                    <a:pt x="1978" y="1072"/>
                  </a:lnTo>
                  <a:lnTo>
                    <a:pt x="1978" y="1074"/>
                  </a:lnTo>
                  <a:lnTo>
                    <a:pt x="1982" y="1074"/>
                  </a:lnTo>
                  <a:lnTo>
                    <a:pt x="1978" y="1077"/>
                  </a:lnTo>
                  <a:lnTo>
                    <a:pt x="1982" y="1087"/>
                  </a:lnTo>
                  <a:lnTo>
                    <a:pt x="1978" y="1087"/>
                  </a:lnTo>
                  <a:lnTo>
                    <a:pt x="1982" y="1094"/>
                  </a:lnTo>
                  <a:lnTo>
                    <a:pt x="1982" y="1098"/>
                  </a:lnTo>
                  <a:lnTo>
                    <a:pt x="1982" y="1102"/>
                  </a:lnTo>
                  <a:lnTo>
                    <a:pt x="1984" y="1111"/>
                  </a:lnTo>
                  <a:lnTo>
                    <a:pt x="1987" y="1113"/>
                  </a:lnTo>
                  <a:lnTo>
                    <a:pt x="1991" y="1111"/>
                  </a:lnTo>
                  <a:lnTo>
                    <a:pt x="1991" y="1111"/>
                  </a:lnTo>
                  <a:lnTo>
                    <a:pt x="1987" y="1117"/>
                  </a:lnTo>
                  <a:lnTo>
                    <a:pt x="1987" y="1121"/>
                  </a:lnTo>
                  <a:lnTo>
                    <a:pt x="1987" y="1123"/>
                  </a:lnTo>
                  <a:lnTo>
                    <a:pt x="1991" y="1123"/>
                  </a:lnTo>
                  <a:lnTo>
                    <a:pt x="1995" y="1128"/>
                  </a:lnTo>
                  <a:lnTo>
                    <a:pt x="1995" y="1136"/>
                  </a:lnTo>
                  <a:lnTo>
                    <a:pt x="1997" y="1138"/>
                  </a:lnTo>
                  <a:lnTo>
                    <a:pt x="1995" y="1141"/>
                  </a:lnTo>
                  <a:lnTo>
                    <a:pt x="1997" y="1151"/>
                  </a:lnTo>
                  <a:lnTo>
                    <a:pt x="2001" y="1151"/>
                  </a:lnTo>
                  <a:lnTo>
                    <a:pt x="2001" y="1153"/>
                  </a:lnTo>
                  <a:lnTo>
                    <a:pt x="1999" y="1155"/>
                  </a:lnTo>
                  <a:lnTo>
                    <a:pt x="1999" y="1160"/>
                  </a:lnTo>
                  <a:lnTo>
                    <a:pt x="2001" y="1162"/>
                  </a:lnTo>
                  <a:lnTo>
                    <a:pt x="2001" y="1170"/>
                  </a:lnTo>
                  <a:lnTo>
                    <a:pt x="1995" y="1175"/>
                  </a:lnTo>
                  <a:lnTo>
                    <a:pt x="1995" y="1179"/>
                  </a:lnTo>
                  <a:lnTo>
                    <a:pt x="1993" y="1185"/>
                  </a:lnTo>
                  <a:lnTo>
                    <a:pt x="1993" y="1192"/>
                  </a:lnTo>
                  <a:lnTo>
                    <a:pt x="1995" y="1192"/>
                  </a:lnTo>
                  <a:lnTo>
                    <a:pt x="1993" y="1196"/>
                  </a:lnTo>
                  <a:lnTo>
                    <a:pt x="1991" y="1202"/>
                  </a:lnTo>
                  <a:lnTo>
                    <a:pt x="1991" y="1205"/>
                  </a:lnTo>
                  <a:lnTo>
                    <a:pt x="1987" y="1211"/>
                  </a:lnTo>
                  <a:lnTo>
                    <a:pt x="1991" y="1211"/>
                  </a:lnTo>
                  <a:lnTo>
                    <a:pt x="1991" y="1215"/>
                  </a:lnTo>
                  <a:lnTo>
                    <a:pt x="1987" y="1219"/>
                  </a:lnTo>
                  <a:lnTo>
                    <a:pt x="1987" y="1226"/>
                  </a:lnTo>
                  <a:lnTo>
                    <a:pt x="1984" y="1230"/>
                  </a:lnTo>
                  <a:lnTo>
                    <a:pt x="1987" y="1236"/>
                  </a:lnTo>
                  <a:lnTo>
                    <a:pt x="1987" y="1236"/>
                  </a:lnTo>
                  <a:lnTo>
                    <a:pt x="1987" y="1239"/>
                  </a:lnTo>
                  <a:lnTo>
                    <a:pt x="1984" y="1245"/>
                  </a:lnTo>
                  <a:lnTo>
                    <a:pt x="1984" y="1251"/>
                  </a:lnTo>
                  <a:lnTo>
                    <a:pt x="1978" y="1254"/>
                  </a:lnTo>
                  <a:lnTo>
                    <a:pt x="1978" y="1258"/>
                  </a:lnTo>
                  <a:lnTo>
                    <a:pt x="1974" y="1260"/>
                  </a:lnTo>
                  <a:lnTo>
                    <a:pt x="1970" y="1277"/>
                  </a:lnTo>
                  <a:lnTo>
                    <a:pt x="1969" y="1279"/>
                  </a:lnTo>
                  <a:lnTo>
                    <a:pt x="1969" y="1285"/>
                  </a:lnTo>
                  <a:lnTo>
                    <a:pt x="1970" y="1285"/>
                  </a:lnTo>
                  <a:lnTo>
                    <a:pt x="1969" y="1286"/>
                  </a:lnTo>
                  <a:lnTo>
                    <a:pt x="1963" y="1290"/>
                  </a:lnTo>
                  <a:lnTo>
                    <a:pt x="1963" y="1294"/>
                  </a:lnTo>
                  <a:lnTo>
                    <a:pt x="1959" y="1294"/>
                  </a:lnTo>
                  <a:lnTo>
                    <a:pt x="1961" y="1302"/>
                  </a:lnTo>
                  <a:lnTo>
                    <a:pt x="1957" y="1302"/>
                  </a:lnTo>
                  <a:lnTo>
                    <a:pt x="1959" y="1305"/>
                  </a:lnTo>
                  <a:lnTo>
                    <a:pt x="1957" y="1311"/>
                  </a:lnTo>
                  <a:lnTo>
                    <a:pt x="1957" y="1311"/>
                  </a:lnTo>
                  <a:lnTo>
                    <a:pt x="1953" y="1309"/>
                  </a:lnTo>
                  <a:lnTo>
                    <a:pt x="1953" y="1315"/>
                  </a:lnTo>
                  <a:lnTo>
                    <a:pt x="1953" y="1318"/>
                  </a:lnTo>
                  <a:lnTo>
                    <a:pt x="1952" y="1320"/>
                  </a:lnTo>
                  <a:lnTo>
                    <a:pt x="1952" y="1320"/>
                  </a:lnTo>
                  <a:lnTo>
                    <a:pt x="1946" y="1330"/>
                  </a:lnTo>
                  <a:lnTo>
                    <a:pt x="1942" y="1334"/>
                  </a:lnTo>
                  <a:lnTo>
                    <a:pt x="1940" y="1334"/>
                  </a:lnTo>
                  <a:lnTo>
                    <a:pt x="1938" y="1337"/>
                  </a:lnTo>
                  <a:lnTo>
                    <a:pt x="1933" y="1337"/>
                  </a:lnTo>
                  <a:lnTo>
                    <a:pt x="1929" y="1343"/>
                  </a:lnTo>
                  <a:lnTo>
                    <a:pt x="1929" y="1339"/>
                  </a:lnTo>
                  <a:lnTo>
                    <a:pt x="1927" y="1343"/>
                  </a:lnTo>
                  <a:lnTo>
                    <a:pt x="1920" y="1337"/>
                  </a:lnTo>
                  <a:lnTo>
                    <a:pt x="1914" y="1337"/>
                  </a:lnTo>
                  <a:lnTo>
                    <a:pt x="1914" y="1330"/>
                  </a:lnTo>
                  <a:lnTo>
                    <a:pt x="1912" y="1328"/>
                  </a:lnTo>
                  <a:lnTo>
                    <a:pt x="1908" y="1330"/>
                  </a:lnTo>
                  <a:lnTo>
                    <a:pt x="1903" y="1328"/>
                  </a:lnTo>
                  <a:lnTo>
                    <a:pt x="1903" y="1330"/>
                  </a:lnTo>
                  <a:lnTo>
                    <a:pt x="1903" y="1334"/>
                  </a:lnTo>
                  <a:lnTo>
                    <a:pt x="1899" y="1335"/>
                  </a:lnTo>
                  <a:lnTo>
                    <a:pt x="1899" y="1343"/>
                  </a:lnTo>
                  <a:lnTo>
                    <a:pt x="1897" y="1345"/>
                  </a:lnTo>
                  <a:lnTo>
                    <a:pt x="1895" y="1351"/>
                  </a:lnTo>
                  <a:lnTo>
                    <a:pt x="1893" y="1349"/>
                  </a:lnTo>
                  <a:lnTo>
                    <a:pt x="1888" y="1351"/>
                  </a:lnTo>
                  <a:lnTo>
                    <a:pt x="1888" y="1354"/>
                  </a:lnTo>
                  <a:lnTo>
                    <a:pt x="1886" y="1354"/>
                  </a:lnTo>
                  <a:lnTo>
                    <a:pt x="1886" y="1354"/>
                  </a:lnTo>
                  <a:lnTo>
                    <a:pt x="1886" y="1354"/>
                  </a:lnTo>
                  <a:lnTo>
                    <a:pt x="1886" y="1354"/>
                  </a:lnTo>
                  <a:close/>
                  <a:moveTo>
                    <a:pt x="2159" y="1290"/>
                  </a:moveTo>
                  <a:lnTo>
                    <a:pt x="2159" y="1290"/>
                  </a:lnTo>
                  <a:lnTo>
                    <a:pt x="2162" y="1288"/>
                  </a:lnTo>
                  <a:lnTo>
                    <a:pt x="2162" y="1285"/>
                  </a:lnTo>
                  <a:lnTo>
                    <a:pt x="2161" y="1286"/>
                  </a:lnTo>
                  <a:lnTo>
                    <a:pt x="2159" y="1290"/>
                  </a:lnTo>
                  <a:lnTo>
                    <a:pt x="2159" y="1290"/>
                  </a:lnTo>
                  <a:lnTo>
                    <a:pt x="2159" y="1290"/>
                  </a:lnTo>
                  <a:lnTo>
                    <a:pt x="2159" y="1290"/>
                  </a:lnTo>
                  <a:close/>
                  <a:moveTo>
                    <a:pt x="120" y="190"/>
                  </a:moveTo>
                  <a:lnTo>
                    <a:pt x="118" y="186"/>
                  </a:lnTo>
                  <a:lnTo>
                    <a:pt x="118" y="183"/>
                  </a:lnTo>
                  <a:lnTo>
                    <a:pt x="114" y="179"/>
                  </a:lnTo>
                  <a:lnTo>
                    <a:pt x="114" y="179"/>
                  </a:lnTo>
                  <a:lnTo>
                    <a:pt x="113" y="173"/>
                  </a:lnTo>
                  <a:lnTo>
                    <a:pt x="114" y="171"/>
                  </a:lnTo>
                  <a:lnTo>
                    <a:pt x="118" y="168"/>
                  </a:lnTo>
                  <a:lnTo>
                    <a:pt x="124" y="166"/>
                  </a:lnTo>
                  <a:lnTo>
                    <a:pt x="128" y="164"/>
                  </a:lnTo>
                  <a:lnTo>
                    <a:pt x="128" y="166"/>
                  </a:lnTo>
                  <a:lnTo>
                    <a:pt x="131" y="169"/>
                  </a:lnTo>
                  <a:lnTo>
                    <a:pt x="135" y="171"/>
                  </a:lnTo>
                  <a:lnTo>
                    <a:pt x="139" y="171"/>
                  </a:lnTo>
                  <a:lnTo>
                    <a:pt x="141" y="169"/>
                  </a:lnTo>
                  <a:lnTo>
                    <a:pt x="143" y="168"/>
                  </a:lnTo>
                  <a:lnTo>
                    <a:pt x="139" y="166"/>
                  </a:lnTo>
                  <a:lnTo>
                    <a:pt x="135" y="164"/>
                  </a:lnTo>
                  <a:lnTo>
                    <a:pt x="128" y="158"/>
                  </a:lnTo>
                  <a:lnTo>
                    <a:pt x="118" y="156"/>
                  </a:lnTo>
                  <a:lnTo>
                    <a:pt x="113" y="158"/>
                  </a:lnTo>
                  <a:lnTo>
                    <a:pt x="105" y="164"/>
                  </a:lnTo>
                  <a:lnTo>
                    <a:pt x="103" y="169"/>
                  </a:lnTo>
                  <a:lnTo>
                    <a:pt x="97" y="171"/>
                  </a:lnTo>
                  <a:lnTo>
                    <a:pt x="94" y="173"/>
                  </a:lnTo>
                  <a:lnTo>
                    <a:pt x="94" y="183"/>
                  </a:lnTo>
                  <a:lnTo>
                    <a:pt x="97" y="186"/>
                  </a:lnTo>
                  <a:lnTo>
                    <a:pt x="103" y="183"/>
                  </a:lnTo>
                  <a:lnTo>
                    <a:pt x="105" y="186"/>
                  </a:lnTo>
                  <a:lnTo>
                    <a:pt x="107" y="188"/>
                  </a:lnTo>
                  <a:lnTo>
                    <a:pt x="109" y="188"/>
                  </a:lnTo>
                  <a:lnTo>
                    <a:pt x="111" y="186"/>
                  </a:lnTo>
                  <a:lnTo>
                    <a:pt x="111" y="186"/>
                  </a:lnTo>
                  <a:lnTo>
                    <a:pt x="113" y="183"/>
                  </a:lnTo>
                  <a:lnTo>
                    <a:pt x="114" y="186"/>
                  </a:lnTo>
                  <a:lnTo>
                    <a:pt x="118" y="190"/>
                  </a:lnTo>
                  <a:lnTo>
                    <a:pt x="118" y="192"/>
                  </a:lnTo>
                  <a:lnTo>
                    <a:pt x="120" y="190"/>
                  </a:lnTo>
                  <a:lnTo>
                    <a:pt x="120" y="190"/>
                  </a:lnTo>
                  <a:lnTo>
                    <a:pt x="120" y="190"/>
                  </a:lnTo>
                  <a:lnTo>
                    <a:pt x="120" y="190"/>
                  </a:lnTo>
                  <a:close/>
                  <a:moveTo>
                    <a:pt x="148" y="136"/>
                  </a:moveTo>
                  <a:lnTo>
                    <a:pt x="152" y="132"/>
                  </a:lnTo>
                  <a:lnTo>
                    <a:pt x="152" y="128"/>
                  </a:lnTo>
                  <a:lnTo>
                    <a:pt x="154" y="128"/>
                  </a:lnTo>
                  <a:lnTo>
                    <a:pt x="154" y="132"/>
                  </a:lnTo>
                  <a:lnTo>
                    <a:pt x="156" y="134"/>
                  </a:lnTo>
                  <a:lnTo>
                    <a:pt x="156" y="137"/>
                  </a:lnTo>
                  <a:lnTo>
                    <a:pt x="152" y="137"/>
                  </a:lnTo>
                  <a:lnTo>
                    <a:pt x="152" y="137"/>
                  </a:lnTo>
                  <a:lnTo>
                    <a:pt x="148" y="136"/>
                  </a:lnTo>
                  <a:lnTo>
                    <a:pt x="148" y="136"/>
                  </a:lnTo>
                  <a:lnTo>
                    <a:pt x="148" y="136"/>
                  </a:lnTo>
                  <a:lnTo>
                    <a:pt x="148" y="136"/>
                  </a:lnTo>
                  <a:close/>
                  <a:moveTo>
                    <a:pt x="143" y="211"/>
                  </a:moveTo>
                  <a:lnTo>
                    <a:pt x="145" y="211"/>
                  </a:lnTo>
                  <a:lnTo>
                    <a:pt x="145" y="207"/>
                  </a:lnTo>
                  <a:lnTo>
                    <a:pt x="148" y="205"/>
                  </a:lnTo>
                  <a:lnTo>
                    <a:pt x="148" y="203"/>
                  </a:lnTo>
                  <a:lnTo>
                    <a:pt x="148" y="201"/>
                  </a:lnTo>
                  <a:lnTo>
                    <a:pt x="148" y="203"/>
                  </a:lnTo>
                  <a:lnTo>
                    <a:pt x="152" y="201"/>
                  </a:lnTo>
                  <a:lnTo>
                    <a:pt x="152" y="196"/>
                  </a:lnTo>
                  <a:lnTo>
                    <a:pt x="152" y="190"/>
                  </a:lnTo>
                  <a:lnTo>
                    <a:pt x="148" y="188"/>
                  </a:lnTo>
                  <a:lnTo>
                    <a:pt x="148" y="186"/>
                  </a:lnTo>
                  <a:lnTo>
                    <a:pt x="152" y="186"/>
                  </a:lnTo>
                  <a:lnTo>
                    <a:pt x="156" y="186"/>
                  </a:lnTo>
                  <a:lnTo>
                    <a:pt x="161" y="183"/>
                  </a:lnTo>
                  <a:lnTo>
                    <a:pt x="163" y="183"/>
                  </a:lnTo>
                  <a:lnTo>
                    <a:pt x="163" y="183"/>
                  </a:lnTo>
                  <a:lnTo>
                    <a:pt x="161" y="179"/>
                  </a:lnTo>
                  <a:lnTo>
                    <a:pt x="160" y="179"/>
                  </a:lnTo>
                  <a:lnTo>
                    <a:pt x="158" y="179"/>
                  </a:lnTo>
                  <a:lnTo>
                    <a:pt x="158" y="177"/>
                  </a:lnTo>
                  <a:lnTo>
                    <a:pt x="158" y="173"/>
                  </a:lnTo>
                  <a:lnTo>
                    <a:pt x="160" y="171"/>
                  </a:lnTo>
                  <a:lnTo>
                    <a:pt x="161" y="171"/>
                  </a:lnTo>
                  <a:lnTo>
                    <a:pt x="161" y="173"/>
                  </a:lnTo>
                  <a:lnTo>
                    <a:pt x="163" y="173"/>
                  </a:lnTo>
                  <a:lnTo>
                    <a:pt x="165" y="173"/>
                  </a:lnTo>
                  <a:lnTo>
                    <a:pt x="169" y="169"/>
                  </a:lnTo>
                  <a:lnTo>
                    <a:pt x="173" y="168"/>
                  </a:lnTo>
                  <a:lnTo>
                    <a:pt x="173" y="166"/>
                  </a:lnTo>
                  <a:lnTo>
                    <a:pt x="169" y="162"/>
                  </a:lnTo>
                  <a:lnTo>
                    <a:pt x="169" y="162"/>
                  </a:lnTo>
                  <a:lnTo>
                    <a:pt x="167" y="158"/>
                  </a:lnTo>
                  <a:lnTo>
                    <a:pt x="165" y="154"/>
                  </a:lnTo>
                  <a:lnTo>
                    <a:pt x="163" y="154"/>
                  </a:lnTo>
                  <a:lnTo>
                    <a:pt x="160" y="156"/>
                  </a:lnTo>
                  <a:lnTo>
                    <a:pt x="158" y="162"/>
                  </a:lnTo>
                  <a:lnTo>
                    <a:pt x="156" y="162"/>
                  </a:lnTo>
                  <a:lnTo>
                    <a:pt x="154" y="162"/>
                  </a:lnTo>
                  <a:lnTo>
                    <a:pt x="156" y="156"/>
                  </a:lnTo>
                  <a:lnTo>
                    <a:pt x="158" y="153"/>
                  </a:lnTo>
                  <a:lnTo>
                    <a:pt x="160" y="149"/>
                  </a:lnTo>
                  <a:lnTo>
                    <a:pt x="161" y="145"/>
                  </a:lnTo>
                  <a:lnTo>
                    <a:pt x="160" y="143"/>
                  </a:lnTo>
                  <a:lnTo>
                    <a:pt x="156" y="149"/>
                  </a:lnTo>
                  <a:lnTo>
                    <a:pt x="154" y="153"/>
                  </a:lnTo>
                  <a:lnTo>
                    <a:pt x="152" y="153"/>
                  </a:lnTo>
                  <a:lnTo>
                    <a:pt x="152" y="153"/>
                  </a:lnTo>
                  <a:lnTo>
                    <a:pt x="152" y="149"/>
                  </a:lnTo>
                  <a:lnTo>
                    <a:pt x="152" y="147"/>
                  </a:lnTo>
                  <a:lnTo>
                    <a:pt x="152" y="149"/>
                  </a:lnTo>
                  <a:lnTo>
                    <a:pt x="148" y="153"/>
                  </a:lnTo>
                  <a:lnTo>
                    <a:pt x="145" y="153"/>
                  </a:lnTo>
                  <a:lnTo>
                    <a:pt x="145" y="156"/>
                  </a:lnTo>
                  <a:lnTo>
                    <a:pt x="148" y="158"/>
                  </a:lnTo>
                  <a:lnTo>
                    <a:pt x="152" y="156"/>
                  </a:lnTo>
                  <a:lnTo>
                    <a:pt x="152" y="158"/>
                  </a:lnTo>
                  <a:lnTo>
                    <a:pt x="152" y="162"/>
                  </a:lnTo>
                  <a:lnTo>
                    <a:pt x="148" y="162"/>
                  </a:lnTo>
                  <a:lnTo>
                    <a:pt x="145" y="164"/>
                  </a:lnTo>
                  <a:lnTo>
                    <a:pt x="148" y="168"/>
                  </a:lnTo>
                  <a:lnTo>
                    <a:pt x="145" y="171"/>
                  </a:lnTo>
                  <a:lnTo>
                    <a:pt x="145" y="171"/>
                  </a:lnTo>
                  <a:lnTo>
                    <a:pt x="141" y="173"/>
                  </a:lnTo>
                  <a:lnTo>
                    <a:pt x="137" y="177"/>
                  </a:lnTo>
                  <a:lnTo>
                    <a:pt x="133" y="173"/>
                  </a:lnTo>
                  <a:lnTo>
                    <a:pt x="131" y="177"/>
                  </a:lnTo>
                  <a:lnTo>
                    <a:pt x="128" y="173"/>
                  </a:lnTo>
                  <a:lnTo>
                    <a:pt x="124" y="171"/>
                  </a:lnTo>
                  <a:lnTo>
                    <a:pt x="124" y="173"/>
                  </a:lnTo>
                  <a:lnTo>
                    <a:pt x="124" y="177"/>
                  </a:lnTo>
                  <a:lnTo>
                    <a:pt x="124" y="179"/>
                  </a:lnTo>
                  <a:lnTo>
                    <a:pt x="124" y="183"/>
                  </a:lnTo>
                  <a:lnTo>
                    <a:pt x="128" y="183"/>
                  </a:lnTo>
                  <a:lnTo>
                    <a:pt x="128" y="179"/>
                  </a:lnTo>
                  <a:lnTo>
                    <a:pt x="131" y="183"/>
                  </a:lnTo>
                  <a:lnTo>
                    <a:pt x="131" y="186"/>
                  </a:lnTo>
                  <a:lnTo>
                    <a:pt x="135" y="186"/>
                  </a:lnTo>
                  <a:lnTo>
                    <a:pt x="137" y="186"/>
                  </a:lnTo>
                  <a:lnTo>
                    <a:pt x="133" y="188"/>
                  </a:lnTo>
                  <a:lnTo>
                    <a:pt x="129" y="188"/>
                  </a:lnTo>
                  <a:lnTo>
                    <a:pt x="128" y="190"/>
                  </a:lnTo>
                  <a:lnTo>
                    <a:pt x="128" y="200"/>
                  </a:lnTo>
                  <a:lnTo>
                    <a:pt x="129" y="203"/>
                  </a:lnTo>
                  <a:lnTo>
                    <a:pt x="128" y="205"/>
                  </a:lnTo>
                  <a:lnTo>
                    <a:pt x="129" y="207"/>
                  </a:lnTo>
                  <a:lnTo>
                    <a:pt x="131" y="207"/>
                  </a:lnTo>
                  <a:lnTo>
                    <a:pt x="135" y="207"/>
                  </a:lnTo>
                  <a:lnTo>
                    <a:pt x="137" y="203"/>
                  </a:lnTo>
                  <a:lnTo>
                    <a:pt x="137" y="200"/>
                  </a:lnTo>
                  <a:lnTo>
                    <a:pt x="139" y="200"/>
                  </a:lnTo>
                  <a:lnTo>
                    <a:pt x="143" y="203"/>
                  </a:lnTo>
                  <a:lnTo>
                    <a:pt x="143" y="211"/>
                  </a:lnTo>
                  <a:lnTo>
                    <a:pt x="143" y="211"/>
                  </a:lnTo>
                  <a:lnTo>
                    <a:pt x="143" y="211"/>
                  </a:lnTo>
                  <a:lnTo>
                    <a:pt x="143" y="211"/>
                  </a:lnTo>
                  <a:close/>
                  <a:moveTo>
                    <a:pt x="167" y="203"/>
                  </a:moveTo>
                  <a:lnTo>
                    <a:pt x="167" y="200"/>
                  </a:lnTo>
                  <a:lnTo>
                    <a:pt x="169" y="198"/>
                  </a:lnTo>
                  <a:lnTo>
                    <a:pt x="169" y="194"/>
                  </a:lnTo>
                  <a:lnTo>
                    <a:pt x="165" y="192"/>
                  </a:lnTo>
                  <a:lnTo>
                    <a:pt x="161" y="190"/>
                  </a:lnTo>
                  <a:lnTo>
                    <a:pt x="160" y="194"/>
                  </a:lnTo>
                  <a:lnTo>
                    <a:pt x="160" y="198"/>
                  </a:lnTo>
                  <a:lnTo>
                    <a:pt x="161" y="200"/>
                  </a:lnTo>
                  <a:lnTo>
                    <a:pt x="167" y="203"/>
                  </a:lnTo>
                  <a:lnTo>
                    <a:pt x="167" y="203"/>
                  </a:lnTo>
                  <a:lnTo>
                    <a:pt x="167" y="203"/>
                  </a:lnTo>
                  <a:lnTo>
                    <a:pt x="167" y="203"/>
                  </a:lnTo>
                  <a:close/>
                  <a:moveTo>
                    <a:pt x="173" y="213"/>
                  </a:moveTo>
                  <a:lnTo>
                    <a:pt x="173" y="213"/>
                  </a:lnTo>
                  <a:lnTo>
                    <a:pt x="173" y="213"/>
                  </a:lnTo>
                  <a:lnTo>
                    <a:pt x="178" y="211"/>
                  </a:lnTo>
                  <a:lnTo>
                    <a:pt x="182" y="211"/>
                  </a:lnTo>
                  <a:lnTo>
                    <a:pt x="184" y="207"/>
                  </a:lnTo>
                  <a:lnTo>
                    <a:pt x="182" y="207"/>
                  </a:lnTo>
                  <a:lnTo>
                    <a:pt x="178" y="205"/>
                  </a:lnTo>
                  <a:lnTo>
                    <a:pt x="178" y="201"/>
                  </a:lnTo>
                  <a:lnTo>
                    <a:pt x="177" y="196"/>
                  </a:lnTo>
                  <a:lnTo>
                    <a:pt x="173" y="198"/>
                  </a:lnTo>
                  <a:lnTo>
                    <a:pt x="173" y="203"/>
                  </a:lnTo>
                  <a:lnTo>
                    <a:pt x="173" y="207"/>
                  </a:lnTo>
                  <a:lnTo>
                    <a:pt x="169" y="207"/>
                  </a:lnTo>
                  <a:lnTo>
                    <a:pt x="167" y="207"/>
                  </a:lnTo>
                  <a:lnTo>
                    <a:pt x="169" y="211"/>
                  </a:lnTo>
                  <a:lnTo>
                    <a:pt x="173" y="213"/>
                  </a:lnTo>
                  <a:lnTo>
                    <a:pt x="173" y="213"/>
                  </a:lnTo>
                  <a:lnTo>
                    <a:pt x="173" y="213"/>
                  </a:lnTo>
                  <a:lnTo>
                    <a:pt x="173" y="213"/>
                  </a:lnTo>
                  <a:close/>
                  <a:moveTo>
                    <a:pt x="220" y="81"/>
                  </a:moveTo>
                  <a:lnTo>
                    <a:pt x="224" y="79"/>
                  </a:lnTo>
                  <a:lnTo>
                    <a:pt x="227" y="79"/>
                  </a:lnTo>
                  <a:lnTo>
                    <a:pt x="227" y="77"/>
                  </a:lnTo>
                  <a:lnTo>
                    <a:pt x="227" y="75"/>
                  </a:lnTo>
                  <a:lnTo>
                    <a:pt x="227" y="73"/>
                  </a:lnTo>
                  <a:lnTo>
                    <a:pt x="227" y="70"/>
                  </a:lnTo>
                  <a:lnTo>
                    <a:pt x="225" y="68"/>
                  </a:lnTo>
                  <a:lnTo>
                    <a:pt x="222" y="70"/>
                  </a:lnTo>
                  <a:lnTo>
                    <a:pt x="218" y="72"/>
                  </a:lnTo>
                  <a:lnTo>
                    <a:pt x="214" y="73"/>
                  </a:lnTo>
                  <a:lnTo>
                    <a:pt x="214" y="73"/>
                  </a:lnTo>
                  <a:lnTo>
                    <a:pt x="216" y="75"/>
                  </a:lnTo>
                  <a:lnTo>
                    <a:pt x="218" y="79"/>
                  </a:lnTo>
                  <a:lnTo>
                    <a:pt x="218" y="79"/>
                  </a:lnTo>
                  <a:lnTo>
                    <a:pt x="220" y="81"/>
                  </a:lnTo>
                  <a:lnTo>
                    <a:pt x="220" y="81"/>
                  </a:lnTo>
                  <a:lnTo>
                    <a:pt x="220" y="81"/>
                  </a:lnTo>
                  <a:lnTo>
                    <a:pt x="220" y="81"/>
                  </a:lnTo>
                  <a:close/>
                  <a:moveTo>
                    <a:pt x="224" y="88"/>
                  </a:moveTo>
                  <a:lnTo>
                    <a:pt x="224" y="85"/>
                  </a:lnTo>
                  <a:lnTo>
                    <a:pt x="224" y="85"/>
                  </a:lnTo>
                  <a:lnTo>
                    <a:pt x="225" y="85"/>
                  </a:lnTo>
                  <a:lnTo>
                    <a:pt x="224" y="88"/>
                  </a:lnTo>
                  <a:lnTo>
                    <a:pt x="224" y="88"/>
                  </a:lnTo>
                  <a:lnTo>
                    <a:pt x="224" y="88"/>
                  </a:lnTo>
                  <a:lnTo>
                    <a:pt x="224" y="88"/>
                  </a:lnTo>
                  <a:close/>
                  <a:moveTo>
                    <a:pt x="224" y="100"/>
                  </a:moveTo>
                  <a:lnTo>
                    <a:pt x="225" y="98"/>
                  </a:lnTo>
                  <a:lnTo>
                    <a:pt x="227" y="94"/>
                  </a:lnTo>
                  <a:lnTo>
                    <a:pt x="227" y="94"/>
                  </a:lnTo>
                  <a:lnTo>
                    <a:pt x="227" y="92"/>
                  </a:lnTo>
                  <a:lnTo>
                    <a:pt x="225" y="94"/>
                  </a:lnTo>
                  <a:lnTo>
                    <a:pt x="222" y="94"/>
                  </a:lnTo>
                  <a:lnTo>
                    <a:pt x="220" y="92"/>
                  </a:lnTo>
                  <a:lnTo>
                    <a:pt x="216" y="92"/>
                  </a:lnTo>
                  <a:lnTo>
                    <a:pt x="214" y="94"/>
                  </a:lnTo>
                  <a:lnTo>
                    <a:pt x="210" y="94"/>
                  </a:lnTo>
                  <a:lnTo>
                    <a:pt x="209" y="98"/>
                  </a:lnTo>
                  <a:lnTo>
                    <a:pt x="210" y="100"/>
                  </a:lnTo>
                  <a:lnTo>
                    <a:pt x="214" y="102"/>
                  </a:lnTo>
                  <a:lnTo>
                    <a:pt x="218" y="98"/>
                  </a:lnTo>
                  <a:lnTo>
                    <a:pt x="220" y="102"/>
                  </a:lnTo>
                  <a:lnTo>
                    <a:pt x="222" y="102"/>
                  </a:lnTo>
                  <a:lnTo>
                    <a:pt x="224" y="100"/>
                  </a:lnTo>
                  <a:lnTo>
                    <a:pt x="224" y="100"/>
                  </a:lnTo>
                  <a:lnTo>
                    <a:pt x="224" y="100"/>
                  </a:lnTo>
                  <a:lnTo>
                    <a:pt x="224" y="100"/>
                  </a:lnTo>
                  <a:close/>
                  <a:moveTo>
                    <a:pt x="231" y="100"/>
                  </a:moveTo>
                  <a:lnTo>
                    <a:pt x="231" y="98"/>
                  </a:lnTo>
                  <a:lnTo>
                    <a:pt x="233" y="94"/>
                  </a:lnTo>
                  <a:lnTo>
                    <a:pt x="237" y="94"/>
                  </a:lnTo>
                  <a:lnTo>
                    <a:pt x="237" y="94"/>
                  </a:lnTo>
                  <a:lnTo>
                    <a:pt x="239" y="98"/>
                  </a:lnTo>
                  <a:lnTo>
                    <a:pt x="237" y="100"/>
                  </a:lnTo>
                  <a:lnTo>
                    <a:pt x="237" y="102"/>
                  </a:lnTo>
                  <a:lnTo>
                    <a:pt x="231" y="100"/>
                  </a:lnTo>
                  <a:lnTo>
                    <a:pt x="231" y="100"/>
                  </a:lnTo>
                  <a:lnTo>
                    <a:pt x="231" y="100"/>
                  </a:lnTo>
                  <a:lnTo>
                    <a:pt x="231" y="100"/>
                  </a:lnTo>
                  <a:close/>
                  <a:moveTo>
                    <a:pt x="218" y="119"/>
                  </a:moveTo>
                  <a:lnTo>
                    <a:pt x="222" y="115"/>
                  </a:lnTo>
                  <a:lnTo>
                    <a:pt x="224" y="109"/>
                  </a:lnTo>
                  <a:lnTo>
                    <a:pt x="227" y="107"/>
                  </a:lnTo>
                  <a:lnTo>
                    <a:pt x="227" y="105"/>
                  </a:lnTo>
                  <a:lnTo>
                    <a:pt x="224" y="104"/>
                  </a:lnTo>
                  <a:lnTo>
                    <a:pt x="220" y="105"/>
                  </a:lnTo>
                  <a:lnTo>
                    <a:pt x="216" y="104"/>
                  </a:lnTo>
                  <a:lnTo>
                    <a:pt x="210" y="104"/>
                  </a:lnTo>
                  <a:lnTo>
                    <a:pt x="210" y="107"/>
                  </a:lnTo>
                  <a:lnTo>
                    <a:pt x="209" y="111"/>
                  </a:lnTo>
                  <a:lnTo>
                    <a:pt x="210" y="111"/>
                  </a:lnTo>
                  <a:lnTo>
                    <a:pt x="212" y="111"/>
                  </a:lnTo>
                  <a:lnTo>
                    <a:pt x="214" y="115"/>
                  </a:lnTo>
                  <a:lnTo>
                    <a:pt x="214" y="117"/>
                  </a:lnTo>
                  <a:lnTo>
                    <a:pt x="210" y="117"/>
                  </a:lnTo>
                  <a:lnTo>
                    <a:pt x="203" y="119"/>
                  </a:lnTo>
                  <a:lnTo>
                    <a:pt x="203" y="122"/>
                  </a:lnTo>
                  <a:lnTo>
                    <a:pt x="207" y="122"/>
                  </a:lnTo>
                  <a:lnTo>
                    <a:pt x="209" y="124"/>
                  </a:lnTo>
                  <a:lnTo>
                    <a:pt x="212" y="122"/>
                  </a:lnTo>
                  <a:lnTo>
                    <a:pt x="212" y="122"/>
                  </a:lnTo>
                  <a:lnTo>
                    <a:pt x="218" y="119"/>
                  </a:lnTo>
                  <a:lnTo>
                    <a:pt x="218" y="119"/>
                  </a:lnTo>
                  <a:lnTo>
                    <a:pt x="218" y="119"/>
                  </a:lnTo>
                  <a:lnTo>
                    <a:pt x="218" y="119"/>
                  </a:lnTo>
                  <a:close/>
                  <a:moveTo>
                    <a:pt x="227" y="119"/>
                  </a:moveTo>
                  <a:lnTo>
                    <a:pt x="225" y="119"/>
                  </a:lnTo>
                  <a:lnTo>
                    <a:pt x="224" y="122"/>
                  </a:lnTo>
                  <a:lnTo>
                    <a:pt x="220" y="119"/>
                  </a:lnTo>
                  <a:lnTo>
                    <a:pt x="222" y="117"/>
                  </a:lnTo>
                  <a:lnTo>
                    <a:pt x="225" y="115"/>
                  </a:lnTo>
                  <a:lnTo>
                    <a:pt x="227" y="113"/>
                  </a:lnTo>
                  <a:lnTo>
                    <a:pt x="231" y="115"/>
                  </a:lnTo>
                  <a:lnTo>
                    <a:pt x="227" y="117"/>
                  </a:lnTo>
                  <a:lnTo>
                    <a:pt x="227" y="119"/>
                  </a:lnTo>
                  <a:lnTo>
                    <a:pt x="227" y="119"/>
                  </a:lnTo>
                  <a:lnTo>
                    <a:pt x="227" y="119"/>
                  </a:lnTo>
                  <a:lnTo>
                    <a:pt x="227" y="119"/>
                  </a:lnTo>
                  <a:close/>
                  <a:moveTo>
                    <a:pt x="239" y="128"/>
                  </a:moveTo>
                  <a:lnTo>
                    <a:pt x="233" y="122"/>
                  </a:lnTo>
                  <a:lnTo>
                    <a:pt x="231" y="119"/>
                  </a:lnTo>
                  <a:lnTo>
                    <a:pt x="233" y="119"/>
                  </a:lnTo>
                  <a:lnTo>
                    <a:pt x="237" y="119"/>
                  </a:lnTo>
                  <a:lnTo>
                    <a:pt x="237" y="122"/>
                  </a:lnTo>
                  <a:lnTo>
                    <a:pt x="241" y="119"/>
                  </a:lnTo>
                  <a:lnTo>
                    <a:pt x="242" y="122"/>
                  </a:lnTo>
                  <a:lnTo>
                    <a:pt x="242" y="128"/>
                  </a:lnTo>
                  <a:lnTo>
                    <a:pt x="239" y="128"/>
                  </a:lnTo>
                  <a:lnTo>
                    <a:pt x="239" y="128"/>
                  </a:lnTo>
                  <a:lnTo>
                    <a:pt x="239" y="128"/>
                  </a:lnTo>
                  <a:lnTo>
                    <a:pt x="239" y="128"/>
                  </a:lnTo>
                  <a:close/>
                  <a:moveTo>
                    <a:pt x="233" y="137"/>
                  </a:moveTo>
                  <a:lnTo>
                    <a:pt x="231" y="134"/>
                  </a:lnTo>
                  <a:lnTo>
                    <a:pt x="224" y="128"/>
                  </a:lnTo>
                  <a:lnTo>
                    <a:pt x="218" y="128"/>
                  </a:lnTo>
                  <a:lnTo>
                    <a:pt x="214" y="128"/>
                  </a:lnTo>
                  <a:lnTo>
                    <a:pt x="212" y="124"/>
                  </a:lnTo>
                  <a:lnTo>
                    <a:pt x="212" y="122"/>
                  </a:lnTo>
                  <a:lnTo>
                    <a:pt x="216" y="122"/>
                  </a:lnTo>
                  <a:lnTo>
                    <a:pt x="222" y="122"/>
                  </a:lnTo>
                  <a:lnTo>
                    <a:pt x="227" y="124"/>
                  </a:lnTo>
                  <a:lnTo>
                    <a:pt x="233" y="130"/>
                  </a:lnTo>
                  <a:lnTo>
                    <a:pt x="237" y="130"/>
                  </a:lnTo>
                  <a:lnTo>
                    <a:pt x="237" y="128"/>
                  </a:lnTo>
                  <a:lnTo>
                    <a:pt x="239" y="130"/>
                  </a:lnTo>
                  <a:lnTo>
                    <a:pt x="237" y="132"/>
                  </a:lnTo>
                  <a:lnTo>
                    <a:pt x="237" y="137"/>
                  </a:lnTo>
                  <a:lnTo>
                    <a:pt x="233" y="137"/>
                  </a:lnTo>
                  <a:lnTo>
                    <a:pt x="233" y="137"/>
                  </a:lnTo>
                  <a:lnTo>
                    <a:pt x="233" y="137"/>
                  </a:lnTo>
                  <a:lnTo>
                    <a:pt x="233" y="137"/>
                  </a:lnTo>
                  <a:close/>
                  <a:moveTo>
                    <a:pt x="237" y="149"/>
                  </a:moveTo>
                  <a:lnTo>
                    <a:pt x="237" y="143"/>
                  </a:lnTo>
                  <a:lnTo>
                    <a:pt x="233" y="139"/>
                  </a:lnTo>
                  <a:lnTo>
                    <a:pt x="231" y="139"/>
                  </a:lnTo>
                  <a:lnTo>
                    <a:pt x="225" y="137"/>
                  </a:lnTo>
                  <a:lnTo>
                    <a:pt x="220" y="134"/>
                  </a:lnTo>
                  <a:lnTo>
                    <a:pt x="218" y="132"/>
                  </a:lnTo>
                  <a:lnTo>
                    <a:pt x="216" y="130"/>
                  </a:lnTo>
                  <a:lnTo>
                    <a:pt x="210" y="132"/>
                  </a:lnTo>
                  <a:lnTo>
                    <a:pt x="207" y="130"/>
                  </a:lnTo>
                  <a:lnTo>
                    <a:pt x="201" y="130"/>
                  </a:lnTo>
                  <a:lnTo>
                    <a:pt x="195" y="130"/>
                  </a:lnTo>
                  <a:lnTo>
                    <a:pt x="197" y="134"/>
                  </a:lnTo>
                  <a:lnTo>
                    <a:pt x="197" y="136"/>
                  </a:lnTo>
                  <a:lnTo>
                    <a:pt x="199" y="137"/>
                  </a:lnTo>
                  <a:lnTo>
                    <a:pt x="203" y="139"/>
                  </a:lnTo>
                  <a:lnTo>
                    <a:pt x="207" y="136"/>
                  </a:lnTo>
                  <a:lnTo>
                    <a:pt x="207" y="136"/>
                  </a:lnTo>
                  <a:lnTo>
                    <a:pt x="210" y="139"/>
                  </a:lnTo>
                  <a:lnTo>
                    <a:pt x="210" y="143"/>
                  </a:lnTo>
                  <a:lnTo>
                    <a:pt x="214" y="143"/>
                  </a:lnTo>
                  <a:lnTo>
                    <a:pt x="216" y="141"/>
                  </a:lnTo>
                  <a:lnTo>
                    <a:pt x="218" y="145"/>
                  </a:lnTo>
                  <a:lnTo>
                    <a:pt x="222" y="147"/>
                  </a:lnTo>
                  <a:lnTo>
                    <a:pt x="227" y="147"/>
                  </a:lnTo>
                  <a:lnTo>
                    <a:pt x="231" y="149"/>
                  </a:lnTo>
                  <a:lnTo>
                    <a:pt x="233" y="149"/>
                  </a:lnTo>
                  <a:lnTo>
                    <a:pt x="237" y="149"/>
                  </a:lnTo>
                  <a:lnTo>
                    <a:pt x="237" y="149"/>
                  </a:lnTo>
                  <a:lnTo>
                    <a:pt x="237" y="149"/>
                  </a:lnTo>
                  <a:lnTo>
                    <a:pt x="237" y="149"/>
                  </a:lnTo>
                  <a:close/>
                  <a:moveTo>
                    <a:pt x="209" y="154"/>
                  </a:moveTo>
                  <a:lnTo>
                    <a:pt x="209" y="154"/>
                  </a:lnTo>
                  <a:lnTo>
                    <a:pt x="207" y="153"/>
                  </a:lnTo>
                  <a:lnTo>
                    <a:pt x="207" y="153"/>
                  </a:lnTo>
                  <a:lnTo>
                    <a:pt x="201" y="153"/>
                  </a:lnTo>
                  <a:lnTo>
                    <a:pt x="199" y="149"/>
                  </a:lnTo>
                  <a:lnTo>
                    <a:pt x="199" y="149"/>
                  </a:lnTo>
                  <a:lnTo>
                    <a:pt x="201" y="147"/>
                  </a:lnTo>
                  <a:lnTo>
                    <a:pt x="203" y="145"/>
                  </a:lnTo>
                  <a:lnTo>
                    <a:pt x="209" y="147"/>
                  </a:lnTo>
                  <a:lnTo>
                    <a:pt x="210" y="145"/>
                  </a:lnTo>
                  <a:lnTo>
                    <a:pt x="212" y="149"/>
                  </a:lnTo>
                  <a:lnTo>
                    <a:pt x="214" y="149"/>
                  </a:lnTo>
                  <a:lnTo>
                    <a:pt x="214" y="147"/>
                  </a:lnTo>
                  <a:lnTo>
                    <a:pt x="216" y="149"/>
                  </a:lnTo>
                  <a:lnTo>
                    <a:pt x="218" y="149"/>
                  </a:lnTo>
                  <a:lnTo>
                    <a:pt x="216" y="153"/>
                  </a:lnTo>
                  <a:lnTo>
                    <a:pt x="209" y="154"/>
                  </a:lnTo>
                  <a:lnTo>
                    <a:pt x="209" y="154"/>
                  </a:lnTo>
                  <a:lnTo>
                    <a:pt x="209" y="154"/>
                  </a:lnTo>
                  <a:lnTo>
                    <a:pt x="209" y="154"/>
                  </a:lnTo>
                  <a:close/>
                  <a:moveTo>
                    <a:pt x="203" y="173"/>
                  </a:moveTo>
                  <a:lnTo>
                    <a:pt x="199" y="171"/>
                  </a:lnTo>
                  <a:lnTo>
                    <a:pt x="199" y="166"/>
                  </a:lnTo>
                  <a:lnTo>
                    <a:pt x="197" y="166"/>
                  </a:lnTo>
                  <a:lnTo>
                    <a:pt x="197" y="171"/>
                  </a:lnTo>
                  <a:lnTo>
                    <a:pt x="195" y="171"/>
                  </a:lnTo>
                  <a:lnTo>
                    <a:pt x="197" y="173"/>
                  </a:lnTo>
                  <a:lnTo>
                    <a:pt x="201" y="173"/>
                  </a:lnTo>
                  <a:lnTo>
                    <a:pt x="203" y="173"/>
                  </a:lnTo>
                  <a:lnTo>
                    <a:pt x="203" y="173"/>
                  </a:lnTo>
                  <a:lnTo>
                    <a:pt x="203" y="173"/>
                  </a:lnTo>
                  <a:lnTo>
                    <a:pt x="203" y="173"/>
                  </a:lnTo>
                  <a:close/>
                  <a:moveTo>
                    <a:pt x="207" y="173"/>
                  </a:moveTo>
                  <a:lnTo>
                    <a:pt x="207" y="173"/>
                  </a:lnTo>
                  <a:lnTo>
                    <a:pt x="207" y="171"/>
                  </a:lnTo>
                  <a:lnTo>
                    <a:pt x="207" y="168"/>
                  </a:lnTo>
                  <a:lnTo>
                    <a:pt x="203" y="164"/>
                  </a:lnTo>
                  <a:lnTo>
                    <a:pt x="203" y="164"/>
                  </a:lnTo>
                  <a:lnTo>
                    <a:pt x="203" y="168"/>
                  </a:lnTo>
                  <a:lnTo>
                    <a:pt x="207" y="173"/>
                  </a:lnTo>
                  <a:lnTo>
                    <a:pt x="207" y="173"/>
                  </a:lnTo>
                  <a:lnTo>
                    <a:pt x="207" y="173"/>
                  </a:lnTo>
                  <a:lnTo>
                    <a:pt x="207" y="173"/>
                  </a:lnTo>
                  <a:close/>
                  <a:moveTo>
                    <a:pt x="212" y="169"/>
                  </a:moveTo>
                  <a:lnTo>
                    <a:pt x="212" y="169"/>
                  </a:lnTo>
                  <a:lnTo>
                    <a:pt x="216" y="171"/>
                  </a:lnTo>
                  <a:lnTo>
                    <a:pt x="216" y="169"/>
                  </a:lnTo>
                  <a:lnTo>
                    <a:pt x="214" y="166"/>
                  </a:lnTo>
                  <a:lnTo>
                    <a:pt x="210" y="164"/>
                  </a:lnTo>
                  <a:lnTo>
                    <a:pt x="209" y="166"/>
                  </a:lnTo>
                  <a:lnTo>
                    <a:pt x="212" y="169"/>
                  </a:lnTo>
                  <a:lnTo>
                    <a:pt x="212" y="169"/>
                  </a:lnTo>
                  <a:lnTo>
                    <a:pt x="212" y="169"/>
                  </a:lnTo>
                  <a:lnTo>
                    <a:pt x="212" y="169"/>
                  </a:lnTo>
                  <a:close/>
                  <a:moveTo>
                    <a:pt x="210" y="179"/>
                  </a:moveTo>
                  <a:lnTo>
                    <a:pt x="212" y="179"/>
                  </a:lnTo>
                  <a:lnTo>
                    <a:pt x="214" y="173"/>
                  </a:lnTo>
                  <a:lnTo>
                    <a:pt x="212" y="171"/>
                  </a:lnTo>
                  <a:lnTo>
                    <a:pt x="210" y="169"/>
                  </a:lnTo>
                  <a:lnTo>
                    <a:pt x="209" y="171"/>
                  </a:lnTo>
                  <a:lnTo>
                    <a:pt x="210" y="173"/>
                  </a:lnTo>
                  <a:lnTo>
                    <a:pt x="209" y="177"/>
                  </a:lnTo>
                  <a:lnTo>
                    <a:pt x="210" y="179"/>
                  </a:lnTo>
                  <a:lnTo>
                    <a:pt x="210" y="179"/>
                  </a:lnTo>
                  <a:lnTo>
                    <a:pt x="210" y="179"/>
                  </a:lnTo>
                  <a:lnTo>
                    <a:pt x="210" y="179"/>
                  </a:lnTo>
                  <a:close/>
                  <a:moveTo>
                    <a:pt x="207" y="186"/>
                  </a:moveTo>
                  <a:lnTo>
                    <a:pt x="207" y="186"/>
                  </a:lnTo>
                  <a:lnTo>
                    <a:pt x="203" y="186"/>
                  </a:lnTo>
                  <a:lnTo>
                    <a:pt x="201" y="183"/>
                  </a:lnTo>
                  <a:lnTo>
                    <a:pt x="199" y="183"/>
                  </a:lnTo>
                  <a:lnTo>
                    <a:pt x="195" y="183"/>
                  </a:lnTo>
                  <a:lnTo>
                    <a:pt x="197" y="186"/>
                  </a:lnTo>
                  <a:lnTo>
                    <a:pt x="197" y="188"/>
                  </a:lnTo>
                  <a:lnTo>
                    <a:pt x="193" y="190"/>
                  </a:lnTo>
                  <a:lnTo>
                    <a:pt x="195" y="194"/>
                  </a:lnTo>
                  <a:lnTo>
                    <a:pt x="201" y="194"/>
                  </a:lnTo>
                  <a:lnTo>
                    <a:pt x="207" y="192"/>
                  </a:lnTo>
                  <a:lnTo>
                    <a:pt x="207" y="186"/>
                  </a:lnTo>
                  <a:lnTo>
                    <a:pt x="207" y="186"/>
                  </a:lnTo>
                  <a:lnTo>
                    <a:pt x="207" y="186"/>
                  </a:lnTo>
                  <a:lnTo>
                    <a:pt x="207" y="186"/>
                  </a:lnTo>
                  <a:close/>
                  <a:moveTo>
                    <a:pt x="209" y="183"/>
                  </a:moveTo>
                  <a:lnTo>
                    <a:pt x="209" y="186"/>
                  </a:lnTo>
                  <a:lnTo>
                    <a:pt x="210" y="188"/>
                  </a:lnTo>
                  <a:lnTo>
                    <a:pt x="212" y="188"/>
                  </a:lnTo>
                  <a:lnTo>
                    <a:pt x="212" y="186"/>
                  </a:lnTo>
                  <a:lnTo>
                    <a:pt x="210" y="183"/>
                  </a:lnTo>
                  <a:lnTo>
                    <a:pt x="209" y="183"/>
                  </a:lnTo>
                  <a:lnTo>
                    <a:pt x="209" y="183"/>
                  </a:lnTo>
                  <a:lnTo>
                    <a:pt x="209" y="183"/>
                  </a:lnTo>
                  <a:lnTo>
                    <a:pt x="209" y="183"/>
                  </a:lnTo>
                  <a:close/>
                  <a:moveTo>
                    <a:pt x="239" y="141"/>
                  </a:moveTo>
                  <a:lnTo>
                    <a:pt x="239" y="137"/>
                  </a:lnTo>
                  <a:lnTo>
                    <a:pt x="241" y="136"/>
                  </a:lnTo>
                  <a:lnTo>
                    <a:pt x="241" y="132"/>
                  </a:lnTo>
                  <a:lnTo>
                    <a:pt x="242" y="130"/>
                  </a:lnTo>
                  <a:lnTo>
                    <a:pt x="244" y="130"/>
                  </a:lnTo>
                  <a:lnTo>
                    <a:pt x="246" y="134"/>
                  </a:lnTo>
                  <a:lnTo>
                    <a:pt x="248" y="137"/>
                  </a:lnTo>
                  <a:lnTo>
                    <a:pt x="246" y="137"/>
                  </a:lnTo>
                  <a:lnTo>
                    <a:pt x="246" y="139"/>
                  </a:lnTo>
                  <a:lnTo>
                    <a:pt x="244" y="141"/>
                  </a:lnTo>
                  <a:lnTo>
                    <a:pt x="241" y="141"/>
                  </a:lnTo>
                  <a:lnTo>
                    <a:pt x="239" y="141"/>
                  </a:lnTo>
                  <a:lnTo>
                    <a:pt x="239" y="141"/>
                  </a:lnTo>
                  <a:lnTo>
                    <a:pt x="239" y="141"/>
                  </a:lnTo>
                  <a:lnTo>
                    <a:pt x="239" y="141"/>
                  </a:lnTo>
                  <a:close/>
                  <a:moveTo>
                    <a:pt x="216" y="179"/>
                  </a:moveTo>
                  <a:lnTo>
                    <a:pt x="218" y="183"/>
                  </a:lnTo>
                  <a:lnTo>
                    <a:pt x="222" y="183"/>
                  </a:lnTo>
                  <a:lnTo>
                    <a:pt x="225" y="183"/>
                  </a:lnTo>
                  <a:lnTo>
                    <a:pt x="225" y="183"/>
                  </a:lnTo>
                  <a:lnTo>
                    <a:pt x="225" y="179"/>
                  </a:lnTo>
                  <a:lnTo>
                    <a:pt x="224" y="177"/>
                  </a:lnTo>
                  <a:lnTo>
                    <a:pt x="222" y="177"/>
                  </a:lnTo>
                  <a:lnTo>
                    <a:pt x="220" y="179"/>
                  </a:lnTo>
                  <a:lnTo>
                    <a:pt x="216" y="179"/>
                  </a:lnTo>
                  <a:lnTo>
                    <a:pt x="216" y="179"/>
                  </a:lnTo>
                  <a:lnTo>
                    <a:pt x="216" y="179"/>
                  </a:lnTo>
                  <a:lnTo>
                    <a:pt x="216" y="179"/>
                  </a:lnTo>
                  <a:close/>
                  <a:moveTo>
                    <a:pt x="218" y="173"/>
                  </a:moveTo>
                  <a:lnTo>
                    <a:pt x="220" y="173"/>
                  </a:lnTo>
                  <a:lnTo>
                    <a:pt x="222" y="171"/>
                  </a:lnTo>
                  <a:lnTo>
                    <a:pt x="222" y="169"/>
                  </a:lnTo>
                  <a:lnTo>
                    <a:pt x="220" y="169"/>
                  </a:lnTo>
                  <a:lnTo>
                    <a:pt x="218" y="173"/>
                  </a:lnTo>
                  <a:lnTo>
                    <a:pt x="218" y="173"/>
                  </a:lnTo>
                  <a:lnTo>
                    <a:pt x="218" y="173"/>
                  </a:lnTo>
                  <a:lnTo>
                    <a:pt x="218" y="173"/>
                  </a:lnTo>
                  <a:close/>
                  <a:moveTo>
                    <a:pt x="224" y="171"/>
                  </a:moveTo>
                  <a:lnTo>
                    <a:pt x="225" y="173"/>
                  </a:lnTo>
                  <a:lnTo>
                    <a:pt x="227" y="173"/>
                  </a:lnTo>
                  <a:lnTo>
                    <a:pt x="227" y="171"/>
                  </a:lnTo>
                  <a:lnTo>
                    <a:pt x="231" y="169"/>
                  </a:lnTo>
                  <a:lnTo>
                    <a:pt x="227" y="169"/>
                  </a:lnTo>
                  <a:lnTo>
                    <a:pt x="227" y="169"/>
                  </a:lnTo>
                  <a:lnTo>
                    <a:pt x="227" y="169"/>
                  </a:lnTo>
                  <a:lnTo>
                    <a:pt x="224" y="171"/>
                  </a:lnTo>
                  <a:lnTo>
                    <a:pt x="224" y="171"/>
                  </a:lnTo>
                  <a:lnTo>
                    <a:pt x="224" y="171"/>
                  </a:lnTo>
                  <a:lnTo>
                    <a:pt x="224" y="171"/>
                  </a:lnTo>
                  <a:close/>
                  <a:moveTo>
                    <a:pt x="225" y="154"/>
                  </a:moveTo>
                  <a:lnTo>
                    <a:pt x="224" y="158"/>
                  </a:lnTo>
                  <a:lnTo>
                    <a:pt x="220" y="158"/>
                  </a:lnTo>
                  <a:lnTo>
                    <a:pt x="218" y="156"/>
                  </a:lnTo>
                  <a:lnTo>
                    <a:pt x="218" y="153"/>
                  </a:lnTo>
                  <a:lnTo>
                    <a:pt x="222" y="149"/>
                  </a:lnTo>
                  <a:lnTo>
                    <a:pt x="225" y="149"/>
                  </a:lnTo>
                  <a:lnTo>
                    <a:pt x="227" y="149"/>
                  </a:lnTo>
                  <a:lnTo>
                    <a:pt x="231" y="153"/>
                  </a:lnTo>
                  <a:lnTo>
                    <a:pt x="231" y="153"/>
                  </a:lnTo>
                  <a:lnTo>
                    <a:pt x="231" y="154"/>
                  </a:lnTo>
                  <a:lnTo>
                    <a:pt x="231" y="156"/>
                  </a:lnTo>
                  <a:lnTo>
                    <a:pt x="227" y="156"/>
                  </a:lnTo>
                  <a:lnTo>
                    <a:pt x="225" y="154"/>
                  </a:lnTo>
                  <a:lnTo>
                    <a:pt x="225" y="154"/>
                  </a:lnTo>
                  <a:lnTo>
                    <a:pt x="225" y="154"/>
                  </a:lnTo>
                  <a:lnTo>
                    <a:pt x="225" y="154"/>
                  </a:lnTo>
                  <a:close/>
                  <a:moveTo>
                    <a:pt x="239" y="154"/>
                  </a:moveTo>
                  <a:lnTo>
                    <a:pt x="241" y="156"/>
                  </a:lnTo>
                  <a:lnTo>
                    <a:pt x="244" y="156"/>
                  </a:lnTo>
                  <a:lnTo>
                    <a:pt x="246" y="154"/>
                  </a:lnTo>
                  <a:lnTo>
                    <a:pt x="248" y="153"/>
                  </a:lnTo>
                  <a:lnTo>
                    <a:pt x="246" y="153"/>
                  </a:lnTo>
                  <a:lnTo>
                    <a:pt x="242" y="153"/>
                  </a:lnTo>
                  <a:lnTo>
                    <a:pt x="241" y="154"/>
                  </a:lnTo>
                  <a:lnTo>
                    <a:pt x="239" y="154"/>
                  </a:lnTo>
                  <a:lnTo>
                    <a:pt x="239" y="154"/>
                  </a:lnTo>
                  <a:lnTo>
                    <a:pt x="239" y="154"/>
                  </a:lnTo>
                  <a:lnTo>
                    <a:pt x="239" y="154"/>
                  </a:lnTo>
                  <a:close/>
                  <a:moveTo>
                    <a:pt x="248" y="188"/>
                  </a:moveTo>
                  <a:lnTo>
                    <a:pt x="248" y="186"/>
                  </a:lnTo>
                  <a:lnTo>
                    <a:pt x="244" y="183"/>
                  </a:lnTo>
                  <a:lnTo>
                    <a:pt x="244" y="179"/>
                  </a:lnTo>
                  <a:lnTo>
                    <a:pt x="244" y="177"/>
                  </a:lnTo>
                  <a:lnTo>
                    <a:pt x="242" y="171"/>
                  </a:lnTo>
                  <a:lnTo>
                    <a:pt x="239" y="169"/>
                  </a:lnTo>
                  <a:lnTo>
                    <a:pt x="237" y="171"/>
                  </a:lnTo>
                  <a:lnTo>
                    <a:pt x="233" y="171"/>
                  </a:lnTo>
                  <a:lnTo>
                    <a:pt x="227" y="173"/>
                  </a:lnTo>
                  <a:lnTo>
                    <a:pt x="227" y="179"/>
                  </a:lnTo>
                  <a:lnTo>
                    <a:pt x="231" y="183"/>
                  </a:lnTo>
                  <a:lnTo>
                    <a:pt x="231" y="188"/>
                  </a:lnTo>
                  <a:lnTo>
                    <a:pt x="237" y="190"/>
                  </a:lnTo>
                  <a:lnTo>
                    <a:pt x="237" y="190"/>
                  </a:lnTo>
                  <a:lnTo>
                    <a:pt x="242" y="188"/>
                  </a:lnTo>
                  <a:lnTo>
                    <a:pt x="248" y="188"/>
                  </a:lnTo>
                  <a:lnTo>
                    <a:pt x="248" y="188"/>
                  </a:lnTo>
                  <a:lnTo>
                    <a:pt x="248" y="188"/>
                  </a:lnTo>
                  <a:lnTo>
                    <a:pt x="248" y="188"/>
                  </a:lnTo>
                  <a:close/>
                  <a:moveTo>
                    <a:pt x="257" y="186"/>
                  </a:moveTo>
                  <a:lnTo>
                    <a:pt x="257" y="183"/>
                  </a:lnTo>
                  <a:lnTo>
                    <a:pt x="256" y="183"/>
                  </a:lnTo>
                  <a:lnTo>
                    <a:pt x="256" y="179"/>
                  </a:lnTo>
                  <a:lnTo>
                    <a:pt x="257" y="179"/>
                  </a:lnTo>
                  <a:lnTo>
                    <a:pt x="257" y="173"/>
                  </a:lnTo>
                  <a:lnTo>
                    <a:pt x="257" y="173"/>
                  </a:lnTo>
                  <a:lnTo>
                    <a:pt x="265" y="169"/>
                  </a:lnTo>
                  <a:lnTo>
                    <a:pt x="265" y="169"/>
                  </a:lnTo>
                  <a:lnTo>
                    <a:pt x="267" y="168"/>
                  </a:lnTo>
                  <a:lnTo>
                    <a:pt x="265" y="168"/>
                  </a:lnTo>
                  <a:lnTo>
                    <a:pt x="261" y="168"/>
                  </a:lnTo>
                  <a:lnTo>
                    <a:pt x="256" y="164"/>
                  </a:lnTo>
                  <a:lnTo>
                    <a:pt x="250" y="162"/>
                  </a:lnTo>
                  <a:lnTo>
                    <a:pt x="248" y="162"/>
                  </a:lnTo>
                  <a:lnTo>
                    <a:pt x="244" y="162"/>
                  </a:lnTo>
                  <a:lnTo>
                    <a:pt x="242" y="162"/>
                  </a:lnTo>
                  <a:lnTo>
                    <a:pt x="242" y="166"/>
                  </a:lnTo>
                  <a:lnTo>
                    <a:pt x="248" y="173"/>
                  </a:lnTo>
                  <a:lnTo>
                    <a:pt x="246" y="179"/>
                  </a:lnTo>
                  <a:lnTo>
                    <a:pt x="250" y="183"/>
                  </a:lnTo>
                  <a:lnTo>
                    <a:pt x="252" y="186"/>
                  </a:lnTo>
                  <a:lnTo>
                    <a:pt x="257" y="186"/>
                  </a:lnTo>
                  <a:lnTo>
                    <a:pt x="257" y="186"/>
                  </a:lnTo>
                  <a:lnTo>
                    <a:pt x="257" y="186"/>
                  </a:lnTo>
                  <a:lnTo>
                    <a:pt x="257" y="186"/>
                  </a:lnTo>
                  <a:close/>
                  <a:moveTo>
                    <a:pt x="267" y="186"/>
                  </a:moveTo>
                  <a:lnTo>
                    <a:pt x="267" y="188"/>
                  </a:lnTo>
                  <a:lnTo>
                    <a:pt x="273" y="190"/>
                  </a:lnTo>
                  <a:lnTo>
                    <a:pt x="274" y="194"/>
                  </a:lnTo>
                  <a:lnTo>
                    <a:pt x="280" y="194"/>
                  </a:lnTo>
                  <a:lnTo>
                    <a:pt x="282" y="188"/>
                  </a:lnTo>
                  <a:lnTo>
                    <a:pt x="282" y="183"/>
                  </a:lnTo>
                  <a:lnTo>
                    <a:pt x="278" y="183"/>
                  </a:lnTo>
                  <a:lnTo>
                    <a:pt x="273" y="183"/>
                  </a:lnTo>
                  <a:lnTo>
                    <a:pt x="267" y="186"/>
                  </a:lnTo>
                  <a:lnTo>
                    <a:pt x="267" y="186"/>
                  </a:lnTo>
                  <a:lnTo>
                    <a:pt x="267" y="186"/>
                  </a:lnTo>
                  <a:lnTo>
                    <a:pt x="267" y="186"/>
                  </a:lnTo>
                  <a:close/>
                  <a:moveTo>
                    <a:pt x="267" y="194"/>
                  </a:moveTo>
                  <a:lnTo>
                    <a:pt x="267" y="198"/>
                  </a:lnTo>
                  <a:lnTo>
                    <a:pt x="271" y="198"/>
                  </a:lnTo>
                  <a:lnTo>
                    <a:pt x="273" y="200"/>
                  </a:lnTo>
                  <a:lnTo>
                    <a:pt x="274" y="198"/>
                  </a:lnTo>
                  <a:lnTo>
                    <a:pt x="271" y="194"/>
                  </a:lnTo>
                  <a:lnTo>
                    <a:pt x="267" y="194"/>
                  </a:lnTo>
                  <a:lnTo>
                    <a:pt x="267" y="194"/>
                  </a:lnTo>
                  <a:lnTo>
                    <a:pt x="267" y="194"/>
                  </a:lnTo>
                  <a:lnTo>
                    <a:pt x="267" y="194"/>
                  </a:lnTo>
                  <a:close/>
                  <a:moveTo>
                    <a:pt x="267" y="75"/>
                  </a:moveTo>
                  <a:lnTo>
                    <a:pt x="269" y="73"/>
                  </a:lnTo>
                  <a:lnTo>
                    <a:pt x="273" y="73"/>
                  </a:lnTo>
                  <a:lnTo>
                    <a:pt x="274" y="72"/>
                  </a:lnTo>
                  <a:lnTo>
                    <a:pt x="278" y="72"/>
                  </a:lnTo>
                  <a:lnTo>
                    <a:pt x="278" y="73"/>
                  </a:lnTo>
                  <a:lnTo>
                    <a:pt x="282" y="73"/>
                  </a:lnTo>
                  <a:lnTo>
                    <a:pt x="282" y="75"/>
                  </a:lnTo>
                  <a:lnTo>
                    <a:pt x="280" y="79"/>
                  </a:lnTo>
                  <a:lnTo>
                    <a:pt x="276" y="79"/>
                  </a:lnTo>
                  <a:lnTo>
                    <a:pt x="274" y="77"/>
                  </a:lnTo>
                  <a:lnTo>
                    <a:pt x="269" y="77"/>
                  </a:lnTo>
                  <a:lnTo>
                    <a:pt x="267" y="75"/>
                  </a:lnTo>
                  <a:lnTo>
                    <a:pt x="267" y="75"/>
                  </a:lnTo>
                  <a:lnTo>
                    <a:pt x="267" y="75"/>
                  </a:lnTo>
                  <a:lnTo>
                    <a:pt x="267" y="75"/>
                  </a:lnTo>
                  <a:close/>
                  <a:moveTo>
                    <a:pt x="274" y="128"/>
                  </a:moveTo>
                  <a:lnTo>
                    <a:pt x="276" y="122"/>
                  </a:lnTo>
                  <a:lnTo>
                    <a:pt x="278" y="122"/>
                  </a:lnTo>
                  <a:lnTo>
                    <a:pt x="278" y="119"/>
                  </a:lnTo>
                  <a:lnTo>
                    <a:pt x="276" y="119"/>
                  </a:lnTo>
                  <a:lnTo>
                    <a:pt x="274" y="115"/>
                  </a:lnTo>
                  <a:lnTo>
                    <a:pt x="271" y="115"/>
                  </a:lnTo>
                  <a:lnTo>
                    <a:pt x="265" y="117"/>
                  </a:lnTo>
                  <a:lnTo>
                    <a:pt x="261" y="119"/>
                  </a:lnTo>
                  <a:lnTo>
                    <a:pt x="261" y="122"/>
                  </a:lnTo>
                  <a:lnTo>
                    <a:pt x="261" y="122"/>
                  </a:lnTo>
                  <a:lnTo>
                    <a:pt x="267" y="128"/>
                  </a:lnTo>
                  <a:lnTo>
                    <a:pt x="271" y="128"/>
                  </a:lnTo>
                  <a:lnTo>
                    <a:pt x="274" y="128"/>
                  </a:lnTo>
                  <a:lnTo>
                    <a:pt x="274" y="128"/>
                  </a:lnTo>
                  <a:lnTo>
                    <a:pt x="274" y="128"/>
                  </a:lnTo>
                  <a:lnTo>
                    <a:pt x="274" y="128"/>
                  </a:lnTo>
                  <a:close/>
                  <a:moveTo>
                    <a:pt x="282" y="122"/>
                  </a:moveTo>
                  <a:lnTo>
                    <a:pt x="282" y="122"/>
                  </a:lnTo>
                  <a:lnTo>
                    <a:pt x="282" y="128"/>
                  </a:lnTo>
                  <a:lnTo>
                    <a:pt x="280" y="130"/>
                  </a:lnTo>
                  <a:lnTo>
                    <a:pt x="278" y="128"/>
                  </a:lnTo>
                  <a:lnTo>
                    <a:pt x="276" y="130"/>
                  </a:lnTo>
                  <a:lnTo>
                    <a:pt x="271" y="134"/>
                  </a:lnTo>
                  <a:lnTo>
                    <a:pt x="267" y="134"/>
                  </a:lnTo>
                  <a:lnTo>
                    <a:pt x="265" y="132"/>
                  </a:lnTo>
                  <a:lnTo>
                    <a:pt x="261" y="134"/>
                  </a:lnTo>
                  <a:lnTo>
                    <a:pt x="261" y="136"/>
                  </a:lnTo>
                  <a:lnTo>
                    <a:pt x="265" y="141"/>
                  </a:lnTo>
                  <a:lnTo>
                    <a:pt x="265" y="149"/>
                  </a:lnTo>
                  <a:lnTo>
                    <a:pt x="265" y="156"/>
                  </a:lnTo>
                  <a:lnTo>
                    <a:pt x="271" y="162"/>
                  </a:lnTo>
                  <a:lnTo>
                    <a:pt x="274" y="162"/>
                  </a:lnTo>
                  <a:lnTo>
                    <a:pt x="280" y="162"/>
                  </a:lnTo>
                  <a:lnTo>
                    <a:pt x="286" y="162"/>
                  </a:lnTo>
                  <a:lnTo>
                    <a:pt x="289" y="156"/>
                  </a:lnTo>
                  <a:lnTo>
                    <a:pt x="295" y="156"/>
                  </a:lnTo>
                  <a:lnTo>
                    <a:pt x="295" y="153"/>
                  </a:lnTo>
                  <a:lnTo>
                    <a:pt x="289" y="153"/>
                  </a:lnTo>
                  <a:lnTo>
                    <a:pt x="289" y="149"/>
                  </a:lnTo>
                  <a:lnTo>
                    <a:pt x="282" y="147"/>
                  </a:lnTo>
                  <a:lnTo>
                    <a:pt x="282" y="141"/>
                  </a:lnTo>
                  <a:lnTo>
                    <a:pt x="282" y="139"/>
                  </a:lnTo>
                  <a:lnTo>
                    <a:pt x="286" y="136"/>
                  </a:lnTo>
                  <a:lnTo>
                    <a:pt x="289" y="136"/>
                  </a:lnTo>
                  <a:lnTo>
                    <a:pt x="291" y="134"/>
                  </a:lnTo>
                  <a:lnTo>
                    <a:pt x="291" y="132"/>
                  </a:lnTo>
                  <a:lnTo>
                    <a:pt x="289" y="128"/>
                  </a:lnTo>
                  <a:lnTo>
                    <a:pt x="286" y="124"/>
                  </a:lnTo>
                  <a:lnTo>
                    <a:pt x="282" y="122"/>
                  </a:lnTo>
                  <a:lnTo>
                    <a:pt x="282" y="122"/>
                  </a:lnTo>
                  <a:lnTo>
                    <a:pt x="282" y="122"/>
                  </a:lnTo>
                  <a:lnTo>
                    <a:pt x="282" y="122"/>
                  </a:lnTo>
                  <a:close/>
                  <a:moveTo>
                    <a:pt x="301" y="128"/>
                  </a:moveTo>
                  <a:lnTo>
                    <a:pt x="297" y="128"/>
                  </a:lnTo>
                  <a:lnTo>
                    <a:pt x="297" y="122"/>
                  </a:lnTo>
                  <a:lnTo>
                    <a:pt x="295" y="122"/>
                  </a:lnTo>
                  <a:lnTo>
                    <a:pt x="291" y="122"/>
                  </a:lnTo>
                  <a:lnTo>
                    <a:pt x="289" y="119"/>
                  </a:lnTo>
                  <a:lnTo>
                    <a:pt x="289" y="117"/>
                  </a:lnTo>
                  <a:lnTo>
                    <a:pt x="289" y="113"/>
                  </a:lnTo>
                  <a:lnTo>
                    <a:pt x="289" y="109"/>
                  </a:lnTo>
                  <a:lnTo>
                    <a:pt x="286" y="104"/>
                  </a:lnTo>
                  <a:lnTo>
                    <a:pt x="289" y="98"/>
                  </a:lnTo>
                  <a:lnTo>
                    <a:pt x="291" y="98"/>
                  </a:lnTo>
                  <a:lnTo>
                    <a:pt x="295" y="94"/>
                  </a:lnTo>
                  <a:lnTo>
                    <a:pt x="295" y="88"/>
                  </a:lnTo>
                  <a:lnTo>
                    <a:pt x="295" y="88"/>
                  </a:lnTo>
                  <a:lnTo>
                    <a:pt x="299" y="88"/>
                  </a:lnTo>
                  <a:lnTo>
                    <a:pt x="301" y="88"/>
                  </a:lnTo>
                  <a:lnTo>
                    <a:pt x="305" y="88"/>
                  </a:lnTo>
                  <a:lnTo>
                    <a:pt x="306" y="94"/>
                  </a:lnTo>
                  <a:lnTo>
                    <a:pt x="305" y="98"/>
                  </a:lnTo>
                  <a:lnTo>
                    <a:pt x="306" y="100"/>
                  </a:lnTo>
                  <a:lnTo>
                    <a:pt x="310" y="102"/>
                  </a:lnTo>
                  <a:lnTo>
                    <a:pt x="314" y="107"/>
                  </a:lnTo>
                  <a:lnTo>
                    <a:pt x="316" y="107"/>
                  </a:lnTo>
                  <a:lnTo>
                    <a:pt x="316" y="109"/>
                  </a:lnTo>
                  <a:lnTo>
                    <a:pt x="310" y="113"/>
                  </a:lnTo>
                  <a:lnTo>
                    <a:pt x="305" y="115"/>
                  </a:lnTo>
                  <a:lnTo>
                    <a:pt x="303" y="117"/>
                  </a:lnTo>
                  <a:lnTo>
                    <a:pt x="305" y="119"/>
                  </a:lnTo>
                  <a:lnTo>
                    <a:pt x="305" y="124"/>
                  </a:lnTo>
                  <a:lnTo>
                    <a:pt x="301" y="128"/>
                  </a:lnTo>
                  <a:lnTo>
                    <a:pt x="301" y="128"/>
                  </a:lnTo>
                  <a:lnTo>
                    <a:pt x="301" y="128"/>
                  </a:lnTo>
                  <a:lnTo>
                    <a:pt x="301" y="128"/>
                  </a:lnTo>
                  <a:close/>
                  <a:moveTo>
                    <a:pt x="2177" y="629"/>
                  </a:moveTo>
                  <a:lnTo>
                    <a:pt x="2176" y="631"/>
                  </a:lnTo>
                  <a:lnTo>
                    <a:pt x="2177" y="633"/>
                  </a:lnTo>
                  <a:lnTo>
                    <a:pt x="2179" y="633"/>
                  </a:lnTo>
                  <a:lnTo>
                    <a:pt x="2179" y="629"/>
                  </a:lnTo>
                  <a:lnTo>
                    <a:pt x="2177" y="629"/>
                  </a:lnTo>
                  <a:lnTo>
                    <a:pt x="2177" y="629"/>
                  </a:lnTo>
                  <a:lnTo>
                    <a:pt x="2177" y="629"/>
                  </a:lnTo>
                  <a:lnTo>
                    <a:pt x="2177" y="629"/>
                  </a:lnTo>
                  <a:lnTo>
                    <a:pt x="2177" y="629"/>
                  </a:lnTo>
                  <a:close/>
                  <a:moveTo>
                    <a:pt x="2170" y="622"/>
                  </a:moveTo>
                  <a:lnTo>
                    <a:pt x="2176" y="623"/>
                  </a:lnTo>
                  <a:lnTo>
                    <a:pt x="2177" y="623"/>
                  </a:lnTo>
                  <a:lnTo>
                    <a:pt x="2177" y="623"/>
                  </a:lnTo>
                  <a:lnTo>
                    <a:pt x="2176" y="620"/>
                  </a:lnTo>
                  <a:lnTo>
                    <a:pt x="2174" y="620"/>
                  </a:lnTo>
                  <a:lnTo>
                    <a:pt x="2170" y="622"/>
                  </a:lnTo>
                  <a:lnTo>
                    <a:pt x="2170" y="622"/>
                  </a:lnTo>
                  <a:lnTo>
                    <a:pt x="2170" y="622"/>
                  </a:lnTo>
                  <a:lnTo>
                    <a:pt x="2170" y="622"/>
                  </a:lnTo>
                  <a:close/>
                  <a:moveTo>
                    <a:pt x="344" y="396"/>
                  </a:moveTo>
                  <a:lnTo>
                    <a:pt x="346" y="396"/>
                  </a:lnTo>
                  <a:lnTo>
                    <a:pt x="350" y="396"/>
                  </a:lnTo>
                  <a:lnTo>
                    <a:pt x="353" y="390"/>
                  </a:lnTo>
                  <a:lnTo>
                    <a:pt x="353" y="390"/>
                  </a:lnTo>
                  <a:lnTo>
                    <a:pt x="352" y="386"/>
                  </a:lnTo>
                  <a:lnTo>
                    <a:pt x="350" y="390"/>
                  </a:lnTo>
                  <a:lnTo>
                    <a:pt x="346" y="390"/>
                  </a:lnTo>
                  <a:lnTo>
                    <a:pt x="344" y="396"/>
                  </a:lnTo>
                  <a:lnTo>
                    <a:pt x="344" y="396"/>
                  </a:lnTo>
                  <a:lnTo>
                    <a:pt x="344" y="396"/>
                  </a:lnTo>
                  <a:lnTo>
                    <a:pt x="344" y="396"/>
                  </a:lnTo>
                  <a:lnTo>
                    <a:pt x="344" y="396"/>
                  </a:lnTo>
                  <a:close/>
                  <a:moveTo>
                    <a:pt x="323" y="514"/>
                  </a:moveTo>
                  <a:lnTo>
                    <a:pt x="329" y="514"/>
                  </a:lnTo>
                  <a:lnTo>
                    <a:pt x="335" y="514"/>
                  </a:lnTo>
                  <a:lnTo>
                    <a:pt x="338" y="512"/>
                  </a:lnTo>
                  <a:lnTo>
                    <a:pt x="340" y="512"/>
                  </a:lnTo>
                  <a:lnTo>
                    <a:pt x="344" y="514"/>
                  </a:lnTo>
                  <a:lnTo>
                    <a:pt x="346" y="514"/>
                  </a:lnTo>
                  <a:lnTo>
                    <a:pt x="350" y="514"/>
                  </a:lnTo>
                  <a:lnTo>
                    <a:pt x="350" y="512"/>
                  </a:lnTo>
                  <a:lnTo>
                    <a:pt x="350" y="509"/>
                  </a:lnTo>
                  <a:lnTo>
                    <a:pt x="350" y="509"/>
                  </a:lnTo>
                  <a:lnTo>
                    <a:pt x="352" y="514"/>
                  </a:lnTo>
                  <a:lnTo>
                    <a:pt x="355" y="514"/>
                  </a:lnTo>
                  <a:lnTo>
                    <a:pt x="361" y="514"/>
                  </a:lnTo>
                  <a:lnTo>
                    <a:pt x="361" y="514"/>
                  </a:lnTo>
                  <a:lnTo>
                    <a:pt x="365" y="512"/>
                  </a:lnTo>
                  <a:lnTo>
                    <a:pt x="365" y="509"/>
                  </a:lnTo>
                  <a:lnTo>
                    <a:pt x="365" y="503"/>
                  </a:lnTo>
                  <a:lnTo>
                    <a:pt x="369" y="499"/>
                  </a:lnTo>
                  <a:lnTo>
                    <a:pt x="370" y="495"/>
                  </a:lnTo>
                  <a:lnTo>
                    <a:pt x="365" y="493"/>
                  </a:lnTo>
                  <a:lnTo>
                    <a:pt x="365" y="488"/>
                  </a:lnTo>
                  <a:lnTo>
                    <a:pt x="361" y="488"/>
                  </a:lnTo>
                  <a:lnTo>
                    <a:pt x="359" y="488"/>
                  </a:lnTo>
                  <a:lnTo>
                    <a:pt x="357" y="488"/>
                  </a:lnTo>
                  <a:lnTo>
                    <a:pt x="359" y="484"/>
                  </a:lnTo>
                  <a:lnTo>
                    <a:pt x="363" y="488"/>
                  </a:lnTo>
                  <a:lnTo>
                    <a:pt x="365" y="484"/>
                  </a:lnTo>
                  <a:lnTo>
                    <a:pt x="365" y="488"/>
                  </a:lnTo>
                  <a:lnTo>
                    <a:pt x="365" y="490"/>
                  </a:lnTo>
                  <a:lnTo>
                    <a:pt x="369" y="492"/>
                  </a:lnTo>
                  <a:lnTo>
                    <a:pt x="370" y="490"/>
                  </a:lnTo>
                  <a:lnTo>
                    <a:pt x="369" y="484"/>
                  </a:lnTo>
                  <a:lnTo>
                    <a:pt x="365" y="478"/>
                  </a:lnTo>
                  <a:lnTo>
                    <a:pt x="361" y="475"/>
                  </a:lnTo>
                  <a:lnTo>
                    <a:pt x="363" y="471"/>
                  </a:lnTo>
                  <a:lnTo>
                    <a:pt x="365" y="475"/>
                  </a:lnTo>
                  <a:lnTo>
                    <a:pt x="365" y="478"/>
                  </a:lnTo>
                  <a:lnTo>
                    <a:pt x="370" y="480"/>
                  </a:lnTo>
                  <a:lnTo>
                    <a:pt x="370" y="480"/>
                  </a:lnTo>
                  <a:lnTo>
                    <a:pt x="374" y="478"/>
                  </a:lnTo>
                  <a:lnTo>
                    <a:pt x="374" y="475"/>
                  </a:lnTo>
                  <a:lnTo>
                    <a:pt x="370" y="475"/>
                  </a:lnTo>
                  <a:lnTo>
                    <a:pt x="370" y="471"/>
                  </a:lnTo>
                  <a:lnTo>
                    <a:pt x="374" y="467"/>
                  </a:lnTo>
                  <a:lnTo>
                    <a:pt x="374" y="463"/>
                  </a:lnTo>
                  <a:lnTo>
                    <a:pt x="370" y="460"/>
                  </a:lnTo>
                  <a:lnTo>
                    <a:pt x="365" y="456"/>
                  </a:lnTo>
                  <a:lnTo>
                    <a:pt x="370" y="454"/>
                  </a:lnTo>
                  <a:lnTo>
                    <a:pt x="370" y="458"/>
                  </a:lnTo>
                  <a:lnTo>
                    <a:pt x="374" y="458"/>
                  </a:lnTo>
                  <a:lnTo>
                    <a:pt x="376" y="454"/>
                  </a:lnTo>
                  <a:lnTo>
                    <a:pt x="374" y="454"/>
                  </a:lnTo>
                  <a:lnTo>
                    <a:pt x="374" y="454"/>
                  </a:lnTo>
                  <a:lnTo>
                    <a:pt x="374" y="448"/>
                  </a:lnTo>
                  <a:lnTo>
                    <a:pt x="374" y="448"/>
                  </a:lnTo>
                  <a:lnTo>
                    <a:pt x="378" y="450"/>
                  </a:lnTo>
                  <a:lnTo>
                    <a:pt x="384" y="450"/>
                  </a:lnTo>
                  <a:lnTo>
                    <a:pt x="384" y="450"/>
                  </a:lnTo>
                  <a:lnTo>
                    <a:pt x="382" y="448"/>
                  </a:lnTo>
                  <a:lnTo>
                    <a:pt x="382" y="446"/>
                  </a:lnTo>
                  <a:lnTo>
                    <a:pt x="384" y="446"/>
                  </a:lnTo>
                  <a:lnTo>
                    <a:pt x="387" y="446"/>
                  </a:lnTo>
                  <a:lnTo>
                    <a:pt x="389" y="444"/>
                  </a:lnTo>
                  <a:lnTo>
                    <a:pt x="389" y="441"/>
                  </a:lnTo>
                  <a:lnTo>
                    <a:pt x="389" y="439"/>
                  </a:lnTo>
                  <a:lnTo>
                    <a:pt x="389" y="437"/>
                  </a:lnTo>
                  <a:lnTo>
                    <a:pt x="395" y="435"/>
                  </a:lnTo>
                  <a:lnTo>
                    <a:pt x="395" y="431"/>
                  </a:lnTo>
                  <a:lnTo>
                    <a:pt x="391" y="429"/>
                  </a:lnTo>
                  <a:lnTo>
                    <a:pt x="391" y="429"/>
                  </a:lnTo>
                  <a:lnTo>
                    <a:pt x="393" y="424"/>
                  </a:lnTo>
                  <a:lnTo>
                    <a:pt x="395" y="429"/>
                  </a:lnTo>
                  <a:lnTo>
                    <a:pt x="395" y="426"/>
                  </a:lnTo>
                  <a:lnTo>
                    <a:pt x="401" y="420"/>
                  </a:lnTo>
                  <a:lnTo>
                    <a:pt x="402" y="416"/>
                  </a:lnTo>
                  <a:lnTo>
                    <a:pt x="404" y="414"/>
                  </a:lnTo>
                  <a:lnTo>
                    <a:pt x="404" y="409"/>
                  </a:lnTo>
                  <a:lnTo>
                    <a:pt x="410" y="405"/>
                  </a:lnTo>
                  <a:lnTo>
                    <a:pt x="414" y="399"/>
                  </a:lnTo>
                  <a:lnTo>
                    <a:pt x="416" y="394"/>
                  </a:lnTo>
                  <a:lnTo>
                    <a:pt x="419" y="394"/>
                  </a:lnTo>
                  <a:lnTo>
                    <a:pt x="425" y="386"/>
                  </a:lnTo>
                  <a:lnTo>
                    <a:pt x="433" y="380"/>
                  </a:lnTo>
                  <a:lnTo>
                    <a:pt x="438" y="375"/>
                  </a:lnTo>
                  <a:lnTo>
                    <a:pt x="440" y="375"/>
                  </a:lnTo>
                  <a:lnTo>
                    <a:pt x="446" y="369"/>
                  </a:lnTo>
                  <a:lnTo>
                    <a:pt x="451" y="367"/>
                  </a:lnTo>
                  <a:lnTo>
                    <a:pt x="453" y="365"/>
                  </a:lnTo>
                  <a:lnTo>
                    <a:pt x="459" y="360"/>
                  </a:lnTo>
                  <a:lnTo>
                    <a:pt x="463" y="356"/>
                  </a:lnTo>
                  <a:lnTo>
                    <a:pt x="465" y="356"/>
                  </a:lnTo>
                  <a:lnTo>
                    <a:pt x="468" y="356"/>
                  </a:lnTo>
                  <a:lnTo>
                    <a:pt x="468" y="354"/>
                  </a:lnTo>
                  <a:lnTo>
                    <a:pt x="466" y="352"/>
                  </a:lnTo>
                  <a:lnTo>
                    <a:pt x="468" y="348"/>
                  </a:lnTo>
                  <a:lnTo>
                    <a:pt x="468" y="345"/>
                  </a:lnTo>
                  <a:lnTo>
                    <a:pt x="468" y="341"/>
                  </a:lnTo>
                  <a:lnTo>
                    <a:pt x="466" y="339"/>
                  </a:lnTo>
                  <a:lnTo>
                    <a:pt x="465" y="339"/>
                  </a:lnTo>
                  <a:lnTo>
                    <a:pt x="465" y="335"/>
                  </a:lnTo>
                  <a:lnTo>
                    <a:pt x="466" y="331"/>
                  </a:lnTo>
                  <a:lnTo>
                    <a:pt x="465" y="330"/>
                  </a:lnTo>
                  <a:lnTo>
                    <a:pt x="461" y="328"/>
                  </a:lnTo>
                  <a:lnTo>
                    <a:pt x="459" y="326"/>
                  </a:lnTo>
                  <a:lnTo>
                    <a:pt x="457" y="326"/>
                  </a:lnTo>
                  <a:lnTo>
                    <a:pt x="453" y="322"/>
                  </a:lnTo>
                  <a:lnTo>
                    <a:pt x="453" y="320"/>
                  </a:lnTo>
                  <a:lnTo>
                    <a:pt x="453" y="318"/>
                  </a:lnTo>
                  <a:lnTo>
                    <a:pt x="449" y="320"/>
                  </a:lnTo>
                  <a:lnTo>
                    <a:pt x="448" y="322"/>
                  </a:lnTo>
                  <a:lnTo>
                    <a:pt x="446" y="322"/>
                  </a:lnTo>
                  <a:lnTo>
                    <a:pt x="442" y="320"/>
                  </a:lnTo>
                  <a:lnTo>
                    <a:pt x="440" y="322"/>
                  </a:lnTo>
                  <a:lnTo>
                    <a:pt x="434" y="324"/>
                  </a:lnTo>
                  <a:lnTo>
                    <a:pt x="433" y="328"/>
                  </a:lnTo>
                  <a:lnTo>
                    <a:pt x="433" y="330"/>
                  </a:lnTo>
                  <a:lnTo>
                    <a:pt x="429" y="330"/>
                  </a:lnTo>
                  <a:lnTo>
                    <a:pt x="425" y="331"/>
                  </a:lnTo>
                  <a:lnTo>
                    <a:pt x="425" y="335"/>
                  </a:lnTo>
                  <a:lnTo>
                    <a:pt x="425" y="337"/>
                  </a:lnTo>
                  <a:lnTo>
                    <a:pt x="425" y="339"/>
                  </a:lnTo>
                  <a:lnTo>
                    <a:pt x="425" y="343"/>
                  </a:lnTo>
                  <a:lnTo>
                    <a:pt x="425" y="345"/>
                  </a:lnTo>
                  <a:lnTo>
                    <a:pt x="423" y="345"/>
                  </a:lnTo>
                  <a:lnTo>
                    <a:pt x="419" y="347"/>
                  </a:lnTo>
                  <a:lnTo>
                    <a:pt x="419" y="350"/>
                  </a:lnTo>
                  <a:lnTo>
                    <a:pt x="419" y="352"/>
                  </a:lnTo>
                  <a:lnTo>
                    <a:pt x="417" y="354"/>
                  </a:lnTo>
                  <a:lnTo>
                    <a:pt x="410" y="360"/>
                  </a:lnTo>
                  <a:lnTo>
                    <a:pt x="408" y="362"/>
                  </a:lnTo>
                  <a:lnTo>
                    <a:pt x="408" y="360"/>
                  </a:lnTo>
                  <a:lnTo>
                    <a:pt x="402" y="360"/>
                  </a:lnTo>
                  <a:lnTo>
                    <a:pt x="401" y="362"/>
                  </a:lnTo>
                  <a:lnTo>
                    <a:pt x="399" y="365"/>
                  </a:lnTo>
                  <a:lnTo>
                    <a:pt x="395" y="367"/>
                  </a:lnTo>
                  <a:lnTo>
                    <a:pt x="395" y="365"/>
                  </a:lnTo>
                  <a:lnTo>
                    <a:pt x="393" y="365"/>
                  </a:lnTo>
                  <a:lnTo>
                    <a:pt x="391" y="365"/>
                  </a:lnTo>
                  <a:lnTo>
                    <a:pt x="391" y="365"/>
                  </a:lnTo>
                  <a:lnTo>
                    <a:pt x="391" y="371"/>
                  </a:lnTo>
                  <a:lnTo>
                    <a:pt x="391" y="371"/>
                  </a:lnTo>
                  <a:lnTo>
                    <a:pt x="389" y="367"/>
                  </a:lnTo>
                  <a:lnTo>
                    <a:pt x="387" y="365"/>
                  </a:lnTo>
                  <a:lnTo>
                    <a:pt x="382" y="365"/>
                  </a:lnTo>
                  <a:lnTo>
                    <a:pt x="374" y="367"/>
                  </a:lnTo>
                  <a:lnTo>
                    <a:pt x="374" y="369"/>
                  </a:lnTo>
                  <a:lnTo>
                    <a:pt x="370" y="369"/>
                  </a:lnTo>
                  <a:lnTo>
                    <a:pt x="370" y="371"/>
                  </a:lnTo>
                  <a:lnTo>
                    <a:pt x="370" y="377"/>
                  </a:lnTo>
                  <a:lnTo>
                    <a:pt x="374" y="379"/>
                  </a:lnTo>
                  <a:lnTo>
                    <a:pt x="374" y="380"/>
                  </a:lnTo>
                  <a:lnTo>
                    <a:pt x="370" y="380"/>
                  </a:lnTo>
                  <a:lnTo>
                    <a:pt x="370" y="384"/>
                  </a:lnTo>
                  <a:lnTo>
                    <a:pt x="369" y="384"/>
                  </a:lnTo>
                  <a:lnTo>
                    <a:pt x="369" y="380"/>
                  </a:lnTo>
                  <a:lnTo>
                    <a:pt x="370" y="380"/>
                  </a:lnTo>
                  <a:lnTo>
                    <a:pt x="370" y="377"/>
                  </a:lnTo>
                  <a:lnTo>
                    <a:pt x="365" y="377"/>
                  </a:lnTo>
                  <a:lnTo>
                    <a:pt x="365" y="380"/>
                  </a:lnTo>
                  <a:lnTo>
                    <a:pt x="361" y="384"/>
                  </a:lnTo>
                  <a:lnTo>
                    <a:pt x="361" y="386"/>
                  </a:lnTo>
                  <a:lnTo>
                    <a:pt x="363" y="386"/>
                  </a:lnTo>
                  <a:lnTo>
                    <a:pt x="361" y="390"/>
                  </a:lnTo>
                  <a:lnTo>
                    <a:pt x="361" y="390"/>
                  </a:lnTo>
                  <a:lnTo>
                    <a:pt x="355" y="390"/>
                  </a:lnTo>
                  <a:lnTo>
                    <a:pt x="353" y="394"/>
                  </a:lnTo>
                  <a:lnTo>
                    <a:pt x="353" y="396"/>
                  </a:lnTo>
                  <a:lnTo>
                    <a:pt x="350" y="396"/>
                  </a:lnTo>
                  <a:lnTo>
                    <a:pt x="350" y="399"/>
                  </a:lnTo>
                  <a:lnTo>
                    <a:pt x="346" y="403"/>
                  </a:lnTo>
                  <a:lnTo>
                    <a:pt x="350" y="405"/>
                  </a:lnTo>
                  <a:lnTo>
                    <a:pt x="350" y="405"/>
                  </a:lnTo>
                  <a:lnTo>
                    <a:pt x="346" y="409"/>
                  </a:lnTo>
                  <a:lnTo>
                    <a:pt x="340" y="409"/>
                  </a:lnTo>
                  <a:lnTo>
                    <a:pt x="340" y="411"/>
                  </a:lnTo>
                  <a:lnTo>
                    <a:pt x="340" y="414"/>
                  </a:lnTo>
                  <a:lnTo>
                    <a:pt x="340" y="418"/>
                  </a:lnTo>
                  <a:lnTo>
                    <a:pt x="340" y="418"/>
                  </a:lnTo>
                  <a:lnTo>
                    <a:pt x="344" y="418"/>
                  </a:lnTo>
                  <a:lnTo>
                    <a:pt x="344" y="420"/>
                  </a:lnTo>
                  <a:lnTo>
                    <a:pt x="344" y="420"/>
                  </a:lnTo>
                  <a:lnTo>
                    <a:pt x="344" y="424"/>
                  </a:lnTo>
                  <a:lnTo>
                    <a:pt x="344" y="426"/>
                  </a:lnTo>
                  <a:lnTo>
                    <a:pt x="340" y="424"/>
                  </a:lnTo>
                  <a:lnTo>
                    <a:pt x="337" y="424"/>
                  </a:lnTo>
                  <a:lnTo>
                    <a:pt x="333" y="426"/>
                  </a:lnTo>
                  <a:lnTo>
                    <a:pt x="331" y="429"/>
                  </a:lnTo>
                  <a:lnTo>
                    <a:pt x="331" y="431"/>
                  </a:lnTo>
                  <a:lnTo>
                    <a:pt x="329" y="433"/>
                  </a:lnTo>
                  <a:lnTo>
                    <a:pt x="325" y="437"/>
                  </a:lnTo>
                  <a:lnTo>
                    <a:pt x="323" y="435"/>
                  </a:lnTo>
                  <a:lnTo>
                    <a:pt x="321" y="433"/>
                  </a:lnTo>
                  <a:lnTo>
                    <a:pt x="320" y="429"/>
                  </a:lnTo>
                  <a:lnTo>
                    <a:pt x="320" y="431"/>
                  </a:lnTo>
                  <a:lnTo>
                    <a:pt x="320" y="435"/>
                  </a:lnTo>
                  <a:lnTo>
                    <a:pt x="320" y="441"/>
                  </a:lnTo>
                  <a:lnTo>
                    <a:pt x="321" y="443"/>
                  </a:lnTo>
                  <a:lnTo>
                    <a:pt x="325" y="443"/>
                  </a:lnTo>
                  <a:lnTo>
                    <a:pt x="325" y="443"/>
                  </a:lnTo>
                  <a:lnTo>
                    <a:pt x="325" y="444"/>
                  </a:lnTo>
                  <a:lnTo>
                    <a:pt x="323" y="450"/>
                  </a:lnTo>
                  <a:lnTo>
                    <a:pt x="325" y="450"/>
                  </a:lnTo>
                  <a:lnTo>
                    <a:pt x="327" y="450"/>
                  </a:lnTo>
                  <a:lnTo>
                    <a:pt x="329" y="450"/>
                  </a:lnTo>
                  <a:lnTo>
                    <a:pt x="331" y="450"/>
                  </a:lnTo>
                  <a:lnTo>
                    <a:pt x="333" y="450"/>
                  </a:lnTo>
                  <a:lnTo>
                    <a:pt x="337" y="450"/>
                  </a:lnTo>
                  <a:lnTo>
                    <a:pt x="338" y="450"/>
                  </a:lnTo>
                  <a:lnTo>
                    <a:pt x="340" y="450"/>
                  </a:lnTo>
                  <a:lnTo>
                    <a:pt x="338" y="454"/>
                  </a:lnTo>
                  <a:lnTo>
                    <a:pt x="335" y="454"/>
                  </a:lnTo>
                  <a:lnTo>
                    <a:pt x="331" y="454"/>
                  </a:lnTo>
                  <a:lnTo>
                    <a:pt x="329" y="454"/>
                  </a:lnTo>
                  <a:lnTo>
                    <a:pt x="327" y="454"/>
                  </a:lnTo>
                  <a:lnTo>
                    <a:pt x="325" y="456"/>
                  </a:lnTo>
                  <a:lnTo>
                    <a:pt x="327" y="460"/>
                  </a:lnTo>
                  <a:lnTo>
                    <a:pt x="329" y="461"/>
                  </a:lnTo>
                  <a:lnTo>
                    <a:pt x="333" y="461"/>
                  </a:lnTo>
                  <a:lnTo>
                    <a:pt x="335" y="461"/>
                  </a:lnTo>
                  <a:lnTo>
                    <a:pt x="337" y="463"/>
                  </a:lnTo>
                  <a:lnTo>
                    <a:pt x="335" y="463"/>
                  </a:lnTo>
                  <a:lnTo>
                    <a:pt x="331" y="465"/>
                  </a:lnTo>
                  <a:lnTo>
                    <a:pt x="325" y="465"/>
                  </a:lnTo>
                  <a:lnTo>
                    <a:pt x="323" y="467"/>
                  </a:lnTo>
                  <a:lnTo>
                    <a:pt x="323" y="469"/>
                  </a:lnTo>
                  <a:lnTo>
                    <a:pt x="325" y="471"/>
                  </a:lnTo>
                  <a:lnTo>
                    <a:pt x="329" y="471"/>
                  </a:lnTo>
                  <a:lnTo>
                    <a:pt x="333" y="471"/>
                  </a:lnTo>
                  <a:lnTo>
                    <a:pt x="333" y="473"/>
                  </a:lnTo>
                  <a:lnTo>
                    <a:pt x="331" y="473"/>
                  </a:lnTo>
                  <a:lnTo>
                    <a:pt x="327" y="473"/>
                  </a:lnTo>
                  <a:lnTo>
                    <a:pt x="327" y="475"/>
                  </a:lnTo>
                  <a:lnTo>
                    <a:pt x="327" y="475"/>
                  </a:lnTo>
                  <a:lnTo>
                    <a:pt x="333" y="475"/>
                  </a:lnTo>
                  <a:lnTo>
                    <a:pt x="338" y="480"/>
                  </a:lnTo>
                  <a:lnTo>
                    <a:pt x="340" y="480"/>
                  </a:lnTo>
                  <a:lnTo>
                    <a:pt x="340" y="480"/>
                  </a:lnTo>
                  <a:lnTo>
                    <a:pt x="340" y="484"/>
                  </a:lnTo>
                  <a:lnTo>
                    <a:pt x="338" y="480"/>
                  </a:lnTo>
                  <a:lnTo>
                    <a:pt x="335" y="480"/>
                  </a:lnTo>
                  <a:lnTo>
                    <a:pt x="331" y="480"/>
                  </a:lnTo>
                  <a:lnTo>
                    <a:pt x="329" y="478"/>
                  </a:lnTo>
                  <a:lnTo>
                    <a:pt x="325" y="478"/>
                  </a:lnTo>
                  <a:lnTo>
                    <a:pt x="323" y="480"/>
                  </a:lnTo>
                  <a:lnTo>
                    <a:pt x="321" y="484"/>
                  </a:lnTo>
                  <a:lnTo>
                    <a:pt x="320" y="484"/>
                  </a:lnTo>
                  <a:lnTo>
                    <a:pt x="321" y="484"/>
                  </a:lnTo>
                  <a:lnTo>
                    <a:pt x="321" y="488"/>
                  </a:lnTo>
                  <a:lnTo>
                    <a:pt x="321" y="488"/>
                  </a:lnTo>
                  <a:lnTo>
                    <a:pt x="320" y="490"/>
                  </a:lnTo>
                  <a:lnTo>
                    <a:pt x="320" y="490"/>
                  </a:lnTo>
                  <a:lnTo>
                    <a:pt x="316" y="492"/>
                  </a:lnTo>
                  <a:lnTo>
                    <a:pt x="316" y="495"/>
                  </a:lnTo>
                  <a:lnTo>
                    <a:pt x="316" y="495"/>
                  </a:lnTo>
                  <a:lnTo>
                    <a:pt x="316" y="497"/>
                  </a:lnTo>
                  <a:lnTo>
                    <a:pt x="312" y="499"/>
                  </a:lnTo>
                  <a:lnTo>
                    <a:pt x="312" y="499"/>
                  </a:lnTo>
                  <a:lnTo>
                    <a:pt x="316" y="505"/>
                  </a:lnTo>
                  <a:lnTo>
                    <a:pt x="320" y="505"/>
                  </a:lnTo>
                  <a:lnTo>
                    <a:pt x="320" y="505"/>
                  </a:lnTo>
                  <a:lnTo>
                    <a:pt x="321" y="503"/>
                  </a:lnTo>
                  <a:lnTo>
                    <a:pt x="323" y="501"/>
                  </a:lnTo>
                  <a:lnTo>
                    <a:pt x="329" y="497"/>
                  </a:lnTo>
                  <a:lnTo>
                    <a:pt x="333" y="495"/>
                  </a:lnTo>
                  <a:lnTo>
                    <a:pt x="337" y="495"/>
                  </a:lnTo>
                  <a:lnTo>
                    <a:pt x="338" y="497"/>
                  </a:lnTo>
                  <a:lnTo>
                    <a:pt x="338" y="499"/>
                  </a:lnTo>
                  <a:lnTo>
                    <a:pt x="337" y="499"/>
                  </a:lnTo>
                  <a:lnTo>
                    <a:pt x="335" y="497"/>
                  </a:lnTo>
                  <a:lnTo>
                    <a:pt x="333" y="497"/>
                  </a:lnTo>
                  <a:lnTo>
                    <a:pt x="331" y="501"/>
                  </a:lnTo>
                  <a:lnTo>
                    <a:pt x="325" y="503"/>
                  </a:lnTo>
                  <a:lnTo>
                    <a:pt x="323" y="505"/>
                  </a:lnTo>
                  <a:lnTo>
                    <a:pt x="323" y="509"/>
                  </a:lnTo>
                  <a:lnTo>
                    <a:pt x="323" y="514"/>
                  </a:lnTo>
                  <a:lnTo>
                    <a:pt x="323" y="514"/>
                  </a:lnTo>
                  <a:lnTo>
                    <a:pt x="323" y="514"/>
                  </a:lnTo>
                  <a:lnTo>
                    <a:pt x="323" y="514"/>
                  </a:lnTo>
                  <a:lnTo>
                    <a:pt x="323" y="514"/>
                  </a:lnTo>
                  <a:lnTo>
                    <a:pt x="323" y="514"/>
                  </a:lnTo>
                  <a:lnTo>
                    <a:pt x="323" y="514"/>
                  </a:lnTo>
                  <a:close/>
                  <a:moveTo>
                    <a:pt x="340" y="616"/>
                  </a:moveTo>
                  <a:lnTo>
                    <a:pt x="340" y="616"/>
                  </a:lnTo>
                  <a:lnTo>
                    <a:pt x="340" y="614"/>
                  </a:lnTo>
                  <a:lnTo>
                    <a:pt x="340" y="612"/>
                  </a:lnTo>
                  <a:lnTo>
                    <a:pt x="340" y="608"/>
                  </a:lnTo>
                  <a:lnTo>
                    <a:pt x="340" y="606"/>
                  </a:lnTo>
                  <a:lnTo>
                    <a:pt x="337" y="606"/>
                  </a:lnTo>
                  <a:lnTo>
                    <a:pt x="337" y="603"/>
                  </a:lnTo>
                  <a:lnTo>
                    <a:pt x="333" y="603"/>
                  </a:lnTo>
                  <a:lnTo>
                    <a:pt x="329" y="603"/>
                  </a:lnTo>
                  <a:lnTo>
                    <a:pt x="325" y="603"/>
                  </a:lnTo>
                  <a:lnTo>
                    <a:pt x="327" y="606"/>
                  </a:lnTo>
                  <a:lnTo>
                    <a:pt x="329" y="606"/>
                  </a:lnTo>
                  <a:lnTo>
                    <a:pt x="331" y="606"/>
                  </a:lnTo>
                  <a:lnTo>
                    <a:pt x="335" y="608"/>
                  </a:lnTo>
                  <a:lnTo>
                    <a:pt x="335" y="612"/>
                  </a:lnTo>
                  <a:lnTo>
                    <a:pt x="337" y="612"/>
                  </a:lnTo>
                  <a:lnTo>
                    <a:pt x="340" y="616"/>
                  </a:lnTo>
                  <a:lnTo>
                    <a:pt x="340" y="616"/>
                  </a:lnTo>
                  <a:lnTo>
                    <a:pt x="340" y="616"/>
                  </a:lnTo>
                  <a:lnTo>
                    <a:pt x="340" y="616"/>
                  </a:lnTo>
                  <a:close/>
                  <a:moveTo>
                    <a:pt x="408" y="616"/>
                  </a:moveTo>
                  <a:lnTo>
                    <a:pt x="401" y="612"/>
                  </a:lnTo>
                  <a:lnTo>
                    <a:pt x="399" y="614"/>
                  </a:lnTo>
                  <a:lnTo>
                    <a:pt x="395" y="612"/>
                  </a:lnTo>
                  <a:lnTo>
                    <a:pt x="395" y="608"/>
                  </a:lnTo>
                  <a:lnTo>
                    <a:pt x="391" y="608"/>
                  </a:lnTo>
                  <a:lnTo>
                    <a:pt x="384" y="603"/>
                  </a:lnTo>
                  <a:lnTo>
                    <a:pt x="382" y="599"/>
                  </a:lnTo>
                  <a:lnTo>
                    <a:pt x="378" y="599"/>
                  </a:lnTo>
                  <a:lnTo>
                    <a:pt x="374" y="591"/>
                  </a:lnTo>
                  <a:lnTo>
                    <a:pt x="369" y="584"/>
                  </a:lnTo>
                  <a:lnTo>
                    <a:pt x="365" y="574"/>
                  </a:lnTo>
                  <a:lnTo>
                    <a:pt x="361" y="569"/>
                  </a:lnTo>
                  <a:lnTo>
                    <a:pt x="361" y="561"/>
                  </a:lnTo>
                  <a:lnTo>
                    <a:pt x="359" y="556"/>
                  </a:lnTo>
                  <a:lnTo>
                    <a:pt x="357" y="544"/>
                  </a:lnTo>
                  <a:lnTo>
                    <a:pt x="355" y="542"/>
                  </a:lnTo>
                  <a:lnTo>
                    <a:pt x="357" y="539"/>
                  </a:lnTo>
                  <a:lnTo>
                    <a:pt x="357" y="539"/>
                  </a:lnTo>
                  <a:lnTo>
                    <a:pt x="353" y="537"/>
                  </a:lnTo>
                  <a:lnTo>
                    <a:pt x="352" y="539"/>
                  </a:lnTo>
                  <a:lnTo>
                    <a:pt x="350" y="537"/>
                  </a:lnTo>
                  <a:lnTo>
                    <a:pt x="350" y="535"/>
                  </a:lnTo>
                  <a:lnTo>
                    <a:pt x="355" y="537"/>
                  </a:lnTo>
                  <a:lnTo>
                    <a:pt x="359" y="533"/>
                  </a:lnTo>
                  <a:lnTo>
                    <a:pt x="359" y="525"/>
                  </a:lnTo>
                  <a:lnTo>
                    <a:pt x="359" y="522"/>
                  </a:lnTo>
                  <a:lnTo>
                    <a:pt x="355" y="524"/>
                  </a:lnTo>
                  <a:lnTo>
                    <a:pt x="352" y="524"/>
                  </a:lnTo>
                  <a:lnTo>
                    <a:pt x="353" y="522"/>
                  </a:lnTo>
                  <a:lnTo>
                    <a:pt x="359" y="520"/>
                  </a:lnTo>
                  <a:lnTo>
                    <a:pt x="359" y="518"/>
                  </a:lnTo>
                  <a:lnTo>
                    <a:pt x="357" y="518"/>
                  </a:lnTo>
                  <a:lnTo>
                    <a:pt x="352" y="518"/>
                  </a:lnTo>
                  <a:lnTo>
                    <a:pt x="344" y="514"/>
                  </a:lnTo>
                  <a:lnTo>
                    <a:pt x="340" y="514"/>
                  </a:lnTo>
                  <a:lnTo>
                    <a:pt x="337" y="514"/>
                  </a:lnTo>
                  <a:lnTo>
                    <a:pt x="329" y="518"/>
                  </a:lnTo>
                  <a:lnTo>
                    <a:pt x="323" y="518"/>
                  </a:lnTo>
                  <a:lnTo>
                    <a:pt x="320" y="520"/>
                  </a:lnTo>
                  <a:lnTo>
                    <a:pt x="316" y="524"/>
                  </a:lnTo>
                  <a:lnTo>
                    <a:pt x="316" y="527"/>
                  </a:lnTo>
                  <a:lnTo>
                    <a:pt x="316" y="529"/>
                  </a:lnTo>
                  <a:lnTo>
                    <a:pt x="316" y="533"/>
                  </a:lnTo>
                  <a:lnTo>
                    <a:pt x="320" y="533"/>
                  </a:lnTo>
                  <a:lnTo>
                    <a:pt x="320" y="535"/>
                  </a:lnTo>
                  <a:lnTo>
                    <a:pt x="320" y="537"/>
                  </a:lnTo>
                  <a:lnTo>
                    <a:pt x="316" y="537"/>
                  </a:lnTo>
                  <a:lnTo>
                    <a:pt x="312" y="539"/>
                  </a:lnTo>
                  <a:lnTo>
                    <a:pt x="310" y="542"/>
                  </a:lnTo>
                  <a:lnTo>
                    <a:pt x="306" y="548"/>
                  </a:lnTo>
                  <a:lnTo>
                    <a:pt x="310" y="548"/>
                  </a:lnTo>
                  <a:lnTo>
                    <a:pt x="314" y="548"/>
                  </a:lnTo>
                  <a:lnTo>
                    <a:pt x="320" y="544"/>
                  </a:lnTo>
                  <a:lnTo>
                    <a:pt x="320" y="548"/>
                  </a:lnTo>
                  <a:lnTo>
                    <a:pt x="316" y="550"/>
                  </a:lnTo>
                  <a:lnTo>
                    <a:pt x="316" y="554"/>
                  </a:lnTo>
                  <a:lnTo>
                    <a:pt x="316" y="554"/>
                  </a:lnTo>
                  <a:lnTo>
                    <a:pt x="320" y="550"/>
                  </a:lnTo>
                  <a:lnTo>
                    <a:pt x="321" y="550"/>
                  </a:lnTo>
                  <a:lnTo>
                    <a:pt x="321" y="552"/>
                  </a:lnTo>
                  <a:lnTo>
                    <a:pt x="320" y="554"/>
                  </a:lnTo>
                  <a:lnTo>
                    <a:pt x="320" y="558"/>
                  </a:lnTo>
                  <a:lnTo>
                    <a:pt x="321" y="559"/>
                  </a:lnTo>
                  <a:lnTo>
                    <a:pt x="325" y="559"/>
                  </a:lnTo>
                  <a:lnTo>
                    <a:pt x="323" y="561"/>
                  </a:lnTo>
                  <a:lnTo>
                    <a:pt x="320" y="561"/>
                  </a:lnTo>
                  <a:lnTo>
                    <a:pt x="320" y="563"/>
                  </a:lnTo>
                  <a:lnTo>
                    <a:pt x="320" y="567"/>
                  </a:lnTo>
                  <a:lnTo>
                    <a:pt x="320" y="569"/>
                  </a:lnTo>
                  <a:lnTo>
                    <a:pt x="320" y="573"/>
                  </a:lnTo>
                  <a:lnTo>
                    <a:pt x="316" y="569"/>
                  </a:lnTo>
                  <a:lnTo>
                    <a:pt x="314" y="573"/>
                  </a:lnTo>
                  <a:lnTo>
                    <a:pt x="312" y="569"/>
                  </a:lnTo>
                  <a:lnTo>
                    <a:pt x="306" y="569"/>
                  </a:lnTo>
                  <a:lnTo>
                    <a:pt x="306" y="573"/>
                  </a:lnTo>
                  <a:lnTo>
                    <a:pt x="306" y="576"/>
                  </a:lnTo>
                  <a:lnTo>
                    <a:pt x="306" y="582"/>
                  </a:lnTo>
                  <a:lnTo>
                    <a:pt x="306" y="586"/>
                  </a:lnTo>
                  <a:lnTo>
                    <a:pt x="306" y="590"/>
                  </a:lnTo>
                  <a:lnTo>
                    <a:pt x="312" y="595"/>
                  </a:lnTo>
                  <a:lnTo>
                    <a:pt x="312" y="597"/>
                  </a:lnTo>
                  <a:lnTo>
                    <a:pt x="316" y="599"/>
                  </a:lnTo>
                  <a:lnTo>
                    <a:pt x="320" y="603"/>
                  </a:lnTo>
                  <a:lnTo>
                    <a:pt x="321" y="599"/>
                  </a:lnTo>
                  <a:lnTo>
                    <a:pt x="325" y="599"/>
                  </a:lnTo>
                  <a:lnTo>
                    <a:pt x="327" y="595"/>
                  </a:lnTo>
                  <a:lnTo>
                    <a:pt x="327" y="590"/>
                  </a:lnTo>
                  <a:lnTo>
                    <a:pt x="327" y="586"/>
                  </a:lnTo>
                  <a:lnTo>
                    <a:pt x="329" y="582"/>
                  </a:lnTo>
                  <a:lnTo>
                    <a:pt x="327" y="588"/>
                  </a:lnTo>
                  <a:lnTo>
                    <a:pt x="327" y="590"/>
                  </a:lnTo>
                  <a:lnTo>
                    <a:pt x="329" y="593"/>
                  </a:lnTo>
                  <a:lnTo>
                    <a:pt x="331" y="597"/>
                  </a:lnTo>
                  <a:lnTo>
                    <a:pt x="333" y="599"/>
                  </a:lnTo>
                  <a:lnTo>
                    <a:pt x="337" y="597"/>
                  </a:lnTo>
                  <a:lnTo>
                    <a:pt x="337" y="593"/>
                  </a:lnTo>
                  <a:lnTo>
                    <a:pt x="338" y="590"/>
                  </a:lnTo>
                  <a:lnTo>
                    <a:pt x="338" y="591"/>
                  </a:lnTo>
                  <a:lnTo>
                    <a:pt x="338" y="593"/>
                  </a:lnTo>
                  <a:lnTo>
                    <a:pt x="338" y="597"/>
                  </a:lnTo>
                  <a:lnTo>
                    <a:pt x="340" y="603"/>
                  </a:lnTo>
                  <a:lnTo>
                    <a:pt x="344" y="606"/>
                  </a:lnTo>
                  <a:lnTo>
                    <a:pt x="350" y="606"/>
                  </a:lnTo>
                  <a:lnTo>
                    <a:pt x="352" y="603"/>
                  </a:lnTo>
                  <a:lnTo>
                    <a:pt x="353" y="603"/>
                  </a:lnTo>
                  <a:lnTo>
                    <a:pt x="352" y="606"/>
                  </a:lnTo>
                  <a:lnTo>
                    <a:pt x="350" y="606"/>
                  </a:lnTo>
                  <a:lnTo>
                    <a:pt x="350" y="606"/>
                  </a:lnTo>
                  <a:lnTo>
                    <a:pt x="346" y="608"/>
                  </a:lnTo>
                  <a:lnTo>
                    <a:pt x="344" y="612"/>
                  </a:lnTo>
                  <a:lnTo>
                    <a:pt x="350" y="614"/>
                  </a:lnTo>
                  <a:lnTo>
                    <a:pt x="350" y="618"/>
                  </a:lnTo>
                  <a:lnTo>
                    <a:pt x="346" y="618"/>
                  </a:lnTo>
                  <a:lnTo>
                    <a:pt x="344" y="616"/>
                  </a:lnTo>
                  <a:lnTo>
                    <a:pt x="344" y="620"/>
                  </a:lnTo>
                  <a:lnTo>
                    <a:pt x="346" y="622"/>
                  </a:lnTo>
                  <a:lnTo>
                    <a:pt x="352" y="622"/>
                  </a:lnTo>
                  <a:lnTo>
                    <a:pt x="355" y="623"/>
                  </a:lnTo>
                  <a:lnTo>
                    <a:pt x="361" y="622"/>
                  </a:lnTo>
                  <a:lnTo>
                    <a:pt x="365" y="623"/>
                  </a:lnTo>
                  <a:lnTo>
                    <a:pt x="365" y="622"/>
                  </a:lnTo>
                  <a:lnTo>
                    <a:pt x="365" y="622"/>
                  </a:lnTo>
                  <a:lnTo>
                    <a:pt x="369" y="623"/>
                  </a:lnTo>
                  <a:lnTo>
                    <a:pt x="370" y="629"/>
                  </a:lnTo>
                  <a:lnTo>
                    <a:pt x="370" y="633"/>
                  </a:lnTo>
                  <a:lnTo>
                    <a:pt x="374" y="631"/>
                  </a:lnTo>
                  <a:lnTo>
                    <a:pt x="376" y="629"/>
                  </a:lnTo>
                  <a:lnTo>
                    <a:pt x="376" y="623"/>
                  </a:lnTo>
                  <a:lnTo>
                    <a:pt x="370" y="622"/>
                  </a:lnTo>
                  <a:lnTo>
                    <a:pt x="370" y="622"/>
                  </a:lnTo>
                  <a:lnTo>
                    <a:pt x="370" y="620"/>
                  </a:lnTo>
                  <a:lnTo>
                    <a:pt x="374" y="622"/>
                  </a:lnTo>
                  <a:lnTo>
                    <a:pt x="378" y="623"/>
                  </a:lnTo>
                  <a:lnTo>
                    <a:pt x="378" y="623"/>
                  </a:lnTo>
                  <a:lnTo>
                    <a:pt x="380" y="629"/>
                  </a:lnTo>
                  <a:lnTo>
                    <a:pt x="382" y="629"/>
                  </a:lnTo>
                  <a:lnTo>
                    <a:pt x="384" y="627"/>
                  </a:lnTo>
                  <a:lnTo>
                    <a:pt x="384" y="623"/>
                  </a:lnTo>
                  <a:lnTo>
                    <a:pt x="387" y="629"/>
                  </a:lnTo>
                  <a:lnTo>
                    <a:pt x="391" y="631"/>
                  </a:lnTo>
                  <a:lnTo>
                    <a:pt x="393" y="631"/>
                  </a:lnTo>
                  <a:lnTo>
                    <a:pt x="393" y="629"/>
                  </a:lnTo>
                  <a:lnTo>
                    <a:pt x="391" y="623"/>
                  </a:lnTo>
                  <a:lnTo>
                    <a:pt x="391" y="623"/>
                  </a:lnTo>
                  <a:lnTo>
                    <a:pt x="393" y="623"/>
                  </a:lnTo>
                  <a:lnTo>
                    <a:pt x="395" y="623"/>
                  </a:lnTo>
                  <a:lnTo>
                    <a:pt x="395" y="627"/>
                  </a:lnTo>
                  <a:lnTo>
                    <a:pt x="399" y="627"/>
                  </a:lnTo>
                  <a:lnTo>
                    <a:pt x="399" y="631"/>
                  </a:lnTo>
                  <a:lnTo>
                    <a:pt x="401" y="633"/>
                  </a:lnTo>
                  <a:lnTo>
                    <a:pt x="402" y="631"/>
                  </a:lnTo>
                  <a:lnTo>
                    <a:pt x="402" y="629"/>
                  </a:lnTo>
                  <a:lnTo>
                    <a:pt x="402" y="623"/>
                  </a:lnTo>
                  <a:lnTo>
                    <a:pt x="399" y="623"/>
                  </a:lnTo>
                  <a:lnTo>
                    <a:pt x="399" y="623"/>
                  </a:lnTo>
                  <a:lnTo>
                    <a:pt x="399" y="622"/>
                  </a:lnTo>
                  <a:lnTo>
                    <a:pt x="401" y="623"/>
                  </a:lnTo>
                  <a:lnTo>
                    <a:pt x="402" y="623"/>
                  </a:lnTo>
                  <a:lnTo>
                    <a:pt x="404" y="620"/>
                  </a:lnTo>
                  <a:lnTo>
                    <a:pt x="408" y="618"/>
                  </a:lnTo>
                  <a:lnTo>
                    <a:pt x="408" y="616"/>
                  </a:lnTo>
                  <a:lnTo>
                    <a:pt x="408" y="616"/>
                  </a:lnTo>
                  <a:lnTo>
                    <a:pt x="408" y="616"/>
                  </a:lnTo>
                  <a:lnTo>
                    <a:pt x="408" y="616"/>
                  </a:lnTo>
                  <a:close/>
                  <a:moveTo>
                    <a:pt x="128" y="849"/>
                  </a:moveTo>
                  <a:lnTo>
                    <a:pt x="128" y="844"/>
                  </a:lnTo>
                  <a:lnTo>
                    <a:pt x="128" y="844"/>
                  </a:lnTo>
                  <a:lnTo>
                    <a:pt x="128" y="840"/>
                  </a:lnTo>
                  <a:lnTo>
                    <a:pt x="124" y="840"/>
                  </a:lnTo>
                  <a:lnTo>
                    <a:pt x="124" y="844"/>
                  </a:lnTo>
                  <a:lnTo>
                    <a:pt x="124" y="844"/>
                  </a:lnTo>
                  <a:lnTo>
                    <a:pt x="128" y="849"/>
                  </a:lnTo>
                  <a:lnTo>
                    <a:pt x="128" y="849"/>
                  </a:lnTo>
                  <a:lnTo>
                    <a:pt x="128" y="849"/>
                  </a:lnTo>
                  <a:lnTo>
                    <a:pt x="128" y="849"/>
                  </a:lnTo>
                  <a:lnTo>
                    <a:pt x="128" y="849"/>
                  </a:lnTo>
                  <a:lnTo>
                    <a:pt x="128" y="849"/>
                  </a:lnTo>
                  <a:lnTo>
                    <a:pt x="128" y="849"/>
                  </a:lnTo>
                  <a:close/>
                  <a:moveTo>
                    <a:pt x="224" y="785"/>
                  </a:moveTo>
                  <a:lnTo>
                    <a:pt x="225" y="785"/>
                  </a:lnTo>
                  <a:lnTo>
                    <a:pt x="225" y="785"/>
                  </a:lnTo>
                  <a:lnTo>
                    <a:pt x="224" y="782"/>
                  </a:lnTo>
                  <a:lnTo>
                    <a:pt x="222" y="782"/>
                  </a:lnTo>
                  <a:lnTo>
                    <a:pt x="222" y="785"/>
                  </a:lnTo>
                  <a:lnTo>
                    <a:pt x="224" y="785"/>
                  </a:lnTo>
                  <a:lnTo>
                    <a:pt x="224" y="785"/>
                  </a:lnTo>
                  <a:lnTo>
                    <a:pt x="224" y="785"/>
                  </a:lnTo>
                  <a:lnTo>
                    <a:pt x="224" y="785"/>
                  </a:lnTo>
                  <a:close/>
                  <a:moveTo>
                    <a:pt x="299" y="706"/>
                  </a:moveTo>
                  <a:lnTo>
                    <a:pt x="303" y="706"/>
                  </a:lnTo>
                  <a:lnTo>
                    <a:pt x="306" y="701"/>
                  </a:lnTo>
                  <a:lnTo>
                    <a:pt x="310" y="697"/>
                  </a:lnTo>
                  <a:lnTo>
                    <a:pt x="310" y="691"/>
                  </a:lnTo>
                  <a:lnTo>
                    <a:pt x="314" y="687"/>
                  </a:lnTo>
                  <a:lnTo>
                    <a:pt x="314" y="691"/>
                  </a:lnTo>
                  <a:lnTo>
                    <a:pt x="314" y="697"/>
                  </a:lnTo>
                  <a:lnTo>
                    <a:pt x="316" y="691"/>
                  </a:lnTo>
                  <a:lnTo>
                    <a:pt x="316" y="687"/>
                  </a:lnTo>
                  <a:lnTo>
                    <a:pt x="312" y="684"/>
                  </a:lnTo>
                  <a:lnTo>
                    <a:pt x="299" y="678"/>
                  </a:lnTo>
                  <a:lnTo>
                    <a:pt x="291" y="678"/>
                  </a:lnTo>
                  <a:lnTo>
                    <a:pt x="289" y="680"/>
                  </a:lnTo>
                  <a:lnTo>
                    <a:pt x="286" y="687"/>
                  </a:lnTo>
                  <a:lnTo>
                    <a:pt x="286" y="697"/>
                  </a:lnTo>
                  <a:lnTo>
                    <a:pt x="289" y="701"/>
                  </a:lnTo>
                  <a:lnTo>
                    <a:pt x="289" y="704"/>
                  </a:lnTo>
                  <a:lnTo>
                    <a:pt x="289" y="704"/>
                  </a:lnTo>
                  <a:lnTo>
                    <a:pt x="295" y="706"/>
                  </a:lnTo>
                  <a:lnTo>
                    <a:pt x="291" y="708"/>
                  </a:lnTo>
                  <a:lnTo>
                    <a:pt x="295" y="708"/>
                  </a:lnTo>
                  <a:lnTo>
                    <a:pt x="299" y="706"/>
                  </a:lnTo>
                  <a:lnTo>
                    <a:pt x="299" y="706"/>
                  </a:lnTo>
                  <a:lnTo>
                    <a:pt x="299" y="706"/>
                  </a:lnTo>
                  <a:lnTo>
                    <a:pt x="299" y="706"/>
                  </a:lnTo>
                  <a:close/>
                  <a:moveTo>
                    <a:pt x="331" y="714"/>
                  </a:moveTo>
                  <a:lnTo>
                    <a:pt x="333" y="714"/>
                  </a:lnTo>
                  <a:lnTo>
                    <a:pt x="335" y="712"/>
                  </a:lnTo>
                  <a:lnTo>
                    <a:pt x="338" y="712"/>
                  </a:lnTo>
                  <a:lnTo>
                    <a:pt x="340" y="710"/>
                  </a:lnTo>
                  <a:lnTo>
                    <a:pt x="335" y="710"/>
                  </a:lnTo>
                  <a:lnTo>
                    <a:pt x="331" y="712"/>
                  </a:lnTo>
                  <a:lnTo>
                    <a:pt x="331" y="714"/>
                  </a:lnTo>
                  <a:lnTo>
                    <a:pt x="331" y="714"/>
                  </a:lnTo>
                  <a:lnTo>
                    <a:pt x="331" y="714"/>
                  </a:lnTo>
                  <a:lnTo>
                    <a:pt x="331" y="714"/>
                  </a:lnTo>
                  <a:close/>
                  <a:moveTo>
                    <a:pt x="385" y="712"/>
                  </a:moveTo>
                  <a:lnTo>
                    <a:pt x="385" y="714"/>
                  </a:lnTo>
                  <a:lnTo>
                    <a:pt x="389" y="710"/>
                  </a:lnTo>
                  <a:lnTo>
                    <a:pt x="389" y="706"/>
                  </a:lnTo>
                  <a:lnTo>
                    <a:pt x="385" y="708"/>
                  </a:lnTo>
                  <a:lnTo>
                    <a:pt x="384" y="710"/>
                  </a:lnTo>
                  <a:lnTo>
                    <a:pt x="385" y="712"/>
                  </a:lnTo>
                  <a:lnTo>
                    <a:pt x="385" y="712"/>
                  </a:lnTo>
                  <a:lnTo>
                    <a:pt x="385" y="712"/>
                  </a:lnTo>
                  <a:lnTo>
                    <a:pt x="385" y="712"/>
                  </a:lnTo>
                  <a:close/>
                  <a:moveTo>
                    <a:pt x="376" y="714"/>
                  </a:moveTo>
                  <a:lnTo>
                    <a:pt x="380" y="714"/>
                  </a:lnTo>
                  <a:lnTo>
                    <a:pt x="382" y="712"/>
                  </a:lnTo>
                  <a:lnTo>
                    <a:pt x="380" y="708"/>
                  </a:lnTo>
                  <a:lnTo>
                    <a:pt x="378" y="710"/>
                  </a:lnTo>
                  <a:lnTo>
                    <a:pt x="376" y="714"/>
                  </a:lnTo>
                  <a:lnTo>
                    <a:pt x="376" y="714"/>
                  </a:lnTo>
                  <a:lnTo>
                    <a:pt x="376" y="714"/>
                  </a:lnTo>
                  <a:lnTo>
                    <a:pt x="376" y="714"/>
                  </a:lnTo>
                  <a:close/>
                  <a:moveTo>
                    <a:pt x="419" y="693"/>
                  </a:moveTo>
                  <a:lnTo>
                    <a:pt x="423" y="693"/>
                  </a:lnTo>
                  <a:lnTo>
                    <a:pt x="425" y="691"/>
                  </a:lnTo>
                  <a:lnTo>
                    <a:pt x="429" y="691"/>
                  </a:lnTo>
                  <a:lnTo>
                    <a:pt x="433" y="687"/>
                  </a:lnTo>
                  <a:lnTo>
                    <a:pt x="429" y="687"/>
                  </a:lnTo>
                  <a:lnTo>
                    <a:pt x="423" y="691"/>
                  </a:lnTo>
                  <a:lnTo>
                    <a:pt x="419" y="693"/>
                  </a:lnTo>
                  <a:lnTo>
                    <a:pt x="419" y="693"/>
                  </a:lnTo>
                  <a:lnTo>
                    <a:pt x="419" y="693"/>
                  </a:lnTo>
                  <a:lnTo>
                    <a:pt x="419" y="693"/>
                  </a:lnTo>
                  <a:close/>
                  <a:moveTo>
                    <a:pt x="402" y="691"/>
                  </a:moveTo>
                  <a:lnTo>
                    <a:pt x="404" y="691"/>
                  </a:lnTo>
                  <a:lnTo>
                    <a:pt x="408" y="691"/>
                  </a:lnTo>
                  <a:lnTo>
                    <a:pt x="408" y="691"/>
                  </a:lnTo>
                  <a:lnTo>
                    <a:pt x="404" y="687"/>
                  </a:lnTo>
                  <a:lnTo>
                    <a:pt x="402" y="691"/>
                  </a:lnTo>
                  <a:lnTo>
                    <a:pt x="402" y="691"/>
                  </a:lnTo>
                  <a:lnTo>
                    <a:pt x="402" y="691"/>
                  </a:lnTo>
                  <a:lnTo>
                    <a:pt x="402" y="691"/>
                  </a:lnTo>
                  <a:close/>
                  <a:moveTo>
                    <a:pt x="393" y="687"/>
                  </a:moveTo>
                  <a:lnTo>
                    <a:pt x="395" y="691"/>
                  </a:lnTo>
                  <a:lnTo>
                    <a:pt x="395" y="691"/>
                  </a:lnTo>
                  <a:lnTo>
                    <a:pt x="399" y="691"/>
                  </a:lnTo>
                  <a:lnTo>
                    <a:pt x="399" y="687"/>
                  </a:lnTo>
                  <a:lnTo>
                    <a:pt x="395" y="687"/>
                  </a:lnTo>
                  <a:lnTo>
                    <a:pt x="393" y="687"/>
                  </a:lnTo>
                  <a:lnTo>
                    <a:pt x="393" y="687"/>
                  </a:lnTo>
                  <a:lnTo>
                    <a:pt x="393" y="687"/>
                  </a:lnTo>
                  <a:lnTo>
                    <a:pt x="393" y="687"/>
                  </a:lnTo>
                  <a:close/>
                  <a:moveTo>
                    <a:pt x="387" y="691"/>
                  </a:moveTo>
                  <a:lnTo>
                    <a:pt x="387" y="691"/>
                  </a:lnTo>
                  <a:lnTo>
                    <a:pt x="389" y="691"/>
                  </a:lnTo>
                  <a:lnTo>
                    <a:pt x="391" y="687"/>
                  </a:lnTo>
                  <a:lnTo>
                    <a:pt x="389" y="687"/>
                  </a:lnTo>
                  <a:lnTo>
                    <a:pt x="387" y="691"/>
                  </a:lnTo>
                  <a:lnTo>
                    <a:pt x="387" y="691"/>
                  </a:lnTo>
                  <a:lnTo>
                    <a:pt x="387" y="691"/>
                  </a:lnTo>
                  <a:lnTo>
                    <a:pt x="387" y="691"/>
                  </a:lnTo>
                  <a:close/>
                  <a:moveTo>
                    <a:pt x="783" y="569"/>
                  </a:moveTo>
                  <a:lnTo>
                    <a:pt x="783" y="573"/>
                  </a:lnTo>
                  <a:lnTo>
                    <a:pt x="783" y="574"/>
                  </a:lnTo>
                  <a:lnTo>
                    <a:pt x="783" y="573"/>
                  </a:lnTo>
                  <a:lnTo>
                    <a:pt x="783" y="569"/>
                  </a:lnTo>
                  <a:lnTo>
                    <a:pt x="783" y="569"/>
                  </a:lnTo>
                  <a:lnTo>
                    <a:pt x="783" y="569"/>
                  </a:lnTo>
                  <a:lnTo>
                    <a:pt x="783" y="569"/>
                  </a:lnTo>
                  <a:lnTo>
                    <a:pt x="783" y="569"/>
                  </a:lnTo>
                  <a:close/>
                  <a:moveTo>
                    <a:pt x="775" y="558"/>
                  </a:moveTo>
                  <a:lnTo>
                    <a:pt x="775" y="565"/>
                  </a:lnTo>
                  <a:lnTo>
                    <a:pt x="777" y="569"/>
                  </a:lnTo>
                  <a:lnTo>
                    <a:pt x="775" y="574"/>
                  </a:lnTo>
                  <a:lnTo>
                    <a:pt x="777" y="574"/>
                  </a:lnTo>
                  <a:lnTo>
                    <a:pt x="779" y="573"/>
                  </a:lnTo>
                  <a:lnTo>
                    <a:pt x="779" y="563"/>
                  </a:lnTo>
                  <a:lnTo>
                    <a:pt x="775" y="558"/>
                  </a:lnTo>
                  <a:lnTo>
                    <a:pt x="775" y="558"/>
                  </a:lnTo>
                  <a:lnTo>
                    <a:pt x="775" y="558"/>
                  </a:lnTo>
                  <a:lnTo>
                    <a:pt x="775" y="558"/>
                  </a:lnTo>
                  <a:lnTo>
                    <a:pt x="775" y="558"/>
                  </a:lnTo>
                  <a:close/>
                  <a:moveTo>
                    <a:pt x="769" y="550"/>
                  </a:moveTo>
                  <a:lnTo>
                    <a:pt x="771" y="554"/>
                  </a:lnTo>
                  <a:lnTo>
                    <a:pt x="773" y="556"/>
                  </a:lnTo>
                  <a:lnTo>
                    <a:pt x="773" y="552"/>
                  </a:lnTo>
                  <a:lnTo>
                    <a:pt x="771" y="550"/>
                  </a:lnTo>
                  <a:lnTo>
                    <a:pt x="769" y="550"/>
                  </a:lnTo>
                  <a:lnTo>
                    <a:pt x="769" y="550"/>
                  </a:lnTo>
                  <a:lnTo>
                    <a:pt x="769" y="550"/>
                  </a:lnTo>
                  <a:lnTo>
                    <a:pt x="769" y="550"/>
                  </a:lnTo>
                  <a:close/>
                  <a:moveTo>
                    <a:pt x="433" y="663"/>
                  </a:moveTo>
                  <a:lnTo>
                    <a:pt x="434" y="663"/>
                  </a:lnTo>
                  <a:lnTo>
                    <a:pt x="434" y="657"/>
                  </a:lnTo>
                  <a:lnTo>
                    <a:pt x="433" y="657"/>
                  </a:lnTo>
                  <a:lnTo>
                    <a:pt x="433" y="663"/>
                  </a:lnTo>
                  <a:lnTo>
                    <a:pt x="433" y="663"/>
                  </a:lnTo>
                  <a:lnTo>
                    <a:pt x="433" y="663"/>
                  </a:lnTo>
                  <a:lnTo>
                    <a:pt x="433" y="663"/>
                  </a:lnTo>
                  <a:close/>
                  <a:moveTo>
                    <a:pt x="451" y="678"/>
                  </a:moveTo>
                  <a:lnTo>
                    <a:pt x="451" y="678"/>
                  </a:lnTo>
                  <a:lnTo>
                    <a:pt x="453" y="674"/>
                  </a:lnTo>
                  <a:lnTo>
                    <a:pt x="451" y="674"/>
                  </a:lnTo>
                  <a:lnTo>
                    <a:pt x="451" y="678"/>
                  </a:lnTo>
                  <a:lnTo>
                    <a:pt x="451" y="678"/>
                  </a:lnTo>
                  <a:lnTo>
                    <a:pt x="451" y="678"/>
                  </a:lnTo>
                  <a:lnTo>
                    <a:pt x="451" y="678"/>
                  </a:lnTo>
                  <a:close/>
                  <a:moveTo>
                    <a:pt x="449" y="672"/>
                  </a:moveTo>
                  <a:lnTo>
                    <a:pt x="448" y="667"/>
                  </a:lnTo>
                  <a:lnTo>
                    <a:pt x="442" y="667"/>
                  </a:lnTo>
                  <a:lnTo>
                    <a:pt x="438" y="663"/>
                  </a:lnTo>
                  <a:lnTo>
                    <a:pt x="438" y="663"/>
                  </a:lnTo>
                  <a:lnTo>
                    <a:pt x="442" y="667"/>
                  </a:lnTo>
                  <a:lnTo>
                    <a:pt x="449" y="672"/>
                  </a:lnTo>
                  <a:lnTo>
                    <a:pt x="449" y="672"/>
                  </a:lnTo>
                  <a:lnTo>
                    <a:pt x="449" y="672"/>
                  </a:lnTo>
                  <a:lnTo>
                    <a:pt x="449" y="672"/>
                  </a:lnTo>
                  <a:close/>
                  <a:moveTo>
                    <a:pt x="457" y="655"/>
                  </a:moveTo>
                  <a:lnTo>
                    <a:pt x="459" y="650"/>
                  </a:lnTo>
                  <a:lnTo>
                    <a:pt x="457" y="644"/>
                  </a:lnTo>
                  <a:lnTo>
                    <a:pt x="453" y="640"/>
                  </a:lnTo>
                  <a:lnTo>
                    <a:pt x="448" y="637"/>
                  </a:lnTo>
                  <a:lnTo>
                    <a:pt x="444" y="637"/>
                  </a:lnTo>
                  <a:lnTo>
                    <a:pt x="440" y="631"/>
                  </a:lnTo>
                  <a:lnTo>
                    <a:pt x="436" y="629"/>
                  </a:lnTo>
                  <a:lnTo>
                    <a:pt x="434" y="627"/>
                  </a:lnTo>
                  <a:lnTo>
                    <a:pt x="429" y="623"/>
                  </a:lnTo>
                  <a:lnTo>
                    <a:pt x="429" y="623"/>
                  </a:lnTo>
                  <a:lnTo>
                    <a:pt x="425" y="623"/>
                  </a:lnTo>
                  <a:lnTo>
                    <a:pt x="425" y="627"/>
                  </a:lnTo>
                  <a:lnTo>
                    <a:pt x="423" y="629"/>
                  </a:lnTo>
                  <a:lnTo>
                    <a:pt x="425" y="633"/>
                  </a:lnTo>
                  <a:lnTo>
                    <a:pt x="429" y="633"/>
                  </a:lnTo>
                  <a:lnTo>
                    <a:pt x="429" y="633"/>
                  </a:lnTo>
                  <a:lnTo>
                    <a:pt x="425" y="633"/>
                  </a:lnTo>
                  <a:lnTo>
                    <a:pt x="423" y="633"/>
                  </a:lnTo>
                  <a:lnTo>
                    <a:pt x="423" y="633"/>
                  </a:lnTo>
                  <a:lnTo>
                    <a:pt x="423" y="637"/>
                  </a:lnTo>
                  <a:lnTo>
                    <a:pt x="429" y="642"/>
                  </a:lnTo>
                  <a:lnTo>
                    <a:pt x="433" y="644"/>
                  </a:lnTo>
                  <a:lnTo>
                    <a:pt x="434" y="648"/>
                  </a:lnTo>
                  <a:lnTo>
                    <a:pt x="436" y="648"/>
                  </a:lnTo>
                  <a:lnTo>
                    <a:pt x="438" y="644"/>
                  </a:lnTo>
                  <a:lnTo>
                    <a:pt x="440" y="646"/>
                  </a:lnTo>
                  <a:lnTo>
                    <a:pt x="444" y="644"/>
                  </a:lnTo>
                  <a:lnTo>
                    <a:pt x="444" y="646"/>
                  </a:lnTo>
                  <a:lnTo>
                    <a:pt x="446" y="652"/>
                  </a:lnTo>
                  <a:lnTo>
                    <a:pt x="446" y="654"/>
                  </a:lnTo>
                  <a:lnTo>
                    <a:pt x="448" y="655"/>
                  </a:lnTo>
                  <a:lnTo>
                    <a:pt x="453" y="655"/>
                  </a:lnTo>
                  <a:lnTo>
                    <a:pt x="453" y="654"/>
                  </a:lnTo>
                  <a:lnTo>
                    <a:pt x="457" y="655"/>
                  </a:lnTo>
                  <a:lnTo>
                    <a:pt x="457" y="655"/>
                  </a:lnTo>
                  <a:lnTo>
                    <a:pt x="457" y="655"/>
                  </a:lnTo>
                  <a:lnTo>
                    <a:pt x="457" y="655"/>
                  </a:lnTo>
                  <a:close/>
                  <a:moveTo>
                    <a:pt x="545" y="497"/>
                  </a:moveTo>
                  <a:lnTo>
                    <a:pt x="545" y="497"/>
                  </a:lnTo>
                  <a:lnTo>
                    <a:pt x="545" y="495"/>
                  </a:lnTo>
                  <a:lnTo>
                    <a:pt x="545" y="492"/>
                  </a:lnTo>
                  <a:lnTo>
                    <a:pt x="547" y="492"/>
                  </a:lnTo>
                  <a:lnTo>
                    <a:pt x="549" y="495"/>
                  </a:lnTo>
                  <a:lnTo>
                    <a:pt x="551" y="495"/>
                  </a:lnTo>
                  <a:lnTo>
                    <a:pt x="553" y="495"/>
                  </a:lnTo>
                  <a:lnTo>
                    <a:pt x="557" y="495"/>
                  </a:lnTo>
                  <a:lnTo>
                    <a:pt x="557" y="492"/>
                  </a:lnTo>
                  <a:lnTo>
                    <a:pt x="561" y="488"/>
                  </a:lnTo>
                  <a:lnTo>
                    <a:pt x="566" y="488"/>
                  </a:lnTo>
                  <a:lnTo>
                    <a:pt x="566" y="484"/>
                  </a:lnTo>
                  <a:lnTo>
                    <a:pt x="562" y="480"/>
                  </a:lnTo>
                  <a:lnTo>
                    <a:pt x="559" y="480"/>
                  </a:lnTo>
                  <a:lnTo>
                    <a:pt x="559" y="475"/>
                  </a:lnTo>
                  <a:lnTo>
                    <a:pt x="555" y="473"/>
                  </a:lnTo>
                  <a:lnTo>
                    <a:pt x="553" y="471"/>
                  </a:lnTo>
                  <a:lnTo>
                    <a:pt x="549" y="473"/>
                  </a:lnTo>
                  <a:lnTo>
                    <a:pt x="545" y="475"/>
                  </a:lnTo>
                  <a:lnTo>
                    <a:pt x="542" y="475"/>
                  </a:lnTo>
                  <a:lnTo>
                    <a:pt x="538" y="480"/>
                  </a:lnTo>
                  <a:lnTo>
                    <a:pt x="538" y="480"/>
                  </a:lnTo>
                  <a:lnTo>
                    <a:pt x="542" y="484"/>
                  </a:lnTo>
                  <a:lnTo>
                    <a:pt x="542" y="488"/>
                  </a:lnTo>
                  <a:lnTo>
                    <a:pt x="542" y="493"/>
                  </a:lnTo>
                  <a:lnTo>
                    <a:pt x="545" y="497"/>
                  </a:lnTo>
                  <a:lnTo>
                    <a:pt x="545" y="497"/>
                  </a:lnTo>
                  <a:lnTo>
                    <a:pt x="545" y="497"/>
                  </a:lnTo>
                  <a:lnTo>
                    <a:pt x="545" y="497"/>
                  </a:lnTo>
                  <a:close/>
                  <a:moveTo>
                    <a:pt x="557" y="654"/>
                  </a:moveTo>
                  <a:lnTo>
                    <a:pt x="557" y="654"/>
                  </a:lnTo>
                  <a:lnTo>
                    <a:pt x="557" y="655"/>
                  </a:lnTo>
                  <a:lnTo>
                    <a:pt x="561" y="655"/>
                  </a:lnTo>
                  <a:lnTo>
                    <a:pt x="562" y="654"/>
                  </a:lnTo>
                  <a:lnTo>
                    <a:pt x="562" y="650"/>
                  </a:lnTo>
                  <a:lnTo>
                    <a:pt x="561" y="648"/>
                  </a:lnTo>
                  <a:lnTo>
                    <a:pt x="559" y="650"/>
                  </a:lnTo>
                  <a:lnTo>
                    <a:pt x="559" y="652"/>
                  </a:lnTo>
                  <a:lnTo>
                    <a:pt x="557" y="654"/>
                  </a:lnTo>
                  <a:lnTo>
                    <a:pt x="557" y="654"/>
                  </a:lnTo>
                  <a:lnTo>
                    <a:pt x="557" y="654"/>
                  </a:lnTo>
                  <a:lnTo>
                    <a:pt x="557" y="654"/>
                  </a:lnTo>
                  <a:close/>
                  <a:moveTo>
                    <a:pt x="625" y="740"/>
                  </a:moveTo>
                  <a:lnTo>
                    <a:pt x="625" y="742"/>
                  </a:lnTo>
                  <a:lnTo>
                    <a:pt x="628" y="744"/>
                  </a:lnTo>
                  <a:lnTo>
                    <a:pt x="628" y="746"/>
                  </a:lnTo>
                  <a:lnTo>
                    <a:pt x="632" y="750"/>
                  </a:lnTo>
                  <a:lnTo>
                    <a:pt x="636" y="748"/>
                  </a:lnTo>
                  <a:lnTo>
                    <a:pt x="638" y="746"/>
                  </a:lnTo>
                  <a:lnTo>
                    <a:pt x="636" y="742"/>
                  </a:lnTo>
                  <a:lnTo>
                    <a:pt x="634" y="740"/>
                  </a:lnTo>
                  <a:lnTo>
                    <a:pt x="630" y="742"/>
                  </a:lnTo>
                  <a:lnTo>
                    <a:pt x="628" y="740"/>
                  </a:lnTo>
                  <a:lnTo>
                    <a:pt x="625" y="740"/>
                  </a:lnTo>
                  <a:lnTo>
                    <a:pt x="625" y="740"/>
                  </a:lnTo>
                  <a:lnTo>
                    <a:pt x="625" y="740"/>
                  </a:lnTo>
                  <a:lnTo>
                    <a:pt x="625" y="740"/>
                  </a:lnTo>
                  <a:close/>
                  <a:moveTo>
                    <a:pt x="613" y="493"/>
                  </a:moveTo>
                  <a:lnTo>
                    <a:pt x="613" y="490"/>
                  </a:lnTo>
                  <a:lnTo>
                    <a:pt x="611" y="488"/>
                  </a:lnTo>
                  <a:lnTo>
                    <a:pt x="611" y="488"/>
                  </a:lnTo>
                  <a:lnTo>
                    <a:pt x="613" y="484"/>
                  </a:lnTo>
                  <a:lnTo>
                    <a:pt x="611" y="480"/>
                  </a:lnTo>
                  <a:lnTo>
                    <a:pt x="608" y="480"/>
                  </a:lnTo>
                  <a:lnTo>
                    <a:pt x="606" y="484"/>
                  </a:lnTo>
                  <a:lnTo>
                    <a:pt x="604" y="488"/>
                  </a:lnTo>
                  <a:lnTo>
                    <a:pt x="606" y="492"/>
                  </a:lnTo>
                  <a:lnTo>
                    <a:pt x="608" y="492"/>
                  </a:lnTo>
                  <a:lnTo>
                    <a:pt x="611" y="493"/>
                  </a:lnTo>
                  <a:lnTo>
                    <a:pt x="613" y="493"/>
                  </a:lnTo>
                  <a:lnTo>
                    <a:pt x="613" y="493"/>
                  </a:lnTo>
                  <a:lnTo>
                    <a:pt x="613" y="493"/>
                  </a:lnTo>
                  <a:lnTo>
                    <a:pt x="613" y="493"/>
                  </a:lnTo>
                  <a:close/>
                  <a:moveTo>
                    <a:pt x="608" y="467"/>
                  </a:moveTo>
                  <a:lnTo>
                    <a:pt x="609" y="463"/>
                  </a:lnTo>
                  <a:lnTo>
                    <a:pt x="613" y="465"/>
                  </a:lnTo>
                  <a:lnTo>
                    <a:pt x="617" y="461"/>
                  </a:lnTo>
                  <a:lnTo>
                    <a:pt x="615" y="460"/>
                  </a:lnTo>
                  <a:lnTo>
                    <a:pt x="615" y="458"/>
                  </a:lnTo>
                  <a:lnTo>
                    <a:pt x="619" y="458"/>
                  </a:lnTo>
                  <a:lnTo>
                    <a:pt x="617" y="456"/>
                  </a:lnTo>
                  <a:lnTo>
                    <a:pt x="613" y="456"/>
                  </a:lnTo>
                  <a:lnTo>
                    <a:pt x="609" y="460"/>
                  </a:lnTo>
                  <a:lnTo>
                    <a:pt x="606" y="465"/>
                  </a:lnTo>
                  <a:lnTo>
                    <a:pt x="608" y="467"/>
                  </a:lnTo>
                  <a:lnTo>
                    <a:pt x="608" y="467"/>
                  </a:lnTo>
                  <a:lnTo>
                    <a:pt x="608" y="467"/>
                  </a:lnTo>
                  <a:lnTo>
                    <a:pt x="608" y="467"/>
                  </a:lnTo>
                  <a:close/>
                  <a:moveTo>
                    <a:pt x="625" y="473"/>
                  </a:moveTo>
                  <a:lnTo>
                    <a:pt x="626" y="475"/>
                  </a:lnTo>
                  <a:lnTo>
                    <a:pt x="632" y="475"/>
                  </a:lnTo>
                  <a:lnTo>
                    <a:pt x="634" y="475"/>
                  </a:lnTo>
                  <a:lnTo>
                    <a:pt x="634" y="473"/>
                  </a:lnTo>
                  <a:lnTo>
                    <a:pt x="628" y="473"/>
                  </a:lnTo>
                  <a:lnTo>
                    <a:pt x="625" y="471"/>
                  </a:lnTo>
                  <a:lnTo>
                    <a:pt x="625" y="473"/>
                  </a:lnTo>
                  <a:lnTo>
                    <a:pt x="625" y="473"/>
                  </a:lnTo>
                  <a:lnTo>
                    <a:pt x="625" y="473"/>
                  </a:lnTo>
                  <a:lnTo>
                    <a:pt x="625" y="473"/>
                  </a:lnTo>
                  <a:close/>
                  <a:moveTo>
                    <a:pt x="658" y="499"/>
                  </a:moveTo>
                  <a:lnTo>
                    <a:pt x="658" y="503"/>
                  </a:lnTo>
                  <a:lnTo>
                    <a:pt x="657" y="505"/>
                  </a:lnTo>
                  <a:lnTo>
                    <a:pt x="655" y="505"/>
                  </a:lnTo>
                  <a:lnTo>
                    <a:pt x="655" y="509"/>
                  </a:lnTo>
                  <a:lnTo>
                    <a:pt x="655" y="514"/>
                  </a:lnTo>
                  <a:lnTo>
                    <a:pt x="657" y="512"/>
                  </a:lnTo>
                  <a:lnTo>
                    <a:pt x="660" y="509"/>
                  </a:lnTo>
                  <a:lnTo>
                    <a:pt x="664" y="509"/>
                  </a:lnTo>
                  <a:lnTo>
                    <a:pt x="666" y="505"/>
                  </a:lnTo>
                  <a:lnTo>
                    <a:pt x="670" y="503"/>
                  </a:lnTo>
                  <a:lnTo>
                    <a:pt x="673" y="499"/>
                  </a:lnTo>
                  <a:lnTo>
                    <a:pt x="670" y="495"/>
                  </a:lnTo>
                  <a:lnTo>
                    <a:pt x="670" y="493"/>
                  </a:lnTo>
                  <a:lnTo>
                    <a:pt x="666" y="493"/>
                  </a:lnTo>
                  <a:lnTo>
                    <a:pt x="660" y="495"/>
                  </a:lnTo>
                  <a:lnTo>
                    <a:pt x="658" y="499"/>
                  </a:lnTo>
                  <a:lnTo>
                    <a:pt x="658" y="499"/>
                  </a:lnTo>
                  <a:lnTo>
                    <a:pt x="658" y="499"/>
                  </a:lnTo>
                  <a:lnTo>
                    <a:pt x="658" y="499"/>
                  </a:lnTo>
                  <a:close/>
                  <a:moveTo>
                    <a:pt x="670" y="463"/>
                  </a:moveTo>
                  <a:lnTo>
                    <a:pt x="670" y="469"/>
                  </a:lnTo>
                  <a:lnTo>
                    <a:pt x="668" y="475"/>
                  </a:lnTo>
                  <a:lnTo>
                    <a:pt x="666" y="480"/>
                  </a:lnTo>
                  <a:lnTo>
                    <a:pt x="666" y="480"/>
                  </a:lnTo>
                  <a:lnTo>
                    <a:pt x="670" y="484"/>
                  </a:lnTo>
                  <a:lnTo>
                    <a:pt x="670" y="484"/>
                  </a:lnTo>
                  <a:lnTo>
                    <a:pt x="675" y="484"/>
                  </a:lnTo>
                  <a:lnTo>
                    <a:pt x="679" y="488"/>
                  </a:lnTo>
                  <a:lnTo>
                    <a:pt x="681" y="484"/>
                  </a:lnTo>
                  <a:lnTo>
                    <a:pt x="681" y="484"/>
                  </a:lnTo>
                  <a:lnTo>
                    <a:pt x="679" y="478"/>
                  </a:lnTo>
                  <a:lnTo>
                    <a:pt x="679" y="473"/>
                  </a:lnTo>
                  <a:lnTo>
                    <a:pt x="673" y="469"/>
                  </a:lnTo>
                  <a:lnTo>
                    <a:pt x="670" y="463"/>
                  </a:lnTo>
                  <a:lnTo>
                    <a:pt x="670" y="463"/>
                  </a:lnTo>
                  <a:lnTo>
                    <a:pt x="670" y="463"/>
                  </a:lnTo>
                  <a:lnTo>
                    <a:pt x="670" y="463"/>
                  </a:lnTo>
                  <a:close/>
                  <a:moveTo>
                    <a:pt x="694" y="420"/>
                  </a:moveTo>
                  <a:lnTo>
                    <a:pt x="698" y="416"/>
                  </a:lnTo>
                  <a:lnTo>
                    <a:pt x="696" y="414"/>
                  </a:lnTo>
                  <a:lnTo>
                    <a:pt x="692" y="414"/>
                  </a:lnTo>
                  <a:lnTo>
                    <a:pt x="690" y="416"/>
                  </a:lnTo>
                  <a:lnTo>
                    <a:pt x="692" y="420"/>
                  </a:lnTo>
                  <a:lnTo>
                    <a:pt x="694" y="420"/>
                  </a:lnTo>
                  <a:lnTo>
                    <a:pt x="694" y="420"/>
                  </a:lnTo>
                  <a:lnTo>
                    <a:pt x="694" y="420"/>
                  </a:lnTo>
                  <a:lnTo>
                    <a:pt x="694" y="420"/>
                  </a:lnTo>
                  <a:close/>
                  <a:moveTo>
                    <a:pt x="704" y="418"/>
                  </a:moveTo>
                  <a:lnTo>
                    <a:pt x="707" y="414"/>
                  </a:lnTo>
                  <a:lnTo>
                    <a:pt x="707" y="412"/>
                  </a:lnTo>
                  <a:lnTo>
                    <a:pt x="704" y="412"/>
                  </a:lnTo>
                  <a:lnTo>
                    <a:pt x="704" y="412"/>
                  </a:lnTo>
                  <a:lnTo>
                    <a:pt x="700" y="414"/>
                  </a:lnTo>
                  <a:lnTo>
                    <a:pt x="700" y="416"/>
                  </a:lnTo>
                  <a:lnTo>
                    <a:pt x="704" y="418"/>
                  </a:lnTo>
                  <a:lnTo>
                    <a:pt x="704" y="418"/>
                  </a:lnTo>
                  <a:lnTo>
                    <a:pt x="704" y="418"/>
                  </a:lnTo>
                  <a:lnTo>
                    <a:pt x="704" y="418"/>
                  </a:lnTo>
                  <a:close/>
                  <a:moveTo>
                    <a:pt x="722" y="420"/>
                  </a:moveTo>
                  <a:lnTo>
                    <a:pt x="724" y="418"/>
                  </a:lnTo>
                  <a:lnTo>
                    <a:pt x="719" y="416"/>
                  </a:lnTo>
                  <a:lnTo>
                    <a:pt x="715" y="418"/>
                  </a:lnTo>
                  <a:lnTo>
                    <a:pt x="717" y="420"/>
                  </a:lnTo>
                  <a:lnTo>
                    <a:pt x="722" y="420"/>
                  </a:lnTo>
                  <a:lnTo>
                    <a:pt x="722" y="420"/>
                  </a:lnTo>
                  <a:lnTo>
                    <a:pt x="722" y="420"/>
                  </a:lnTo>
                  <a:lnTo>
                    <a:pt x="722" y="420"/>
                  </a:lnTo>
                  <a:close/>
                  <a:moveTo>
                    <a:pt x="749" y="411"/>
                  </a:moveTo>
                  <a:lnTo>
                    <a:pt x="749" y="416"/>
                  </a:lnTo>
                  <a:lnTo>
                    <a:pt x="753" y="416"/>
                  </a:lnTo>
                  <a:lnTo>
                    <a:pt x="753" y="414"/>
                  </a:lnTo>
                  <a:lnTo>
                    <a:pt x="751" y="412"/>
                  </a:lnTo>
                  <a:lnTo>
                    <a:pt x="749" y="411"/>
                  </a:lnTo>
                  <a:lnTo>
                    <a:pt x="749" y="411"/>
                  </a:lnTo>
                  <a:lnTo>
                    <a:pt x="749" y="411"/>
                  </a:lnTo>
                  <a:lnTo>
                    <a:pt x="749" y="411"/>
                  </a:lnTo>
                  <a:close/>
                  <a:moveTo>
                    <a:pt x="734" y="409"/>
                  </a:moveTo>
                  <a:lnTo>
                    <a:pt x="737" y="409"/>
                  </a:lnTo>
                  <a:lnTo>
                    <a:pt x="737" y="405"/>
                  </a:lnTo>
                  <a:lnTo>
                    <a:pt x="737" y="403"/>
                  </a:lnTo>
                  <a:lnTo>
                    <a:pt x="734" y="405"/>
                  </a:lnTo>
                  <a:lnTo>
                    <a:pt x="734" y="407"/>
                  </a:lnTo>
                  <a:lnTo>
                    <a:pt x="734" y="409"/>
                  </a:lnTo>
                  <a:lnTo>
                    <a:pt x="734" y="409"/>
                  </a:lnTo>
                  <a:lnTo>
                    <a:pt x="734" y="409"/>
                  </a:lnTo>
                  <a:lnTo>
                    <a:pt x="734" y="409"/>
                  </a:lnTo>
                  <a:close/>
                  <a:moveTo>
                    <a:pt x="721" y="394"/>
                  </a:moveTo>
                  <a:lnTo>
                    <a:pt x="721" y="390"/>
                  </a:lnTo>
                  <a:lnTo>
                    <a:pt x="719" y="390"/>
                  </a:lnTo>
                  <a:lnTo>
                    <a:pt x="713" y="396"/>
                  </a:lnTo>
                  <a:lnTo>
                    <a:pt x="713" y="396"/>
                  </a:lnTo>
                  <a:lnTo>
                    <a:pt x="717" y="399"/>
                  </a:lnTo>
                  <a:lnTo>
                    <a:pt x="719" y="396"/>
                  </a:lnTo>
                  <a:lnTo>
                    <a:pt x="717" y="396"/>
                  </a:lnTo>
                  <a:lnTo>
                    <a:pt x="719" y="394"/>
                  </a:lnTo>
                  <a:lnTo>
                    <a:pt x="721" y="394"/>
                  </a:lnTo>
                  <a:lnTo>
                    <a:pt x="721" y="394"/>
                  </a:lnTo>
                  <a:lnTo>
                    <a:pt x="721" y="394"/>
                  </a:lnTo>
                  <a:lnTo>
                    <a:pt x="721" y="394"/>
                  </a:lnTo>
                  <a:close/>
                  <a:moveTo>
                    <a:pt x="732" y="390"/>
                  </a:moveTo>
                  <a:lnTo>
                    <a:pt x="730" y="386"/>
                  </a:lnTo>
                  <a:lnTo>
                    <a:pt x="724" y="386"/>
                  </a:lnTo>
                  <a:lnTo>
                    <a:pt x="724" y="390"/>
                  </a:lnTo>
                  <a:lnTo>
                    <a:pt x="724" y="394"/>
                  </a:lnTo>
                  <a:lnTo>
                    <a:pt x="728" y="394"/>
                  </a:lnTo>
                  <a:lnTo>
                    <a:pt x="730" y="390"/>
                  </a:lnTo>
                  <a:lnTo>
                    <a:pt x="732" y="390"/>
                  </a:lnTo>
                  <a:lnTo>
                    <a:pt x="732" y="390"/>
                  </a:lnTo>
                  <a:lnTo>
                    <a:pt x="732" y="390"/>
                  </a:lnTo>
                  <a:lnTo>
                    <a:pt x="732" y="390"/>
                  </a:lnTo>
                  <a:close/>
                  <a:moveTo>
                    <a:pt x="732" y="390"/>
                  </a:moveTo>
                  <a:lnTo>
                    <a:pt x="734" y="394"/>
                  </a:lnTo>
                  <a:lnTo>
                    <a:pt x="734" y="390"/>
                  </a:lnTo>
                  <a:lnTo>
                    <a:pt x="737" y="390"/>
                  </a:lnTo>
                  <a:lnTo>
                    <a:pt x="737" y="386"/>
                  </a:lnTo>
                  <a:lnTo>
                    <a:pt x="737" y="384"/>
                  </a:lnTo>
                  <a:lnTo>
                    <a:pt x="734" y="384"/>
                  </a:lnTo>
                  <a:lnTo>
                    <a:pt x="734" y="386"/>
                  </a:lnTo>
                  <a:lnTo>
                    <a:pt x="734" y="390"/>
                  </a:lnTo>
                  <a:lnTo>
                    <a:pt x="732" y="390"/>
                  </a:lnTo>
                  <a:lnTo>
                    <a:pt x="732" y="390"/>
                  </a:lnTo>
                  <a:lnTo>
                    <a:pt x="732" y="390"/>
                  </a:lnTo>
                  <a:lnTo>
                    <a:pt x="732" y="390"/>
                  </a:lnTo>
                  <a:close/>
                  <a:moveTo>
                    <a:pt x="721" y="380"/>
                  </a:moveTo>
                  <a:lnTo>
                    <a:pt x="724" y="377"/>
                  </a:lnTo>
                  <a:lnTo>
                    <a:pt x="722" y="375"/>
                  </a:lnTo>
                  <a:lnTo>
                    <a:pt x="721" y="375"/>
                  </a:lnTo>
                  <a:lnTo>
                    <a:pt x="717" y="375"/>
                  </a:lnTo>
                  <a:lnTo>
                    <a:pt x="715" y="377"/>
                  </a:lnTo>
                  <a:lnTo>
                    <a:pt x="715" y="377"/>
                  </a:lnTo>
                  <a:lnTo>
                    <a:pt x="719" y="379"/>
                  </a:lnTo>
                  <a:lnTo>
                    <a:pt x="721" y="380"/>
                  </a:lnTo>
                  <a:lnTo>
                    <a:pt x="721" y="380"/>
                  </a:lnTo>
                  <a:lnTo>
                    <a:pt x="721" y="380"/>
                  </a:lnTo>
                  <a:lnTo>
                    <a:pt x="721" y="380"/>
                  </a:lnTo>
                  <a:close/>
                  <a:moveTo>
                    <a:pt x="737" y="371"/>
                  </a:moveTo>
                  <a:lnTo>
                    <a:pt x="739" y="371"/>
                  </a:lnTo>
                  <a:lnTo>
                    <a:pt x="739" y="369"/>
                  </a:lnTo>
                  <a:lnTo>
                    <a:pt x="737" y="367"/>
                  </a:lnTo>
                  <a:lnTo>
                    <a:pt x="741" y="365"/>
                  </a:lnTo>
                  <a:lnTo>
                    <a:pt x="741" y="365"/>
                  </a:lnTo>
                  <a:lnTo>
                    <a:pt x="737" y="362"/>
                  </a:lnTo>
                  <a:lnTo>
                    <a:pt x="734" y="362"/>
                  </a:lnTo>
                  <a:lnTo>
                    <a:pt x="734" y="362"/>
                  </a:lnTo>
                  <a:lnTo>
                    <a:pt x="734" y="365"/>
                  </a:lnTo>
                  <a:lnTo>
                    <a:pt x="732" y="365"/>
                  </a:lnTo>
                  <a:lnTo>
                    <a:pt x="730" y="365"/>
                  </a:lnTo>
                  <a:lnTo>
                    <a:pt x="728" y="365"/>
                  </a:lnTo>
                  <a:lnTo>
                    <a:pt x="730" y="367"/>
                  </a:lnTo>
                  <a:lnTo>
                    <a:pt x="732" y="369"/>
                  </a:lnTo>
                  <a:lnTo>
                    <a:pt x="734" y="369"/>
                  </a:lnTo>
                  <a:lnTo>
                    <a:pt x="737" y="371"/>
                  </a:lnTo>
                  <a:lnTo>
                    <a:pt x="737" y="371"/>
                  </a:lnTo>
                  <a:lnTo>
                    <a:pt x="737" y="371"/>
                  </a:lnTo>
                  <a:lnTo>
                    <a:pt x="737" y="371"/>
                  </a:lnTo>
                  <a:close/>
                  <a:moveTo>
                    <a:pt x="786" y="237"/>
                  </a:moveTo>
                  <a:lnTo>
                    <a:pt x="788" y="237"/>
                  </a:lnTo>
                  <a:lnTo>
                    <a:pt x="792" y="237"/>
                  </a:lnTo>
                  <a:lnTo>
                    <a:pt x="794" y="234"/>
                  </a:lnTo>
                  <a:lnTo>
                    <a:pt x="794" y="234"/>
                  </a:lnTo>
                  <a:lnTo>
                    <a:pt x="796" y="235"/>
                  </a:lnTo>
                  <a:lnTo>
                    <a:pt x="794" y="237"/>
                  </a:lnTo>
                  <a:lnTo>
                    <a:pt x="798" y="235"/>
                  </a:lnTo>
                  <a:lnTo>
                    <a:pt x="801" y="232"/>
                  </a:lnTo>
                  <a:lnTo>
                    <a:pt x="801" y="228"/>
                  </a:lnTo>
                  <a:lnTo>
                    <a:pt x="803" y="226"/>
                  </a:lnTo>
                  <a:lnTo>
                    <a:pt x="803" y="222"/>
                  </a:lnTo>
                  <a:lnTo>
                    <a:pt x="801" y="220"/>
                  </a:lnTo>
                  <a:lnTo>
                    <a:pt x="800" y="220"/>
                  </a:lnTo>
                  <a:lnTo>
                    <a:pt x="800" y="222"/>
                  </a:lnTo>
                  <a:lnTo>
                    <a:pt x="796" y="226"/>
                  </a:lnTo>
                  <a:lnTo>
                    <a:pt x="792" y="228"/>
                  </a:lnTo>
                  <a:lnTo>
                    <a:pt x="788" y="234"/>
                  </a:lnTo>
                  <a:lnTo>
                    <a:pt x="786" y="237"/>
                  </a:lnTo>
                  <a:lnTo>
                    <a:pt x="786" y="237"/>
                  </a:lnTo>
                  <a:lnTo>
                    <a:pt x="786" y="237"/>
                  </a:lnTo>
                  <a:lnTo>
                    <a:pt x="786" y="237"/>
                  </a:lnTo>
                  <a:close/>
                  <a:moveTo>
                    <a:pt x="822" y="241"/>
                  </a:moveTo>
                  <a:lnTo>
                    <a:pt x="826" y="241"/>
                  </a:lnTo>
                  <a:lnTo>
                    <a:pt x="828" y="237"/>
                  </a:lnTo>
                  <a:lnTo>
                    <a:pt x="826" y="237"/>
                  </a:lnTo>
                  <a:lnTo>
                    <a:pt x="822" y="237"/>
                  </a:lnTo>
                  <a:lnTo>
                    <a:pt x="820" y="241"/>
                  </a:lnTo>
                  <a:lnTo>
                    <a:pt x="822" y="241"/>
                  </a:lnTo>
                  <a:lnTo>
                    <a:pt x="822" y="241"/>
                  </a:lnTo>
                  <a:lnTo>
                    <a:pt x="822" y="241"/>
                  </a:lnTo>
                  <a:lnTo>
                    <a:pt x="822" y="241"/>
                  </a:lnTo>
                  <a:close/>
                  <a:moveTo>
                    <a:pt x="828" y="249"/>
                  </a:moveTo>
                  <a:lnTo>
                    <a:pt x="830" y="249"/>
                  </a:lnTo>
                  <a:lnTo>
                    <a:pt x="832" y="247"/>
                  </a:lnTo>
                  <a:lnTo>
                    <a:pt x="832" y="247"/>
                  </a:lnTo>
                  <a:lnTo>
                    <a:pt x="828" y="243"/>
                  </a:lnTo>
                  <a:lnTo>
                    <a:pt x="828" y="241"/>
                  </a:lnTo>
                  <a:lnTo>
                    <a:pt x="826" y="241"/>
                  </a:lnTo>
                  <a:lnTo>
                    <a:pt x="826" y="243"/>
                  </a:lnTo>
                  <a:lnTo>
                    <a:pt x="828" y="247"/>
                  </a:lnTo>
                  <a:lnTo>
                    <a:pt x="828" y="249"/>
                  </a:lnTo>
                  <a:lnTo>
                    <a:pt x="828" y="249"/>
                  </a:lnTo>
                  <a:lnTo>
                    <a:pt x="828" y="249"/>
                  </a:lnTo>
                  <a:lnTo>
                    <a:pt x="828" y="249"/>
                  </a:lnTo>
                  <a:close/>
                  <a:moveTo>
                    <a:pt x="796" y="258"/>
                  </a:moveTo>
                  <a:lnTo>
                    <a:pt x="800" y="256"/>
                  </a:lnTo>
                  <a:lnTo>
                    <a:pt x="800" y="254"/>
                  </a:lnTo>
                  <a:lnTo>
                    <a:pt x="798" y="252"/>
                  </a:lnTo>
                  <a:lnTo>
                    <a:pt x="796" y="254"/>
                  </a:lnTo>
                  <a:lnTo>
                    <a:pt x="792" y="256"/>
                  </a:lnTo>
                  <a:lnTo>
                    <a:pt x="792" y="258"/>
                  </a:lnTo>
                  <a:lnTo>
                    <a:pt x="796" y="258"/>
                  </a:lnTo>
                  <a:lnTo>
                    <a:pt x="796" y="258"/>
                  </a:lnTo>
                  <a:lnTo>
                    <a:pt x="796" y="258"/>
                  </a:lnTo>
                  <a:lnTo>
                    <a:pt x="796" y="258"/>
                  </a:lnTo>
                  <a:close/>
                  <a:moveTo>
                    <a:pt x="813" y="258"/>
                  </a:moveTo>
                  <a:lnTo>
                    <a:pt x="817" y="256"/>
                  </a:lnTo>
                  <a:lnTo>
                    <a:pt x="817" y="252"/>
                  </a:lnTo>
                  <a:lnTo>
                    <a:pt x="817" y="252"/>
                  </a:lnTo>
                  <a:lnTo>
                    <a:pt x="817" y="247"/>
                  </a:lnTo>
                  <a:lnTo>
                    <a:pt x="813" y="247"/>
                  </a:lnTo>
                  <a:lnTo>
                    <a:pt x="813" y="249"/>
                  </a:lnTo>
                  <a:lnTo>
                    <a:pt x="811" y="252"/>
                  </a:lnTo>
                  <a:lnTo>
                    <a:pt x="807" y="254"/>
                  </a:lnTo>
                  <a:lnTo>
                    <a:pt x="809" y="256"/>
                  </a:lnTo>
                  <a:lnTo>
                    <a:pt x="811" y="256"/>
                  </a:lnTo>
                  <a:lnTo>
                    <a:pt x="813" y="254"/>
                  </a:lnTo>
                  <a:lnTo>
                    <a:pt x="813" y="254"/>
                  </a:lnTo>
                  <a:lnTo>
                    <a:pt x="813" y="258"/>
                  </a:lnTo>
                  <a:lnTo>
                    <a:pt x="813" y="258"/>
                  </a:lnTo>
                  <a:lnTo>
                    <a:pt x="813" y="258"/>
                  </a:lnTo>
                  <a:lnTo>
                    <a:pt x="813" y="258"/>
                  </a:lnTo>
                  <a:close/>
                  <a:moveTo>
                    <a:pt x="817" y="277"/>
                  </a:moveTo>
                  <a:lnTo>
                    <a:pt x="818" y="277"/>
                  </a:lnTo>
                  <a:lnTo>
                    <a:pt x="820" y="277"/>
                  </a:lnTo>
                  <a:lnTo>
                    <a:pt x="826" y="277"/>
                  </a:lnTo>
                  <a:lnTo>
                    <a:pt x="826" y="277"/>
                  </a:lnTo>
                  <a:lnTo>
                    <a:pt x="830" y="277"/>
                  </a:lnTo>
                  <a:lnTo>
                    <a:pt x="833" y="277"/>
                  </a:lnTo>
                  <a:lnTo>
                    <a:pt x="835" y="273"/>
                  </a:lnTo>
                  <a:lnTo>
                    <a:pt x="835" y="271"/>
                  </a:lnTo>
                  <a:lnTo>
                    <a:pt x="833" y="271"/>
                  </a:lnTo>
                  <a:lnTo>
                    <a:pt x="833" y="271"/>
                  </a:lnTo>
                  <a:lnTo>
                    <a:pt x="833" y="267"/>
                  </a:lnTo>
                  <a:lnTo>
                    <a:pt x="830" y="267"/>
                  </a:lnTo>
                  <a:lnTo>
                    <a:pt x="828" y="271"/>
                  </a:lnTo>
                  <a:lnTo>
                    <a:pt x="828" y="271"/>
                  </a:lnTo>
                  <a:lnTo>
                    <a:pt x="828" y="271"/>
                  </a:lnTo>
                  <a:lnTo>
                    <a:pt x="826" y="271"/>
                  </a:lnTo>
                  <a:lnTo>
                    <a:pt x="826" y="271"/>
                  </a:lnTo>
                  <a:lnTo>
                    <a:pt x="822" y="271"/>
                  </a:lnTo>
                  <a:lnTo>
                    <a:pt x="820" y="271"/>
                  </a:lnTo>
                  <a:lnTo>
                    <a:pt x="818" y="273"/>
                  </a:lnTo>
                  <a:lnTo>
                    <a:pt x="817" y="271"/>
                  </a:lnTo>
                  <a:lnTo>
                    <a:pt x="817" y="277"/>
                  </a:lnTo>
                  <a:lnTo>
                    <a:pt x="817" y="277"/>
                  </a:lnTo>
                  <a:lnTo>
                    <a:pt x="817" y="277"/>
                  </a:lnTo>
                  <a:lnTo>
                    <a:pt x="817" y="277"/>
                  </a:lnTo>
                  <a:lnTo>
                    <a:pt x="817" y="277"/>
                  </a:lnTo>
                  <a:close/>
                  <a:moveTo>
                    <a:pt x="673" y="81"/>
                  </a:moveTo>
                  <a:lnTo>
                    <a:pt x="679" y="77"/>
                  </a:lnTo>
                  <a:lnTo>
                    <a:pt x="681" y="73"/>
                  </a:lnTo>
                  <a:lnTo>
                    <a:pt x="681" y="70"/>
                  </a:lnTo>
                  <a:lnTo>
                    <a:pt x="687" y="64"/>
                  </a:lnTo>
                  <a:lnTo>
                    <a:pt x="694" y="60"/>
                  </a:lnTo>
                  <a:lnTo>
                    <a:pt x="700" y="58"/>
                  </a:lnTo>
                  <a:lnTo>
                    <a:pt x="700" y="55"/>
                  </a:lnTo>
                  <a:lnTo>
                    <a:pt x="700" y="51"/>
                  </a:lnTo>
                  <a:lnTo>
                    <a:pt x="694" y="47"/>
                  </a:lnTo>
                  <a:lnTo>
                    <a:pt x="689" y="43"/>
                  </a:lnTo>
                  <a:lnTo>
                    <a:pt x="685" y="34"/>
                  </a:lnTo>
                  <a:lnTo>
                    <a:pt x="685" y="30"/>
                  </a:lnTo>
                  <a:lnTo>
                    <a:pt x="687" y="28"/>
                  </a:lnTo>
                  <a:lnTo>
                    <a:pt x="687" y="24"/>
                  </a:lnTo>
                  <a:lnTo>
                    <a:pt x="685" y="24"/>
                  </a:lnTo>
                  <a:lnTo>
                    <a:pt x="675" y="24"/>
                  </a:lnTo>
                  <a:lnTo>
                    <a:pt x="670" y="23"/>
                  </a:lnTo>
                  <a:lnTo>
                    <a:pt x="664" y="19"/>
                  </a:lnTo>
                  <a:lnTo>
                    <a:pt x="657" y="9"/>
                  </a:lnTo>
                  <a:lnTo>
                    <a:pt x="651" y="4"/>
                  </a:lnTo>
                  <a:lnTo>
                    <a:pt x="645" y="0"/>
                  </a:lnTo>
                  <a:lnTo>
                    <a:pt x="643" y="0"/>
                  </a:lnTo>
                  <a:lnTo>
                    <a:pt x="643" y="4"/>
                  </a:lnTo>
                  <a:lnTo>
                    <a:pt x="641" y="6"/>
                  </a:lnTo>
                  <a:lnTo>
                    <a:pt x="643" y="9"/>
                  </a:lnTo>
                  <a:lnTo>
                    <a:pt x="641" y="13"/>
                  </a:lnTo>
                  <a:lnTo>
                    <a:pt x="640" y="19"/>
                  </a:lnTo>
                  <a:lnTo>
                    <a:pt x="636" y="24"/>
                  </a:lnTo>
                  <a:lnTo>
                    <a:pt x="632" y="30"/>
                  </a:lnTo>
                  <a:lnTo>
                    <a:pt x="630" y="34"/>
                  </a:lnTo>
                  <a:lnTo>
                    <a:pt x="632" y="47"/>
                  </a:lnTo>
                  <a:lnTo>
                    <a:pt x="634" y="51"/>
                  </a:lnTo>
                  <a:lnTo>
                    <a:pt x="638" y="53"/>
                  </a:lnTo>
                  <a:lnTo>
                    <a:pt x="638" y="55"/>
                  </a:lnTo>
                  <a:lnTo>
                    <a:pt x="638" y="68"/>
                  </a:lnTo>
                  <a:lnTo>
                    <a:pt x="634" y="70"/>
                  </a:lnTo>
                  <a:lnTo>
                    <a:pt x="634" y="73"/>
                  </a:lnTo>
                  <a:lnTo>
                    <a:pt x="634" y="77"/>
                  </a:lnTo>
                  <a:lnTo>
                    <a:pt x="636" y="75"/>
                  </a:lnTo>
                  <a:lnTo>
                    <a:pt x="640" y="72"/>
                  </a:lnTo>
                  <a:lnTo>
                    <a:pt x="643" y="70"/>
                  </a:lnTo>
                  <a:lnTo>
                    <a:pt x="645" y="72"/>
                  </a:lnTo>
                  <a:lnTo>
                    <a:pt x="645" y="75"/>
                  </a:lnTo>
                  <a:lnTo>
                    <a:pt x="651" y="79"/>
                  </a:lnTo>
                  <a:lnTo>
                    <a:pt x="655" y="79"/>
                  </a:lnTo>
                  <a:lnTo>
                    <a:pt x="657" y="77"/>
                  </a:lnTo>
                  <a:lnTo>
                    <a:pt x="658" y="77"/>
                  </a:lnTo>
                  <a:lnTo>
                    <a:pt x="664" y="81"/>
                  </a:lnTo>
                  <a:lnTo>
                    <a:pt x="670" y="81"/>
                  </a:lnTo>
                  <a:lnTo>
                    <a:pt x="673" y="81"/>
                  </a:lnTo>
                  <a:lnTo>
                    <a:pt x="673" y="81"/>
                  </a:lnTo>
                  <a:lnTo>
                    <a:pt x="673" y="81"/>
                  </a:lnTo>
                  <a:lnTo>
                    <a:pt x="673" y="81"/>
                  </a:lnTo>
                  <a:close/>
                  <a:moveTo>
                    <a:pt x="655" y="107"/>
                  </a:moveTo>
                  <a:lnTo>
                    <a:pt x="657" y="109"/>
                  </a:lnTo>
                  <a:lnTo>
                    <a:pt x="660" y="111"/>
                  </a:lnTo>
                  <a:lnTo>
                    <a:pt x="664" y="111"/>
                  </a:lnTo>
                  <a:lnTo>
                    <a:pt x="668" y="107"/>
                  </a:lnTo>
                  <a:lnTo>
                    <a:pt x="670" y="104"/>
                  </a:lnTo>
                  <a:lnTo>
                    <a:pt x="675" y="102"/>
                  </a:lnTo>
                  <a:lnTo>
                    <a:pt x="675" y="98"/>
                  </a:lnTo>
                  <a:lnTo>
                    <a:pt x="679" y="92"/>
                  </a:lnTo>
                  <a:lnTo>
                    <a:pt x="675" y="88"/>
                  </a:lnTo>
                  <a:lnTo>
                    <a:pt x="670" y="85"/>
                  </a:lnTo>
                  <a:lnTo>
                    <a:pt x="662" y="85"/>
                  </a:lnTo>
                  <a:lnTo>
                    <a:pt x="657" y="85"/>
                  </a:lnTo>
                  <a:lnTo>
                    <a:pt x="655" y="88"/>
                  </a:lnTo>
                  <a:lnTo>
                    <a:pt x="649" y="85"/>
                  </a:lnTo>
                  <a:lnTo>
                    <a:pt x="649" y="85"/>
                  </a:lnTo>
                  <a:lnTo>
                    <a:pt x="645" y="88"/>
                  </a:lnTo>
                  <a:lnTo>
                    <a:pt x="640" y="88"/>
                  </a:lnTo>
                  <a:lnTo>
                    <a:pt x="640" y="88"/>
                  </a:lnTo>
                  <a:lnTo>
                    <a:pt x="641" y="92"/>
                  </a:lnTo>
                  <a:lnTo>
                    <a:pt x="645" y="94"/>
                  </a:lnTo>
                  <a:lnTo>
                    <a:pt x="645" y="98"/>
                  </a:lnTo>
                  <a:lnTo>
                    <a:pt x="651" y="98"/>
                  </a:lnTo>
                  <a:lnTo>
                    <a:pt x="655" y="102"/>
                  </a:lnTo>
                  <a:lnTo>
                    <a:pt x="658" y="104"/>
                  </a:lnTo>
                  <a:lnTo>
                    <a:pt x="664" y="104"/>
                  </a:lnTo>
                  <a:lnTo>
                    <a:pt x="668" y="104"/>
                  </a:lnTo>
                  <a:lnTo>
                    <a:pt x="666" y="105"/>
                  </a:lnTo>
                  <a:lnTo>
                    <a:pt x="660" y="107"/>
                  </a:lnTo>
                  <a:lnTo>
                    <a:pt x="655" y="107"/>
                  </a:lnTo>
                  <a:lnTo>
                    <a:pt x="655" y="107"/>
                  </a:lnTo>
                  <a:lnTo>
                    <a:pt x="655" y="107"/>
                  </a:lnTo>
                  <a:lnTo>
                    <a:pt x="655" y="107"/>
                  </a:lnTo>
                  <a:close/>
                  <a:moveTo>
                    <a:pt x="781" y="119"/>
                  </a:moveTo>
                  <a:lnTo>
                    <a:pt x="781" y="122"/>
                  </a:lnTo>
                  <a:lnTo>
                    <a:pt x="777" y="128"/>
                  </a:lnTo>
                  <a:lnTo>
                    <a:pt x="771" y="128"/>
                  </a:lnTo>
                  <a:lnTo>
                    <a:pt x="768" y="132"/>
                  </a:lnTo>
                  <a:lnTo>
                    <a:pt x="762" y="136"/>
                  </a:lnTo>
                  <a:lnTo>
                    <a:pt x="762" y="136"/>
                  </a:lnTo>
                  <a:lnTo>
                    <a:pt x="756" y="132"/>
                  </a:lnTo>
                  <a:lnTo>
                    <a:pt x="754" y="130"/>
                  </a:lnTo>
                  <a:lnTo>
                    <a:pt x="751" y="130"/>
                  </a:lnTo>
                  <a:lnTo>
                    <a:pt x="749" y="130"/>
                  </a:lnTo>
                  <a:lnTo>
                    <a:pt x="743" y="130"/>
                  </a:lnTo>
                  <a:lnTo>
                    <a:pt x="734" y="130"/>
                  </a:lnTo>
                  <a:lnTo>
                    <a:pt x="732" y="128"/>
                  </a:lnTo>
                  <a:lnTo>
                    <a:pt x="728" y="124"/>
                  </a:lnTo>
                  <a:lnTo>
                    <a:pt x="724" y="128"/>
                  </a:lnTo>
                  <a:lnTo>
                    <a:pt x="719" y="130"/>
                  </a:lnTo>
                  <a:lnTo>
                    <a:pt x="715" y="128"/>
                  </a:lnTo>
                  <a:lnTo>
                    <a:pt x="713" y="128"/>
                  </a:lnTo>
                  <a:lnTo>
                    <a:pt x="707" y="124"/>
                  </a:lnTo>
                  <a:lnTo>
                    <a:pt x="704" y="122"/>
                  </a:lnTo>
                  <a:lnTo>
                    <a:pt x="704" y="117"/>
                  </a:lnTo>
                  <a:lnTo>
                    <a:pt x="700" y="113"/>
                  </a:lnTo>
                  <a:lnTo>
                    <a:pt x="698" y="113"/>
                  </a:lnTo>
                  <a:lnTo>
                    <a:pt x="694" y="115"/>
                  </a:lnTo>
                  <a:lnTo>
                    <a:pt x="690" y="111"/>
                  </a:lnTo>
                  <a:lnTo>
                    <a:pt x="687" y="109"/>
                  </a:lnTo>
                  <a:lnTo>
                    <a:pt x="687" y="111"/>
                  </a:lnTo>
                  <a:lnTo>
                    <a:pt x="687" y="115"/>
                  </a:lnTo>
                  <a:lnTo>
                    <a:pt x="685" y="115"/>
                  </a:lnTo>
                  <a:lnTo>
                    <a:pt x="683" y="115"/>
                  </a:lnTo>
                  <a:lnTo>
                    <a:pt x="679" y="111"/>
                  </a:lnTo>
                  <a:lnTo>
                    <a:pt x="681" y="109"/>
                  </a:lnTo>
                  <a:lnTo>
                    <a:pt x="685" y="107"/>
                  </a:lnTo>
                  <a:lnTo>
                    <a:pt x="685" y="104"/>
                  </a:lnTo>
                  <a:lnTo>
                    <a:pt x="685" y="98"/>
                  </a:lnTo>
                  <a:lnTo>
                    <a:pt x="685" y="94"/>
                  </a:lnTo>
                  <a:lnTo>
                    <a:pt x="690" y="92"/>
                  </a:lnTo>
                  <a:lnTo>
                    <a:pt x="689" y="88"/>
                  </a:lnTo>
                  <a:lnTo>
                    <a:pt x="685" y="88"/>
                  </a:lnTo>
                  <a:lnTo>
                    <a:pt x="681" y="85"/>
                  </a:lnTo>
                  <a:lnTo>
                    <a:pt x="681" y="85"/>
                  </a:lnTo>
                  <a:lnTo>
                    <a:pt x="683" y="77"/>
                  </a:lnTo>
                  <a:lnTo>
                    <a:pt x="687" y="75"/>
                  </a:lnTo>
                  <a:lnTo>
                    <a:pt x="692" y="73"/>
                  </a:lnTo>
                  <a:lnTo>
                    <a:pt x="692" y="70"/>
                  </a:lnTo>
                  <a:lnTo>
                    <a:pt x="694" y="68"/>
                  </a:lnTo>
                  <a:lnTo>
                    <a:pt x="700" y="68"/>
                  </a:lnTo>
                  <a:lnTo>
                    <a:pt x="704" y="60"/>
                  </a:lnTo>
                  <a:lnTo>
                    <a:pt x="707" y="58"/>
                  </a:lnTo>
                  <a:lnTo>
                    <a:pt x="707" y="55"/>
                  </a:lnTo>
                  <a:lnTo>
                    <a:pt x="715" y="58"/>
                  </a:lnTo>
                  <a:lnTo>
                    <a:pt x="719" y="60"/>
                  </a:lnTo>
                  <a:lnTo>
                    <a:pt x="724" y="70"/>
                  </a:lnTo>
                  <a:lnTo>
                    <a:pt x="728" y="73"/>
                  </a:lnTo>
                  <a:lnTo>
                    <a:pt x="724" y="79"/>
                  </a:lnTo>
                  <a:lnTo>
                    <a:pt x="728" y="81"/>
                  </a:lnTo>
                  <a:lnTo>
                    <a:pt x="724" y="85"/>
                  </a:lnTo>
                  <a:lnTo>
                    <a:pt x="724" y="85"/>
                  </a:lnTo>
                  <a:lnTo>
                    <a:pt x="724" y="88"/>
                  </a:lnTo>
                  <a:lnTo>
                    <a:pt x="724" y="88"/>
                  </a:lnTo>
                  <a:lnTo>
                    <a:pt x="730" y="83"/>
                  </a:lnTo>
                  <a:lnTo>
                    <a:pt x="730" y="79"/>
                  </a:lnTo>
                  <a:lnTo>
                    <a:pt x="730" y="75"/>
                  </a:lnTo>
                  <a:lnTo>
                    <a:pt x="732" y="72"/>
                  </a:lnTo>
                  <a:lnTo>
                    <a:pt x="732" y="70"/>
                  </a:lnTo>
                  <a:lnTo>
                    <a:pt x="724" y="64"/>
                  </a:lnTo>
                  <a:lnTo>
                    <a:pt x="724" y="60"/>
                  </a:lnTo>
                  <a:lnTo>
                    <a:pt x="724" y="60"/>
                  </a:lnTo>
                  <a:lnTo>
                    <a:pt x="734" y="60"/>
                  </a:lnTo>
                  <a:lnTo>
                    <a:pt x="739" y="60"/>
                  </a:lnTo>
                  <a:lnTo>
                    <a:pt x="751" y="68"/>
                  </a:lnTo>
                  <a:lnTo>
                    <a:pt x="753" y="70"/>
                  </a:lnTo>
                  <a:lnTo>
                    <a:pt x="754" y="70"/>
                  </a:lnTo>
                  <a:lnTo>
                    <a:pt x="754" y="75"/>
                  </a:lnTo>
                  <a:lnTo>
                    <a:pt x="758" y="77"/>
                  </a:lnTo>
                  <a:lnTo>
                    <a:pt x="758" y="83"/>
                  </a:lnTo>
                  <a:lnTo>
                    <a:pt x="758" y="88"/>
                  </a:lnTo>
                  <a:lnTo>
                    <a:pt x="764" y="94"/>
                  </a:lnTo>
                  <a:lnTo>
                    <a:pt x="768" y="98"/>
                  </a:lnTo>
                  <a:lnTo>
                    <a:pt x="768" y="100"/>
                  </a:lnTo>
                  <a:lnTo>
                    <a:pt x="764" y="100"/>
                  </a:lnTo>
                  <a:lnTo>
                    <a:pt x="762" y="98"/>
                  </a:lnTo>
                  <a:lnTo>
                    <a:pt x="758" y="98"/>
                  </a:lnTo>
                  <a:lnTo>
                    <a:pt x="762" y="104"/>
                  </a:lnTo>
                  <a:lnTo>
                    <a:pt x="764" y="105"/>
                  </a:lnTo>
                  <a:lnTo>
                    <a:pt x="769" y="107"/>
                  </a:lnTo>
                  <a:lnTo>
                    <a:pt x="773" y="113"/>
                  </a:lnTo>
                  <a:lnTo>
                    <a:pt x="777" y="113"/>
                  </a:lnTo>
                  <a:lnTo>
                    <a:pt x="781" y="119"/>
                  </a:lnTo>
                  <a:lnTo>
                    <a:pt x="781" y="119"/>
                  </a:lnTo>
                  <a:lnTo>
                    <a:pt x="781" y="119"/>
                  </a:lnTo>
                  <a:lnTo>
                    <a:pt x="781" y="119"/>
                  </a:lnTo>
                  <a:close/>
                  <a:moveTo>
                    <a:pt x="1496" y="77"/>
                  </a:moveTo>
                  <a:lnTo>
                    <a:pt x="1498" y="85"/>
                  </a:lnTo>
                  <a:lnTo>
                    <a:pt x="1504" y="94"/>
                  </a:lnTo>
                  <a:lnTo>
                    <a:pt x="1505" y="98"/>
                  </a:lnTo>
                  <a:lnTo>
                    <a:pt x="1517" y="100"/>
                  </a:lnTo>
                  <a:lnTo>
                    <a:pt x="1528" y="102"/>
                  </a:lnTo>
                  <a:lnTo>
                    <a:pt x="1536" y="105"/>
                  </a:lnTo>
                  <a:lnTo>
                    <a:pt x="1539" y="105"/>
                  </a:lnTo>
                  <a:lnTo>
                    <a:pt x="1545" y="104"/>
                  </a:lnTo>
                  <a:lnTo>
                    <a:pt x="1551" y="105"/>
                  </a:lnTo>
                  <a:lnTo>
                    <a:pt x="1554" y="104"/>
                  </a:lnTo>
                  <a:lnTo>
                    <a:pt x="1560" y="100"/>
                  </a:lnTo>
                  <a:lnTo>
                    <a:pt x="1564" y="94"/>
                  </a:lnTo>
                  <a:lnTo>
                    <a:pt x="1566" y="92"/>
                  </a:lnTo>
                  <a:lnTo>
                    <a:pt x="1564" y="85"/>
                  </a:lnTo>
                  <a:lnTo>
                    <a:pt x="1560" y="85"/>
                  </a:lnTo>
                  <a:lnTo>
                    <a:pt x="1558" y="85"/>
                  </a:lnTo>
                  <a:lnTo>
                    <a:pt x="1558" y="83"/>
                  </a:lnTo>
                  <a:lnTo>
                    <a:pt x="1558" y="79"/>
                  </a:lnTo>
                  <a:lnTo>
                    <a:pt x="1556" y="77"/>
                  </a:lnTo>
                  <a:lnTo>
                    <a:pt x="1553" y="79"/>
                  </a:lnTo>
                  <a:lnTo>
                    <a:pt x="1549" y="77"/>
                  </a:lnTo>
                  <a:lnTo>
                    <a:pt x="1539" y="79"/>
                  </a:lnTo>
                  <a:lnTo>
                    <a:pt x="1534" y="85"/>
                  </a:lnTo>
                  <a:lnTo>
                    <a:pt x="1528" y="85"/>
                  </a:lnTo>
                  <a:lnTo>
                    <a:pt x="1528" y="83"/>
                  </a:lnTo>
                  <a:lnTo>
                    <a:pt x="1526" y="79"/>
                  </a:lnTo>
                  <a:lnTo>
                    <a:pt x="1524" y="79"/>
                  </a:lnTo>
                  <a:lnTo>
                    <a:pt x="1519" y="81"/>
                  </a:lnTo>
                  <a:lnTo>
                    <a:pt x="1515" y="81"/>
                  </a:lnTo>
                  <a:lnTo>
                    <a:pt x="1511" y="79"/>
                  </a:lnTo>
                  <a:lnTo>
                    <a:pt x="1511" y="83"/>
                  </a:lnTo>
                  <a:lnTo>
                    <a:pt x="1509" y="85"/>
                  </a:lnTo>
                  <a:lnTo>
                    <a:pt x="1502" y="83"/>
                  </a:lnTo>
                  <a:lnTo>
                    <a:pt x="1500" y="81"/>
                  </a:lnTo>
                  <a:lnTo>
                    <a:pt x="1498" y="79"/>
                  </a:lnTo>
                  <a:lnTo>
                    <a:pt x="1496" y="77"/>
                  </a:lnTo>
                  <a:lnTo>
                    <a:pt x="1496" y="77"/>
                  </a:lnTo>
                  <a:lnTo>
                    <a:pt x="1496" y="77"/>
                  </a:lnTo>
                  <a:lnTo>
                    <a:pt x="1496" y="77"/>
                  </a:lnTo>
                  <a:close/>
                  <a:moveTo>
                    <a:pt x="1353" y="141"/>
                  </a:moveTo>
                  <a:lnTo>
                    <a:pt x="1349" y="132"/>
                  </a:lnTo>
                  <a:lnTo>
                    <a:pt x="1347" y="128"/>
                  </a:lnTo>
                  <a:lnTo>
                    <a:pt x="1344" y="124"/>
                  </a:lnTo>
                  <a:lnTo>
                    <a:pt x="1340" y="124"/>
                  </a:lnTo>
                  <a:lnTo>
                    <a:pt x="1336" y="119"/>
                  </a:lnTo>
                  <a:lnTo>
                    <a:pt x="1332" y="119"/>
                  </a:lnTo>
                  <a:lnTo>
                    <a:pt x="1330" y="117"/>
                  </a:lnTo>
                  <a:lnTo>
                    <a:pt x="1330" y="119"/>
                  </a:lnTo>
                  <a:lnTo>
                    <a:pt x="1334" y="124"/>
                  </a:lnTo>
                  <a:lnTo>
                    <a:pt x="1340" y="130"/>
                  </a:lnTo>
                  <a:lnTo>
                    <a:pt x="1344" y="137"/>
                  </a:lnTo>
                  <a:lnTo>
                    <a:pt x="1347" y="147"/>
                  </a:lnTo>
                  <a:lnTo>
                    <a:pt x="1351" y="149"/>
                  </a:lnTo>
                  <a:lnTo>
                    <a:pt x="1353" y="147"/>
                  </a:lnTo>
                  <a:lnTo>
                    <a:pt x="1353" y="141"/>
                  </a:lnTo>
                  <a:lnTo>
                    <a:pt x="1353" y="141"/>
                  </a:lnTo>
                  <a:lnTo>
                    <a:pt x="1353" y="141"/>
                  </a:lnTo>
                  <a:lnTo>
                    <a:pt x="1353" y="141"/>
                  </a:lnTo>
                  <a:close/>
                  <a:moveTo>
                    <a:pt x="1426" y="149"/>
                  </a:moveTo>
                  <a:lnTo>
                    <a:pt x="1423" y="149"/>
                  </a:lnTo>
                  <a:lnTo>
                    <a:pt x="1421" y="149"/>
                  </a:lnTo>
                  <a:lnTo>
                    <a:pt x="1421" y="147"/>
                  </a:lnTo>
                  <a:lnTo>
                    <a:pt x="1423" y="143"/>
                  </a:lnTo>
                  <a:lnTo>
                    <a:pt x="1423" y="145"/>
                  </a:lnTo>
                  <a:lnTo>
                    <a:pt x="1426" y="149"/>
                  </a:lnTo>
                  <a:lnTo>
                    <a:pt x="1430" y="149"/>
                  </a:lnTo>
                  <a:lnTo>
                    <a:pt x="1430" y="153"/>
                  </a:lnTo>
                  <a:lnTo>
                    <a:pt x="1430" y="153"/>
                  </a:lnTo>
                  <a:lnTo>
                    <a:pt x="1432" y="153"/>
                  </a:lnTo>
                  <a:lnTo>
                    <a:pt x="1436" y="149"/>
                  </a:lnTo>
                  <a:lnTo>
                    <a:pt x="1440" y="141"/>
                  </a:lnTo>
                  <a:lnTo>
                    <a:pt x="1445" y="134"/>
                  </a:lnTo>
                  <a:lnTo>
                    <a:pt x="1451" y="134"/>
                  </a:lnTo>
                  <a:lnTo>
                    <a:pt x="1455" y="130"/>
                  </a:lnTo>
                  <a:lnTo>
                    <a:pt x="1457" y="132"/>
                  </a:lnTo>
                  <a:lnTo>
                    <a:pt x="1455" y="134"/>
                  </a:lnTo>
                  <a:lnTo>
                    <a:pt x="1457" y="136"/>
                  </a:lnTo>
                  <a:lnTo>
                    <a:pt x="1460" y="136"/>
                  </a:lnTo>
                  <a:lnTo>
                    <a:pt x="1462" y="136"/>
                  </a:lnTo>
                  <a:lnTo>
                    <a:pt x="1462" y="132"/>
                  </a:lnTo>
                  <a:lnTo>
                    <a:pt x="1468" y="128"/>
                  </a:lnTo>
                  <a:lnTo>
                    <a:pt x="1472" y="124"/>
                  </a:lnTo>
                  <a:lnTo>
                    <a:pt x="1470" y="122"/>
                  </a:lnTo>
                  <a:lnTo>
                    <a:pt x="1464" y="124"/>
                  </a:lnTo>
                  <a:lnTo>
                    <a:pt x="1460" y="128"/>
                  </a:lnTo>
                  <a:lnTo>
                    <a:pt x="1455" y="122"/>
                  </a:lnTo>
                  <a:lnTo>
                    <a:pt x="1447" y="122"/>
                  </a:lnTo>
                  <a:lnTo>
                    <a:pt x="1447" y="119"/>
                  </a:lnTo>
                  <a:lnTo>
                    <a:pt x="1441" y="119"/>
                  </a:lnTo>
                  <a:lnTo>
                    <a:pt x="1441" y="119"/>
                  </a:lnTo>
                  <a:lnTo>
                    <a:pt x="1436" y="113"/>
                  </a:lnTo>
                  <a:lnTo>
                    <a:pt x="1432" y="111"/>
                  </a:lnTo>
                  <a:lnTo>
                    <a:pt x="1430" y="104"/>
                  </a:lnTo>
                  <a:lnTo>
                    <a:pt x="1430" y="100"/>
                  </a:lnTo>
                  <a:lnTo>
                    <a:pt x="1426" y="98"/>
                  </a:lnTo>
                  <a:lnTo>
                    <a:pt x="1426" y="94"/>
                  </a:lnTo>
                  <a:lnTo>
                    <a:pt x="1423" y="92"/>
                  </a:lnTo>
                  <a:lnTo>
                    <a:pt x="1423" y="88"/>
                  </a:lnTo>
                  <a:lnTo>
                    <a:pt x="1423" y="88"/>
                  </a:lnTo>
                  <a:lnTo>
                    <a:pt x="1423" y="85"/>
                  </a:lnTo>
                  <a:lnTo>
                    <a:pt x="1423" y="85"/>
                  </a:lnTo>
                  <a:lnTo>
                    <a:pt x="1426" y="85"/>
                  </a:lnTo>
                  <a:lnTo>
                    <a:pt x="1426" y="81"/>
                  </a:lnTo>
                  <a:lnTo>
                    <a:pt x="1423" y="81"/>
                  </a:lnTo>
                  <a:lnTo>
                    <a:pt x="1421" y="79"/>
                  </a:lnTo>
                  <a:lnTo>
                    <a:pt x="1413" y="79"/>
                  </a:lnTo>
                  <a:lnTo>
                    <a:pt x="1409" y="77"/>
                  </a:lnTo>
                  <a:lnTo>
                    <a:pt x="1406" y="73"/>
                  </a:lnTo>
                  <a:lnTo>
                    <a:pt x="1402" y="73"/>
                  </a:lnTo>
                  <a:lnTo>
                    <a:pt x="1398" y="73"/>
                  </a:lnTo>
                  <a:lnTo>
                    <a:pt x="1398" y="73"/>
                  </a:lnTo>
                  <a:lnTo>
                    <a:pt x="1402" y="79"/>
                  </a:lnTo>
                  <a:lnTo>
                    <a:pt x="1406" y="79"/>
                  </a:lnTo>
                  <a:lnTo>
                    <a:pt x="1408" y="83"/>
                  </a:lnTo>
                  <a:lnTo>
                    <a:pt x="1402" y="83"/>
                  </a:lnTo>
                  <a:lnTo>
                    <a:pt x="1402" y="81"/>
                  </a:lnTo>
                  <a:lnTo>
                    <a:pt x="1398" y="81"/>
                  </a:lnTo>
                  <a:lnTo>
                    <a:pt x="1398" y="85"/>
                  </a:lnTo>
                  <a:lnTo>
                    <a:pt x="1398" y="88"/>
                  </a:lnTo>
                  <a:lnTo>
                    <a:pt x="1398" y="92"/>
                  </a:lnTo>
                  <a:lnTo>
                    <a:pt x="1402" y="98"/>
                  </a:lnTo>
                  <a:lnTo>
                    <a:pt x="1406" y="102"/>
                  </a:lnTo>
                  <a:lnTo>
                    <a:pt x="1408" y="105"/>
                  </a:lnTo>
                  <a:lnTo>
                    <a:pt x="1406" y="107"/>
                  </a:lnTo>
                  <a:lnTo>
                    <a:pt x="1402" y="107"/>
                  </a:lnTo>
                  <a:lnTo>
                    <a:pt x="1398" y="102"/>
                  </a:lnTo>
                  <a:lnTo>
                    <a:pt x="1396" y="98"/>
                  </a:lnTo>
                  <a:lnTo>
                    <a:pt x="1394" y="94"/>
                  </a:lnTo>
                  <a:lnTo>
                    <a:pt x="1389" y="98"/>
                  </a:lnTo>
                  <a:lnTo>
                    <a:pt x="1387" y="98"/>
                  </a:lnTo>
                  <a:lnTo>
                    <a:pt x="1387" y="98"/>
                  </a:lnTo>
                  <a:lnTo>
                    <a:pt x="1383" y="98"/>
                  </a:lnTo>
                  <a:lnTo>
                    <a:pt x="1381" y="92"/>
                  </a:lnTo>
                  <a:lnTo>
                    <a:pt x="1381" y="88"/>
                  </a:lnTo>
                  <a:lnTo>
                    <a:pt x="1377" y="88"/>
                  </a:lnTo>
                  <a:lnTo>
                    <a:pt x="1374" y="85"/>
                  </a:lnTo>
                  <a:lnTo>
                    <a:pt x="1368" y="85"/>
                  </a:lnTo>
                  <a:lnTo>
                    <a:pt x="1366" y="83"/>
                  </a:lnTo>
                  <a:lnTo>
                    <a:pt x="1364" y="81"/>
                  </a:lnTo>
                  <a:lnTo>
                    <a:pt x="1361" y="81"/>
                  </a:lnTo>
                  <a:lnTo>
                    <a:pt x="1357" y="85"/>
                  </a:lnTo>
                  <a:lnTo>
                    <a:pt x="1359" y="88"/>
                  </a:lnTo>
                  <a:lnTo>
                    <a:pt x="1357" y="88"/>
                  </a:lnTo>
                  <a:lnTo>
                    <a:pt x="1357" y="94"/>
                  </a:lnTo>
                  <a:lnTo>
                    <a:pt x="1355" y="100"/>
                  </a:lnTo>
                  <a:lnTo>
                    <a:pt x="1351" y="104"/>
                  </a:lnTo>
                  <a:lnTo>
                    <a:pt x="1351" y="105"/>
                  </a:lnTo>
                  <a:lnTo>
                    <a:pt x="1355" y="113"/>
                  </a:lnTo>
                  <a:lnTo>
                    <a:pt x="1359" y="113"/>
                  </a:lnTo>
                  <a:lnTo>
                    <a:pt x="1361" y="115"/>
                  </a:lnTo>
                  <a:lnTo>
                    <a:pt x="1359" y="117"/>
                  </a:lnTo>
                  <a:lnTo>
                    <a:pt x="1357" y="117"/>
                  </a:lnTo>
                  <a:lnTo>
                    <a:pt x="1357" y="119"/>
                  </a:lnTo>
                  <a:lnTo>
                    <a:pt x="1361" y="119"/>
                  </a:lnTo>
                  <a:lnTo>
                    <a:pt x="1362" y="122"/>
                  </a:lnTo>
                  <a:lnTo>
                    <a:pt x="1362" y="128"/>
                  </a:lnTo>
                  <a:lnTo>
                    <a:pt x="1364" y="128"/>
                  </a:lnTo>
                  <a:lnTo>
                    <a:pt x="1368" y="130"/>
                  </a:lnTo>
                  <a:lnTo>
                    <a:pt x="1368" y="132"/>
                  </a:lnTo>
                  <a:lnTo>
                    <a:pt x="1368" y="134"/>
                  </a:lnTo>
                  <a:lnTo>
                    <a:pt x="1372" y="136"/>
                  </a:lnTo>
                  <a:lnTo>
                    <a:pt x="1372" y="134"/>
                  </a:lnTo>
                  <a:lnTo>
                    <a:pt x="1374" y="134"/>
                  </a:lnTo>
                  <a:lnTo>
                    <a:pt x="1377" y="136"/>
                  </a:lnTo>
                  <a:lnTo>
                    <a:pt x="1372" y="137"/>
                  </a:lnTo>
                  <a:lnTo>
                    <a:pt x="1372" y="137"/>
                  </a:lnTo>
                  <a:lnTo>
                    <a:pt x="1368" y="137"/>
                  </a:lnTo>
                  <a:lnTo>
                    <a:pt x="1368" y="139"/>
                  </a:lnTo>
                  <a:lnTo>
                    <a:pt x="1368" y="143"/>
                  </a:lnTo>
                  <a:lnTo>
                    <a:pt x="1381" y="149"/>
                  </a:lnTo>
                  <a:lnTo>
                    <a:pt x="1387" y="153"/>
                  </a:lnTo>
                  <a:lnTo>
                    <a:pt x="1393" y="153"/>
                  </a:lnTo>
                  <a:lnTo>
                    <a:pt x="1396" y="154"/>
                  </a:lnTo>
                  <a:lnTo>
                    <a:pt x="1398" y="156"/>
                  </a:lnTo>
                  <a:lnTo>
                    <a:pt x="1398" y="162"/>
                  </a:lnTo>
                  <a:lnTo>
                    <a:pt x="1402" y="164"/>
                  </a:lnTo>
                  <a:lnTo>
                    <a:pt x="1408" y="164"/>
                  </a:lnTo>
                  <a:lnTo>
                    <a:pt x="1413" y="162"/>
                  </a:lnTo>
                  <a:lnTo>
                    <a:pt x="1419" y="162"/>
                  </a:lnTo>
                  <a:lnTo>
                    <a:pt x="1423" y="164"/>
                  </a:lnTo>
                  <a:lnTo>
                    <a:pt x="1426" y="164"/>
                  </a:lnTo>
                  <a:lnTo>
                    <a:pt x="1426" y="162"/>
                  </a:lnTo>
                  <a:lnTo>
                    <a:pt x="1426" y="156"/>
                  </a:lnTo>
                  <a:lnTo>
                    <a:pt x="1426" y="153"/>
                  </a:lnTo>
                  <a:lnTo>
                    <a:pt x="1426" y="149"/>
                  </a:lnTo>
                  <a:lnTo>
                    <a:pt x="1426" y="149"/>
                  </a:lnTo>
                  <a:lnTo>
                    <a:pt x="1426" y="149"/>
                  </a:lnTo>
                  <a:lnTo>
                    <a:pt x="1426" y="149"/>
                  </a:lnTo>
                  <a:close/>
                  <a:moveTo>
                    <a:pt x="1426" y="77"/>
                  </a:moveTo>
                  <a:lnTo>
                    <a:pt x="1432" y="77"/>
                  </a:lnTo>
                  <a:lnTo>
                    <a:pt x="1438" y="77"/>
                  </a:lnTo>
                  <a:lnTo>
                    <a:pt x="1441" y="77"/>
                  </a:lnTo>
                  <a:lnTo>
                    <a:pt x="1453" y="83"/>
                  </a:lnTo>
                  <a:lnTo>
                    <a:pt x="1457" y="83"/>
                  </a:lnTo>
                  <a:lnTo>
                    <a:pt x="1460" y="83"/>
                  </a:lnTo>
                  <a:lnTo>
                    <a:pt x="1468" y="83"/>
                  </a:lnTo>
                  <a:lnTo>
                    <a:pt x="1477" y="85"/>
                  </a:lnTo>
                  <a:lnTo>
                    <a:pt x="1477" y="88"/>
                  </a:lnTo>
                  <a:lnTo>
                    <a:pt x="1473" y="88"/>
                  </a:lnTo>
                  <a:lnTo>
                    <a:pt x="1470" y="92"/>
                  </a:lnTo>
                  <a:lnTo>
                    <a:pt x="1470" y="94"/>
                  </a:lnTo>
                  <a:lnTo>
                    <a:pt x="1475" y="100"/>
                  </a:lnTo>
                  <a:lnTo>
                    <a:pt x="1479" y="100"/>
                  </a:lnTo>
                  <a:lnTo>
                    <a:pt x="1479" y="105"/>
                  </a:lnTo>
                  <a:lnTo>
                    <a:pt x="1481" y="107"/>
                  </a:lnTo>
                  <a:lnTo>
                    <a:pt x="1477" y="111"/>
                  </a:lnTo>
                  <a:lnTo>
                    <a:pt x="1477" y="117"/>
                  </a:lnTo>
                  <a:lnTo>
                    <a:pt x="1473" y="119"/>
                  </a:lnTo>
                  <a:lnTo>
                    <a:pt x="1472" y="122"/>
                  </a:lnTo>
                  <a:lnTo>
                    <a:pt x="1468" y="119"/>
                  </a:lnTo>
                  <a:lnTo>
                    <a:pt x="1466" y="119"/>
                  </a:lnTo>
                  <a:lnTo>
                    <a:pt x="1462" y="122"/>
                  </a:lnTo>
                  <a:lnTo>
                    <a:pt x="1460" y="122"/>
                  </a:lnTo>
                  <a:lnTo>
                    <a:pt x="1451" y="119"/>
                  </a:lnTo>
                  <a:lnTo>
                    <a:pt x="1447" y="115"/>
                  </a:lnTo>
                  <a:lnTo>
                    <a:pt x="1438" y="107"/>
                  </a:lnTo>
                  <a:lnTo>
                    <a:pt x="1436" y="102"/>
                  </a:lnTo>
                  <a:lnTo>
                    <a:pt x="1438" y="98"/>
                  </a:lnTo>
                  <a:lnTo>
                    <a:pt x="1438" y="94"/>
                  </a:lnTo>
                  <a:lnTo>
                    <a:pt x="1440" y="94"/>
                  </a:lnTo>
                  <a:lnTo>
                    <a:pt x="1438" y="88"/>
                  </a:lnTo>
                  <a:lnTo>
                    <a:pt x="1436" y="88"/>
                  </a:lnTo>
                  <a:lnTo>
                    <a:pt x="1436" y="85"/>
                  </a:lnTo>
                  <a:lnTo>
                    <a:pt x="1432" y="85"/>
                  </a:lnTo>
                  <a:lnTo>
                    <a:pt x="1430" y="81"/>
                  </a:lnTo>
                  <a:lnTo>
                    <a:pt x="1426" y="77"/>
                  </a:lnTo>
                  <a:lnTo>
                    <a:pt x="1426" y="77"/>
                  </a:lnTo>
                  <a:lnTo>
                    <a:pt x="1426" y="77"/>
                  </a:lnTo>
                  <a:lnTo>
                    <a:pt x="1426" y="77"/>
                  </a:lnTo>
                  <a:close/>
                  <a:moveTo>
                    <a:pt x="813" y="173"/>
                  </a:moveTo>
                  <a:lnTo>
                    <a:pt x="813" y="173"/>
                  </a:lnTo>
                  <a:lnTo>
                    <a:pt x="817" y="171"/>
                  </a:lnTo>
                  <a:lnTo>
                    <a:pt x="820" y="168"/>
                  </a:lnTo>
                  <a:lnTo>
                    <a:pt x="826" y="162"/>
                  </a:lnTo>
                  <a:lnTo>
                    <a:pt x="828" y="162"/>
                  </a:lnTo>
                  <a:lnTo>
                    <a:pt x="826" y="156"/>
                  </a:lnTo>
                  <a:lnTo>
                    <a:pt x="828" y="154"/>
                  </a:lnTo>
                  <a:lnTo>
                    <a:pt x="835" y="149"/>
                  </a:lnTo>
                  <a:lnTo>
                    <a:pt x="837" y="149"/>
                  </a:lnTo>
                  <a:lnTo>
                    <a:pt x="841" y="149"/>
                  </a:lnTo>
                  <a:lnTo>
                    <a:pt x="843" y="149"/>
                  </a:lnTo>
                  <a:lnTo>
                    <a:pt x="847" y="147"/>
                  </a:lnTo>
                  <a:lnTo>
                    <a:pt x="847" y="143"/>
                  </a:lnTo>
                  <a:lnTo>
                    <a:pt x="850" y="143"/>
                  </a:lnTo>
                  <a:lnTo>
                    <a:pt x="856" y="137"/>
                  </a:lnTo>
                  <a:lnTo>
                    <a:pt x="858" y="134"/>
                  </a:lnTo>
                  <a:lnTo>
                    <a:pt x="860" y="132"/>
                  </a:lnTo>
                  <a:lnTo>
                    <a:pt x="864" y="124"/>
                  </a:lnTo>
                  <a:lnTo>
                    <a:pt x="862" y="122"/>
                  </a:lnTo>
                  <a:lnTo>
                    <a:pt x="858" y="117"/>
                  </a:lnTo>
                  <a:lnTo>
                    <a:pt x="856" y="111"/>
                  </a:lnTo>
                  <a:lnTo>
                    <a:pt x="854" y="107"/>
                  </a:lnTo>
                  <a:lnTo>
                    <a:pt x="850" y="104"/>
                  </a:lnTo>
                  <a:lnTo>
                    <a:pt x="847" y="104"/>
                  </a:lnTo>
                  <a:lnTo>
                    <a:pt x="843" y="104"/>
                  </a:lnTo>
                  <a:lnTo>
                    <a:pt x="841" y="102"/>
                  </a:lnTo>
                  <a:lnTo>
                    <a:pt x="837" y="102"/>
                  </a:lnTo>
                  <a:lnTo>
                    <a:pt x="832" y="98"/>
                  </a:lnTo>
                  <a:lnTo>
                    <a:pt x="830" y="98"/>
                  </a:lnTo>
                  <a:lnTo>
                    <a:pt x="830" y="98"/>
                  </a:lnTo>
                  <a:lnTo>
                    <a:pt x="826" y="98"/>
                  </a:lnTo>
                  <a:lnTo>
                    <a:pt x="826" y="94"/>
                  </a:lnTo>
                  <a:lnTo>
                    <a:pt x="822" y="92"/>
                  </a:lnTo>
                  <a:lnTo>
                    <a:pt x="820" y="92"/>
                  </a:lnTo>
                  <a:lnTo>
                    <a:pt x="818" y="94"/>
                  </a:lnTo>
                  <a:lnTo>
                    <a:pt x="817" y="94"/>
                  </a:lnTo>
                  <a:lnTo>
                    <a:pt x="813" y="88"/>
                  </a:lnTo>
                  <a:lnTo>
                    <a:pt x="813" y="88"/>
                  </a:lnTo>
                  <a:lnTo>
                    <a:pt x="813" y="88"/>
                  </a:lnTo>
                  <a:lnTo>
                    <a:pt x="817" y="94"/>
                  </a:lnTo>
                  <a:lnTo>
                    <a:pt x="817" y="94"/>
                  </a:lnTo>
                  <a:lnTo>
                    <a:pt x="813" y="98"/>
                  </a:lnTo>
                  <a:lnTo>
                    <a:pt x="813" y="100"/>
                  </a:lnTo>
                  <a:lnTo>
                    <a:pt x="811" y="100"/>
                  </a:lnTo>
                  <a:lnTo>
                    <a:pt x="811" y="98"/>
                  </a:lnTo>
                  <a:lnTo>
                    <a:pt x="809" y="85"/>
                  </a:lnTo>
                  <a:lnTo>
                    <a:pt x="805" y="85"/>
                  </a:lnTo>
                  <a:lnTo>
                    <a:pt x="801" y="85"/>
                  </a:lnTo>
                  <a:lnTo>
                    <a:pt x="796" y="81"/>
                  </a:lnTo>
                  <a:lnTo>
                    <a:pt x="794" y="81"/>
                  </a:lnTo>
                  <a:lnTo>
                    <a:pt x="792" y="85"/>
                  </a:lnTo>
                  <a:lnTo>
                    <a:pt x="792" y="88"/>
                  </a:lnTo>
                  <a:lnTo>
                    <a:pt x="796" y="88"/>
                  </a:lnTo>
                  <a:lnTo>
                    <a:pt x="800" y="94"/>
                  </a:lnTo>
                  <a:lnTo>
                    <a:pt x="798" y="94"/>
                  </a:lnTo>
                  <a:lnTo>
                    <a:pt x="794" y="94"/>
                  </a:lnTo>
                  <a:lnTo>
                    <a:pt x="792" y="94"/>
                  </a:lnTo>
                  <a:lnTo>
                    <a:pt x="792" y="92"/>
                  </a:lnTo>
                  <a:lnTo>
                    <a:pt x="788" y="92"/>
                  </a:lnTo>
                  <a:lnTo>
                    <a:pt x="792" y="94"/>
                  </a:lnTo>
                  <a:lnTo>
                    <a:pt x="792" y="98"/>
                  </a:lnTo>
                  <a:lnTo>
                    <a:pt x="792" y="98"/>
                  </a:lnTo>
                  <a:lnTo>
                    <a:pt x="792" y="102"/>
                  </a:lnTo>
                  <a:lnTo>
                    <a:pt x="792" y="104"/>
                  </a:lnTo>
                  <a:lnTo>
                    <a:pt x="794" y="104"/>
                  </a:lnTo>
                  <a:lnTo>
                    <a:pt x="796" y="105"/>
                  </a:lnTo>
                  <a:lnTo>
                    <a:pt x="796" y="109"/>
                  </a:lnTo>
                  <a:lnTo>
                    <a:pt x="800" y="119"/>
                  </a:lnTo>
                  <a:lnTo>
                    <a:pt x="803" y="122"/>
                  </a:lnTo>
                  <a:lnTo>
                    <a:pt x="805" y="122"/>
                  </a:lnTo>
                  <a:lnTo>
                    <a:pt x="803" y="122"/>
                  </a:lnTo>
                  <a:lnTo>
                    <a:pt x="800" y="124"/>
                  </a:lnTo>
                  <a:lnTo>
                    <a:pt x="798" y="130"/>
                  </a:lnTo>
                  <a:lnTo>
                    <a:pt x="801" y="137"/>
                  </a:lnTo>
                  <a:lnTo>
                    <a:pt x="803" y="143"/>
                  </a:lnTo>
                  <a:lnTo>
                    <a:pt x="803" y="147"/>
                  </a:lnTo>
                  <a:lnTo>
                    <a:pt x="805" y="149"/>
                  </a:lnTo>
                  <a:lnTo>
                    <a:pt x="805" y="153"/>
                  </a:lnTo>
                  <a:lnTo>
                    <a:pt x="803" y="153"/>
                  </a:lnTo>
                  <a:lnTo>
                    <a:pt x="807" y="158"/>
                  </a:lnTo>
                  <a:lnTo>
                    <a:pt x="809" y="164"/>
                  </a:lnTo>
                  <a:lnTo>
                    <a:pt x="813" y="168"/>
                  </a:lnTo>
                  <a:lnTo>
                    <a:pt x="811" y="171"/>
                  </a:lnTo>
                  <a:lnTo>
                    <a:pt x="813" y="173"/>
                  </a:lnTo>
                  <a:lnTo>
                    <a:pt x="813" y="173"/>
                  </a:lnTo>
                  <a:lnTo>
                    <a:pt x="813" y="173"/>
                  </a:lnTo>
                  <a:lnTo>
                    <a:pt x="813" y="173"/>
                  </a:lnTo>
                  <a:close/>
                  <a:moveTo>
                    <a:pt x="884" y="132"/>
                  </a:moveTo>
                  <a:lnTo>
                    <a:pt x="888" y="130"/>
                  </a:lnTo>
                  <a:lnTo>
                    <a:pt x="888" y="128"/>
                  </a:lnTo>
                  <a:lnTo>
                    <a:pt x="886" y="128"/>
                  </a:lnTo>
                  <a:lnTo>
                    <a:pt x="888" y="124"/>
                  </a:lnTo>
                  <a:lnTo>
                    <a:pt x="890" y="124"/>
                  </a:lnTo>
                  <a:lnTo>
                    <a:pt x="888" y="122"/>
                  </a:lnTo>
                  <a:lnTo>
                    <a:pt x="886" y="122"/>
                  </a:lnTo>
                  <a:lnTo>
                    <a:pt x="882" y="128"/>
                  </a:lnTo>
                  <a:lnTo>
                    <a:pt x="884" y="128"/>
                  </a:lnTo>
                  <a:lnTo>
                    <a:pt x="881" y="128"/>
                  </a:lnTo>
                  <a:lnTo>
                    <a:pt x="881" y="132"/>
                  </a:lnTo>
                  <a:lnTo>
                    <a:pt x="882" y="134"/>
                  </a:lnTo>
                  <a:lnTo>
                    <a:pt x="884" y="132"/>
                  </a:lnTo>
                  <a:lnTo>
                    <a:pt x="884" y="132"/>
                  </a:lnTo>
                  <a:lnTo>
                    <a:pt x="884" y="132"/>
                  </a:lnTo>
                  <a:lnTo>
                    <a:pt x="884" y="132"/>
                  </a:lnTo>
                  <a:close/>
                  <a:moveTo>
                    <a:pt x="890" y="132"/>
                  </a:moveTo>
                  <a:lnTo>
                    <a:pt x="892" y="130"/>
                  </a:lnTo>
                  <a:lnTo>
                    <a:pt x="896" y="130"/>
                  </a:lnTo>
                  <a:lnTo>
                    <a:pt x="899" y="128"/>
                  </a:lnTo>
                  <a:lnTo>
                    <a:pt x="901" y="128"/>
                  </a:lnTo>
                  <a:lnTo>
                    <a:pt x="901" y="128"/>
                  </a:lnTo>
                  <a:lnTo>
                    <a:pt x="905" y="128"/>
                  </a:lnTo>
                  <a:lnTo>
                    <a:pt x="905" y="130"/>
                  </a:lnTo>
                  <a:lnTo>
                    <a:pt x="905" y="134"/>
                  </a:lnTo>
                  <a:lnTo>
                    <a:pt x="901" y="132"/>
                  </a:lnTo>
                  <a:lnTo>
                    <a:pt x="901" y="134"/>
                  </a:lnTo>
                  <a:lnTo>
                    <a:pt x="896" y="136"/>
                  </a:lnTo>
                  <a:lnTo>
                    <a:pt x="890" y="136"/>
                  </a:lnTo>
                  <a:lnTo>
                    <a:pt x="890" y="132"/>
                  </a:lnTo>
                  <a:lnTo>
                    <a:pt x="890" y="132"/>
                  </a:lnTo>
                  <a:lnTo>
                    <a:pt x="890" y="132"/>
                  </a:lnTo>
                  <a:lnTo>
                    <a:pt x="890" y="132"/>
                  </a:lnTo>
                  <a:close/>
                  <a:moveTo>
                    <a:pt x="926" y="168"/>
                  </a:moveTo>
                  <a:lnTo>
                    <a:pt x="926" y="171"/>
                  </a:lnTo>
                  <a:lnTo>
                    <a:pt x="929" y="173"/>
                  </a:lnTo>
                  <a:lnTo>
                    <a:pt x="929" y="177"/>
                  </a:lnTo>
                  <a:lnTo>
                    <a:pt x="929" y="179"/>
                  </a:lnTo>
                  <a:lnTo>
                    <a:pt x="933" y="177"/>
                  </a:lnTo>
                  <a:lnTo>
                    <a:pt x="933" y="173"/>
                  </a:lnTo>
                  <a:lnTo>
                    <a:pt x="931" y="168"/>
                  </a:lnTo>
                  <a:lnTo>
                    <a:pt x="929" y="168"/>
                  </a:lnTo>
                  <a:lnTo>
                    <a:pt x="926" y="168"/>
                  </a:lnTo>
                  <a:lnTo>
                    <a:pt x="926" y="168"/>
                  </a:lnTo>
                  <a:lnTo>
                    <a:pt x="926" y="168"/>
                  </a:lnTo>
                  <a:lnTo>
                    <a:pt x="926" y="168"/>
                  </a:lnTo>
                  <a:close/>
                  <a:moveTo>
                    <a:pt x="1270" y="281"/>
                  </a:moveTo>
                  <a:lnTo>
                    <a:pt x="1272" y="281"/>
                  </a:lnTo>
                  <a:lnTo>
                    <a:pt x="1272" y="277"/>
                  </a:lnTo>
                  <a:lnTo>
                    <a:pt x="1272" y="271"/>
                  </a:lnTo>
                  <a:lnTo>
                    <a:pt x="1268" y="273"/>
                  </a:lnTo>
                  <a:lnTo>
                    <a:pt x="1268" y="277"/>
                  </a:lnTo>
                  <a:lnTo>
                    <a:pt x="1268" y="281"/>
                  </a:lnTo>
                  <a:lnTo>
                    <a:pt x="1268" y="281"/>
                  </a:lnTo>
                  <a:lnTo>
                    <a:pt x="1270" y="281"/>
                  </a:lnTo>
                  <a:lnTo>
                    <a:pt x="1270" y="281"/>
                  </a:lnTo>
                  <a:lnTo>
                    <a:pt x="1270" y="281"/>
                  </a:lnTo>
                  <a:lnTo>
                    <a:pt x="1270" y="281"/>
                  </a:lnTo>
                  <a:close/>
                  <a:moveTo>
                    <a:pt x="1225" y="331"/>
                  </a:moveTo>
                  <a:lnTo>
                    <a:pt x="1231" y="331"/>
                  </a:lnTo>
                  <a:lnTo>
                    <a:pt x="1231" y="331"/>
                  </a:lnTo>
                  <a:lnTo>
                    <a:pt x="1231" y="331"/>
                  </a:lnTo>
                  <a:lnTo>
                    <a:pt x="1231" y="330"/>
                  </a:lnTo>
                  <a:lnTo>
                    <a:pt x="1231" y="328"/>
                  </a:lnTo>
                  <a:lnTo>
                    <a:pt x="1227" y="324"/>
                  </a:lnTo>
                  <a:lnTo>
                    <a:pt x="1223" y="324"/>
                  </a:lnTo>
                  <a:lnTo>
                    <a:pt x="1221" y="326"/>
                  </a:lnTo>
                  <a:lnTo>
                    <a:pt x="1223" y="328"/>
                  </a:lnTo>
                  <a:lnTo>
                    <a:pt x="1225" y="330"/>
                  </a:lnTo>
                  <a:lnTo>
                    <a:pt x="1225" y="330"/>
                  </a:lnTo>
                  <a:lnTo>
                    <a:pt x="1225" y="331"/>
                  </a:lnTo>
                  <a:lnTo>
                    <a:pt x="1225" y="331"/>
                  </a:lnTo>
                  <a:lnTo>
                    <a:pt x="1225" y="331"/>
                  </a:lnTo>
                  <a:lnTo>
                    <a:pt x="1225" y="331"/>
                  </a:lnTo>
                  <a:close/>
                  <a:moveTo>
                    <a:pt x="1097" y="311"/>
                  </a:moveTo>
                  <a:lnTo>
                    <a:pt x="1101" y="311"/>
                  </a:lnTo>
                  <a:lnTo>
                    <a:pt x="1103" y="311"/>
                  </a:lnTo>
                  <a:lnTo>
                    <a:pt x="1105" y="311"/>
                  </a:lnTo>
                  <a:lnTo>
                    <a:pt x="1106" y="305"/>
                  </a:lnTo>
                  <a:lnTo>
                    <a:pt x="1108" y="305"/>
                  </a:lnTo>
                  <a:lnTo>
                    <a:pt x="1108" y="301"/>
                  </a:lnTo>
                  <a:lnTo>
                    <a:pt x="1106" y="301"/>
                  </a:lnTo>
                  <a:lnTo>
                    <a:pt x="1105" y="294"/>
                  </a:lnTo>
                  <a:lnTo>
                    <a:pt x="1103" y="292"/>
                  </a:lnTo>
                  <a:lnTo>
                    <a:pt x="1101" y="288"/>
                  </a:lnTo>
                  <a:lnTo>
                    <a:pt x="1101" y="286"/>
                  </a:lnTo>
                  <a:lnTo>
                    <a:pt x="1099" y="284"/>
                  </a:lnTo>
                  <a:lnTo>
                    <a:pt x="1093" y="286"/>
                  </a:lnTo>
                  <a:lnTo>
                    <a:pt x="1086" y="292"/>
                  </a:lnTo>
                  <a:lnTo>
                    <a:pt x="1082" y="292"/>
                  </a:lnTo>
                  <a:lnTo>
                    <a:pt x="1082" y="294"/>
                  </a:lnTo>
                  <a:lnTo>
                    <a:pt x="1082" y="298"/>
                  </a:lnTo>
                  <a:lnTo>
                    <a:pt x="1086" y="299"/>
                  </a:lnTo>
                  <a:lnTo>
                    <a:pt x="1086" y="301"/>
                  </a:lnTo>
                  <a:lnTo>
                    <a:pt x="1084" y="305"/>
                  </a:lnTo>
                  <a:lnTo>
                    <a:pt x="1080" y="301"/>
                  </a:lnTo>
                  <a:lnTo>
                    <a:pt x="1080" y="305"/>
                  </a:lnTo>
                  <a:lnTo>
                    <a:pt x="1082" y="305"/>
                  </a:lnTo>
                  <a:lnTo>
                    <a:pt x="1088" y="305"/>
                  </a:lnTo>
                  <a:lnTo>
                    <a:pt x="1097" y="311"/>
                  </a:lnTo>
                  <a:lnTo>
                    <a:pt x="1097" y="311"/>
                  </a:lnTo>
                  <a:lnTo>
                    <a:pt x="1097" y="311"/>
                  </a:lnTo>
                  <a:lnTo>
                    <a:pt x="1097" y="311"/>
                  </a:lnTo>
                  <a:close/>
                  <a:moveTo>
                    <a:pt x="1472" y="196"/>
                  </a:moveTo>
                  <a:lnTo>
                    <a:pt x="1473" y="194"/>
                  </a:lnTo>
                  <a:lnTo>
                    <a:pt x="1473" y="194"/>
                  </a:lnTo>
                  <a:lnTo>
                    <a:pt x="1475" y="190"/>
                  </a:lnTo>
                  <a:lnTo>
                    <a:pt x="1477" y="186"/>
                  </a:lnTo>
                  <a:lnTo>
                    <a:pt x="1475" y="183"/>
                  </a:lnTo>
                  <a:lnTo>
                    <a:pt x="1472" y="179"/>
                  </a:lnTo>
                  <a:lnTo>
                    <a:pt x="1470" y="173"/>
                  </a:lnTo>
                  <a:lnTo>
                    <a:pt x="1466" y="173"/>
                  </a:lnTo>
                  <a:lnTo>
                    <a:pt x="1462" y="173"/>
                  </a:lnTo>
                  <a:lnTo>
                    <a:pt x="1460" y="179"/>
                  </a:lnTo>
                  <a:lnTo>
                    <a:pt x="1460" y="179"/>
                  </a:lnTo>
                  <a:lnTo>
                    <a:pt x="1460" y="186"/>
                  </a:lnTo>
                  <a:lnTo>
                    <a:pt x="1460" y="186"/>
                  </a:lnTo>
                  <a:lnTo>
                    <a:pt x="1462" y="188"/>
                  </a:lnTo>
                  <a:lnTo>
                    <a:pt x="1466" y="190"/>
                  </a:lnTo>
                  <a:lnTo>
                    <a:pt x="1468" y="194"/>
                  </a:lnTo>
                  <a:lnTo>
                    <a:pt x="1472" y="196"/>
                  </a:lnTo>
                  <a:lnTo>
                    <a:pt x="1472" y="196"/>
                  </a:lnTo>
                  <a:lnTo>
                    <a:pt x="1472" y="196"/>
                  </a:lnTo>
                  <a:lnTo>
                    <a:pt x="1472" y="196"/>
                  </a:lnTo>
                  <a:close/>
                  <a:moveTo>
                    <a:pt x="1481" y="224"/>
                  </a:moveTo>
                  <a:lnTo>
                    <a:pt x="1485" y="222"/>
                  </a:lnTo>
                  <a:lnTo>
                    <a:pt x="1487" y="218"/>
                  </a:lnTo>
                  <a:lnTo>
                    <a:pt x="1494" y="217"/>
                  </a:lnTo>
                  <a:lnTo>
                    <a:pt x="1500" y="217"/>
                  </a:lnTo>
                  <a:lnTo>
                    <a:pt x="1505" y="217"/>
                  </a:lnTo>
                  <a:lnTo>
                    <a:pt x="1511" y="217"/>
                  </a:lnTo>
                  <a:lnTo>
                    <a:pt x="1521" y="217"/>
                  </a:lnTo>
                  <a:lnTo>
                    <a:pt x="1524" y="213"/>
                  </a:lnTo>
                  <a:lnTo>
                    <a:pt x="1530" y="213"/>
                  </a:lnTo>
                  <a:lnTo>
                    <a:pt x="1534" y="213"/>
                  </a:lnTo>
                  <a:lnTo>
                    <a:pt x="1536" y="211"/>
                  </a:lnTo>
                  <a:lnTo>
                    <a:pt x="1534" y="207"/>
                  </a:lnTo>
                  <a:lnTo>
                    <a:pt x="1532" y="205"/>
                  </a:lnTo>
                  <a:lnTo>
                    <a:pt x="1528" y="198"/>
                  </a:lnTo>
                  <a:lnTo>
                    <a:pt x="1519" y="192"/>
                  </a:lnTo>
                  <a:lnTo>
                    <a:pt x="1515" y="192"/>
                  </a:lnTo>
                  <a:lnTo>
                    <a:pt x="1511" y="190"/>
                  </a:lnTo>
                  <a:lnTo>
                    <a:pt x="1505" y="186"/>
                  </a:lnTo>
                  <a:lnTo>
                    <a:pt x="1504" y="186"/>
                  </a:lnTo>
                  <a:lnTo>
                    <a:pt x="1502" y="188"/>
                  </a:lnTo>
                  <a:lnTo>
                    <a:pt x="1496" y="186"/>
                  </a:lnTo>
                  <a:lnTo>
                    <a:pt x="1492" y="186"/>
                  </a:lnTo>
                  <a:lnTo>
                    <a:pt x="1490" y="190"/>
                  </a:lnTo>
                  <a:lnTo>
                    <a:pt x="1485" y="196"/>
                  </a:lnTo>
                  <a:lnTo>
                    <a:pt x="1487" y="201"/>
                  </a:lnTo>
                  <a:lnTo>
                    <a:pt x="1487" y="207"/>
                  </a:lnTo>
                  <a:lnTo>
                    <a:pt x="1485" y="217"/>
                  </a:lnTo>
                  <a:lnTo>
                    <a:pt x="1481" y="220"/>
                  </a:lnTo>
                  <a:lnTo>
                    <a:pt x="1481" y="224"/>
                  </a:lnTo>
                  <a:lnTo>
                    <a:pt x="1481" y="224"/>
                  </a:lnTo>
                  <a:lnTo>
                    <a:pt x="1481" y="224"/>
                  </a:lnTo>
                  <a:lnTo>
                    <a:pt x="1481" y="224"/>
                  </a:lnTo>
                  <a:lnTo>
                    <a:pt x="1481" y="224"/>
                  </a:lnTo>
                  <a:close/>
                  <a:moveTo>
                    <a:pt x="1396" y="205"/>
                  </a:moveTo>
                  <a:lnTo>
                    <a:pt x="1396" y="207"/>
                  </a:lnTo>
                  <a:lnTo>
                    <a:pt x="1398" y="213"/>
                  </a:lnTo>
                  <a:lnTo>
                    <a:pt x="1402" y="213"/>
                  </a:lnTo>
                  <a:lnTo>
                    <a:pt x="1406" y="213"/>
                  </a:lnTo>
                  <a:lnTo>
                    <a:pt x="1409" y="217"/>
                  </a:lnTo>
                  <a:lnTo>
                    <a:pt x="1413" y="218"/>
                  </a:lnTo>
                  <a:lnTo>
                    <a:pt x="1415" y="218"/>
                  </a:lnTo>
                  <a:lnTo>
                    <a:pt x="1417" y="217"/>
                  </a:lnTo>
                  <a:lnTo>
                    <a:pt x="1411" y="211"/>
                  </a:lnTo>
                  <a:lnTo>
                    <a:pt x="1408" y="211"/>
                  </a:lnTo>
                  <a:lnTo>
                    <a:pt x="1402" y="207"/>
                  </a:lnTo>
                  <a:lnTo>
                    <a:pt x="1398" y="205"/>
                  </a:lnTo>
                  <a:lnTo>
                    <a:pt x="1396" y="205"/>
                  </a:lnTo>
                  <a:lnTo>
                    <a:pt x="1396" y="205"/>
                  </a:lnTo>
                  <a:lnTo>
                    <a:pt x="1396" y="205"/>
                  </a:lnTo>
                  <a:lnTo>
                    <a:pt x="1396" y="205"/>
                  </a:lnTo>
                  <a:lnTo>
                    <a:pt x="1396" y="205"/>
                  </a:lnTo>
                  <a:close/>
                  <a:moveTo>
                    <a:pt x="1511" y="324"/>
                  </a:moveTo>
                  <a:lnTo>
                    <a:pt x="1515" y="328"/>
                  </a:lnTo>
                  <a:lnTo>
                    <a:pt x="1519" y="330"/>
                  </a:lnTo>
                  <a:lnTo>
                    <a:pt x="1519" y="328"/>
                  </a:lnTo>
                  <a:lnTo>
                    <a:pt x="1524" y="326"/>
                  </a:lnTo>
                  <a:lnTo>
                    <a:pt x="1524" y="324"/>
                  </a:lnTo>
                  <a:lnTo>
                    <a:pt x="1524" y="320"/>
                  </a:lnTo>
                  <a:lnTo>
                    <a:pt x="1522" y="316"/>
                  </a:lnTo>
                  <a:lnTo>
                    <a:pt x="1521" y="316"/>
                  </a:lnTo>
                  <a:lnTo>
                    <a:pt x="1521" y="320"/>
                  </a:lnTo>
                  <a:lnTo>
                    <a:pt x="1517" y="324"/>
                  </a:lnTo>
                  <a:lnTo>
                    <a:pt x="1517" y="324"/>
                  </a:lnTo>
                  <a:lnTo>
                    <a:pt x="1511" y="324"/>
                  </a:lnTo>
                  <a:lnTo>
                    <a:pt x="1511" y="324"/>
                  </a:lnTo>
                  <a:lnTo>
                    <a:pt x="1511" y="324"/>
                  </a:lnTo>
                  <a:lnTo>
                    <a:pt x="1511" y="324"/>
                  </a:lnTo>
                  <a:close/>
                  <a:moveTo>
                    <a:pt x="1923" y="292"/>
                  </a:moveTo>
                  <a:lnTo>
                    <a:pt x="1927" y="290"/>
                  </a:lnTo>
                  <a:lnTo>
                    <a:pt x="1927" y="288"/>
                  </a:lnTo>
                  <a:lnTo>
                    <a:pt x="1923" y="284"/>
                  </a:lnTo>
                  <a:lnTo>
                    <a:pt x="1923" y="284"/>
                  </a:lnTo>
                  <a:lnTo>
                    <a:pt x="1923" y="286"/>
                  </a:lnTo>
                  <a:lnTo>
                    <a:pt x="1923" y="292"/>
                  </a:lnTo>
                  <a:lnTo>
                    <a:pt x="1923" y="292"/>
                  </a:lnTo>
                  <a:lnTo>
                    <a:pt x="1923" y="292"/>
                  </a:lnTo>
                  <a:lnTo>
                    <a:pt x="1923" y="292"/>
                  </a:lnTo>
                  <a:close/>
                  <a:moveTo>
                    <a:pt x="1921" y="294"/>
                  </a:moveTo>
                  <a:lnTo>
                    <a:pt x="1923" y="296"/>
                  </a:lnTo>
                  <a:lnTo>
                    <a:pt x="1923" y="292"/>
                  </a:lnTo>
                  <a:lnTo>
                    <a:pt x="1921" y="288"/>
                  </a:lnTo>
                  <a:lnTo>
                    <a:pt x="1920" y="288"/>
                  </a:lnTo>
                  <a:lnTo>
                    <a:pt x="1920" y="290"/>
                  </a:lnTo>
                  <a:lnTo>
                    <a:pt x="1921" y="294"/>
                  </a:lnTo>
                  <a:lnTo>
                    <a:pt x="1921" y="294"/>
                  </a:lnTo>
                  <a:lnTo>
                    <a:pt x="1921" y="294"/>
                  </a:lnTo>
                  <a:lnTo>
                    <a:pt x="1921" y="294"/>
                  </a:lnTo>
                  <a:close/>
                  <a:moveTo>
                    <a:pt x="1920" y="296"/>
                  </a:moveTo>
                  <a:lnTo>
                    <a:pt x="1921" y="301"/>
                  </a:lnTo>
                  <a:lnTo>
                    <a:pt x="1923" y="305"/>
                  </a:lnTo>
                  <a:lnTo>
                    <a:pt x="1923" y="301"/>
                  </a:lnTo>
                  <a:lnTo>
                    <a:pt x="1923" y="298"/>
                  </a:lnTo>
                  <a:lnTo>
                    <a:pt x="1920" y="294"/>
                  </a:lnTo>
                  <a:lnTo>
                    <a:pt x="1918" y="294"/>
                  </a:lnTo>
                  <a:lnTo>
                    <a:pt x="1920" y="296"/>
                  </a:lnTo>
                  <a:lnTo>
                    <a:pt x="1920" y="296"/>
                  </a:lnTo>
                  <a:lnTo>
                    <a:pt x="1920" y="296"/>
                  </a:lnTo>
                  <a:lnTo>
                    <a:pt x="1920" y="296"/>
                  </a:lnTo>
                  <a:close/>
                  <a:moveTo>
                    <a:pt x="1908" y="294"/>
                  </a:moveTo>
                  <a:lnTo>
                    <a:pt x="1910" y="298"/>
                  </a:lnTo>
                  <a:lnTo>
                    <a:pt x="1914" y="299"/>
                  </a:lnTo>
                  <a:lnTo>
                    <a:pt x="1914" y="298"/>
                  </a:lnTo>
                  <a:lnTo>
                    <a:pt x="1916" y="298"/>
                  </a:lnTo>
                  <a:lnTo>
                    <a:pt x="1914" y="292"/>
                  </a:lnTo>
                  <a:lnTo>
                    <a:pt x="1912" y="292"/>
                  </a:lnTo>
                  <a:lnTo>
                    <a:pt x="1912" y="292"/>
                  </a:lnTo>
                  <a:lnTo>
                    <a:pt x="1908" y="294"/>
                  </a:lnTo>
                  <a:lnTo>
                    <a:pt x="1908" y="294"/>
                  </a:lnTo>
                  <a:lnTo>
                    <a:pt x="1908" y="294"/>
                  </a:lnTo>
                  <a:lnTo>
                    <a:pt x="1908" y="294"/>
                  </a:lnTo>
                  <a:close/>
                  <a:moveTo>
                    <a:pt x="2012" y="250"/>
                  </a:moveTo>
                  <a:lnTo>
                    <a:pt x="2016" y="252"/>
                  </a:lnTo>
                  <a:lnTo>
                    <a:pt x="2019" y="252"/>
                  </a:lnTo>
                  <a:lnTo>
                    <a:pt x="2021" y="247"/>
                  </a:lnTo>
                  <a:lnTo>
                    <a:pt x="2021" y="243"/>
                  </a:lnTo>
                  <a:lnTo>
                    <a:pt x="2017" y="241"/>
                  </a:lnTo>
                  <a:lnTo>
                    <a:pt x="2019" y="241"/>
                  </a:lnTo>
                  <a:lnTo>
                    <a:pt x="2017" y="237"/>
                  </a:lnTo>
                  <a:lnTo>
                    <a:pt x="2016" y="234"/>
                  </a:lnTo>
                  <a:lnTo>
                    <a:pt x="2016" y="235"/>
                  </a:lnTo>
                  <a:lnTo>
                    <a:pt x="2012" y="235"/>
                  </a:lnTo>
                  <a:lnTo>
                    <a:pt x="2008" y="234"/>
                  </a:lnTo>
                  <a:lnTo>
                    <a:pt x="2004" y="234"/>
                  </a:lnTo>
                  <a:lnTo>
                    <a:pt x="2004" y="235"/>
                  </a:lnTo>
                  <a:lnTo>
                    <a:pt x="2001" y="235"/>
                  </a:lnTo>
                  <a:lnTo>
                    <a:pt x="2002" y="237"/>
                  </a:lnTo>
                  <a:lnTo>
                    <a:pt x="1999" y="237"/>
                  </a:lnTo>
                  <a:lnTo>
                    <a:pt x="1997" y="241"/>
                  </a:lnTo>
                  <a:lnTo>
                    <a:pt x="1999" y="247"/>
                  </a:lnTo>
                  <a:lnTo>
                    <a:pt x="1999" y="247"/>
                  </a:lnTo>
                  <a:lnTo>
                    <a:pt x="2002" y="247"/>
                  </a:lnTo>
                  <a:lnTo>
                    <a:pt x="2008" y="247"/>
                  </a:lnTo>
                  <a:lnTo>
                    <a:pt x="2012" y="250"/>
                  </a:lnTo>
                  <a:lnTo>
                    <a:pt x="2012" y="250"/>
                  </a:lnTo>
                  <a:lnTo>
                    <a:pt x="2012" y="250"/>
                  </a:lnTo>
                  <a:lnTo>
                    <a:pt x="2012" y="250"/>
                  </a:lnTo>
                  <a:close/>
                  <a:moveTo>
                    <a:pt x="2036" y="241"/>
                  </a:moveTo>
                  <a:lnTo>
                    <a:pt x="2036" y="241"/>
                  </a:lnTo>
                  <a:lnTo>
                    <a:pt x="2036" y="237"/>
                  </a:lnTo>
                  <a:lnTo>
                    <a:pt x="2034" y="237"/>
                  </a:lnTo>
                  <a:lnTo>
                    <a:pt x="2034" y="241"/>
                  </a:lnTo>
                  <a:lnTo>
                    <a:pt x="2036" y="241"/>
                  </a:lnTo>
                  <a:lnTo>
                    <a:pt x="2036" y="241"/>
                  </a:lnTo>
                  <a:lnTo>
                    <a:pt x="2036" y="241"/>
                  </a:lnTo>
                  <a:lnTo>
                    <a:pt x="2036" y="241"/>
                  </a:lnTo>
                  <a:close/>
                  <a:moveTo>
                    <a:pt x="2061" y="1239"/>
                  </a:moveTo>
                  <a:lnTo>
                    <a:pt x="2061" y="1232"/>
                  </a:lnTo>
                  <a:lnTo>
                    <a:pt x="2061" y="1230"/>
                  </a:lnTo>
                  <a:lnTo>
                    <a:pt x="2059" y="1226"/>
                  </a:lnTo>
                  <a:lnTo>
                    <a:pt x="2057" y="1222"/>
                  </a:lnTo>
                  <a:lnTo>
                    <a:pt x="2059" y="1215"/>
                  </a:lnTo>
                  <a:lnTo>
                    <a:pt x="2063" y="1213"/>
                  </a:lnTo>
                  <a:lnTo>
                    <a:pt x="2065" y="1213"/>
                  </a:lnTo>
                  <a:lnTo>
                    <a:pt x="2065" y="1215"/>
                  </a:lnTo>
                  <a:lnTo>
                    <a:pt x="2066" y="1217"/>
                  </a:lnTo>
                  <a:lnTo>
                    <a:pt x="2072" y="1217"/>
                  </a:lnTo>
                  <a:lnTo>
                    <a:pt x="2072" y="1215"/>
                  </a:lnTo>
                  <a:lnTo>
                    <a:pt x="2074" y="1215"/>
                  </a:lnTo>
                  <a:lnTo>
                    <a:pt x="2076" y="1217"/>
                  </a:lnTo>
                  <a:lnTo>
                    <a:pt x="2076" y="1219"/>
                  </a:lnTo>
                  <a:lnTo>
                    <a:pt x="2076" y="1221"/>
                  </a:lnTo>
                  <a:lnTo>
                    <a:pt x="2080" y="1224"/>
                  </a:lnTo>
                  <a:lnTo>
                    <a:pt x="2080" y="1226"/>
                  </a:lnTo>
                  <a:lnTo>
                    <a:pt x="2081" y="1230"/>
                  </a:lnTo>
                  <a:lnTo>
                    <a:pt x="2083" y="1226"/>
                  </a:lnTo>
                  <a:lnTo>
                    <a:pt x="2081" y="1226"/>
                  </a:lnTo>
                  <a:lnTo>
                    <a:pt x="2081" y="1222"/>
                  </a:lnTo>
                  <a:lnTo>
                    <a:pt x="2081" y="1217"/>
                  </a:lnTo>
                  <a:lnTo>
                    <a:pt x="2078" y="1215"/>
                  </a:lnTo>
                  <a:lnTo>
                    <a:pt x="2078" y="1209"/>
                  </a:lnTo>
                  <a:lnTo>
                    <a:pt x="2076" y="1205"/>
                  </a:lnTo>
                  <a:lnTo>
                    <a:pt x="2072" y="1207"/>
                  </a:lnTo>
                  <a:lnTo>
                    <a:pt x="2070" y="1207"/>
                  </a:lnTo>
                  <a:lnTo>
                    <a:pt x="2066" y="1205"/>
                  </a:lnTo>
                  <a:lnTo>
                    <a:pt x="2066" y="1200"/>
                  </a:lnTo>
                  <a:lnTo>
                    <a:pt x="2063" y="1196"/>
                  </a:lnTo>
                  <a:lnTo>
                    <a:pt x="2059" y="1190"/>
                  </a:lnTo>
                  <a:lnTo>
                    <a:pt x="2055" y="1190"/>
                  </a:lnTo>
                  <a:lnTo>
                    <a:pt x="2053" y="1187"/>
                  </a:lnTo>
                  <a:lnTo>
                    <a:pt x="2051" y="1179"/>
                  </a:lnTo>
                  <a:lnTo>
                    <a:pt x="2048" y="1175"/>
                  </a:lnTo>
                  <a:lnTo>
                    <a:pt x="2046" y="1172"/>
                  </a:lnTo>
                  <a:lnTo>
                    <a:pt x="2046" y="1166"/>
                  </a:lnTo>
                  <a:lnTo>
                    <a:pt x="2046" y="1158"/>
                  </a:lnTo>
                  <a:lnTo>
                    <a:pt x="2046" y="1155"/>
                  </a:lnTo>
                  <a:lnTo>
                    <a:pt x="2046" y="1147"/>
                  </a:lnTo>
                  <a:lnTo>
                    <a:pt x="2046" y="1145"/>
                  </a:lnTo>
                  <a:lnTo>
                    <a:pt x="2042" y="1138"/>
                  </a:lnTo>
                  <a:lnTo>
                    <a:pt x="2046" y="1138"/>
                  </a:lnTo>
                  <a:lnTo>
                    <a:pt x="2046" y="1134"/>
                  </a:lnTo>
                  <a:lnTo>
                    <a:pt x="2046" y="1132"/>
                  </a:lnTo>
                  <a:lnTo>
                    <a:pt x="2046" y="1132"/>
                  </a:lnTo>
                  <a:lnTo>
                    <a:pt x="2048" y="1132"/>
                  </a:lnTo>
                  <a:lnTo>
                    <a:pt x="2053" y="1132"/>
                  </a:lnTo>
                  <a:lnTo>
                    <a:pt x="2057" y="1132"/>
                  </a:lnTo>
                  <a:lnTo>
                    <a:pt x="2061" y="1136"/>
                  </a:lnTo>
                  <a:lnTo>
                    <a:pt x="2065" y="1141"/>
                  </a:lnTo>
                  <a:lnTo>
                    <a:pt x="2066" y="1141"/>
                  </a:lnTo>
                  <a:lnTo>
                    <a:pt x="2070" y="1145"/>
                  </a:lnTo>
                  <a:lnTo>
                    <a:pt x="2074" y="1151"/>
                  </a:lnTo>
                  <a:lnTo>
                    <a:pt x="2076" y="1151"/>
                  </a:lnTo>
                  <a:lnTo>
                    <a:pt x="2074" y="1145"/>
                  </a:lnTo>
                  <a:lnTo>
                    <a:pt x="2070" y="1141"/>
                  </a:lnTo>
                  <a:lnTo>
                    <a:pt x="2066" y="1138"/>
                  </a:lnTo>
                  <a:lnTo>
                    <a:pt x="2063" y="1132"/>
                  </a:lnTo>
                  <a:lnTo>
                    <a:pt x="2059" y="1126"/>
                  </a:lnTo>
                  <a:lnTo>
                    <a:pt x="2059" y="1124"/>
                  </a:lnTo>
                  <a:lnTo>
                    <a:pt x="2057" y="1123"/>
                  </a:lnTo>
                  <a:lnTo>
                    <a:pt x="2053" y="1117"/>
                  </a:lnTo>
                  <a:lnTo>
                    <a:pt x="2051" y="1111"/>
                  </a:lnTo>
                  <a:lnTo>
                    <a:pt x="2049" y="1111"/>
                  </a:lnTo>
                  <a:lnTo>
                    <a:pt x="2048" y="1108"/>
                  </a:lnTo>
                  <a:lnTo>
                    <a:pt x="2042" y="1100"/>
                  </a:lnTo>
                  <a:lnTo>
                    <a:pt x="2040" y="1091"/>
                  </a:lnTo>
                  <a:lnTo>
                    <a:pt x="2036" y="1087"/>
                  </a:lnTo>
                  <a:lnTo>
                    <a:pt x="2031" y="1077"/>
                  </a:lnTo>
                  <a:lnTo>
                    <a:pt x="2027" y="1072"/>
                  </a:lnTo>
                  <a:lnTo>
                    <a:pt x="2025" y="1070"/>
                  </a:lnTo>
                  <a:lnTo>
                    <a:pt x="2025" y="1066"/>
                  </a:lnTo>
                  <a:lnTo>
                    <a:pt x="2023" y="1062"/>
                  </a:lnTo>
                  <a:lnTo>
                    <a:pt x="2019" y="1060"/>
                  </a:lnTo>
                  <a:lnTo>
                    <a:pt x="2019" y="1062"/>
                  </a:lnTo>
                  <a:lnTo>
                    <a:pt x="2017" y="1062"/>
                  </a:lnTo>
                  <a:lnTo>
                    <a:pt x="2016" y="1060"/>
                  </a:lnTo>
                  <a:lnTo>
                    <a:pt x="2017" y="1057"/>
                  </a:lnTo>
                  <a:lnTo>
                    <a:pt x="2016" y="1057"/>
                  </a:lnTo>
                  <a:lnTo>
                    <a:pt x="2012" y="1053"/>
                  </a:lnTo>
                  <a:lnTo>
                    <a:pt x="2010" y="1049"/>
                  </a:lnTo>
                  <a:lnTo>
                    <a:pt x="2008" y="1043"/>
                  </a:lnTo>
                  <a:lnTo>
                    <a:pt x="2006" y="1042"/>
                  </a:lnTo>
                  <a:lnTo>
                    <a:pt x="2006" y="1038"/>
                  </a:lnTo>
                  <a:lnTo>
                    <a:pt x="2006" y="1034"/>
                  </a:lnTo>
                  <a:lnTo>
                    <a:pt x="2008" y="1034"/>
                  </a:lnTo>
                  <a:lnTo>
                    <a:pt x="2006" y="1028"/>
                  </a:lnTo>
                  <a:lnTo>
                    <a:pt x="2006" y="1023"/>
                  </a:lnTo>
                  <a:lnTo>
                    <a:pt x="2004" y="1019"/>
                  </a:lnTo>
                  <a:lnTo>
                    <a:pt x="2001" y="1019"/>
                  </a:lnTo>
                  <a:lnTo>
                    <a:pt x="1997" y="1013"/>
                  </a:lnTo>
                  <a:lnTo>
                    <a:pt x="1997" y="1011"/>
                  </a:lnTo>
                  <a:lnTo>
                    <a:pt x="1995" y="1010"/>
                  </a:lnTo>
                  <a:lnTo>
                    <a:pt x="1995" y="1008"/>
                  </a:lnTo>
                  <a:lnTo>
                    <a:pt x="1997" y="1008"/>
                  </a:lnTo>
                  <a:lnTo>
                    <a:pt x="2001" y="1010"/>
                  </a:lnTo>
                  <a:lnTo>
                    <a:pt x="2004" y="1015"/>
                  </a:lnTo>
                  <a:lnTo>
                    <a:pt x="2002" y="1011"/>
                  </a:lnTo>
                  <a:lnTo>
                    <a:pt x="1997" y="1004"/>
                  </a:lnTo>
                  <a:lnTo>
                    <a:pt x="1993" y="1002"/>
                  </a:lnTo>
                  <a:lnTo>
                    <a:pt x="1991" y="1002"/>
                  </a:lnTo>
                  <a:lnTo>
                    <a:pt x="1991" y="998"/>
                  </a:lnTo>
                  <a:lnTo>
                    <a:pt x="1984" y="989"/>
                  </a:lnTo>
                  <a:lnTo>
                    <a:pt x="1982" y="987"/>
                  </a:lnTo>
                  <a:lnTo>
                    <a:pt x="1982" y="981"/>
                  </a:lnTo>
                  <a:lnTo>
                    <a:pt x="1978" y="978"/>
                  </a:lnTo>
                  <a:lnTo>
                    <a:pt x="1972" y="976"/>
                  </a:lnTo>
                  <a:lnTo>
                    <a:pt x="1970" y="970"/>
                  </a:lnTo>
                  <a:lnTo>
                    <a:pt x="1969" y="968"/>
                  </a:lnTo>
                  <a:lnTo>
                    <a:pt x="1969" y="970"/>
                  </a:lnTo>
                  <a:lnTo>
                    <a:pt x="1969" y="972"/>
                  </a:lnTo>
                  <a:lnTo>
                    <a:pt x="1969" y="976"/>
                  </a:lnTo>
                  <a:lnTo>
                    <a:pt x="1967" y="976"/>
                  </a:lnTo>
                  <a:lnTo>
                    <a:pt x="1967" y="974"/>
                  </a:lnTo>
                  <a:lnTo>
                    <a:pt x="1961" y="974"/>
                  </a:lnTo>
                  <a:lnTo>
                    <a:pt x="1967" y="979"/>
                  </a:lnTo>
                  <a:lnTo>
                    <a:pt x="1972" y="983"/>
                  </a:lnTo>
                  <a:lnTo>
                    <a:pt x="1974" y="987"/>
                  </a:lnTo>
                  <a:lnTo>
                    <a:pt x="1974" y="989"/>
                  </a:lnTo>
                  <a:lnTo>
                    <a:pt x="1976" y="989"/>
                  </a:lnTo>
                  <a:lnTo>
                    <a:pt x="1978" y="989"/>
                  </a:lnTo>
                  <a:lnTo>
                    <a:pt x="1978" y="989"/>
                  </a:lnTo>
                  <a:lnTo>
                    <a:pt x="1978" y="993"/>
                  </a:lnTo>
                  <a:lnTo>
                    <a:pt x="1974" y="993"/>
                  </a:lnTo>
                  <a:lnTo>
                    <a:pt x="1976" y="995"/>
                  </a:lnTo>
                  <a:lnTo>
                    <a:pt x="1978" y="995"/>
                  </a:lnTo>
                  <a:lnTo>
                    <a:pt x="1978" y="1002"/>
                  </a:lnTo>
                  <a:lnTo>
                    <a:pt x="1976" y="1002"/>
                  </a:lnTo>
                  <a:lnTo>
                    <a:pt x="1974" y="1002"/>
                  </a:lnTo>
                  <a:lnTo>
                    <a:pt x="1970" y="998"/>
                  </a:lnTo>
                  <a:lnTo>
                    <a:pt x="1969" y="1002"/>
                  </a:lnTo>
                  <a:lnTo>
                    <a:pt x="1967" y="1006"/>
                  </a:lnTo>
                  <a:lnTo>
                    <a:pt x="1970" y="1010"/>
                  </a:lnTo>
                  <a:lnTo>
                    <a:pt x="1970" y="1013"/>
                  </a:lnTo>
                  <a:lnTo>
                    <a:pt x="1976" y="1019"/>
                  </a:lnTo>
                  <a:lnTo>
                    <a:pt x="1978" y="1023"/>
                  </a:lnTo>
                  <a:lnTo>
                    <a:pt x="1978" y="1032"/>
                  </a:lnTo>
                  <a:lnTo>
                    <a:pt x="1978" y="1034"/>
                  </a:lnTo>
                  <a:lnTo>
                    <a:pt x="1982" y="1040"/>
                  </a:lnTo>
                  <a:lnTo>
                    <a:pt x="1984" y="1049"/>
                  </a:lnTo>
                  <a:lnTo>
                    <a:pt x="1987" y="1053"/>
                  </a:lnTo>
                  <a:lnTo>
                    <a:pt x="1991" y="1057"/>
                  </a:lnTo>
                  <a:lnTo>
                    <a:pt x="1991" y="1057"/>
                  </a:lnTo>
                  <a:lnTo>
                    <a:pt x="1987" y="1059"/>
                  </a:lnTo>
                  <a:lnTo>
                    <a:pt x="1997" y="1068"/>
                  </a:lnTo>
                  <a:lnTo>
                    <a:pt x="2001" y="1070"/>
                  </a:lnTo>
                  <a:lnTo>
                    <a:pt x="2006" y="1076"/>
                  </a:lnTo>
                  <a:lnTo>
                    <a:pt x="2006" y="1083"/>
                  </a:lnTo>
                  <a:lnTo>
                    <a:pt x="2006" y="1087"/>
                  </a:lnTo>
                  <a:lnTo>
                    <a:pt x="2010" y="1091"/>
                  </a:lnTo>
                  <a:lnTo>
                    <a:pt x="2010" y="1094"/>
                  </a:lnTo>
                  <a:lnTo>
                    <a:pt x="2012" y="1098"/>
                  </a:lnTo>
                  <a:lnTo>
                    <a:pt x="2016" y="1102"/>
                  </a:lnTo>
                  <a:lnTo>
                    <a:pt x="2016" y="1102"/>
                  </a:lnTo>
                  <a:lnTo>
                    <a:pt x="2016" y="1106"/>
                  </a:lnTo>
                  <a:lnTo>
                    <a:pt x="2017" y="1111"/>
                  </a:lnTo>
                  <a:lnTo>
                    <a:pt x="2019" y="1117"/>
                  </a:lnTo>
                  <a:lnTo>
                    <a:pt x="2021" y="1121"/>
                  </a:lnTo>
                  <a:lnTo>
                    <a:pt x="2021" y="1128"/>
                  </a:lnTo>
                  <a:lnTo>
                    <a:pt x="2023" y="1130"/>
                  </a:lnTo>
                  <a:lnTo>
                    <a:pt x="2023" y="1134"/>
                  </a:lnTo>
                  <a:lnTo>
                    <a:pt x="2023" y="1138"/>
                  </a:lnTo>
                  <a:lnTo>
                    <a:pt x="2027" y="1147"/>
                  </a:lnTo>
                  <a:lnTo>
                    <a:pt x="2025" y="1151"/>
                  </a:lnTo>
                  <a:lnTo>
                    <a:pt x="2027" y="1155"/>
                  </a:lnTo>
                  <a:lnTo>
                    <a:pt x="2031" y="1158"/>
                  </a:lnTo>
                  <a:lnTo>
                    <a:pt x="2036" y="1166"/>
                  </a:lnTo>
                  <a:lnTo>
                    <a:pt x="2036" y="1172"/>
                  </a:lnTo>
                  <a:lnTo>
                    <a:pt x="2040" y="1175"/>
                  </a:lnTo>
                  <a:lnTo>
                    <a:pt x="2040" y="1183"/>
                  </a:lnTo>
                  <a:lnTo>
                    <a:pt x="2040" y="1189"/>
                  </a:lnTo>
                  <a:lnTo>
                    <a:pt x="2042" y="1194"/>
                  </a:lnTo>
                  <a:lnTo>
                    <a:pt x="2046" y="1200"/>
                  </a:lnTo>
                  <a:lnTo>
                    <a:pt x="2048" y="1205"/>
                  </a:lnTo>
                  <a:lnTo>
                    <a:pt x="2049" y="1207"/>
                  </a:lnTo>
                  <a:lnTo>
                    <a:pt x="2048" y="1213"/>
                  </a:lnTo>
                  <a:lnTo>
                    <a:pt x="2048" y="1222"/>
                  </a:lnTo>
                  <a:lnTo>
                    <a:pt x="2049" y="1226"/>
                  </a:lnTo>
                  <a:lnTo>
                    <a:pt x="2053" y="1230"/>
                  </a:lnTo>
                  <a:lnTo>
                    <a:pt x="2055" y="1236"/>
                  </a:lnTo>
                  <a:lnTo>
                    <a:pt x="2061" y="1239"/>
                  </a:lnTo>
                  <a:lnTo>
                    <a:pt x="2061" y="1239"/>
                  </a:lnTo>
                  <a:lnTo>
                    <a:pt x="2061" y="1239"/>
                  </a:lnTo>
                  <a:lnTo>
                    <a:pt x="2061" y="1239"/>
                  </a:lnTo>
                  <a:close/>
                  <a:moveTo>
                    <a:pt x="1873" y="974"/>
                  </a:moveTo>
                  <a:lnTo>
                    <a:pt x="1874" y="974"/>
                  </a:lnTo>
                  <a:lnTo>
                    <a:pt x="1874" y="972"/>
                  </a:lnTo>
                  <a:lnTo>
                    <a:pt x="1874" y="970"/>
                  </a:lnTo>
                  <a:lnTo>
                    <a:pt x="1878" y="972"/>
                  </a:lnTo>
                  <a:lnTo>
                    <a:pt x="1878" y="974"/>
                  </a:lnTo>
                  <a:lnTo>
                    <a:pt x="1882" y="976"/>
                  </a:lnTo>
                  <a:lnTo>
                    <a:pt x="1884" y="972"/>
                  </a:lnTo>
                  <a:lnTo>
                    <a:pt x="1884" y="970"/>
                  </a:lnTo>
                  <a:lnTo>
                    <a:pt x="1884" y="968"/>
                  </a:lnTo>
                  <a:lnTo>
                    <a:pt x="1884" y="968"/>
                  </a:lnTo>
                  <a:lnTo>
                    <a:pt x="1886" y="964"/>
                  </a:lnTo>
                  <a:lnTo>
                    <a:pt x="1886" y="964"/>
                  </a:lnTo>
                  <a:lnTo>
                    <a:pt x="1884" y="964"/>
                  </a:lnTo>
                  <a:lnTo>
                    <a:pt x="1882" y="964"/>
                  </a:lnTo>
                  <a:lnTo>
                    <a:pt x="1880" y="964"/>
                  </a:lnTo>
                  <a:lnTo>
                    <a:pt x="1880" y="964"/>
                  </a:lnTo>
                  <a:lnTo>
                    <a:pt x="1882" y="962"/>
                  </a:lnTo>
                  <a:lnTo>
                    <a:pt x="1882" y="962"/>
                  </a:lnTo>
                  <a:lnTo>
                    <a:pt x="1880" y="959"/>
                  </a:lnTo>
                  <a:lnTo>
                    <a:pt x="1878" y="962"/>
                  </a:lnTo>
                  <a:lnTo>
                    <a:pt x="1874" y="959"/>
                  </a:lnTo>
                  <a:lnTo>
                    <a:pt x="1873" y="962"/>
                  </a:lnTo>
                  <a:lnTo>
                    <a:pt x="1873" y="964"/>
                  </a:lnTo>
                  <a:lnTo>
                    <a:pt x="1869" y="968"/>
                  </a:lnTo>
                  <a:lnTo>
                    <a:pt x="1869" y="970"/>
                  </a:lnTo>
                  <a:lnTo>
                    <a:pt x="1873" y="974"/>
                  </a:lnTo>
                  <a:lnTo>
                    <a:pt x="1873" y="974"/>
                  </a:lnTo>
                  <a:lnTo>
                    <a:pt x="1873" y="974"/>
                  </a:lnTo>
                  <a:lnTo>
                    <a:pt x="1873" y="974"/>
                  </a:lnTo>
                  <a:close/>
                  <a:moveTo>
                    <a:pt x="1859" y="972"/>
                  </a:moveTo>
                  <a:lnTo>
                    <a:pt x="1861" y="970"/>
                  </a:lnTo>
                  <a:lnTo>
                    <a:pt x="1861" y="970"/>
                  </a:lnTo>
                  <a:lnTo>
                    <a:pt x="1863" y="968"/>
                  </a:lnTo>
                  <a:lnTo>
                    <a:pt x="1865" y="970"/>
                  </a:lnTo>
                  <a:lnTo>
                    <a:pt x="1865" y="968"/>
                  </a:lnTo>
                  <a:lnTo>
                    <a:pt x="1865" y="968"/>
                  </a:lnTo>
                  <a:lnTo>
                    <a:pt x="1865" y="964"/>
                  </a:lnTo>
                  <a:lnTo>
                    <a:pt x="1865" y="962"/>
                  </a:lnTo>
                  <a:lnTo>
                    <a:pt x="1865" y="964"/>
                  </a:lnTo>
                  <a:lnTo>
                    <a:pt x="1863" y="964"/>
                  </a:lnTo>
                  <a:lnTo>
                    <a:pt x="1857" y="968"/>
                  </a:lnTo>
                  <a:lnTo>
                    <a:pt x="1857" y="968"/>
                  </a:lnTo>
                  <a:lnTo>
                    <a:pt x="1859" y="972"/>
                  </a:lnTo>
                  <a:lnTo>
                    <a:pt x="1859" y="972"/>
                  </a:lnTo>
                  <a:lnTo>
                    <a:pt x="1859" y="972"/>
                  </a:lnTo>
                  <a:lnTo>
                    <a:pt x="1859" y="972"/>
                  </a:lnTo>
                  <a:close/>
                  <a:moveTo>
                    <a:pt x="1886" y="985"/>
                  </a:moveTo>
                  <a:lnTo>
                    <a:pt x="1886" y="985"/>
                  </a:lnTo>
                  <a:lnTo>
                    <a:pt x="1888" y="983"/>
                  </a:lnTo>
                  <a:lnTo>
                    <a:pt x="1889" y="981"/>
                  </a:lnTo>
                  <a:lnTo>
                    <a:pt x="1888" y="979"/>
                  </a:lnTo>
                  <a:lnTo>
                    <a:pt x="1886" y="981"/>
                  </a:lnTo>
                  <a:lnTo>
                    <a:pt x="1886" y="981"/>
                  </a:lnTo>
                  <a:lnTo>
                    <a:pt x="1886" y="985"/>
                  </a:lnTo>
                  <a:lnTo>
                    <a:pt x="1886" y="985"/>
                  </a:lnTo>
                  <a:lnTo>
                    <a:pt x="1886" y="985"/>
                  </a:lnTo>
                  <a:lnTo>
                    <a:pt x="1886" y="985"/>
                  </a:lnTo>
                  <a:close/>
                  <a:moveTo>
                    <a:pt x="1880" y="979"/>
                  </a:moveTo>
                  <a:lnTo>
                    <a:pt x="1880" y="981"/>
                  </a:lnTo>
                  <a:lnTo>
                    <a:pt x="1882" y="985"/>
                  </a:lnTo>
                  <a:lnTo>
                    <a:pt x="1884" y="983"/>
                  </a:lnTo>
                  <a:lnTo>
                    <a:pt x="1884" y="979"/>
                  </a:lnTo>
                  <a:lnTo>
                    <a:pt x="1882" y="979"/>
                  </a:lnTo>
                  <a:lnTo>
                    <a:pt x="1880" y="979"/>
                  </a:lnTo>
                  <a:lnTo>
                    <a:pt x="1880" y="979"/>
                  </a:lnTo>
                  <a:lnTo>
                    <a:pt x="1880" y="979"/>
                  </a:lnTo>
                  <a:lnTo>
                    <a:pt x="1880" y="979"/>
                  </a:lnTo>
                  <a:close/>
                  <a:moveTo>
                    <a:pt x="1882" y="998"/>
                  </a:moveTo>
                  <a:lnTo>
                    <a:pt x="1884" y="993"/>
                  </a:lnTo>
                  <a:lnTo>
                    <a:pt x="1886" y="993"/>
                  </a:lnTo>
                  <a:lnTo>
                    <a:pt x="1888" y="989"/>
                  </a:lnTo>
                  <a:lnTo>
                    <a:pt x="1886" y="989"/>
                  </a:lnTo>
                  <a:lnTo>
                    <a:pt x="1888" y="987"/>
                  </a:lnTo>
                  <a:lnTo>
                    <a:pt x="1882" y="989"/>
                  </a:lnTo>
                  <a:lnTo>
                    <a:pt x="1878" y="993"/>
                  </a:lnTo>
                  <a:lnTo>
                    <a:pt x="1878" y="995"/>
                  </a:lnTo>
                  <a:lnTo>
                    <a:pt x="1882" y="998"/>
                  </a:lnTo>
                  <a:lnTo>
                    <a:pt x="1882" y="998"/>
                  </a:lnTo>
                  <a:lnTo>
                    <a:pt x="1882" y="998"/>
                  </a:lnTo>
                  <a:lnTo>
                    <a:pt x="1882" y="998"/>
                  </a:lnTo>
                  <a:close/>
                  <a:moveTo>
                    <a:pt x="2023" y="780"/>
                  </a:moveTo>
                  <a:lnTo>
                    <a:pt x="2025" y="782"/>
                  </a:lnTo>
                  <a:lnTo>
                    <a:pt x="2027" y="776"/>
                  </a:lnTo>
                  <a:lnTo>
                    <a:pt x="2029" y="774"/>
                  </a:lnTo>
                  <a:lnTo>
                    <a:pt x="2025" y="774"/>
                  </a:lnTo>
                  <a:lnTo>
                    <a:pt x="2023" y="776"/>
                  </a:lnTo>
                  <a:lnTo>
                    <a:pt x="2023" y="780"/>
                  </a:lnTo>
                  <a:lnTo>
                    <a:pt x="2023" y="780"/>
                  </a:lnTo>
                  <a:lnTo>
                    <a:pt x="2023" y="780"/>
                  </a:lnTo>
                  <a:lnTo>
                    <a:pt x="2023" y="780"/>
                  </a:lnTo>
                  <a:close/>
                  <a:moveTo>
                    <a:pt x="2249" y="755"/>
                  </a:moveTo>
                  <a:lnTo>
                    <a:pt x="2251" y="755"/>
                  </a:lnTo>
                  <a:lnTo>
                    <a:pt x="2249" y="752"/>
                  </a:lnTo>
                  <a:lnTo>
                    <a:pt x="2249" y="750"/>
                  </a:lnTo>
                  <a:lnTo>
                    <a:pt x="2249" y="748"/>
                  </a:lnTo>
                  <a:lnTo>
                    <a:pt x="2249" y="746"/>
                  </a:lnTo>
                  <a:lnTo>
                    <a:pt x="2251" y="740"/>
                  </a:lnTo>
                  <a:lnTo>
                    <a:pt x="2255" y="736"/>
                  </a:lnTo>
                  <a:lnTo>
                    <a:pt x="2258" y="733"/>
                  </a:lnTo>
                  <a:lnTo>
                    <a:pt x="2258" y="733"/>
                  </a:lnTo>
                  <a:lnTo>
                    <a:pt x="2258" y="731"/>
                  </a:lnTo>
                  <a:lnTo>
                    <a:pt x="2258" y="725"/>
                  </a:lnTo>
                  <a:lnTo>
                    <a:pt x="2253" y="718"/>
                  </a:lnTo>
                  <a:lnTo>
                    <a:pt x="2251" y="718"/>
                  </a:lnTo>
                  <a:lnTo>
                    <a:pt x="2249" y="721"/>
                  </a:lnTo>
                  <a:lnTo>
                    <a:pt x="2249" y="721"/>
                  </a:lnTo>
                  <a:lnTo>
                    <a:pt x="2247" y="725"/>
                  </a:lnTo>
                  <a:lnTo>
                    <a:pt x="2241" y="731"/>
                  </a:lnTo>
                  <a:lnTo>
                    <a:pt x="2240" y="731"/>
                  </a:lnTo>
                  <a:lnTo>
                    <a:pt x="2238" y="733"/>
                  </a:lnTo>
                  <a:lnTo>
                    <a:pt x="2240" y="733"/>
                  </a:lnTo>
                  <a:lnTo>
                    <a:pt x="2243" y="731"/>
                  </a:lnTo>
                  <a:lnTo>
                    <a:pt x="2243" y="733"/>
                  </a:lnTo>
                  <a:lnTo>
                    <a:pt x="2243" y="735"/>
                  </a:lnTo>
                  <a:lnTo>
                    <a:pt x="2245" y="742"/>
                  </a:lnTo>
                  <a:lnTo>
                    <a:pt x="2247" y="744"/>
                  </a:lnTo>
                  <a:lnTo>
                    <a:pt x="2247" y="750"/>
                  </a:lnTo>
                  <a:lnTo>
                    <a:pt x="2245" y="752"/>
                  </a:lnTo>
                  <a:lnTo>
                    <a:pt x="2245" y="752"/>
                  </a:lnTo>
                  <a:lnTo>
                    <a:pt x="2249" y="755"/>
                  </a:lnTo>
                  <a:lnTo>
                    <a:pt x="2249" y="755"/>
                  </a:lnTo>
                  <a:lnTo>
                    <a:pt x="2249" y="755"/>
                  </a:lnTo>
                  <a:lnTo>
                    <a:pt x="2249" y="755"/>
                  </a:lnTo>
                  <a:close/>
                  <a:moveTo>
                    <a:pt x="2253" y="1057"/>
                  </a:moveTo>
                  <a:lnTo>
                    <a:pt x="2255" y="1057"/>
                  </a:lnTo>
                  <a:lnTo>
                    <a:pt x="2257" y="1053"/>
                  </a:lnTo>
                  <a:lnTo>
                    <a:pt x="2255" y="1051"/>
                  </a:lnTo>
                  <a:lnTo>
                    <a:pt x="2253" y="1049"/>
                  </a:lnTo>
                  <a:lnTo>
                    <a:pt x="2251" y="1051"/>
                  </a:lnTo>
                  <a:lnTo>
                    <a:pt x="2251" y="1053"/>
                  </a:lnTo>
                  <a:lnTo>
                    <a:pt x="2253" y="1057"/>
                  </a:lnTo>
                  <a:lnTo>
                    <a:pt x="2253" y="1057"/>
                  </a:lnTo>
                  <a:lnTo>
                    <a:pt x="2253" y="1057"/>
                  </a:lnTo>
                  <a:lnTo>
                    <a:pt x="2253" y="1057"/>
                  </a:lnTo>
                  <a:close/>
                  <a:moveTo>
                    <a:pt x="2234" y="1051"/>
                  </a:moveTo>
                  <a:lnTo>
                    <a:pt x="2234" y="1053"/>
                  </a:lnTo>
                  <a:lnTo>
                    <a:pt x="2234" y="1057"/>
                  </a:lnTo>
                  <a:lnTo>
                    <a:pt x="2238" y="1057"/>
                  </a:lnTo>
                  <a:lnTo>
                    <a:pt x="2238" y="1053"/>
                  </a:lnTo>
                  <a:lnTo>
                    <a:pt x="2234" y="1051"/>
                  </a:lnTo>
                  <a:lnTo>
                    <a:pt x="2234" y="1051"/>
                  </a:lnTo>
                  <a:lnTo>
                    <a:pt x="2234" y="1051"/>
                  </a:lnTo>
                  <a:lnTo>
                    <a:pt x="2234" y="1051"/>
                  </a:lnTo>
                  <a:lnTo>
                    <a:pt x="2234" y="1051"/>
                  </a:lnTo>
                  <a:close/>
                  <a:moveTo>
                    <a:pt x="2243" y="1083"/>
                  </a:moveTo>
                  <a:lnTo>
                    <a:pt x="2245" y="1083"/>
                  </a:lnTo>
                  <a:lnTo>
                    <a:pt x="2245" y="1077"/>
                  </a:lnTo>
                  <a:lnTo>
                    <a:pt x="2245" y="1076"/>
                  </a:lnTo>
                  <a:lnTo>
                    <a:pt x="2249" y="1074"/>
                  </a:lnTo>
                  <a:lnTo>
                    <a:pt x="2251" y="1070"/>
                  </a:lnTo>
                  <a:lnTo>
                    <a:pt x="2251" y="1066"/>
                  </a:lnTo>
                  <a:lnTo>
                    <a:pt x="2251" y="1062"/>
                  </a:lnTo>
                  <a:lnTo>
                    <a:pt x="2253" y="1060"/>
                  </a:lnTo>
                  <a:lnTo>
                    <a:pt x="2253" y="1057"/>
                  </a:lnTo>
                  <a:lnTo>
                    <a:pt x="2245" y="1053"/>
                  </a:lnTo>
                  <a:lnTo>
                    <a:pt x="2245" y="1057"/>
                  </a:lnTo>
                  <a:lnTo>
                    <a:pt x="2245" y="1062"/>
                  </a:lnTo>
                  <a:lnTo>
                    <a:pt x="2245" y="1066"/>
                  </a:lnTo>
                  <a:lnTo>
                    <a:pt x="2241" y="1068"/>
                  </a:lnTo>
                  <a:lnTo>
                    <a:pt x="2240" y="1070"/>
                  </a:lnTo>
                  <a:lnTo>
                    <a:pt x="2238" y="1072"/>
                  </a:lnTo>
                  <a:lnTo>
                    <a:pt x="2238" y="1072"/>
                  </a:lnTo>
                  <a:lnTo>
                    <a:pt x="2240" y="1076"/>
                  </a:lnTo>
                  <a:lnTo>
                    <a:pt x="2240" y="1077"/>
                  </a:lnTo>
                  <a:lnTo>
                    <a:pt x="2238" y="1077"/>
                  </a:lnTo>
                  <a:lnTo>
                    <a:pt x="2238" y="1081"/>
                  </a:lnTo>
                  <a:lnTo>
                    <a:pt x="2241" y="1081"/>
                  </a:lnTo>
                  <a:lnTo>
                    <a:pt x="2243" y="1083"/>
                  </a:lnTo>
                  <a:lnTo>
                    <a:pt x="2243" y="1083"/>
                  </a:lnTo>
                  <a:lnTo>
                    <a:pt x="2243" y="1083"/>
                  </a:lnTo>
                  <a:lnTo>
                    <a:pt x="2243" y="1083"/>
                  </a:lnTo>
                  <a:close/>
                  <a:moveTo>
                    <a:pt x="2240" y="1106"/>
                  </a:moveTo>
                  <a:lnTo>
                    <a:pt x="2240" y="1106"/>
                  </a:lnTo>
                  <a:lnTo>
                    <a:pt x="2241" y="1104"/>
                  </a:lnTo>
                  <a:lnTo>
                    <a:pt x="2240" y="1098"/>
                  </a:lnTo>
                  <a:lnTo>
                    <a:pt x="2240" y="1096"/>
                  </a:lnTo>
                  <a:lnTo>
                    <a:pt x="2238" y="1094"/>
                  </a:lnTo>
                  <a:lnTo>
                    <a:pt x="2238" y="1098"/>
                  </a:lnTo>
                  <a:lnTo>
                    <a:pt x="2238" y="1102"/>
                  </a:lnTo>
                  <a:lnTo>
                    <a:pt x="2240" y="1106"/>
                  </a:lnTo>
                  <a:lnTo>
                    <a:pt x="2240" y="1106"/>
                  </a:lnTo>
                  <a:lnTo>
                    <a:pt x="2240" y="1106"/>
                  </a:lnTo>
                  <a:lnTo>
                    <a:pt x="2240" y="1106"/>
                  </a:lnTo>
                  <a:close/>
                  <a:moveTo>
                    <a:pt x="2241" y="1111"/>
                  </a:moveTo>
                  <a:lnTo>
                    <a:pt x="2243" y="1111"/>
                  </a:lnTo>
                  <a:lnTo>
                    <a:pt x="2241" y="1108"/>
                  </a:lnTo>
                  <a:lnTo>
                    <a:pt x="2240" y="1108"/>
                  </a:lnTo>
                  <a:lnTo>
                    <a:pt x="2238" y="1108"/>
                  </a:lnTo>
                  <a:lnTo>
                    <a:pt x="2238" y="1111"/>
                  </a:lnTo>
                  <a:lnTo>
                    <a:pt x="2241" y="1111"/>
                  </a:lnTo>
                  <a:lnTo>
                    <a:pt x="2241" y="1111"/>
                  </a:lnTo>
                  <a:lnTo>
                    <a:pt x="2241" y="1111"/>
                  </a:lnTo>
                  <a:lnTo>
                    <a:pt x="2241" y="1111"/>
                  </a:lnTo>
                  <a:close/>
                  <a:moveTo>
                    <a:pt x="2234" y="1117"/>
                  </a:moveTo>
                  <a:lnTo>
                    <a:pt x="2234" y="1117"/>
                  </a:lnTo>
                  <a:lnTo>
                    <a:pt x="2234" y="1117"/>
                  </a:lnTo>
                  <a:lnTo>
                    <a:pt x="2234" y="1117"/>
                  </a:lnTo>
                  <a:lnTo>
                    <a:pt x="2234" y="1117"/>
                  </a:lnTo>
                  <a:lnTo>
                    <a:pt x="2234" y="1117"/>
                  </a:lnTo>
                  <a:lnTo>
                    <a:pt x="2234" y="1117"/>
                  </a:lnTo>
                  <a:lnTo>
                    <a:pt x="2234" y="1117"/>
                  </a:lnTo>
                  <a:lnTo>
                    <a:pt x="2234" y="1117"/>
                  </a:lnTo>
                  <a:close/>
                  <a:moveTo>
                    <a:pt x="2238" y="1126"/>
                  </a:moveTo>
                  <a:lnTo>
                    <a:pt x="2238" y="1124"/>
                  </a:lnTo>
                  <a:lnTo>
                    <a:pt x="2240" y="1123"/>
                  </a:lnTo>
                  <a:lnTo>
                    <a:pt x="2240" y="1121"/>
                  </a:lnTo>
                  <a:lnTo>
                    <a:pt x="2238" y="1121"/>
                  </a:lnTo>
                  <a:lnTo>
                    <a:pt x="2238" y="1121"/>
                  </a:lnTo>
                  <a:lnTo>
                    <a:pt x="2238" y="1126"/>
                  </a:lnTo>
                  <a:lnTo>
                    <a:pt x="2238" y="1126"/>
                  </a:lnTo>
                  <a:lnTo>
                    <a:pt x="2238" y="1126"/>
                  </a:lnTo>
                  <a:lnTo>
                    <a:pt x="2238" y="1126"/>
                  </a:lnTo>
                  <a:close/>
                  <a:moveTo>
                    <a:pt x="2232" y="1151"/>
                  </a:moveTo>
                  <a:lnTo>
                    <a:pt x="2234" y="1147"/>
                  </a:lnTo>
                  <a:lnTo>
                    <a:pt x="2232" y="1145"/>
                  </a:lnTo>
                  <a:lnTo>
                    <a:pt x="2232" y="1147"/>
                  </a:lnTo>
                  <a:lnTo>
                    <a:pt x="2232" y="1151"/>
                  </a:lnTo>
                  <a:lnTo>
                    <a:pt x="2232" y="1151"/>
                  </a:lnTo>
                  <a:lnTo>
                    <a:pt x="2232" y="1151"/>
                  </a:lnTo>
                  <a:lnTo>
                    <a:pt x="2232" y="1151"/>
                  </a:lnTo>
                  <a:close/>
                  <a:moveTo>
                    <a:pt x="2232" y="1162"/>
                  </a:moveTo>
                  <a:lnTo>
                    <a:pt x="2232" y="1158"/>
                  </a:lnTo>
                  <a:lnTo>
                    <a:pt x="2232" y="1157"/>
                  </a:lnTo>
                  <a:lnTo>
                    <a:pt x="2228" y="1158"/>
                  </a:lnTo>
                  <a:lnTo>
                    <a:pt x="2232" y="1162"/>
                  </a:lnTo>
                  <a:lnTo>
                    <a:pt x="2232" y="1162"/>
                  </a:lnTo>
                  <a:lnTo>
                    <a:pt x="2232" y="1162"/>
                  </a:lnTo>
                  <a:lnTo>
                    <a:pt x="2232" y="1162"/>
                  </a:lnTo>
                  <a:close/>
                  <a:moveTo>
                    <a:pt x="2228" y="1166"/>
                  </a:moveTo>
                  <a:lnTo>
                    <a:pt x="2232" y="1168"/>
                  </a:lnTo>
                  <a:lnTo>
                    <a:pt x="2232" y="1166"/>
                  </a:lnTo>
                  <a:lnTo>
                    <a:pt x="2228" y="1166"/>
                  </a:lnTo>
                  <a:lnTo>
                    <a:pt x="2228" y="1166"/>
                  </a:lnTo>
                  <a:lnTo>
                    <a:pt x="2228" y="1166"/>
                  </a:lnTo>
                  <a:lnTo>
                    <a:pt x="2228" y="1166"/>
                  </a:lnTo>
                  <a:close/>
                  <a:moveTo>
                    <a:pt x="2226" y="1172"/>
                  </a:moveTo>
                  <a:lnTo>
                    <a:pt x="2228" y="1172"/>
                  </a:lnTo>
                  <a:lnTo>
                    <a:pt x="2228" y="1172"/>
                  </a:lnTo>
                  <a:lnTo>
                    <a:pt x="2228" y="1172"/>
                  </a:lnTo>
                  <a:lnTo>
                    <a:pt x="2228" y="1172"/>
                  </a:lnTo>
                  <a:lnTo>
                    <a:pt x="2226" y="1172"/>
                  </a:lnTo>
                  <a:lnTo>
                    <a:pt x="2226" y="1172"/>
                  </a:lnTo>
                  <a:lnTo>
                    <a:pt x="2226" y="1172"/>
                  </a:lnTo>
                  <a:lnTo>
                    <a:pt x="2226" y="1172"/>
                  </a:lnTo>
                  <a:close/>
                  <a:moveTo>
                    <a:pt x="2225" y="1187"/>
                  </a:moveTo>
                  <a:lnTo>
                    <a:pt x="2226" y="1185"/>
                  </a:lnTo>
                  <a:lnTo>
                    <a:pt x="2226" y="1177"/>
                  </a:lnTo>
                  <a:lnTo>
                    <a:pt x="2225" y="1177"/>
                  </a:lnTo>
                  <a:lnTo>
                    <a:pt x="2225" y="1181"/>
                  </a:lnTo>
                  <a:lnTo>
                    <a:pt x="2223" y="1187"/>
                  </a:lnTo>
                  <a:lnTo>
                    <a:pt x="2225" y="1187"/>
                  </a:lnTo>
                  <a:lnTo>
                    <a:pt x="2225" y="1187"/>
                  </a:lnTo>
                  <a:lnTo>
                    <a:pt x="2225" y="1187"/>
                  </a:lnTo>
                  <a:lnTo>
                    <a:pt x="2225" y="1187"/>
                  </a:lnTo>
                  <a:close/>
                  <a:moveTo>
                    <a:pt x="2193" y="1230"/>
                  </a:moveTo>
                  <a:lnTo>
                    <a:pt x="2194" y="1230"/>
                  </a:lnTo>
                  <a:lnTo>
                    <a:pt x="2198" y="1226"/>
                  </a:lnTo>
                  <a:lnTo>
                    <a:pt x="2200" y="1221"/>
                  </a:lnTo>
                  <a:lnTo>
                    <a:pt x="2204" y="1219"/>
                  </a:lnTo>
                  <a:lnTo>
                    <a:pt x="2204" y="1215"/>
                  </a:lnTo>
                  <a:lnTo>
                    <a:pt x="2204" y="1211"/>
                  </a:lnTo>
                  <a:lnTo>
                    <a:pt x="2208" y="1205"/>
                  </a:lnTo>
                  <a:lnTo>
                    <a:pt x="2208" y="1207"/>
                  </a:lnTo>
                  <a:lnTo>
                    <a:pt x="2202" y="1207"/>
                  </a:lnTo>
                  <a:lnTo>
                    <a:pt x="2200" y="1211"/>
                  </a:lnTo>
                  <a:lnTo>
                    <a:pt x="2200" y="1213"/>
                  </a:lnTo>
                  <a:lnTo>
                    <a:pt x="2198" y="1217"/>
                  </a:lnTo>
                  <a:lnTo>
                    <a:pt x="2196" y="1219"/>
                  </a:lnTo>
                  <a:lnTo>
                    <a:pt x="2196" y="1221"/>
                  </a:lnTo>
                  <a:lnTo>
                    <a:pt x="2193" y="1224"/>
                  </a:lnTo>
                  <a:lnTo>
                    <a:pt x="2193" y="1230"/>
                  </a:lnTo>
                  <a:lnTo>
                    <a:pt x="2193" y="1230"/>
                  </a:lnTo>
                  <a:lnTo>
                    <a:pt x="2193" y="1230"/>
                  </a:lnTo>
                  <a:lnTo>
                    <a:pt x="2193" y="1230"/>
                  </a:lnTo>
                  <a:close/>
                  <a:moveTo>
                    <a:pt x="2159" y="1270"/>
                  </a:moveTo>
                  <a:lnTo>
                    <a:pt x="2159" y="1270"/>
                  </a:lnTo>
                  <a:lnTo>
                    <a:pt x="2161" y="1266"/>
                  </a:lnTo>
                  <a:lnTo>
                    <a:pt x="2162" y="1264"/>
                  </a:lnTo>
                  <a:lnTo>
                    <a:pt x="2162" y="1258"/>
                  </a:lnTo>
                  <a:lnTo>
                    <a:pt x="2164" y="1256"/>
                  </a:lnTo>
                  <a:lnTo>
                    <a:pt x="2164" y="1254"/>
                  </a:lnTo>
                  <a:lnTo>
                    <a:pt x="2166" y="1253"/>
                  </a:lnTo>
                  <a:lnTo>
                    <a:pt x="2168" y="1254"/>
                  </a:lnTo>
                  <a:lnTo>
                    <a:pt x="2170" y="1251"/>
                  </a:lnTo>
                  <a:lnTo>
                    <a:pt x="2174" y="1245"/>
                  </a:lnTo>
                  <a:lnTo>
                    <a:pt x="2177" y="1241"/>
                  </a:lnTo>
                  <a:lnTo>
                    <a:pt x="2179" y="1241"/>
                  </a:lnTo>
                  <a:lnTo>
                    <a:pt x="2183" y="1239"/>
                  </a:lnTo>
                  <a:lnTo>
                    <a:pt x="2183" y="1236"/>
                  </a:lnTo>
                  <a:lnTo>
                    <a:pt x="2183" y="1230"/>
                  </a:lnTo>
                  <a:lnTo>
                    <a:pt x="2179" y="1232"/>
                  </a:lnTo>
                  <a:lnTo>
                    <a:pt x="2177" y="1236"/>
                  </a:lnTo>
                  <a:lnTo>
                    <a:pt x="2176" y="1239"/>
                  </a:lnTo>
                  <a:lnTo>
                    <a:pt x="2174" y="1239"/>
                  </a:lnTo>
                  <a:lnTo>
                    <a:pt x="2170" y="1241"/>
                  </a:lnTo>
                  <a:lnTo>
                    <a:pt x="2168" y="1241"/>
                  </a:lnTo>
                  <a:lnTo>
                    <a:pt x="2168" y="1239"/>
                  </a:lnTo>
                  <a:lnTo>
                    <a:pt x="2166" y="1239"/>
                  </a:lnTo>
                  <a:lnTo>
                    <a:pt x="2164" y="1241"/>
                  </a:lnTo>
                  <a:lnTo>
                    <a:pt x="2166" y="1243"/>
                  </a:lnTo>
                  <a:lnTo>
                    <a:pt x="2164" y="1247"/>
                  </a:lnTo>
                  <a:lnTo>
                    <a:pt x="2162" y="1251"/>
                  </a:lnTo>
                  <a:lnTo>
                    <a:pt x="2161" y="1251"/>
                  </a:lnTo>
                  <a:lnTo>
                    <a:pt x="2161" y="1253"/>
                  </a:lnTo>
                  <a:lnTo>
                    <a:pt x="2161" y="1256"/>
                  </a:lnTo>
                  <a:lnTo>
                    <a:pt x="2159" y="1258"/>
                  </a:lnTo>
                  <a:lnTo>
                    <a:pt x="2159" y="1260"/>
                  </a:lnTo>
                  <a:lnTo>
                    <a:pt x="2159" y="1260"/>
                  </a:lnTo>
                  <a:lnTo>
                    <a:pt x="2159" y="1264"/>
                  </a:lnTo>
                  <a:lnTo>
                    <a:pt x="2159" y="1266"/>
                  </a:lnTo>
                  <a:lnTo>
                    <a:pt x="2159" y="1270"/>
                  </a:lnTo>
                  <a:lnTo>
                    <a:pt x="2159" y="1270"/>
                  </a:lnTo>
                  <a:lnTo>
                    <a:pt x="2159" y="1270"/>
                  </a:lnTo>
                  <a:lnTo>
                    <a:pt x="2159" y="1270"/>
                  </a:lnTo>
                  <a:close/>
                  <a:moveTo>
                    <a:pt x="2142" y="1294"/>
                  </a:moveTo>
                  <a:lnTo>
                    <a:pt x="2142" y="1294"/>
                  </a:lnTo>
                  <a:lnTo>
                    <a:pt x="2142" y="1290"/>
                  </a:lnTo>
                  <a:lnTo>
                    <a:pt x="2144" y="1281"/>
                  </a:lnTo>
                  <a:lnTo>
                    <a:pt x="2145" y="1279"/>
                  </a:lnTo>
                  <a:lnTo>
                    <a:pt x="2149" y="1275"/>
                  </a:lnTo>
                  <a:lnTo>
                    <a:pt x="2149" y="1271"/>
                  </a:lnTo>
                  <a:lnTo>
                    <a:pt x="2149" y="1271"/>
                  </a:lnTo>
                  <a:lnTo>
                    <a:pt x="2145" y="1271"/>
                  </a:lnTo>
                  <a:lnTo>
                    <a:pt x="2145" y="1271"/>
                  </a:lnTo>
                  <a:lnTo>
                    <a:pt x="2144" y="1270"/>
                  </a:lnTo>
                  <a:lnTo>
                    <a:pt x="2142" y="1270"/>
                  </a:lnTo>
                  <a:lnTo>
                    <a:pt x="2142" y="1275"/>
                  </a:lnTo>
                  <a:lnTo>
                    <a:pt x="2140" y="1279"/>
                  </a:lnTo>
                  <a:lnTo>
                    <a:pt x="2140" y="1285"/>
                  </a:lnTo>
                  <a:lnTo>
                    <a:pt x="2138" y="1288"/>
                  </a:lnTo>
                  <a:lnTo>
                    <a:pt x="2140" y="1290"/>
                  </a:lnTo>
                  <a:lnTo>
                    <a:pt x="2142" y="1294"/>
                  </a:lnTo>
                  <a:lnTo>
                    <a:pt x="2142" y="1294"/>
                  </a:lnTo>
                  <a:lnTo>
                    <a:pt x="2142" y="1294"/>
                  </a:lnTo>
                  <a:lnTo>
                    <a:pt x="2142" y="1294"/>
                  </a:lnTo>
                  <a:close/>
                  <a:moveTo>
                    <a:pt x="35" y="998"/>
                  </a:moveTo>
                  <a:lnTo>
                    <a:pt x="35" y="998"/>
                  </a:lnTo>
                  <a:lnTo>
                    <a:pt x="35" y="1002"/>
                  </a:lnTo>
                  <a:lnTo>
                    <a:pt x="39" y="1002"/>
                  </a:lnTo>
                  <a:lnTo>
                    <a:pt x="39" y="1002"/>
                  </a:lnTo>
                  <a:lnTo>
                    <a:pt x="35" y="998"/>
                  </a:lnTo>
                  <a:lnTo>
                    <a:pt x="35" y="998"/>
                  </a:lnTo>
                  <a:lnTo>
                    <a:pt x="35" y="998"/>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6">
              <a:extLst>
                <a:ext uri="{FF2B5EF4-FFF2-40B4-BE49-F238E27FC236}">
                  <a16:creationId xmlns:a16="http://schemas.microsoft.com/office/drawing/2014/main" id="{D4285A7E-7BBE-674D-8724-0E13D23E6287}"/>
                </a:ext>
              </a:extLst>
            </p:cNvPr>
            <p:cNvSpPr>
              <a:spLocks noEditPoints="1"/>
            </p:cNvSpPr>
            <p:nvPr/>
          </p:nvSpPr>
          <p:spPr bwMode="auto">
            <a:xfrm>
              <a:off x="6229384" y="2056322"/>
              <a:ext cx="103254" cy="69798"/>
            </a:xfrm>
            <a:custGeom>
              <a:avLst/>
              <a:gdLst/>
              <a:ahLst/>
              <a:cxnLst>
                <a:cxn ang="0">
                  <a:pos x="96" y="87"/>
                </a:cxn>
                <a:cxn ang="0">
                  <a:pos x="91" y="79"/>
                </a:cxn>
                <a:cxn ang="0">
                  <a:pos x="91" y="83"/>
                </a:cxn>
                <a:cxn ang="0">
                  <a:pos x="87" y="87"/>
                </a:cxn>
                <a:cxn ang="0">
                  <a:pos x="121" y="70"/>
                </a:cxn>
                <a:cxn ang="0">
                  <a:pos x="115" y="62"/>
                </a:cxn>
                <a:cxn ang="0">
                  <a:pos x="78" y="53"/>
                </a:cxn>
                <a:cxn ang="0">
                  <a:pos x="62" y="70"/>
                </a:cxn>
                <a:cxn ang="0">
                  <a:pos x="55" y="62"/>
                </a:cxn>
                <a:cxn ang="0">
                  <a:pos x="57" y="51"/>
                </a:cxn>
                <a:cxn ang="0">
                  <a:pos x="64" y="53"/>
                </a:cxn>
                <a:cxn ang="0">
                  <a:pos x="64" y="47"/>
                </a:cxn>
                <a:cxn ang="0">
                  <a:pos x="76" y="57"/>
                </a:cxn>
                <a:cxn ang="0">
                  <a:pos x="74" y="66"/>
                </a:cxn>
                <a:cxn ang="0">
                  <a:pos x="68" y="72"/>
                </a:cxn>
                <a:cxn ang="0">
                  <a:pos x="76" y="72"/>
                </a:cxn>
                <a:cxn ang="0">
                  <a:pos x="70" y="72"/>
                </a:cxn>
                <a:cxn ang="0">
                  <a:pos x="62" y="76"/>
                </a:cxn>
                <a:cxn ang="0">
                  <a:pos x="68" y="78"/>
                </a:cxn>
                <a:cxn ang="0">
                  <a:pos x="59" y="81"/>
                </a:cxn>
                <a:cxn ang="0">
                  <a:pos x="53" y="72"/>
                </a:cxn>
                <a:cxn ang="0">
                  <a:pos x="44" y="53"/>
                </a:cxn>
                <a:cxn ang="0">
                  <a:pos x="44" y="53"/>
                </a:cxn>
                <a:cxn ang="0">
                  <a:pos x="44" y="76"/>
                </a:cxn>
                <a:cxn ang="0">
                  <a:pos x="40" y="72"/>
                </a:cxn>
                <a:cxn ang="0">
                  <a:pos x="49" y="76"/>
                </a:cxn>
                <a:cxn ang="0">
                  <a:pos x="49" y="68"/>
                </a:cxn>
                <a:cxn ang="0">
                  <a:pos x="44" y="59"/>
                </a:cxn>
                <a:cxn ang="0">
                  <a:pos x="40" y="72"/>
                </a:cxn>
                <a:cxn ang="0">
                  <a:pos x="30" y="59"/>
                </a:cxn>
                <a:cxn ang="0">
                  <a:pos x="51" y="12"/>
                </a:cxn>
                <a:cxn ang="0">
                  <a:pos x="46" y="13"/>
                </a:cxn>
                <a:cxn ang="0">
                  <a:pos x="17" y="27"/>
                </a:cxn>
                <a:cxn ang="0">
                  <a:pos x="14" y="30"/>
                </a:cxn>
                <a:cxn ang="0">
                  <a:pos x="19" y="23"/>
                </a:cxn>
                <a:cxn ang="0">
                  <a:pos x="34" y="23"/>
                </a:cxn>
                <a:cxn ang="0">
                  <a:pos x="40" y="6"/>
                </a:cxn>
                <a:cxn ang="0">
                  <a:pos x="30" y="8"/>
                </a:cxn>
                <a:cxn ang="0">
                  <a:pos x="12" y="23"/>
                </a:cxn>
                <a:cxn ang="0">
                  <a:pos x="6" y="29"/>
                </a:cxn>
                <a:cxn ang="0">
                  <a:pos x="12" y="32"/>
                </a:cxn>
                <a:cxn ang="0">
                  <a:pos x="25" y="70"/>
                </a:cxn>
                <a:cxn ang="0">
                  <a:pos x="25" y="59"/>
                </a:cxn>
                <a:cxn ang="0">
                  <a:pos x="40" y="53"/>
                </a:cxn>
                <a:cxn ang="0">
                  <a:pos x="46" y="44"/>
                </a:cxn>
                <a:cxn ang="0">
                  <a:pos x="49" y="34"/>
                </a:cxn>
                <a:cxn ang="0">
                  <a:pos x="34" y="30"/>
                </a:cxn>
                <a:cxn ang="0">
                  <a:pos x="25" y="25"/>
                </a:cxn>
                <a:cxn ang="0">
                  <a:pos x="25" y="34"/>
                </a:cxn>
                <a:cxn ang="0">
                  <a:pos x="21" y="32"/>
                </a:cxn>
                <a:cxn ang="0">
                  <a:pos x="14" y="38"/>
                </a:cxn>
                <a:cxn ang="0">
                  <a:pos x="6" y="38"/>
                </a:cxn>
                <a:cxn ang="0">
                  <a:pos x="6" y="47"/>
                </a:cxn>
                <a:cxn ang="0">
                  <a:pos x="2" y="61"/>
                </a:cxn>
                <a:cxn ang="0">
                  <a:pos x="10" y="72"/>
                </a:cxn>
                <a:cxn ang="0">
                  <a:pos x="29" y="76"/>
                </a:cxn>
              </a:cxnLst>
              <a:rect l="0" t="0" r="r" b="b"/>
              <a:pathLst>
                <a:path w="121" h="91">
                  <a:moveTo>
                    <a:pt x="87" y="87"/>
                  </a:moveTo>
                  <a:lnTo>
                    <a:pt x="89" y="89"/>
                  </a:lnTo>
                  <a:lnTo>
                    <a:pt x="91" y="91"/>
                  </a:lnTo>
                  <a:lnTo>
                    <a:pt x="94" y="87"/>
                  </a:lnTo>
                  <a:lnTo>
                    <a:pt x="96" y="87"/>
                  </a:lnTo>
                  <a:lnTo>
                    <a:pt x="96" y="85"/>
                  </a:lnTo>
                  <a:lnTo>
                    <a:pt x="96" y="83"/>
                  </a:lnTo>
                  <a:lnTo>
                    <a:pt x="96" y="79"/>
                  </a:lnTo>
                  <a:lnTo>
                    <a:pt x="94" y="79"/>
                  </a:lnTo>
                  <a:lnTo>
                    <a:pt x="91" y="79"/>
                  </a:lnTo>
                  <a:lnTo>
                    <a:pt x="91" y="79"/>
                  </a:lnTo>
                  <a:lnTo>
                    <a:pt x="89" y="79"/>
                  </a:lnTo>
                  <a:lnTo>
                    <a:pt x="89" y="81"/>
                  </a:lnTo>
                  <a:lnTo>
                    <a:pt x="91" y="81"/>
                  </a:lnTo>
                  <a:lnTo>
                    <a:pt x="91" y="83"/>
                  </a:lnTo>
                  <a:lnTo>
                    <a:pt x="89" y="85"/>
                  </a:lnTo>
                  <a:lnTo>
                    <a:pt x="87" y="87"/>
                  </a:lnTo>
                  <a:lnTo>
                    <a:pt x="87" y="87"/>
                  </a:lnTo>
                  <a:lnTo>
                    <a:pt x="87" y="87"/>
                  </a:lnTo>
                  <a:lnTo>
                    <a:pt x="87" y="87"/>
                  </a:lnTo>
                  <a:close/>
                  <a:moveTo>
                    <a:pt x="115" y="62"/>
                  </a:moveTo>
                  <a:lnTo>
                    <a:pt x="115" y="66"/>
                  </a:lnTo>
                  <a:lnTo>
                    <a:pt x="115" y="70"/>
                  </a:lnTo>
                  <a:lnTo>
                    <a:pt x="121" y="72"/>
                  </a:lnTo>
                  <a:lnTo>
                    <a:pt x="121" y="70"/>
                  </a:lnTo>
                  <a:lnTo>
                    <a:pt x="117" y="64"/>
                  </a:lnTo>
                  <a:lnTo>
                    <a:pt x="115" y="62"/>
                  </a:lnTo>
                  <a:lnTo>
                    <a:pt x="115" y="62"/>
                  </a:lnTo>
                  <a:lnTo>
                    <a:pt x="115" y="62"/>
                  </a:lnTo>
                  <a:lnTo>
                    <a:pt x="115" y="62"/>
                  </a:lnTo>
                  <a:close/>
                  <a:moveTo>
                    <a:pt x="78" y="53"/>
                  </a:moveTo>
                  <a:lnTo>
                    <a:pt x="76" y="57"/>
                  </a:lnTo>
                  <a:lnTo>
                    <a:pt x="79" y="59"/>
                  </a:lnTo>
                  <a:lnTo>
                    <a:pt x="78" y="53"/>
                  </a:lnTo>
                  <a:lnTo>
                    <a:pt x="78" y="53"/>
                  </a:lnTo>
                  <a:lnTo>
                    <a:pt x="78" y="53"/>
                  </a:lnTo>
                  <a:lnTo>
                    <a:pt x="78" y="53"/>
                  </a:lnTo>
                  <a:close/>
                  <a:moveTo>
                    <a:pt x="68" y="72"/>
                  </a:moveTo>
                  <a:lnTo>
                    <a:pt x="64" y="72"/>
                  </a:lnTo>
                  <a:lnTo>
                    <a:pt x="62" y="70"/>
                  </a:lnTo>
                  <a:lnTo>
                    <a:pt x="64" y="68"/>
                  </a:lnTo>
                  <a:lnTo>
                    <a:pt x="64" y="66"/>
                  </a:lnTo>
                  <a:lnTo>
                    <a:pt x="59" y="66"/>
                  </a:lnTo>
                  <a:lnTo>
                    <a:pt x="57" y="66"/>
                  </a:lnTo>
                  <a:lnTo>
                    <a:pt x="55" y="62"/>
                  </a:lnTo>
                  <a:lnTo>
                    <a:pt x="55" y="59"/>
                  </a:lnTo>
                  <a:lnTo>
                    <a:pt x="53" y="57"/>
                  </a:lnTo>
                  <a:lnTo>
                    <a:pt x="53" y="53"/>
                  </a:lnTo>
                  <a:lnTo>
                    <a:pt x="55" y="53"/>
                  </a:lnTo>
                  <a:lnTo>
                    <a:pt x="57" y="51"/>
                  </a:lnTo>
                  <a:lnTo>
                    <a:pt x="59" y="49"/>
                  </a:lnTo>
                  <a:lnTo>
                    <a:pt x="61" y="53"/>
                  </a:lnTo>
                  <a:lnTo>
                    <a:pt x="61" y="53"/>
                  </a:lnTo>
                  <a:lnTo>
                    <a:pt x="64" y="57"/>
                  </a:lnTo>
                  <a:lnTo>
                    <a:pt x="64" y="53"/>
                  </a:lnTo>
                  <a:lnTo>
                    <a:pt x="68" y="57"/>
                  </a:lnTo>
                  <a:lnTo>
                    <a:pt x="68" y="53"/>
                  </a:lnTo>
                  <a:lnTo>
                    <a:pt x="64" y="53"/>
                  </a:lnTo>
                  <a:lnTo>
                    <a:pt x="62" y="51"/>
                  </a:lnTo>
                  <a:lnTo>
                    <a:pt x="64" y="47"/>
                  </a:lnTo>
                  <a:lnTo>
                    <a:pt x="70" y="45"/>
                  </a:lnTo>
                  <a:lnTo>
                    <a:pt x="74" y="45"/>
                  </a:lnTo>
                  <a:lnTo>
                    <a:pt x="76" y="49"/>
                  </a:lnTo>
                  <a:lnTo>
                    <a:pt x="76" y="53"/>
                  </a:lnTo>
                  <a:lnTo>
                    <a:pt x="76" y="57"/>
                  </a:lnTo>
                  <a:lnTo>
                    <a:pt x="70" y="59"/>
                  </a:lnTo>
                  <a:lnTo>
                    <a:pt x="70" y="59"/>
                  </a:lnTo>
                  <a:lnTo>
                    <a:pt x="74" y="62"/>
                  </a:lnTo>
                  <a:lnTo>
                    <a:pt x="76" y="64"/>
                  </a:lnTo>
                  <a:lnTo>
                    <a:pt x="74" y="66"/>
                  </a:lnTo>
                  <a:lnTo>
                    <a:pt x="68" y="68"/>
                  </a:lnTo>
                  <a:lnTo>
                    <a:pt x="70" y="70"/>
                  </a:lnTo>
                  <a:lnTo>
                    <a:pt x="68" y="72"/>
                  </a:lnTo>
                  <a:lnTo>
                    <a:pt x="68" y="72"/>
                  </a:lnTo>
                  <a:lnTo>
                    <a:pt x="68" y="72"/>
                  </a:lnTo>
                  <a:lnTo>
                    <a:pt x="68" y="72"/>
                  </a:lnTo>
                  <a:close/>
                  <a:moveTo>
                    <a:pt x="70" y="72"/>
                  </a:moveTo>
                  <a:lnTo>
                    <a:pt x="70" y="76"/>
                  </a:lnTo>
                  <a:lnTo>
                    <a:pt x="72" y="72"/>
                  </a:lnTo>
                  <a:lnTo>
                    <a:pt x="76" y="72"/>
                  </a:lnTo>
                  <a:lnTo>
                    <a:pt x="74" y="70"/>
                  </a:lnTo>
                  <a:lnTo>
                    <a:pt x="72" y="72"/>
                  </a:lnTo>
                  <a:lnTo>
                    <a:pt x="70" y="72"/>
                  </a:lnTo>
                  <a:lnTo>
                    <a:pt x="70" y="72"/>
                  </a:lnTo>
                  <a:lnTo>
                    <a:pt x="70" y="72"/>
                  </a:lnTo>
                  <a:lnTo>
                    <a:pt x="70" y="72"/>
                  </a:lnTo>
                  <a:close/>
                  <a:moveTo>
                    <a:pt x="55" y="72"/>
                  </a:moveTo>
                  <a:lnTo>
                    <a:pt x="59" y="76"/>
                  </a:lnTo>
                  <a:lnTo>
                    <a:pt x="61" y="76"/>
                  </a:lnTo>
                  <a:lnTo>
                    <a:pt x="62" y="76"/>
                  </a:lnTo>
                  <a:lnTo>
                    <a:pt x="64" y="72"/>
                  </a:lnTo>
                  <a:lnTo>
                    <a:pt x="68" y="72"/>
                  </a:lnTo>
                  <a:lnTo>
                    <a:pt x="68" y="72"/>
                  </a:lnTo>
                  <a:lnTo>
                    <a:pt x="70" y="76"/>
                  </a:lnTo>
                  <a:lnTo>
                    <a:pt x="68" y="78"/>
                  </a:lnTo>
                  <a:lnTo>
                    <a:pt x="68" y="81"/>
                  </a:lnTo>
                  <a:lnTo>
                    <a:pt x="66" y="81"/>
                  </a:lnTo>
                  <a:lnTo>
                    <a:pt x="66" y="78"/>
                  </a:lnTo>
                  <a:lnTo>
                    <a:pt x="64" y="79"/>
                  </a:lnTo>
                  <a:lnTo>
                    <a:pt x="59" y="81"/>
                  </a:lnTo>
                  <a:lnTo>
                    <a:pt x="53" y="79"/>
                  </a:lnTo>
                  <a:lnTo>
                    <a:pt x="51" y="78"/>
                  </a:lnTo>
                  <a:lnTo>
                    <a:pt x="53" y="76"/>
                  </a:lnTo>
                  <a:lnTo>
                    <a:pt x="51" y="76"/>
                  </a:lnTo>
                  <a:lnTo>
                    <a:pt x="53" y="72"/>
                  </a:lnTo>
                  <a:lnTo>
                    <a:pt x="55" y="72"/>
                  </a:lnTo>
                  <a:lnTo>
                    <a:pt x="55" y="72"/>
                  </a:lnTo>
                  <a:lnTo>
                    <a:pt x="55" y="72"/>
                  </a:lnTo>
                  <a:lnTo>
                    <a:pt x="55" y="72"/>
                  </a:lnTo>
                  <a:close/>
                  <a:moveTo>
                    <a:pt x="44" y="53"/>
                  </a:moveTo>
                  <a:lnTo>
                    <a:pt x="44" y="53"/>
                  </a:lnTo>
                  <a:lnTo>
                    <a:pt x="44" y="47"/>
                  </a:lnTo>
                  <a:lnTo>
                    <a:pt x="44" y="51"/>
                  </a:lnTo>
                  <a:lnTo>
                    <a:pt x="44" y="53"/>
                  </a:lnTo>
                  <a:lnTo>
                    <a:pt x="44" y="53"/>
                  </a:lnTo>
                  <a:lnTo>
                    <a:pt x="44" y="53"/>
                  </a:lnTo>
                  <a:lnTo>
                    <a:pt x="44" y="53"/>
                  </a:lnTo>
                  <a:lnTo>
                    <a:pt x="44" y="53"/>
                  </a:lnTo>
                  <a:close/>
                  <a:moveTo>
                    <a:pt x="40" y="72"/>
                  </a:moveTo>
                  <a:lnTo>
                    <a:pt x="44" y="76"/>
                  </a:lnTo>
                  <a:lnTo>
                    <a:pt x="44" y="76"/>
                  </a:lnTo>
                  <a:lnTo>
                    <a:pt x="40" y="72"/>
                  </a:lnTo>
                  <a:lnTo>
                    <a:pt x="40" y="72"/>
                  </a:lnTo>
                  <a:lnTo>
                    <a:pt x="40" y="72"/>
                  </a:lnTo>
                  <a:lnTo>
                    <a:pt x="40" y="72"/>
                  </a:lnTo>
                  <a:close/>
                  <a:moveTo>
                    <a:pt x="49" y="68"/>
                  </a:moveTo>
                  <a:lnTo>
                    <a:pt x="49" y="72"/>
                  </a:lnTo>
                  <a:lnTo>
                    <a:pt x="46" y="76"/>
                  </a:lnTo>
                  <a:lnTo>
                    <a:pt x="46" y="76"/>
                  </a:lnTo>
                  <a:lnTo>
                    <a:pt x="49" y="76"/>
                  </a:lnTo>
                  <a:lnTo>
                    <a:pt x="51" y="70"/>
                  </a:lnTo>
                  <a:lnTo>
                    <a:pt x="51" y="70"/>
                  </a:lnTo>
                  <a:lnTo>
                    <a:pt x="49" y="68"/>
                  </a:lnTo>
                  <a:lnTo>
                    <a:pt x="49" y="68"/>
                  </a:lnTo>
                  <a:lnTo>
                    <a:pt x="49" y="68"/>
                  </a:lnTo>
                  <a:lnTo>
                    <a:pt x="49" y="68"/>
                  </a:lnTo>
                  <a:close/>
                  <a:moveTo>
                    <a:pt x="30" y="59"/>
                  </a:moveTo>
                  <a:lnTo>
                    <a:pt x="38" y="57"/>
                  </a:lnTo>
                  <a:lnTo>
                    <a:pt x="40" y="59"/>
                  </a:lnTo>
                  <a:lnTo>
                    <a:pt x="44" y="59"/>
                  </a:lnTo>
                  <a:lnTo>
                    <a:pt x="46" y="64"/>
                  </a:lnTo>
                  <a:lnTo>
                    <a:pt x="49" y="68"/>
                  </a:lnTo>
                  <a:lnTo>
                    <a:pt x="44" y="72"/>
                  </a:lnTo>
                  <a:lnTo>
                    <a:pt x="40" y="72"/>
                  </a:lnTo>
                  <a:lnTo>
                    <a:pt x="40" y="72"/>
                  </a:lnTo>
                  <a:lnTo>
                    <a:pt x="34" y="70"/>
                  </a:lnTo>
                  <a:lnTo>
                    <a:pt x="30" y="66"/>
                  </a:lnTo>
                  <a:lnTo>
                    <a:pt x="30" y="62"/>
                  </a:lnTo>
                  <a:lnTo>
                    <a:pt x="30" y="59"/>
                  </a:lnTo>
                  <a:lnTo>
                    <a:pt x="30" y="59"/>
                  </a:lnTo>
                  <a:lnTo>
                    <a:pt x="30" y="59"/>
                  </a:lnTo>
                  <a:lnTo>
                    <a:pt x="30" y="59"/>
                  </a:lnTo>
                  <a:close/>
                  <a:moveTo>
                    <a:pt x="46" y="13"/>
                  </a:moveTo>
                  <a:lnTo>
                    <a:pt x="49" y="12"/>
                  </a:lnTo>
                  <a:lnTo>
                    <a:pt x="51" y="12"/>
                  </a:lnTo>
                  <a:lnTo>
                    <a:pt x="49" y="13"/>
                  </a:lnTo>
                  <a:lnTo>
                    <a:pt x="46" y="13"/>
                  </a:lnTo>
                  <a:lnTo>
                    <a:pt x="46" y="13"/>
                  </a:lnTo>
                  <a:lnTo>
                    <a:pt x="46" y="13"/>
                  </a:lnTo>
                  <a:lnTo>
                    <a:pt x="46" y="13"/>
                  </a:lnTo>
                  <a:close/>
                  <a:moveTo>
                    <a:pt x="14" y="30"/>
                  </a:moveTo>
                  <a:lnTo>
                    <a:pt x="12" y="27"/>
                  </a:lnTo>
                  <a:lnTo>
                    <a:pt x="15" y="25"/>
                  </a:lnTo>
                  <a:lnTo>
                    <a:pt x="19" y="25"/>
                  </a:lnTo>
                  <a:lnTo>
                    <a:pt x="17" y="27"/>
                  </a:lnTo>
                  <a:lnTo>
                    <a:pt x="15" y="30"/>
                  </a:lnTo>
                  <a:lnTo>
                    <a:pt x="14" y="30"/>
                  </a:lnTo>
                  <a:lnTo>
                    <a:pt x="14" y="30"/>
                  </a:lnTo>
                  <a:lnTo>
                    <a:pt x="14" y="30"/>
                  </a:lnTo>
                  <a:lnTo>
                    <a:pt x="14" y="30"/>
                  </a:lnTo>
                  <a:close/>
                  <a:moveTo>
                    <a:pt x="12" y="32"/>
                  </a:moveTo>
                  <a:lnTo>
                    <a:pt x="10" y="29"/>
                  </a:lnTo>
                  <a:lnTo>
                    <a:pt x="12" y="25"/>
                  </a:lnTo>
                  <a:lnTo>
                    <a:pt x="17" y="23"/>
                  </a:lnTo>
                  <a:lnTo>
                    <a:pt x="19" y="23"/>
                  </a:lnTo>
                  <a:lnTo>
                    <a:pt x="23" y="23"/>
                  </a:lnTo>
                  <a:lnTo>
                    <a:pt x="25" y="23"/>
                  </a:lnTo>
                  <a:lnTo>
                    <a:pt x="29" y="23"/>
                  </a:lnTo>
                  <a:lnTo>
                    <a:pt x="30" y="23"/>
                  </a:lnTo>
                  <a:lnTo>
                    <a:pt x="34" y="23"/>
                  </a:lnTo>
                  <a:lnTo>
                    <a:pt x="38" y="23"/>
                  </a:lnTo>
                  <a:lnTo>
                    <a:pt x="40" y="17"/>
                  </a:lnTo>
                  <a:lnTo>
                    <a:pt x="40" y="12"/>
                  </a:lnTo>
                  <a:lnTo>
                    <a:pt x="40" y="12"/>
                  </a:lnTo>
                  <a:lnTo>
                    <a:pt x="40" y="6"/>
                  </a:lnTo>
                  <a:lnTo>
                    <a:pt x="44" y="2"/>
                  </a:lnTo>
                  <a:lnTo>
                    <a:pt x="44" y="0"/>
                  </a:lnTo>
                  <a:lnTo>
                    <a:pt x="38" y="6"/>
                  </a:lnTo>
                  <a:lnTo>
                    <a:pt x="30" y="8"/>
                  </a:lnTo>
                  <a:lnTo>
                    <a:pt x="30" y="8"/>
                  </a:lnTo>
                  <a:lnTo>
                    <a:pt x="25" y="12"/>
                  </a:lnTo>
                  <a:lnTo>
                    <a:pt x="25" y="17"/>
                  </a:lnTo>
                  <a:lnTo>
                    <a:pt x="21" y="19"/>
                  </a:lnTo>
                  <a:lnTo>
                    <a:pt x="17" y="19"/>
                  </a:lnTo>
                  <a:lnTo>
                    <a:pt x="12" y="23"/>
                  </a:lnTo>
                  <a:lnTo>
                    <a:pt x="12" y="23"/>
                  </a:lnTo>
                  <a:lnTo>
                    <a:pt x="8" y="23"/>
                  </a:lnTo>
                  <a:lnTo>
                    <a:pt x="6" y="25"/>
                  </a:lnTo>
                  <a:lnTo>
                    <a:pt x="4" y="29"/>
                  </a:lnTo>
                  <a:lnTo>
                    <a:pt x="6" y="29"/>
                  </a:lnTo>
                  <a:lnTo>
                    <a:pt x="8" y="29"/>
                  </a:lnTo>
                  <a:lnTo>
                    <a:pt x="12" y="32"/>
                  </a:lnTo>
                  <a:lnTo>
                    <a:pt x="12" y="32"/>
                  </a:lnTo>
                  <a:lnTo>
                    <a:pt x="12" y="32"/>
                  </a:lnTo>
                  <a:lnTo>
                    <a:pt x="12" y="32"/>
                  </a:lnTo>
                  <a:close/>
                  <a:moveTo>
                    <a:pt x="29" y="76"/>
                  </a:moveTo>
                  <a:lnTo>
                    <a:pt x="29" y="76"/>
                  </a:lnTo>
                  <a:lnTo>
                    <a:pt x="29" y="72"/>
                  </a:lnTo>
                  <a:lnTo>
                    <a:pt x="25" y="70"/>
                  </a:lnTo>
                  <a:lnTo>
                    <a:pt x="25" y="70"/>
                  </a:lnTo>
                  <a:lnTo>
                    <a:pt x="25" y="68"/>
                  </a:lnTo>
                  <a:lnTo>
                    <a:pt x="25" y="66"/>
                  </a:lnTo>
                  <a:lnTo>
                    <a:pt x="29" y="62"/>
                  </a:lnTo>
                  <a:lnTo>
                    <a:pt x="25" y="62"/>
                  </a:lnTo>
                  <a:lnTo>
                    <a:pt x="25" y="59"/>
                  </a:lnTo>
                  <a:lnTo>
                    <a:pt x="34" y="57"/>
                  </a:lnTo>
                  <a:lnTo>
                    <a:pt x="30" y="57"/>
                  </a:lnTo>
                  <a:lnTo>
                    <a:pt x="34" y="53"/>
                  </a:lnTo>
                  <a:lnTo>
                    <a:pt x="34" y="53"/>
                  </a:lnTo>
                  <a:lnTo>
                    <a:pt x="40" y="53"/>
                  </a:lnTo>
                  <a:lnTo>
                    <a:pt x="40" y="47"/>
                  </a:lnTo>
                  <a:lnTo>
                    <a:pt x="38" y="44"/>
                  </a:lnTo>
                  <a:lnTo>
                    <a:pt x="40" y="42"/>
                  </a:lnTo>
                  <a:lnTo>
                    <a:pt x="44" y="42"/>
                  </a:lnTo>
                  <a:lnTo>
                    <a:pt x="46" y="44"/>
                  </a:lnTo>
                  <a:lnTo>
                    <a:pt x="46" y="42"/>
                  </a:lnTo>
                  <a:lnTo>
                    <a:pt x="49" y="44"/>
                  </a:lnTo>
                  <a:lnTo>
                    <a:pt x="49" y="42"/>
                  </a:lnTo>
                  <a:lnTo>
                    <a:pt x="49" y="38"/>
                  </a:lnTo>
                  <a:lnTo>
                    <a:pt x="49" y="34"/>
                  </a:lnTo>
                  <a:lnTo>
                    <a:pt x="46" y="38"/>
                  </a:lnTo>
                  <a:lnTo>
                    <a:pt x="40" y="38"/>
                  </a:lnTo>
                  <a:lnTo>
                    <a:pt x="40" y="34"/>
                  </a:lnTo>
                  <a:lnTo>
                    <a:pt x="38" y="32"/>
                  </a:lnTo>
                  <a:lnTo>
                    <a:pt x="34" y="30"/>
                  </a:lnTo>
                  <a:lnTo>
                    <a:pt x="38" y="29"/>
                  </a:lnTo>
                  <a:lnTo>
                    <a:pt x="38" y="25"/>
                  </a:lnTo>
                  <a:lnTo>
                    <a:pt x="34" y="23"/>
                  </a:lnTo>
                  <a:lnTo>
                    <a:pt x="29" y="23"/>
                  </a:lnTo>
                  <a:lnTo>
                    <a:pt x="25" y="25"/>
                  </a:lnTo>
                  <a:lnTo>
                    <a:pt x="21" y="23"/>
                  </a:lnTo>
                  <a:lnTo>
                    <a:pt x="21" y="25"/>
                  </a:lnTo>
                  <a:lnTo>
                    <a:pt x="23" y="30"/>
                  </a:lnTo>
                  <a:lnTo>
                    <a:pt x="23" y="30"/>
                  </a:lnTo>
                  <a:lnTo>
                    <a:pt x="25" y="34"/>
                  </a:lnTo>
                  <a:lnTo>
                    <a:pt x="25" y="34"/>
                  </a:lnTo>
                  <a:lnTo>
                    <a:pt x="23" y="34"/>
                  </a:lnTo>
                  <a:lnTo>
                    <a:pt x="19" y="34"/>
                  </a:lnTo>
                  <a:lnTo>
                    <a:pt x="19" y="34"/>
                  </a:lnTo>
                  <a:lnTo>
                    <a:pt x="21" y="32"/>
                  </a:lnTo>
                  <a:lnTo>
                    <a:pt x="19" y="29"/>
                  </a:lnTo>
                  <a:lnTo>
                    <a:pt x="17" y="29"/>
                  </a:lnTo>
                  <a:lnTo>
                    <a:pt x="15" y="32"/>
                  </a:lnTo>
                  <a:lnTo>
                    <a:pt x="17" y="34"/>
                  </a:lnTo>
                  <a:lnTo>
                    <a:pt x="14" y="38"/>
                  </a:lnTo>
                  <a:lnTo>
                    <a:pt x="10" y="34"/>
                  </a:lnTo>
                  <a:lnTo>
                    <a:pt x="8" y="34"/>
                  </a:lnTo>
                  <a:lnTo>
                    <a:pt x="4" y="34"/>
                  </a:lnTo>
                  <a:lnTo>
                    <a:pt x="2" y="34"/>
                  </a:lnTo>
                  <a:lnTo>
                    <a:pt x="6" y="38"/>
                  </a:lnTo>
                  <a:lnTo>
                    <a:pt x="6" y="42"/>
                  </a:lnTo>
                  <a:lnTo>
                    <a:pt x="4" y="42"/>
                  </a:lnTo>
                  <a:lnTo>
                    <a:pt x="2" y="42"/>
                  </a:lnTo>
                  <a:lnTo>
                    <a:pt x="2" y="45"/>
                  </a:lnTo>
                  <a:lnTo>
                    <a:pt x="6" y="47"/>
                  </a:lnTo>
                  <a:lnTo>
                    <a:pt x="6" y="51"/>
                  </a:lnTo>
                  <a:lnTo>
                    <a:pt x="8" y="53"/>
                  </a:lnTo>
                  <a:lnTo>
                    <a:pt x="2" y="53"/>
                  </a:lnTo>
                  <a:lnTo>
                    <a:pt x="0" y="59"/>
                  </a:lnTo>
                  <a:lnTo>
                    <a:pt x="2" y="61"/>
                  </a:lnTo>
                  <a:lnTo>
                    <a:pt x="6" y="59"/>
                  </a:lnTo>
                  <a:lnTo>
                    <a:pt x="10" y="64"/>
                  </a:lnTo>
                  <a:lnTo>
                    <a:pt x="12" y="70"/>
                  </a:lnTo>
                  <a:lnTo>
                    <a:pt x="10" y="70"/>
                  </a:lnTo>
                  <a:lnTo>
                    <a:pt x="10" y="72"/>
                  </a:lnTo>
                  <a:lnTo>
                    <a:pt x="15" y="72"/>
                  </a:lnTo>
                  <a:lnTo>
                    <a:pt x="23" y="76"/>
                  </a:lnTo>
                  <a:lnTo>
                    <a:pt x="25" y="76"/>
                  </a:lnTo>
                  <a:lnTo>
                    <a:pt x="29" y="76"/>
                  </a:lnTo>
                  <a:lnTo>
                    <a:pt x="29" y="76"/>
                  </a:lnTo>
                  <a:lnTo>
                    <a:pt x="29" y="76"/>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7">
              <a:extLst>
                <a:ext uri="{FF2B5EF4-FFF2-40B4-BE49-F238E27FC236}">
                  <a16:creationId xmlns:a16="http://schemas.microsoft.com/office/drawing/2014/main" id="{A24FB0F6-41AA-8F4D-BCCF-133F4EAFCF6F}"/>
                </a:ext>
              </a:extLst>
            </p:cNvPr>
            <p:cNvSpPr>
              <a:spLocks noEditPoints="1"/>
            </p:cNvSpPr>
            <p:nvPr/>
          </p:nvSpPr>
          <p:spPr bwMode="auto">
            <a:xfrm>
              <a:off x="6185009" y="1719605"/>
              <a:ext cx="319147" cy="332883"/>
            </a:xfrm>
            <a:custGeom>
              <a:avLst/>
              <a:gdLst/>
              <a:ahLst/>
              <a:cxnLst>
                <a:cxn ang="0">
                  <a:pos x="355" y="49"/>
                </a:cxn>
                <a:cxn ang="0">
                  <a:pos x="370" y="23"/>
                </a:cxn>
                <a:cxn ang="0">
                  <a:pos x="335" y="12"/>
                </a:cxn>
                <a:cxn ang="0">
                  <a:pos x="320" y="15"/>
                </a:cxn>
                <a:cxn ang="0">
                  <a:pos x="310" y="12"/>
                </a:cxn>
                <a:cxn ang="0">
                  <a:pos x="291" y="15"/>
                </a:cxn>
                <a:cxn ang="0">
                  <a:pos x="278" y="12"/>
                </a:cxn>
                <a:cxn ang="0">
                  <a:pos x="259" y="34"/>
                </a:cxn>
                <a:cxn ang="0">
                  <a:pos x="231" y="46"/>
                </a:cxn>
                <a:cxn ang="0">
                  <a:pos x="216" y="70"/>
                </a:cxn>
                <a:cxn ang="0">
                  <a:pos x="201" y="76"/>
                </a:cxn>
                <a:cxn ang="0">
                  <a:pos x="177" y="85"/>
                </a:cxn>
                <a:cxn ang="0">
                  <a:pos x="178" y="104"/>
                </a:cxn>
                <a:cxn ang="0">
                  <a:pos x="152" y="117"/>
                </a:cxn>
                <a:cxn ang="0">
                  <a:pos x="154" y="142"/>
                </a:cxn>
                <a:cxn ang="0">
                  <a:pos x="133" y="155"/>
                </a:cxn>
                <a:cxn ang="0">
                  <a:pos x="120" y="177"/>
                </a:cxn>
                <a:cxn ang="0">
                  <a:pos x="116" y="202"/>
                </a:cxn>
                <a:cxn ang="0">
                  <a:pos x="103" y="226"/>
                </a:cxn>
                <a:cxn ang="0">
                  <a:pos x="79" y="258"/>
                </a:cxn>
                <a:cxn ang="0">
                  <a:pos x="99" y="260"/>
                </a:cxn>
                <a:cxn ang="0">
                  <a:pos x="71" y="274"/>
                </a:cxn>
                <a:cxn ang="0">
                  <a:pos x="49" y="283"/>
                </a:cxn>
                <a:cxn ang="0">
                  <a:pos x="47" y="296"/>
                </a:cxn>
                <a:cxn ang="0">
                  <a:pos x="26" y="307"/>
                </a:cxn>
                <a:cxn ang="0">
                  <a:pos x="26" y="322"/>
                </a:cxn>
                <a:cxn ang="0">
                  <a:pos x="5" y="338"/>
                </a:cxn>
                <a:cxn ang="0">
                  <a:pos x="41" y="341"/>
                </a:cxn>
                <a:cxn ang="0">
                  <a:pos x="7" y="349"/>
                </a:cxn>
                <a:cxn ang="0">
                  <a:pos x="30" y="360"/>
                </a:cxn>
                <a:cxn ang="0">
                  <a:pos x="15" y="383"/>
                </a:cxn>
                <a:cxn ang="0">
                  <a:pos x="26" y="409"/>
                </a:cxn>
                <a:cxn ang="0">
                  <a:pos x="49" y="430"/>
                </a:cxn>
                <a:cxn ang="0">
                  <a:pos x="73" y="392"/>
                </a:cxn>
                <a:cxn ang="0">
                  <a:pos x="92" y="377"/>
                </a:cxn>
                <a:cxn ang="0">
                  <a:pos x="120" y="368"/>
                </a:cxn>
                <a:cxn ang="0">
                  <a:pos x="133" y="247"/>
                </a:cxn>
                <a:cxn ang="0">
                  <a:pos x="169" y="125"/>
                </a:cxn>
                <a:cxn ang="0">
                  <a:pos x="216" y="96"/>
                </a:cxn>
                <a:cxn ang="0">
                  <a:pos x="267" y="89"/>
                </a:cxn>
                <a:cxn ang="0">
                  <a:pos x="316" y="42"/>
                </a:cxn>
                <a:cxn ang="0">
                  <a:pos x="5" y="379"/>
                </a:cxn>
                <a:cxn ang="0">
                  <a:pos x="0" y="353"/>
                </a:cxn>
                <a:cxn ang="0">
                  <a:pos x="0" y="362"/>
                </a:cxn>
                <a:cxn ang="0">
                  <a:pos x="2" y="317"/>
                </a:cxn>
                <a:cxn ang="0">
                  <a:pos x="50" y="279"/>
                </a:cxn>
                <a:cxn ang="0">
                  <a:pos x="54" y="274"/>
                </a:cxn>
                <a:cxn ang="0">
                  <a:pos x="92" y="226"/>
                </a:cxn>
                <a:cxn ang="0">
                  <a:pos x="113" y="191"/>
                </a:cxn>
                <a:cxn ang="0">
                  <a:pos x="111" y="130"/>
                </a:cxn>
                <a:cxn ang="0">
                  <a:pos x="126" y="113"/>
                </a:cxn>
                <a:cxn ang="0">
                  <a:pos x="145" y="96"/>
                </a:cxn>
                <a:cxn ang="0">
                  <a:pos x="154" y="83"/>
                </a:cxn>
                <a:cxn ang="0">
                  <a:pos x="160" y="96"/>
                </a:cxn>
                <a:cxn ang="0">
                  <a:pos x="182" y="72"/>
                </a:cxn>
                <a:cxn ang="0">
                  <a:pos x="182" y="72"/>
                </a:cxn>
                <a:cxn ang="0">
                  <a:pos x="192" y="47"/>
                </a:cxn>
                <a:cxn ang="0">
                  <a:pos x="203" y="47"/>
                </a:cxn>
                <a:cxn ang="0">
                  <a:pos x="222" y="42"/>
                </a:cxn>
                <a:cxn ang="0">
                  <a:pos x="252" y="34"/>
                </a:cxn>
                <a:cxn ang="0">
                  <a:pos x="259" y="25"/>
                </a:cxn>
                <a:cxn ang="0">
                  <a:pos x="280" y="8"/>
                </a:cxn>
              </a:cxnLst>
              <a:rect l="0" t="0" r="r" b="b"/>
              <a:pathLst>
                <a:path w="374" h="434">
                  <a:moveTo>
                    <a:pt x="346" y="78"/>
                  </a:moveTo>
                  <a:lnTo>
                    <a:pt x="350" y="76"/>
                  </a:lnTo>
                  <a:lnTo>
                    <a:pt x="350" y="70"/>
                  </a:lnTo>
                  <a:lnTo>
                    <a:pt x="354" y="66"/>
                  </a:lnTo>
                  <a:lnTo>
                    <a:pt x="357" y="66"/>
                  </a:lnTo>
                  <a:lnTo>
                    <a:pt x="361" y="63"/>
                  </a:lnTo>
                  <a:lnTo>
                    <a:pt x="359" y="57"/>
                  </a:lnTo>
                  <a:lnTo>
                    <a:pt x="363" y="55"/>
                  </a:lnTo>
                  <a:lnTo>
                    <a:pt x="367" y="57"/>
                  </a:lnTo>
                  <a:lnTo>
                    <a:pt x="370" y="55"/>
                  </a:lnTo>
                  <a:lnTo>
                    <a:pt x="369" y="51"/>
                  </a:lnTo>
                  <a:lnTo>
                    <a:pt x="369" y="49"/>
                  </a:lnTo>
                  <a:lnTo>
                    <a:pt x="365" y="47"/>
                  </a:lnTo>
                  <a:lnTo>
                    <a:pt x="365" y="47"/>
                  </a:lnTo>
                  <a:lnTo>
                    <a:pt x="363" y="49"/>
                  </a:lnTo>
                  <a:lnTo>
                    <a:pt x="363" y="51"/>
                  </a:lnTo>
                  <a:lnTo>
                    <a:pt x="361" y="49"/>
                  </a:lnTo>
                  <a:lnTo>
                    <a:pt x="359" y="47"/>
                  </a:lnTo>
                  <a:lnTo>
                    <a:pt x="357" y="47"/>
                  </a:lnTo>
                  <a:lnTo>
                    <a:pt x="359" y="49"/>
                  </a:lnTo>
                  <a:lnTo>
                    <a:pt x="357" y="53"/>
                  </a:lnTo>
                  <a:lnTo>
                    <a:pt x="355" y="53"/>
                  </a:lnTo>
                  <a:lnTo>
                    <a:pt x="355" y="49"/>
                  </a:lnTo>
                  <a:lnTo>
                    <a:pt x="354" y="51"/>
                  </a:lnTo>
                  <a:lnTo>
                    <a:pt x="354" y="53"/>
                  </a:lnTo>
                  <a:lnTo>
                    <a:pt x="350" y="51"/>
                  </a:lnTo>
                  <a:lnTo>
                    <a:pt x="350" y="47"/>
                  </a:lnTo>
                  <a:lnTo>
                    <a:pt x="350" y="46"/>
                  </a:lnTo>
                  <a:lnTo>
                    <a:pt x="348" y="42"/>
                  </a:lnTo>
                  <a:lnTo>
                    <a:pt x="346" y="42"/>
                  </a:lnTo>
                  <a:lnTo>
                    <a:pt x="340" y="42"/>
                  </a:lnTo>
                  <a:lnTo>
                    <a:pt x="340" y="42"/>
                  </a:lnTo>
                  <a:lnTo>
                    <a:pt x="335" y="42"/>
                  </a:lnTo>
                  <a:lnTo>
                    <a:pt x="333" y="36"/>
                  </a:lnTo>
                  <a:lnTo>
                    <a:pt x="335" y="36"/>
                  </a:lnTo>
                  <a:lnTo>
                    <a:pt x="340" y="40"/>
                  </a:lnTo>
                  <a:lnTo>
                    <a:pt x="344" y="36"/>
                  </a:lnTo>
                  <a:lnTo>
                    <a:pt x="348" y="40"/>
                  </a:lnTo>
                  <a:lnTo>
                    <a:pt x="354" y="40"/>
                  </a:lnTo>
                  <a:lnTo>
                    <a:pt x="359" y="36"/>
                  </a:lnTo>
                  <a:lnTo>
                    <a:pt x="363" y="32"/>
                  </a:lnTo>
                  <a:lnTo>
                    <a:pt x="370" y="31"/>
                  </a:lnTo>
                  <a:lnTo>
                    <a:pt x="374" y="27"/>
                  </a:lnTo>
                  <a:lnTo>
                    <a:pt x="374" y="27"/>
                  </a:lnTo>
                  <a:lnTo>
                    <a:pt x="372" y="25"/>
                  </a:lnTo>
                  <a:lnTo>
                    <a:pt x="370" y="23"/>
                  </a:lnTo>
                  <a:lnTo>
                    <a:pt x="369" y="23"/>
                  </a:lnTo>
                  <a:lnTo>
                    <a:pt x="365" y="23"/>
                  </a:lnTo>
                  <a:lnTo>
                    <a:pt x="359" y="19"/>
                  </a:lnTo>
                  <a:lnTo>
                    <a:pt x="357" y="19"/>
                  </a:lnTo>
                  <a:lnTo>
                    <a:pt x="354" y="23"/>
                  </a:lnTo>
                  <a:lnTo>
                    <a:pt x="354" y="23"/>
                  </a:lnTo>
                  <a:lnTo>
                    <a:pt x="354" y="21"/>
                  </a:lnTo>
                  <a:lnTo>
                    <a:pt x="355" y="19"/>
                  </a:lnTo>
                  <a:lnTo>
                    <a:pt x="355" y="17"/>
                  </a:lnTo>
                  <a:lnTo>
                    <a:pt x="354" y="15"/>
                  </a:lnTo>
                  <a:lnTo>
                    <a:pt x="350" y="15"/>
                  </a:lnTo>
                  <a:lnTo>
                    <a:pt x="350" y="15"/>
                  </a:lnTo>
                  <a:lnTo>
                    <a:pt x="348" y="19"/>
                  </a:lnTo>
                  <a:lnTo>
                    <a:pt x="346" y="19"/>
                  </a:lnTo>
                  <a:lnTo>
                    <a:pt x="346" y="15"/>
                  </a:lnTo>
                  <a:lnTo>
                    <a:pt x="344" y="15"/>
                  </a:lnTo>
                  <a:lnTo>
                    <a:pt x="340" y="19"/>
                  </a:lnTo>
                  <a:lnTo>
                    <a:pt x="340" y="19"/>
                  </a:lnTo>
                  <a:lnTo>
                    <a:pt x="340" y="15"/>
                  </a:lnTo>
                  <a:lnTo>
                    <a:pt x="340" y="15"/>
                  </a:lnTo>
                  <a:lnTo>
                    <a:pt x="340" y="12"/>
                  </a:lnTo>
                  <a:lnTo>
                    <a:pt x="338" y="12"/>
                  </a:lnTo>
                  <a:lnTo>
                    <a:pt x="335" y="12"/>
                  </a:lnTo>
                  <a:lnTo>
                    <a:pt x="333" y="12"/>
                  </a:lnTo>
                  <a:lnTo>
                    <a:pt x="333" y="17"/>
                  </a:lnTo>
                  <a:lnTo>
                    <a:pt x="329" y="17"/>
                  </a:lnTo>
                  <a:lnTo>
                    <a:pt x="329" y="19"/>
                  </a:lnTo>
                  <a:lnTo>
                    <a:pt x="333" y="25"/>
                  </a:lnTo>
                  <a:lnTo>
                    <a:pt x="331" y="27"/>
                  </a:lnTo>
                  <a:lnTo>
                    <a:pt x="329" y="29"/>
                  </a:lnTo>
                  <a:lnTo>
                    <a:pt x="329" y="27"/>
                  </a:lnTo>
                  <a:lnTo>
                    <a:pt x="325" y="27"/>
                  </a:lnTo>
                  <a:lnTo>
                    <a:pt x="325" y="27"/>
                  </a:lnTo>
                  <a:lnTo>
                    <a:pt x="322" y="27"/>
                  </a:lnTo>
                  <a:lnTo>
                    <a:pt x="320" y="29"/>
                  </a:lnTo>
                  <a:lnTo>
                    <a:pt x="322" y="23"/>
                  </a:lnTo>
                  <a:lnTo>
                    <a:pt x="325" y="23"/>
                  </a:lnTo>
                  <a:lnTo>
                    <a:pt x="325" y="19"/>
                  </a:lnTo>
                  <a:lnTo>
                    <a:pt x="325" y="17"/>
                  </a:lnTo>
                  <a:lnTo>
                    <a:pt x="325" y="17"/>
                  </a:lnTo>
                  <a:lnTo>
                    <a:pt x="320" y="21"/>
                  </a:lnTo>
                  <a:lnTo>
                    <a:pt x="320" y="19"/>
                  </a:lnTo>
                  <a:lnTo>
                    <a:pt x="320" y="17"/>
                  </a:lnTo>
                  <a:lnTo>
                    <a:pt x="320" y="15"/>
                  </a:lnTo>
                  <a:lnTo>
                    <a:pt x="322" y="15"/>
                  </a:lnTo>
                  <a:lnTo>
                    <a:pt x="320" y="15"/>
                  </a:lnTo>
                  <a:lnTo>
                    <a:pt x="316" y="12"/>
                  </a:lnTo>
                  <a:lnTo>
                    <a:pt x="320" y="12"/>
                  </a:lnTo>
                  <a:lnTo>
                    <a:pt x="322" y="12"/>
                  </a:lnTo>
                  <a:lnTo>
                    <a:pt x="325" y="12"/>
                  </a:lnTo>
                  <a:lnTo>
                    <a:pt x="329" y="8"/>
                  </a:lnTo>
                  <a:lnTo>
                    <a:pt x="329" y="6"/>
                  </a:lnTo>
                  <a:lnTo>
                    <a:pt x="325" y="6"/>
                  </a:lnTo>
                  <a:lnTo>
                    <a:pt x="322" y="6"/>
                  </a:lnTo>
                  <a:lnTo>
                    <a:pt x="322" y="2"/>
                  </a:lnTo>
                  <a:lnTo>
                    <a:pt x="322" y="0"/>
                  </a:lnTo>
                  <a:lnTo>
                    <a:pt x="320" y="2"/>
                  </a:lnTo>
                  <a:lnTo>
                    <a:pt x="316" y="2"/>
                  </a:lnTo>
                  <a:lnTo>
                    <a:pt x="316" y="0"/>
                  </a:lnTo>
                  <a:lnTo>
                    <a:pt x="312" y="2"/>
                  </a:lnTo>
                  <a:lnTo>
                    <a:pt x="312" y="2"/>
                  </a:lnTo>
                  <a:lnTo>
                    <a:pt x="316" y="8"/>
                  </a:lnTo>
                  <a:lnTo>
                    <a:pt x="314" y="10"/>
                  </a:lnTo>
                  <a:lnTo>
                    <a:pt x="312" y="10"/>
                  </a:lnTo>
                  <a:lnTo>
                    <a:pt x="308" y="6"/>
                  </a:lnTo>
                  <a:lnTo>
                    <a:pt x="306" y="8"/>
                  </a:lnTo>
                  <a:lnTo>
                    <a:pt x="306" y="10"/>
                  </a:lnTo>
                  <a:lnTo>
                    <a:pt x="306" y="12"/>
                  </a:lnTo>
                  <a:lnTo>
                    <a:pt x="310" y="12"/>
                  </a:lnTo>
                  <a:lnTo>
                    <a:pt x="312" y="12"/>
                  </a:lnTo>
                  <a:lnTo>
                    <a:pt x="312" y="15"/>
                  </a:lnTo>
                  <a:lnTo>
                    <a:pt x="308" y="15"/>
                  </a:lnTo>
                  <a:lnTo>
                    <a:pt x="308" y="17"/>
                  </a:lnTo>
                  <a:lnTo>
                    <a:pt x="306" y="17"/>
                  </a:lnTo>
                  <a:lnTo>
                    <a:pt x="306" y="21"/>
                  </a:lnTo>
                  <a:lnTo>
                    <a:pt x="306" y="21"/>
                  </a:lnTo>
                  <a:lnTo>
                    <a:pt x="305" y="23"/>
                  </a:lnTo>
                  <a:lnTo>
                    <a:pt x="306" y="27"/>
                  </a:lnTo>
                  <a:lnTo>
                    <a:pt x="305" y="29"/>
                  </a:lnTo>
                  <a:lnTo>
                    <a:pt x="305" y="27"/>
                  </a:lnTo>
                  <a:lnTo>
                    <a:pt x="301" y="29"/>
                  </a:lnTo>
                  <a:lnTo>
                    <a:pt x="299" y="31"/>
                  </a:lnTo>
                  <a:lnTo>
                    <a:pt x="297" y="32"/>
                  </a:lnTo>
                  <a:lnTo>
                    <a:pt x="297" y="29"/>
                  </a:lnTo>
                  <a:lnTo>
                    <a:pt x="301" y="21"/>
                  </a:lnTo>
                  <a:lnTo>
                    <a:pt x="297" y="19"/>
                  </a:lnTo>
                  <a:lnTo>
                    <a:pt x="297" y="19"/>
                  </a:lnTo>
                  <a:lnTo>
                    <a:pt x="299" y="15"/>
                  </a:lnTo>
                  <a:lnTo>
                    <a:pt x="299" y="12"/>
                  </a:lnTo>
                  <a:lnTo>
                    <a:pt x="299" y="10"/>
                  </a:lnTo>
                  <a:lnTo>
                    <a:pt x="297" y="10"/>
                  </a:lnTo>
                  <a:lnTo>
                    <a:pt x="291" y="15"/>
                  </a:lnTo>
                  <a:lnTo>
                    <a:pt x="291" y="21"/>
                  </a:lnTo>
                  <a:lnTo>
                    <a:pt x="288" y="29"/>
                  </a:lnTo>
                  <a:lnTo>
                    <a:pt x="288" y="32"/>
                  </a:lnTo>
                  <a:lnTo>
                    <a:pt x="288" y="34"/>
                  </a:lnTo>
                  <a:lnTo>
                    <a:pt x="288" y="36"/>
                  </a:lnTo>
                  <a:lnTo>
                    <a:pt x="282" y="42"/>
                  </a:lnTo>
                  <a:lnTo>
                    <a:pt x="280" y="46"/>
                  </a:lnTo>
                  <a:lnTo>
                    <a:pt x="280" y="42"/>
                  </a:lnTo>
                  <a:lnTo>
                    <a:pt x="278" y="40"/>
                  </a:lnTo>
                  <a:lnTo>
                    <a:pt x="282" y="34"/>
                  </a:lnTo>
                  <a:lnTo>
                    <a:pt x="282" y="31"/>
                  </a:lnTo>
                  <a:lnTo>
                    <a:pt x="284" y="29"/>
                  </a:lnTo>
                  <a:lnTo>
                    <a:pt x="282" y="25"/>
                  </a:lnTo>
                  <a:lnTo>
                    <a:pt x="288" y="19"/>
                  </a:lnTo>
                  <a:lnTo>
                    <a:pt x="288" y="15"/>
                  </a:lnTo>
                  <a:lnTo>
                    <a:pt x="290" y="15"/>
                  </a:lnTo>
                  <a:lnTo>
                    <a:pt x="290" y="12"/>
                  </a:lnTo>
                  <a:lnTo>
                    <a:pt x="286" y="12"/>
                  </a:lnTo>
                  <a:lnTo>
                    <a:pt x="282" y="10"/>
                  </a:lnTo>
                  <a:lnTo>
                    <a:pt x="280" y="12"/>
                  </a:lnTo>
                  <a:lnTo>
                    <a:pt x="282" y="12"/>
                  </a:lnTo>
                  <a:lnTo>
                    <a:pt x="280" y="15"/>
                  </a:lnTo>
                  <a:lnTo>
                    <a:pt x="278" y="12"/>
                  </a:lnTo>
                  <a:lnTo>
                    <a:pt x="276" y="12"/>
                  </a:lnTo>
                  <a:lnTo>
                    <a:pt x="273" y="10"/>
                  </a:lnTo>
                  <a:lnTo>
                    <a:pt x="271" y="12"/>
                  </a:lnTo>
                  <a:lnTo>
                    <a:pt x="271" y="15"/>
                  </a:lnTo>
                  <a:lnTo>
                    <a:pt x="271" y="17"/>
                  </a:lnTo>
                  <a:lnTo>
                    <a:pt x="271" y="15"/>
                  </a:lnTo>
                  <a:lnTo>
                    <a:pt x="267" y="15"/>
                  </a:lnTo>
                  <a:lnTo>
                    <a:pt x="267" y="15"/>
                  </a:lnTo>
                  <a:lnTo>
                    <a:pt x="267" y="17"/>
                  </a:lnTo>
                  <a:lnTo>
                    <a:pt x="271" y="19"/>
                  </a:lnTo>
                  <a:lnTo>
                    <a:pt x="271" y="23"/>
                  </a:lnTo>
                  <a:lnTo>
                    <a:pt x="271" y="25"/>
                  </a:lnTo>
                  <a:lnTo>
                    <a:pt x="267" y="21"/>
                  </a:lnTo>
                  <a:lnTo>
                    <a:pt x="267" y="25"/>
                  </a:lnTo>
                  <a:lnTo>
                    <a:pt x="267" y="27"/>
                  </a:lnTo>
                  <a:lnTo>
                    <a:pt x="267" y="29"/>
                  </a:lnTo>
                  <a:lnTo>
                    <a:pt x="267" y="29"/>
                  </a:lnTo>
                  <a:lnTo>
                    <a:pt x="261" y="27"/>
                  </a:lnTo>
                  <a:lnTo>
                    <a:pt x="261" y="27"/>
                  </a:lnTo>
                  <a:lnTo>
                    <a:pt x="259" y="31"/>
                  </a:lnTo>
                  <a:lnTo>
                    <a:pt x="258" y="32"/>
                  </a:lnTo>
                  <a:lnTo>
                    <a:pt x="258" y="34"/>
                  </a:lnTo>
                  <a:lnTo>
                    <a:pt x="259" y="34"/>
                  </a:lnTo>
                  <a:lnTo>
                    <a:pt x="256" y="36"/>
                  </a:lnTo>
                  <a:lnTo>
                    <a:pt x="254" y="40"/>
                  </a:lnTo>
                  <a:lnTo>
                    <a:pt x="258" y="42"/>
                  </a:lnTo>
                  <a:lnTo>
                    <a:pt x="256" y="46"/>
                  </a:lnTo>
                  <a:lnTo>
                    <a:pt x="258" y="46"/>
                  </a:lnTo>
                  <a:lnTo>
                    <a:pt x="259" y="46"/>
                  </a:lnTo>
                  <a:lnTo>
                    <a:pt x="258" y="47"/>
                  </a:lnTo>
                  <a:lnTo>
                    <a:pt x="252" y="47"/>
                  </a:lnTo>
                  <a:lnTo>
                    <a:pt x="252" y="42"/>
                  </a:lnTo>
                  <a:lnTo>
                    <a:pt x="250" y="42"/>
                  </a:lnTo>
                  <a:lnTo>
                    <a:pt x="252" y="42"/>
                  </a:lnTo>
                  <a:lnTo>
                    <a:pt x="248" y="40"/>
                  </a:lnTo>
                  <a:lnTo>
                    <a:pt x="246" y="40"/>
                  </a:lnTo>
                  <a:lnTo>
                    <a:pt x="241" y="40"/>
                  </a:lnTo>
                  <a:lnTo>
                    <a:pt x="237" y="34"/>
                  </a:lnTo>
                  <a:lnTo>
                    <a:pt x="235" y="34"/>
                  </a:lnTo>
                  <a:lnTo>
                    <a:pt x="233" y="36"/>
                  </a:lnTo>
                  <a:lnTo>
                    <a:pt x="231" y="34"/>
                  </a:lnTo>
                  <a:lnTo>
                    <a:pt x="229" y="36"/>
                  </a:lnTo>
                  <a:lnTo>
                    <a:pt x="226" y="36"/>
                  </a:lnTo>
                  <a:lnTo>
                    <a:pt x="226" y="40"/>
                  </a:lnTo>
                  <a:lnTo>
                    <a:pt x="229" y="46"/>
                  </a:lnTo>
                  <a:lnTo>
                    <a:pt x="231" y="46"/>
                  </a:lnTo>
                  <a:lnTo>
                    <a:pt x="233" y="46"/>
                  </a:lnTo>
                  <a:lnTo>
                    <a:pt x="237" y="46"/>
                  </a:lnTo>
                  <a:lnTo>
                    <a:pt x="237" y="49"/>
                  </a:lnTo>
                  <a:lnTo>
                    <a:pt x="237" y="53"/>
                  </a:lnTo>
                  <a:lnTo>
                    <a:pt x="237" y="57"/>
                  </a:lnTo>
                  <a:lnTo>
                    <a:pt x="237" y="59"/>
                  </a:lnTo>
                  <a:lnTo>
                    <a:pt x="237" y="57"/>
                  </a:lnTo>
                  <a:lnTo>
                    <a:pt x="233" y="53"/>
                  </a:lnTo>
                  <a:lnTo>
                    <a:pt x="231" y="51"/>
                  </a:lnTo>
                  <a:lnTo>
                    <a:pt x="227" y="49"/>
                  </a:lnTo>
                  <a:lnTo>
                    <a:pt x="227" y="53"/>
                  </a:lnTo>
                  <a:lnTo>
                    <a:pt x="224" y="55"/>
                  </a:lnTo>
                  <a:lnTo>
                    <a:pt x="224" y="49"/>
                  </a:lnTo>
                  <a:lnTo>
                    <a:pt x="220" y="53"/>
                  </a:lnTo>
                  <a:lnTo>
                    <a:pt x="220" y="55"/>
                  </a:lnTo>
                  <a:lnTo>
                    <a:pt x="218" y="57"/>
                  </a:lnTo>
                  <a:lnTo>
                    <a:pt x="218" y="61"/>
                  </a:lnTo>
                  <a:lnTo>
                    <a:pt x="222" y="63"/>
                  </a:lnTo>
                  <a:lnTo>
                    <a:pt x="224" y="66"/>
                  </a:lnTo>
                  <a:lnTo>
                    <a:pt x="220" y="66"/>
                  </a:lnTo>
                  <a:lnTo>
                    <a:pt x="218" y="64"/>
                  </a:lnTo>
                  <a:lnTo>
                    <a:pt x="216" y="66"/>
                  </a:lnTo>
                  <a:lnTo>
                    <a:pt x="216" y="70"/>
                  </a:lnTo>
                  <a:lnTo>
                    <a:pt x="212" y="72"/>
                  </a:lnTo>
                  <a:lnTo>
                    <a:pt x="212" y="70"/>
                  </a:lnTo>
                  <a:lnTo>
                    <a:pt x="216" y="70"/>
                  </a:lnTo>
                  <a:lnTo>
                    <a:pt x="212" y="66"/>
                  </a:lnTo>
                  <a:lnTo>
                    <a:pt x="216" y="63"/>
                  </a:lnTo>
                  <a:lnTo>
                    <a:pt x="212" y="51"/>
                  </a:lnTo>
                  <a:lnTo>
                    <a:pt x="212" y="53"/>
                  </a:lnTo>
                  <a:lnTo>
                    <a:pt x="209" y="59"/>
                  </a:lnTo>
                  <a:lnTo>
                    <a:pt x="207" y="64"/>
                  </a:lnTo>
                  <a:lnTo>
                    <a:pt x="209" y="66"/>
                  </a:lnTo>
                  <a:lnTo>
                    <a:pt x="205" y="70"/>
                  </a:lnTo>
                  <a:lnTo>
                    <a:pt x="205" y="66"/>
                  </a:lnTo>
                  <a:lnTo>
                    <a:pt x="207" y="63"/>
                  </a:lnTo>
                  <a:lnTo>
                    <a:pt x="205" y="57"/>
                  </a:lnTo>
                  <a:lnTo>
                    <a:pt x="203" y="57"/>
                  </a:lnTo>
                  <a:lnTo>
                    <a:pt x="199" y="59"/>
                  </a:lnTo>
                  <a:lnTo>
                    <a:pt x="197" y="64"/>
                  </a:lnTo>
                  <a:lnTo>
                    <a:pt x="199" y="66"/>
                  </a:lnTo>
                  <a:lnTo>
                    <a:pt x="199" y="70"/>
                  </a:lnTo>
                  <a:lnTo>
                    <a:pt x="203" y="76"/>
                  </a:lnTo>
                  <a:lnTo>
                    <a:pt x="205" y="76"/>
                  </a:lnTo>
                  <a:lnTo>
                    <a:pt x="203" y="79"/>
                  </a:lnTo>
                  <a:lnTo>
                    <a:pt x="201" y="76"/>
                  </a:lnTo>
                  <a:lnTo>
                    <a:pt x="197" y="76"/>
                  </a:lnTo>
                  <a:lnTo>
                    <a:pt x="195" y="66"/>
                  </a:lnTo>
                  <a:lnTo>
                    <a:pt x="194" y="66"/>
                  </a:lnTo>
                  <a:lnTo>
                    <a:pt x="188" y="66"/>
                  </a:lnTo>
                  <a:lnTo>
                    <a:pt x="188" y="70"/>
                  </a:lnTo>
                  <a:lnTo>
                    <a:pt x="194" y="76"/>
                  </a:lnTo>
                  <a:lnTo>
                    <a:pt x="195" y="76"/>
                  </a:lnTo>
                  <a:lnTo>
                    <a:pt x="197" y="76"/>
                  </a:lnTo>
                  <a:lnTo>
                    <a:pt x="194" y="76"/>
                  </a:lnTo>
                  <a:lnTo>
                    <a:pt x="192" y="76"/>
                  </a:lnTo>
                  <a:lnTo>
                    <a:pt x="192" y="79"/>
                  </a:lnTo>
                  <a:lnTo>
                    <a:pt x="188" y="78"/>
                  </a:lnTo>
                  <a:lnTo>
                    <a:pt x="188" y="72"/>
                  </a:lnTo>
                  <a:lnTo>
                    <a:pt x="188" y="72"/>
                  </a:lnTo>
                  <a:lnTo>
                    <a:pt x="188" y="70"/>
                  </a:lnTo>
                  <a:lnTo>
                    <a:pt x="186" y="70"/>
                  </a:lnTo>
                  <a:lnTo>
                    <a:pt x="184" y="76"/>
                  </a:lnTo>
                  <a:lnTo>
                    <a:pt x="186" y="78"/>
                  </a:lnTo>
                  <a:lnTo>
                    <a:pt x="186" y="81"/>
                  </a:lnTo>
                  <a:lnTo>
                    <a:pt x="182" y="79"/>
                  </a:lnTo>
                  <a:lnTo>
                    <a:pt x="178" y="81"/>
                  </a:lnTo>
                  <a:lnTo>
                    <a:pt x="177" y="85"/>
                  </a:lnTo>
                  <a:lnTo>
                    <a:pt x="177" y="85"/>
                  </a:lnTo>
                  <a:lnTo>
                    <a:pt x="178" y="85"/>
                  </a:lnTo>
                  <a:lnTo>
                    <a:pt x="182" y="89"/>
                  </a:lnTo>
                  <a:lnTo>
                    <a:pt x="178" y="89"/>
                  </a:lnTo>
                  <a:lnTo>
                    <a:pt x="177" y="91"/>
                  </a:lnTo>
                  <a:lnTo>
                    <a:pt x="178" y="91"/>
                  </a:lnTo>
                  <a:lnTo>
                    <a:pt x="177" y="91"/>
                  </a:lnTo>
                  <a:lnTo>
                    <a:pt x="175" y="95"/>
                  </a:lnTo>
                  <a:lnTo>
                    <a:pt x="175" y="96"/>
                  </a:lnTo>
                  <a:lnTo>
                    <a:pt x="175" y="96"/>
                  </a:lnTo>
                  <a:lnTo>
                    <a:pt x="173" y="96"/>
                  </a:lnTo>
                  <a:lnTo>
                    <a:pt x="171" y="95"/>
                  </a:lnTo>
                  <a:lnTo>
                    <a:pt x="169" y="96"/>
                  </a:lnTo>
                  <a:lnTo>
                    <a:pt x="167" y="96"/>
                  </a:lnTo>
                  <a:lnTo>
                    <a:pt x="167" y="100"/>
                  </a:lnTo>
                  <a:lnTo>
                    <a:pt x="167" y="100"/>
                  </a:lnTo>
                  <a:lnTo>
                    <a:pt x="162" y="100"/>
                  </a:lnTo>
                  <a:lnTo>
                    <a:pt x="160" y="104"/>
                  </a:lnTo>
                  <a:lnTo>
                    <a:pt x="163" y="106"/>
                  </a:lnTo>
                  <a:lnTo>
                    <a:pt x="171" y="104"/>
                  </a:lnTo>
                  <a:lnTo>
                    <a:pt x="173" y="104"/>
                  </a:lnTo>
                  <a:lnTo>
                    <a:pt x="177" y="104"/>
                  </a:lnTo>
                  <a:lnTo>
                    <a:pt x="178" y="104"/>
                  </a:lnTo>
                  <a:lnTo>
                    <a:pt x="178" y="104"/>
                  </a:lnTo>
                  <a:lnTo>
                    <a:pt x="177" y="108"/>
                  </a:lnTo>
                  <a:lnTo>
                    <a:pt x="177" y="113"/>
                  </a:lnTo>
                  <a:lnTo>
                    <a:pt x="175" y="113"/>
                  </a:lnTo>
                  <a:lnTo>
                    <a:pt x="173" y="112"/>
                  </a:lnTo>
                  <a:lnTo>
                    <a:pt x="173" y="110"/>
                  </a:lnTo>
                  <a:lnTo>
                    <a:pt x="171" y="110"/>
                  </a:lnTo>
                  <a:lnTo>
                    <a:pt x="169" y="108"/>
                  </a:lnTo>
                  <a:lnTo>
                    <a:pt x="167" y="108"/>
                  </a:lnTo>
                  <a:lnTo>
                    <a:pt x="167" y="110"/>
                  </a:lnTo>
                  <a:lnTo>
                    <a:pt x="167" y="112"/>
                  </a:lnTo>
                  <a:lnTo>
                    <a:pt x="162" y="110"/>
                  </a:lnTo>
                  <a:lnTo>
                    <a:pt x="160" y="112"/>
                  </a:lnTo>
                  <a:lnTo>
                    <a:pt x="163" y="113"/>
                  </a:lnTo>
                  <a:lnTo>
                    <a:pt x="163" y="115"/>
                  </a:lnTo>
                  <a:lnTo>
                    <a:pt x="162" y="115"/>
                  </a:lnTo>
                  <a:lnTo>
                    <a:pt x="162" y="119"/>
                  </a:lnTo>
                  <a:lnTo>
                    <a:pt x="162" y="121"/>
                  </a:lnTo>
                  <a:lnTo>
                    <a:pt x="162" y="121"/>
                  </a:lnTo>
                  <a:lnTo>
                    <a:pt x="160" y="121"/>
                  </a:lnTo>
                  <a:lnTo>
                    <a:pt x="160" y="117"/>
                  </a:lnTo>
                  <a:lnTo>
                    <a:pt x="158" y="113"/>
                  </a:lnTo>
                  <a:lnTo>
                    <a:pt x="154" y="115"/>
                  </a:lnTo>
                  <a:lnTo>
                    <a:pt x="152" y="117"/>
                  </a:lnTo>
                  <a:lnTo>
                    <a:pt x="152" y="115"/>
                  </a:lnTo>
                  <a:lnTo>
                    <a:pt x="152" y="113"/>
                  </a:lnTo>
                  <a:lnTo>
                    <a:pt x="150" y="113"/>
                  </a:lnTo>
                  <a:lnTo>
                    <a:pt x="146" y="115"/>
                  </a:lnTo>
                  <a:lnTo>
                    <a:pt x="150" y="119"/>
                  </a:lnTo>
                  <a:lnTo>
                    <a:pt x="154" y="119"/>
                  </a:lnTo>
                  <a:lnTo>
                    <a:pt x="158" y="121"/>
                  </a:lnTo>
                  <a:lnTo>
                    <a:pt x="154" y="125"/>
                  </a:lnTo>
                  <a:lnTo>
                    <a:pt x="148" y="125"/>
                  </a:lnTo>
                  <a:lnTo>
                    <a:pt x="146" y="121"/>
                  </a:lnTo>
                  <a:lnTo>
                    <a:pt x="145" y="121"/>
                  </a:lnTo>
                  <a:lnTo>
                    <a:pt x="143" y="125"/>
                  </a:lnTo>
                  <a:lnTo>
                    <a:pt x="145" y="130"/>
                  </a:lnTo>
                  <a:lnTo>
                    <a:pt x="143" y="130"/>
                  </a:lnTo>
                  <a:lnTo>
                    <a:pt x="145" y="130"/>
                  </a:lnTo>
                  <a:lnTo>
                    <a:pt x="148" y="128"/>
                  </a:lnTo>
                  <a:lnTo>
                    <a:pt x="152" y="128"/>
                  </a:lnTo>
                  <a:lnTo>
                    <a:pt x="154" y="130"/>
                  </a:lnTo>
                  <a:lnTo>
                    <a:pt x="148" y="130"/>
                  </a:lnTo>
                  <a:lnTo>
                    <a:pt x="148" y="134"/>
                  </a:lnTo>
                  <a:lnTo>
                    <a:pt x="150" y="136"/>
                  </a:lnTo>
                  <a:lnTo>
                    <a:pt x="154" y="138"/>
                  </a:lnTo>
                  <a:lnTo>
                    <a:pt x="154" y="142"/>
                  </a:lnTo>
                  <a:lnTo>
                    <a:pt x="150" y="140"/>
                  </a:lnTo>
                  <a:lnTo>
                    <a:pt x="148" y="140"/>
                  </a:lnTo>
                  <a:lnTo>
                    <a:pt x="146" y="136"/>
                  </a:lnTo>
                  <a:lnTo>
                    <a:pt x="145" y="136"/>
                  </a:lnTo>
                  <a:lnTo>
                    <a:pt x="141" y="138"/>
                  </a:lnTo>
                  <a:lnTo>
                    <a:pt x="145" y="142"/>
                  </a:lnTo>
                  <a:lnTo>
                    <a:pt x="141" y="142"/>
                  </a:lnTo>
                  <a:lnTo>
                    <a:pt x="137" y="144"/>
                  </a:lnTo>
                  <a:lnTo>
                    <a:pt x="137" y="145"/>
                  </a:lnTo>
                  <a:lnTo>
                    <a:pt x="141" y="147"/>
                  </a:lnTo>
                  <a:lnTo>
                    <a:pt x="145" y="145"/>
                  </a:lnTo>
                  <a:lnTo>
                    <a:pt x="146" y="147"/>
                  </a:lnTo>
                  <a:lnTo>
                    <a:pt x="150" y="147"/>
                  </a:lnTo>
                  <a:lnTo>
                    <a:pt x="150" y="149"/>
                  </a:lnTo>
                  <a:lnTo>
                    <a:pt x="152" y="151"/>
                  </a:lnTo>
                  <a:lnTo>
                    <a:pt x="152" y="153"/>
                  </a:lnTo>
                  <a:lnTo>
                    <a:pt x="148" y="149"/>
                  </a:lnTo>
                  <a:lnTo>
                    <a:pt x="145" y="149"/>
                  </a:lnTo>
                  <a:lnTo>
                    <a:pt x="143" y="151"/>
                  </a:lnTo>
                  <a:lnTo>
                    <a:pt x="137" y="153"/>
                  </a:lnTo>
                  <a:lnTo>
                    <a:pt x="137" y="155"/>
                  </a:lnTo>
                  <a:lnTo>
                    <a:pt x="133" y="155"/>
                  </a:lnTo>
                  <a:lnTo>
                    <a:pt x="133" y="155"/>
                  </a:lnTo>
                  <a:lnTo>
                    <a:pt x="130" y="159"/>
                  </a:lnTo>
                  <a:lnTo>
                    <a:pt x="126" y="159"/>
                  </a:lnTo>
                  <a:lnTo>
                    <a:pt x="126" y="159"/>
                  </a:lnTo>
                  <a:lnTo>
                    <a:pt x="130" y="159"/>
                  </a:lnTo>
                  <a:lnTo>
                    <a:pt x="130" y="164"/>
                  </a:lnTo>
                  <a:lnTo>
                    <a:pt x="128" y="164"/>
                  </a:lnTo>
                  <a:lnTo>
                    <a:pt x="128" y="164"/>
                  </a:lnTo>
                  <a:lnTo>
                    <a:pt x="126" y="164"/>
                  </a:lnTo>
                  <a:lnTo>
                    <a:pt x="128" y="166"/>
                  </a:lnTo>
                  <a:lnTo>
                    <a:pt x="128" y="166"/>
                  </a:lnTo>
                  <a:lnTo>
                    <a:pt x="124" y="166"/>
                  </a:lnTo>
                  <a:lnTo>
                    <a:pt x="124" y="166"/>
                  </a:lnTo>
                  <a:lnTo>
                    <a:pt x="122" y="166"/>
                  </a:lnTo>
                  <a:lnTo>
                    <a:pt x="124" y="168"/>
                  </a:lnTo>
                  <a:lnTo>
                    <a:pt x="124" y="170"/>
                  </a:lnTo>
                  <a:lnTo>
                    <a:pt x="124" y="172"/>
                  </a:lnTo>
                  <a:lnTo>
                    <a:pt x="126" y="172"/>
                  </a:lnTo>
                  <a:lnTo>
                    <a:pt x="124" y="174"/>
                  </a:lnTo>
                  <a:lnTo>
                    <a:pt x="122" y="174"/>
                  </a:lnTo>
                  <a:lnTo>
                    <a:pt x="120" y="172"/>
                  </a:lnTo>
                  <a:lnTo>
                    <a:pt x="120" y="176"/>
                  </a:lnTo>
                  <a:lnTo>
                    <a:pt x="118" y="177"/>
                  </a:lnTo>
                  <a:lnTo>
                    <a:pt x="120" y="177"/>
                  </a:lnTo>
                  <a:lnTo>
                    <a:pt x="126" y="179"/>
                  </a:lnTo>
                  <a:lnTo>
                    <a:pt x="126" y="181"/>
                  </a:lnTo>
                  <a:lnTo>
                    <a:pt x="130" y="183"/>
                  </a:lnTo>
                  <a:lnTo>
                    <a:pt x="130" y="181"/>
                  </a:lnTo>
                  <a:lnTo>
                    <a:pt x="130" y="183"/>
                  </a:lnTo>
                  <a:lnTo>
                    <a:pt x="130" y="185"/>
                  </a:lnTo>
                  <a:lnTo>
                    <a:pt x="126" y="185"/>
                  </a:lnTo>
                  <a:lnTo>
                    <a:pt x="124" y="183"/>
                  </a:lnTo>
                  <a:lnTo>
                    <a:pt x="120" y="185"/>
                  </a:lnTo>
                  <a:lnTo>
                    <a:pt x="116" y="185"/>
                  </a:lnTo>
                  <a:lnTo>
                    <a:pt x="116" y="189"/>
                  </a:lnTo>
                  <a:lnTo>
                    <a:pt x="120" y="189"/>
                  </a:lnTo>
                  <a:lnTo>
                    <a:pt x="120" y="189"/>
                  </a:lnTo>
                  <a:lnTo>
                    <a:pt x="122" y="191"/>
                  </a:lnTo>
                  <a:lnTo>
                    <a:pt x="122" y="194"/>
                  </a:lnTo>
                  <a:lnTo>
                    <a:pt x="120" y="193"/>
                  </a:lnTo>
                  <a:lnTo>
                    <a:pt x="118" y="193"/>
                  </a:lnTo>
                  <a:lnTo>
                    <a:pt x="116" y="194"/>
                  </a:lnTo>
                  <a:lnTo>
                    <a:pt x="116" y="196"/>
                  </a:lnTo>
                  <a:lnTo>
                    <a:pt x="116" y="198"/>
                  </a:lnTo>
                  <a:lnTo>
                    <a:pt x="118" y="200"/>
                  </a:lnTo>
                  <a:lnTo>
                    <a:pt x="118" y="202"/>
                  </a:lnTo>
                  <a:lnTo>
                    <a:pt x="116" y="202"/>
                  </a:lnTo>
                  <a:lnTo>
                    <a:pt x="114" y="200"/>
                  </a:lnTo>
                  <a:lnTo>
                    <a:pt x="113" y="200"/>
                  </a:lnTo>
                  <a:lnTo>
                    <a:pt x="113" y="204"/>
                  </a:lnTo>
                  <a:lnTo>
                    <a:pt x="116" y="206"/>
                  </a:lnTo>
                  <a:lnTo>
                    <a:pt x="116" y="206"/>
                  </a:lnTo>
                  <a:lnTo>
                    <a:pt x="116" y="209"/>
                  </a:lnTo>
                  <a:lnTo>
                    <a:pt x="113" y="206"/>
                  </a:lnTo>
                  <a:lnTo>
                    <a:pt x="111" y="208"/>
                  </a:lnTo>
                  <a:lnTo>
                    <a:pt x="111" y="209"/>
                  </a:lnTo>
                  <a:lnTo>
                    <a:pt x="113" y="209"/>
                  </a:lnTo>
                  <a:lnTo>
                    <a:pt x="111" y="213"/>
                  </a:lnTo>
                  <a:lnTo>
                    <a:pt x="113" y="215"/>
                  </a:lnTo>
                  <a:lnTo>
                    <a:pt x="114" y="215"/>
                  </a:lnTo>
                  <a:lnTo>
                    <a:pt x="116" y="213"/>
                  </a:lnTo>
                  <a:lnTo>
                    <a:pt x="118" y="213"/>
                  </a:lnTo>
                  <a:lnTo>
                    <a:pt x="116" y="219"/>
                  </a:lnTo>
                  <a:lnTo>
                    <a:pt x="114" y="219"/>
                  </a:lnTo>
                  <a:lnTo>
                    <a:pt x="111" y="223"/>
                  </a:lnTo>
                  <a:lnTo>
                    <a:pt x="109" y="223"/>
                  </a:lnTo>
                  <a:lnTo>
                    <a:pt x="109" y="223"/>
                  </a:lnTo>
                  <a:lnTo>
                    <a:pt x="109" y="223"/>
                  </a:lnTo>
                  <a:lnTo>
                    <a:pt x="105" y="225"/>
                  </a:lnTo>
                  <a:lnTo>
                    <a:pt x="103" y="226"/>
                  </a:lnTo>
                  <a:lnTo>
                    <a:pt x="105" y="228"/>
                  </a:lnTo>
                  <a:lnTo>
                    <a:pt x="103" y="230"/>
                  </a:lnTo>
                  <a:lnTo>
                    <a:pt x="99" y="230"/>
                  </a:lnTo>
                  <a:lnTo>
                    <a:pt x="98" y="234"/>
                  </a:lnTo>
                  <a:lnTo>
                    <a:pt x="98" y="236"/>
                  </a:lnTo>
                  <a:lnTo>
                    <a:pt x="99" y="236"/>
                  </a:lnTo>
                  <a:lnTo>
                    <a:pt x="98" y="238"/>
                  </a:lnTo>
                  <a:lnTo>
                    <a:pt x="98" y="240"/>
                  </a:lnTo>
                  <a:lnTo>
                    <a:pt x="94" y="240"/>
                  </a:lnTo>
                  <a:lnTo>
                    <a:pt x="94" y="238"/>
                  </a:lnTo>
                  <a:lnTo>
                    <a:pt x="92" y="238"/>
                  </a:lnTo>
                  <a:lnTo>
                    <a:pt x="90" y="240"/>
                  </a:lnTo>
                  <a:lnTo>
                    <a:pt x="88" y="240"/>
                  </a:lnTo>
                  <a:lnTo>
                    <a:pt x="88" y="240"/>
                  </a:lnTo>
                  <a:lnTo>
                    <a:pt x="86" y="243"/>
                  </a:lnTo>
                  <a:lnTo>
                    <a:pt x="86" y="243"/>
                  </a:lnTo>
                  <a:lnTo>
                    <a:pt x="86" y="247"/>
                  </a:lnTo>
                  <a:lnTo>
                    <a:pt x="84" y="247"/>
                  </a:lnTo>
                  <a:lnTo>
                    <a:pt x="81" y="247"/>
                  </a:lnTo>
                  <a:lnTo>
                    <a:pt x="81" y="253"/>
                  </a:lnTo>
                  <a:lnTo>
                    <a:pt x="79" y="253"/>
                  </a:lnTo>
                  <a:lnTo>
                    <a:pt x="79" y="253"/>
                  </a:lnTo>
                  <a:lnTo>
                    <a:pt x="79" y="258"/>
                  </a:lnTo>
                  <a:lnTo>
                    <a:pt x="75" y="260"/>
                  </a:lnTo>
                  <a:lnTo>
                    <a:pt x="73" y="262"/>
                  </a:lnTo>
                  <a:lnTo>
                    <a:pt x="75" y="264"/>
                  </a:lnTo>
                  <a:lnTo>
                    <a:pt x="79" y="262"/>
                  </a:lnTo>
                  <a:lnTo>
                    <a:pt x="79" y="262"/>
                  </a:lnTo>
                  <a:lnTo>
                    <a:pt x="79" y="264"/>
                  </a:lnTo>
                  <a:lnTo>
                    <a:pt x="75" y="266"/>
                  </a:lnTo>
                  <a:lnTo>
                    <a:pt x="75" y="270"/>
                  </a:lnTo>
                  <a:lnTo>
                    <a:pt x="79" y="272"/>
                  </a:lnTo>
                  <a:lnTo>
                    <a:pt x="84" y="270"/>
                  </a:lnTo>
                  <a:lnTo>
                    <a:pt x="86" y="270"/>
                  </a:lnTo>
                  <a:lnTo>
                    <a:pt x="92" y="264"/>
                  </a:lnTo>
                  <a:lnTo>
                    <a:pt x="92" y="260"/>
                  </a:lnTo>
                  <a:lnTo>
                    <a:pt x="90" y="262"/>
                  </a:lnTo>
                  <a:lnTo>
                    <a:pt x="92" y="258"/>
                  </a:lnTo>
                  <a:lnTo>
                    <a:pt x="92" y="255"/>
                  </a:lnTo>
                  <a:lnTo>
                    <a:pt x="94" y="253"/>
                  </a:lnTo>
                  <a:lnTo>
                    <a:pt x="96" y="253"/>
                  </a:lnTo>
                  <a:lnTo>
                    <a:pt x="99" y="253"/>
                  </a:lnTo>
                  <a:lnTo>
                    <a:pt x="99" y="253"/>
                  </a:lnTo>
                  <a:lnTo>
                    <a:pt x="96" y="257"/>
                  </a:lnTo>
                  <a:lnTo>
                    <a:pt x="96" y="258"/>
                  </a:lnTo>
                  <a:lnTo>
                    <a:pt x="99" y="260"/>
                  </a:lnTo>
                  <a:lnTo>
                    <a:pt x="99" y="262"/>
                  </a:lnTo>
                  <a:lnTo>
                    <a:pt x="96" y="262"/>
                  </a:lnTo>
                  <a:lnTo>
                    <a:pt x="90" y="268"/>
                  </a:lnTo>
                  <a:lnTo>
                    <a:pt x="94" y="270"/>
                  </a:lnTo>
                  <a:lnTo>
                    <a:pt x="92" y="274"/>
                  </a:lnTo>
                  <a:lnTo>
                    <a:pt x="92" y="277"/>
                  </a:lnTo>
                  <a:lnTo>
                    <a:pt x="88" y="274"/>
                  </a:lnTo>
                  <a:lnTo>
                    <a:pt x="86" y="274"/>
                  </a:lnTo>
                  <a:lnTo>
                    <a:pt x="84" y="274"/>
                  </a:lnTo>
                  <a:lnTo>
                    <a:pt x="81" y="274"/>
                  </a:lnTo>
                  <a:lnTo>
                    <a:pt x="79" y="277"/>
                  </a:lnTo>
                  <a:lnTo>
                    <a:pt x="79" y="279"/>
                  </a:lnTo>
                  <a:lnTo>
                    <a:pt x="75" y="281"/>
                  </a:lnTo>
                  <a:lnTo>
                    <a:pt x="75" y="277"/>
                  </a:lnTo>
                  <a:lnTo>
                    <a:pt x="79" y="277"/>
                  </a:lnTo>
                  <a:lnTo>
                    <a:pt x="75" y="274"/>
                  </a:lnTo>
                  <a:lnTo>
                    <a:pt x="75" y="272"/>
                  </a:lnTo>
                  <a:lnTo>
                    <a:pt x="75" y="268"/>
                  </a:lnTo>
                  <a:lnTo>
                    <a:pt x="71" y="268"/>
                  </a:lnTo>
                  <a:lnTo>
                    <a:pt x="69" y="270"/>
                  </a:lnTo>
                  <a:lnTo>
                    <a:pt x="66" y="272"/>
                  </a:lnTo>
                  <a:lnTo>
                    <a:pt x="66" y="274"/>
                  </a:lnTo>
                  <a:lnTo>
                    <a:pt x="71" y="274"/>
                  </a:lnTo>
                  <a:lnTo>
                    <a:pt x="66" y="277"/>
                  </a:lnTo>
                  <a:lnTo>
                    <a:pt x="64" y="274"/>
                  </a:lnTo>
                  <a:lnTo>
                    <a:pt x="60" y="274"/>
                  </a:lnTo>
                  <a:lnTo>
                    <a:pt x="56" y="277"/>
                  </a:lnTo>
                  <a:lnTo>
                    <a:pt x="58" y="277"/>
                  </a:lnTo>
                  <a:lnTo>
                    <a:pt x="60" y="277"/>
                  </a:lnTo>
                  <a:lnTo>
                    <a:pt x="62" y="279"/>
                  </a:lnTo>
                  <a:lnTo>
                    <a:pt x="58" y="281"/>
                  </a:lnTo>
                  <a:lnTo>
                    <a:pt x="56" y="283"/>
                  </a:lnTo>
                  <a:lnTo>
                    <a:pt x="54" y="281"/>
                  </a:lnTo>
                  <a:lnTo>
                    <a:pt x="50" y="281"/>
                  </a:lnTo>
                  <a:lnTo>
                    <a:pt x="50" y="283"/>
                  </a:lnTo>
                  <a:lnTo>
                    <a:pt x="54" y="285"/>
                  </a:lnTo>
                  <a:lnTo>
                    <a:pt x="60" y="285"/>
                  </a:lnTo>
                  <a:lnTo>
                    <a:pt x="58" y="289"/>
                  </a:lnTo>
                  <a:lnTo>
                    <a:pt x="62" y="289"/>
                  </a:lnTo>
                  <a:lnTo>
                    <a:pt x="62" y="292"/>
                  </a:lnTo>
                  <a:lnTo>
                    <a:pt x="56" y="290"/>
                  </a:lnTo>
                  <a:lnTo>
                    <a:pt x="56" y="287"/>
                  </a:lnTo>
                  <a:lnTo>
                    <a:pt x="54" y="287"/>
                  </a:lnTo>
                  <a:lnTo>
                    <a:pt x="50" y="285"/>
                  </a:lnTo>
                  <a:lnTo>
                    <a:pt x="50" y="283"/>
                  </a:lnTo>
                  <a:lnTo>
                    <a:pt x="49" y="283"/>
                  </a:lnTo>
                  <a:lnTo>
                    <a:pt x="49" y="285"/>
                  </a:lnTo>
                  <a:lnTo>
                    <a:pt x="50" y="290"/>
                  </a:lnTo>
                  <a:lnTo>
                    <a:pt x="54" y="292"/>
                  </a:lnTo>
                  <a:lnTo>
                    <a:pt x="56" y="292"/>
                  </a:lnTo>
                  <a:lnTo>
                    <a:pt x="58" y="294"/>
                  </a:lnTo>
                  <a:lnTo>
                    <a:pt x="54" y="294"/>
                  </a:lnTo>
                  <a:lnTo>
                    <a:pt x="50" y="292"/>
                  </a:lnTo>
                  <a:lnTo>
                    <a:pt x="47" y="287"/>
                  </a:lnTo>
                  <a:lnTo>
                    <a:pt x="41" y="289"/>
                  </a:lnTo>
                  <a:lnTo>
                    <a:pt x="41" y="287"/>
                  </a:lnTo>
                  <a:lnTo>
                    <a:pt x="37" y="287"/>
                  </a:lnTo>
                  <a:lnTo>
                    <a:pt x="35" y="285"/>
                  </a:lnTo>
                  <a:lnTo>
                    <a:pt x="34" y="287"/>
                  </a:lnTo>
                  <a:lnTo>
                    <a:pt x="34" y="290"/>
                  </a:lnTo>
                  <a:lnTo>
                    <a:pt x="32" y="292"/>
                  </a:lnTo>
                  <a:lnTo>
                    <a:pt x="35" y="294"/>
                  </a:lnTo>
                  <a:lnTo>
                    <a:pt x="41" y="292"/>
                  </a:lnTo>
                  <a:lnTo>
                    <a:pt x="41" y="294"/>
                  </a:lnTo>
                  <a:lnTo>
                    <a:pt x="39" y="296"/>
                  </a:lnTo>
                  <a:lnTo>
                    <a:pt x="41" y="296"/>
                  </a:lnTo>
                  <a:lnTo>
                    <a:pt x="47" y="294"/>
                  </a:lnTo>
                  <a:lnTo>
                    <a:pt x="49" y="294"/>
                  </a:lnTo>
                  <a:lnTo>
                    <a:pt x="47" y="296"/>
                  </a:lnTo>
                  <a:lnTo>
                    <a:pt x="41" y="298"/>
                  </a:lnTo>
                  <a:lnTo>
                    <a:pt x="39" y="302"/>
                  </a:lnTo>
                  <a:lnTo>
                    <a:pt x="35" y="302"/>
                  </a:lnTo>
                  <a:lnTo>
                    <a:pt x="32" y="296"/>
                  </a:lnTo>
                  <a:lnTo>
                    <a:pt x="30" y="296"/>
                  </a:lnTo>
                  <a:lnTo>
                    <a:pt x="30" y="298"/>
                  </a:lnTo>
                  <a:lnTo>
                    <a:pt x="26" y="296"/>
                  </a:lnTo>
                  <a:lnTo>
                    <a:pt x="24" y="298"/>
                  </a:lnTo>
                  <a:lnTo>
                    <a:pt x="24" y="296"/>
                  </a:lnTo>
                  <a:lnTo>
                    <a:pt x="20" y="298"/>
                  </a:lnTo>
                  <a:lnTo>
                    <a:pt x="20" y="298"/>
                  </a:lnTo>
                  <a:lnTo>
                    <a:pt x="26" y="298"/>
                  </a:lnTo>
                  <a:lnTo>
                    <a:pt x="30" y="302"/>
                  </a:lnTo>
                  <a:lnTo>
                    <a:pt x="34" y="304"/>
                  </a:lnTo>
                  <a:lnTo>
                    <a:pt x="34" y="307"/>
                  </a:lnTo>
                  <a:lnTo>
                    <a:pt x="34" y="309"/>
                  </a:lnTo>
                  <a:lnTo>
                    <a:pt x="32" y="311"/>
                  </a:lnTo>
                  <a:lnTo>
                    <a:pt x="30" y="309"/>
                  </a:lnTo>
                  <a:lnTo>
                    <a:pt x="30" y="304"/>
                  </a:lnTo>
                  <a:lnTo>
                    <a:pt x="30" y="304"/>
                  </a:lnTo>
                  <a:lnTo>
                    <a:pt x="26" y="304"/>
                  </a:lnTo>
                  <a:lnTo>
                    <a:pt x="26" y="307"/>
                  </a:lnTo>
                  <a:lnTo>
                    <a:pt x="26" y="307"/>
                  </a:lnTo>
                  <a:lnTo>
                    <a:pt x="20" y="307"/>
                  </a:lnTo>
                  <a:lnTo>
                    <a:pt x="17" y="309"/>
                  </a:lnTo>
                  <a:lnTo>
                    <a:pt x="20" y="311"/>
                  </a:lnTo>
                  <a:lnTo>
                    <a:pt x="17" y="313"/>
                  </a:lnTo>
                  <a:lnTo>
                    <a:pt x="17" y="313"/>
                  </a:lnTo>
                  <a:lnTo>
                    <a:pt x="15" y="309"/>
                  </a:lnTo>
                  <a:lnTo>
                    <a:pt x="9" y="309"/>
                  </a:lnTo>
                  <a:lnTo>
                    <a:pt x="11" y="313"/>
                  </a:lnTo>
                  <a:lnTo>
                    <a:pt x="9" y="315"/>
                  </a:lnTo>
                  <a:lnTo>
                    <a:pt x="9" y="311"/>
                  </a:lnTo>
                  <a:lnTo>
                    <a:pt x="5" y="307"/>
                  </a:lnTo>
                  <a:lnTo>
                    <a:pt x="5" y="309"/>
                  </a:lnTo>
                  <a:lnTo>
                    <a:pt x="5" y="311"/>
                  </a:lnTo>
                  <a:lnTo>
                    <a:pt x="7" y="315"/>
                  </a:lnTo>
                  <a:lnTo>
                    <a:pt x="5" y="317"/>
                  </a:lnTo>
                  <a:lnTo>
                    <a:pt x="7" y="319"/>
                  </a:lnTo>
                  <a:lnTo>
                    <a:pt x="11" y="317"/>
                  </a:lnTo>
                  <a:lnTo>
                    <a:pt x="17" y="319"/>
                  </a:lnTo>
                  <a:lnTo>
                    <a:pt x="20" y="321"/>
                  </a:lnTo>
                  <a:lnTo>
                    <a:pt x="26" y="321"/>
                  </a:lnTo>
                  <a:lnTo>
                    <a:pt x="26" y="319"/>
                  </a:lnTo>
                  <a:lnTo>
                    <a:pt x="30" y="319"/>
                  </a:lnTo>
                  <a:lnTo>
                    <a:pt x="26" y="322"/>
                  </a:lnTo>
                  <a:lnTo>
                    <a:pt x="20" y="322"/>
                  </a:lnTo>
                  <a:lnTo>
                    <a:pt x="20" y="322"/>
                  </a:lnTo>
                  <a:lnTo>
                    <a:pt x="15" y="321"/>
                  </a:lnTo>
                  <a:lnTo>
                    <a:pt x="11" y="321"/>
                  </a:lnTo>
                  <a:lnTo>
                    <a:pt x="9" y="321"/>
                  </a:lnTo>
                  <a:lnTo>
                    <a:pt x="5" y="322"/>
                  </a:lnTo>
                  <a:lnTo>
                    <a:pt x="2" y="322"/>
                  </a:lnTo>
                  <a:lnTo>
                    <a:pt x="2" y="324"/>
                  </a:lnTo>
                  <a:lnTo>
                    <a:pt x="7" y="328"/>
                  </a:lnTo>
                  <a:lnTo>
                    <a:pt x="5" y="328"/>
                  </a:lnTo>
                  <a:lnTo>
                    <a:pt x="9" y="332"/>
                  </a:lnTo>
                  <a:lnTo>
                    <a:pt x="11" y="328"/>
                  </a:lnTo>
                  <a:lnTo>
                    <a:pt x="17" y="328"/>
                  </a:lnTo>
                  <a:lnTo>
                    <a:pt x="13" y="332"/>
                  </a:lnTo>
                  <a:lnTo>
                    <a:pt x="7" y="332"/>
                  </a:lnTo>
                  <a:lnTo>
                    <a:pt x="5" y="332"/>
                  </a:lnTo>
                  <a:lnTo>
                    <a:pt x="5" y="332"/>
                  </a:lnTo>
                  <a:lnTo>
                    <a:pt x="5" y="332"/>
                  </a:lnTo>
                  <a:lnTo>
                    <a:pt x="5" y="334"/>
                  </a:lnTo>
                  <a:lnTo>
                    <a:pt x="9" y="334"/>
                  </a:lnTo>
                  <a:lnTo>
                    <a:pt x="5" y="336"/>
                  </a:lnTo>
                  <a:lnTo>
                    <a:pt x="5" y="336"/>
                  </a:lnTo>
                  <a:lnTo>
                    <a:pt x="5" y="338"/>
                  </a:lnTo>
                  <a:lnTo>
                    <a:pt x="5" y="341"/>
                  </a:lnTo>
                  <a:lnTo>
                    <a:pt x="7" y="341"/>
                  </a:lnTo>
                  <a:lnTo>
                    <a:pt x="11" y="341"/>
                  </a:lnTo>
                  <a:lnTo>
                    <a:pt x="15" y="341"/>
                  </a:lnTo>
                  <a:lnTo>
                    <a:pt x="20" y="338"/>
                  </a:lnTo>
                  <a:lnTo>
                    <a:pt x="24" y="341"/>
                  </a:lnTo>
                  <a:lnTo>
                    <a:pt x="26" y="341"/>
                  </a:lnTo>
                  <a:lnTo>
                    <a:pt x="26" y="338"/>
                  </a:lnTo>
                  <a:lnTo>
                    <a:pt x="26" y="336"/>
                  </a:lnTo>
                  <a:lnTo>
                    <a:pt x="30" y="336"/>
                  </a:lnTo>
                  <a:lnTo>
                    <a:pt x="30" y="338"/>
                  </a:lnTo>
                  <a:lnTo>
                    <a:pt x="34" y="338"/>
                  </a:lnTo>
                  <a:lnTo>
                    <a:pt x="37" y="334"/>
                  </a:lnTo>
                  <a:lnTo>
                    <a:pt x="39" y="334"/>
                  </a:lnTo>
                  <a:lnTo>
                    <a:pt x="37" y="336"/>
                  </a:lnTo>
                  <a:lnTo>
                    <a:pt x="35" y="338"/>
                  </a:lnTo>
                  <a:lnTo>
                    <a:pt x="39" y="341"/>
                  </a:lnTo>
                  <a:lnTo>
                    <a:pt x="41" y="338"/>
                  </a:lnTo>
                  <a:lnTo>
                    <a:pt x="41" y="336"/>
                  </a:lnTo>
                  <a:lnTo>
                    <a:pt x="41" y="332"/>
                  </a:lnTo>
                  <a:lnTo>
                    <a:pt x="41" y="334"/>
                  </a:lnTo>
                  <a:lnTo>
                    <a:pt x="47" y="338"/>
                  </a:lnTo>
                  <a:lnTo>
                    <a:pt x="41" y="341"/>
                  </a:lnTo>
                  <a:lnTo>
                    <a:pt x="39" y="341"/>
                  </a:lnTo>
                  <a:lnTo>
                    <a:pt x="35" y="343"/>
                  </a:lnTo>
                  <a:lnTo>
                    <a:pt x="37" y="345"/>
                  </a:lnTo>
                  <a:lnTo>
                    <a:pt x="35" y="347"/>
                  </a:lnTo>
                  <a:lnTo>
                    <a:pt x="32" y="349"/>
                  </a:lnTo>
                  <a:lnTo>
                    <a:pt x="32" y="347"/>
                  </a:lnTo>
                  <a:lnTo>
                    <a:pt x="34" y="345"/>
                  </a:lnTo>
                  <a:lnTo>
                    <a:pt x="32" y="341"/>
                  </a:lnTo>
                  <a:lnTo>
                    <a:pt x="30" y="341"/>
                  </a:lnTo>
                  <a:lnTo>
                    <a:pt x="26" y="345"/>
                  </a:lnTo>
                  <a:lnTo>
                    <a:pt x="26" y="347"/>
                  </a:lnTo>
                  <a:lnTo>
                    <a:pt x="24" y="343"/>
                  </a:lnTo>
                  <a:lnTo>
                    <a:pt x="20" y="341"/>
                  </a:lnTo>
                  <a:lnTo>
                    <a:pt x="17" y="343"/>
                  </a:lnTo>
                  <a:lnTo>
                    <a:pt x="13" y="341"/>
                  </a:lnTo>
                  <a:lnTo>
                    <a:pt x="9" y="345"/>
                  </a:lnTo>
                  <a:lnTo>
                    <a:pt x="5" y="345"/>
                  </a:lnTo>
                  <a:lnTo>
                    <a:pt x="5" y="343"/>
                  </a:lnTo>
                  <a:lnTo>
                    <a:pt x="2" y="343"/>
                  </a:lnTo>
                  <a:lnTo>
                    <a:pt x="5" y="347"/>
                  </a:lnTo>
                  <a:lnTo>
                    <a:pt x="5" y="349"/>
                  </a:lnTo>
                  <a:lnTo>
                    <a:pt x="5" y="351"/>
                  </a:lnTo>
                  <a:lnTo>
                    <a:pt x="7" y="349"/>
                  </a:lnTo>
                  <a:lnTo>
                    <a:pt x="9" y="347"/>
                  </a:lnTo>
                  <a:lnTo>
                    <a:pt x="11" y="347"/>
                  </a:lnTo>
                  <a:lnTo>
                    <a:pt x="9" y="351"/>
                  </a:lnTo>
                  <a:lnTo>
                    <a:pt x="9" y="353"/>
                  </a:lnTo>
                  <a:lnTo>
                    <a:pt x="7" y="353"/>
                  </a:lnTo>
                  <a:lnTo>
                    <a:pt x="5" y="353"/>
                  </a:lnTo>
                  <a:lnTo>
                    <a:pt x="5" y="358"/>
                  </a:lnTo>
                  <a:lnTo>
                    <a:pt x="9" y="360"/>
                  </a:lnTo>
                  <a:lnTo>
                    <a:pt x="15" y="353"/>
                  </a:lnTo>
                  <a:lnTo>
                    <a:pt x="17" y="353"/>
                  </a:lnTo>
                  <a:lnTo>
                    <a:pt x="17" y="356"/>
                  </a:lnTo>
                  <a:lnTo>
                    <a:pt x="17" y="360"/>
                  </a:lnTo>
                  <a:lnTo>
                    <a:pt x="11" y="362"/>
                  </a:lnTo>
                  <a:lnTo>
                    <a:pt x="13" y="362"/>
                  </a:lnTo>
                  <a:lnTo>
                    <a:pt x="15" y="362"/>
                  </a:lnTo>
                  <a:lnTo>
                    <a:pt x="15" y="366"/>
                  </a:lnTo>
                  <a:lnTo>
                    <a:pt x="17" y="368"/>
                  </a:lnTo>
                  <a:lnTo>
                    <a:pt x="15" y="371"/>
                  </a:lnTo>
                  <a:lnTo>
                    <a:pt x="17" y="371"/>
                  </a:lnTo>
                  <a:lnTo>
                    <a:pt x="17" y="368"/>
                  </a:lnTo>
                  <a:lnTo>
                    <a:pt x="20" y="366"/>
                  </a:lnTo>
                  <a:lnTo>
                    <a:pt x="20" y="362"/>
                  </a:lnTo>
                  <a:lnTo>
                    <a:pt x="30" y="360"/>
                  </a:lnTo>
                  <a:lnTo>
                    <a:pt x="32" y="360"/>
                  </a:lnTo>
                  <a:lnTo>
                    <a:pt x="34" y="360"/>
                  </a:lnTo>
                  <a:lnTo>
                    <a:pt x="32" y="362"/>
                  </a:lnTo>
                  <a:lnTo>
                    <a:pt x="30" y="362"/>
                  </a:lnTo>
                  <a:lnTo>
                    <a:pt x="30" y="368"/>
                  </a:lnTo>
                  <a:lnTo>
                    <a:pt x="30" y="370"/>
                  </a:lnTo>
                  <a:lnTo>
                    <a:pt x="26" y="368"/>
                  </a:lnTo>
                  <a:lnTo>
                    <a:pt x="26" y="366"/>
                  </a:lnTo>
                  <a:lnTo>
                    <a:pt x="26" y="366"/>
                  </a:lnTo>
                  <a:lnTo>
                    <a:pt x="24" y="368"/>
                  </a:lnTo>
                  <a:lnTo>
                    <a:pt x="20" y="368"/>
                  </a:lnTo>
                  <a:lnTo>
                    <a:pt x="24" y="370"/>
                  </a:lnTo>
                  <a:lnTo>
                    <a:pt x="20" y="373"/>
                  </a:lnTo>
                  <a:lnTo>
                    <a:pt x="17" y="373"/>
                  </a:lnTo>
                  <a:lnTo>
                    <a:pt x="17" y="377"/>
                  </a:lnTo>
                  <a:lnTo>
                    <a:pt x="20" y="377"/>
                  </a:lnTo>
                  <a:lnTo>
                    <a:pt x="26" y="377"/>
                  </a:lnTo>
                  <a:lnTo>
                    <a:pt x="26" y="379"/>
                  </a:lnTo>
                  <a:lnTo>
                    <a:pt x="20" y="381"/>
                  </a:lnTo>
                  <a:lnTo>
                    <a:pt x="20" y="383"/>
                  </a:lnTo>
                  <a:lnTo>
                    <a:pt x="20" y="385"/>
                  </a:lnTo>
                  <a:lnTo>
                    <a:pt x="17" y="383"/>
                  </a:lnTo>
                  <a:lnTo>
                    <a:pt x="15" y="383"/>
                  </a:lnTo>
                  <a:lnTo>
                    <a:pt x="15" y="387"/>
                  </a:lnTo>
                  <a:lnTo>
                    <a:pt x="13" y="383"/>
                  </a:lnTo>
                  <a:lnTo>
                    <a:pt x="11" y="385"/>
                  </a:lnTo>
                  <a:lnTo>
                    <a:pt x="7" y="387"/>
                  </a:lnTo>
                  <a:lnTo>
                    <a:pt x="9" y="392"/>
                  </a:lnTo>
                  <a:lnTo>
                    <a:pt x="15" y="396"/>
                  </a:lnTo>
                  <a:lnTo>
                    <a:pt x="15" y="392"/>
                  </a:lnTo>
                  <a:lnTo>
                    <a:pt x="17" y="396"/>
                  </a:lnTo>
                  <a:lnTo>
                    <a:pt x="17" y="392"/>
                  </a:lnTo>
                  <a:lnTo>
                    <a:pt x="17" y="392"/>
                  </a:lnTo>
                  <a:lnTo>
                    <a:pt x="20" y="387"/>
                  </a:lnTo>
                  <a:lnTo>
                    <a:pt x="24" y="392"/>
                  </a:lnTo>
                  <a:lnTo>
                    <a:pt x="20" y="392"/>
                  </a:lnTo>
                  <a:lnTo>
                    <a:pt x="24" y="396"/>
                  </a:lnTo>
                  <a:lnTo>
                    <a:pt x="24" y="398"/>
                  </a:lnTo>
                  <a:lnTo>
                    <a:pt x="20" y="400"/>
                  </a:lnTo>
                  <a:lnTo>
                    <a:pt x="24" y="405"/>
                  </a:lnTo>
                  <a:lnTo>
                    <a:pt x="26" y="403"/>
                  </a:lnTo>
                  <a:lnTo>
                    <a:pt x="30" y="402"/>
                  </a:lnTo>
                  <a:lnTo>
                    <a:pt x="30" y="403"/>
                  </a:lnTo>
                  <a:lnTo>
                    <a:pt x="26" y="403"/>
                  </a:lnTo>
                  <a:lnTo>
                    <a:pt x="26" y="405"/>
                  </a:lnTo>
                  <a:lnTo>
                    <a:pt x="26" y="409"/>
                  </a:lnTo>
                  <a:lnTo>
                    <a:pt x="26" y="411"/>
                  </a:lnTo>
                  <a:lnTo>
                    <a:pt x="20" y="405"/>
                  </a:lnTo>
                  <a:lnTo>
                    <a:pt x="17" y="405"/>
                  </a:lnTo>
                  <a:lnTo>
                    <a:pt x="17" y="405"/>
                  </a:lnTo>
                  <a:lnTo>
                    <a:pt x="13" y="405"/>
                  </a:lnTo>
                  <a:lnTo>
                    <a:pt x="13" y="407"/>
                  </a:lnTo>
                  <a:lnTo>
                    <a:pt x="11" y="409"/>
                  </a:lnTo>
                  <a:lnTo>
                    <a:pt x="17" y="417"/>
                  </a:lnTo>
                  <a:lnTo>
                    <a:pt x="20" y="417"/>
                  </a:lnTo>
                  <a:lnTo>
                    <a:pt x="26" y="422"/>
                  </a:lnTo>
                  <a:lnTo>
                    <a:pt x="30" y="424"/>
                  </a:lnTo>
                  <a:lnTo>
                    <a:pt x="32" y="426"/>
                  </a:lnTo>
                  <a:lnTo>
                    <a:pt x="30" y="428"/>
                  </a:lnTo>
                  <a:lnTo>
                    <a:pt x="34" y="430"/>
                  </a:lnTo>
                  <a:lnTo>
                    <a:pt x="35" y="430"/>
                  </a:lnTo>
                  <a:lnTo>
                    <a:pt x="34" y="426"/>
                  </a:lnTo>
                  <a:lnTo>
                    <a:pt x="37" y="426"/>
                  </a:lnTo>
                  <a:lnTo>
                    <a:pt x="39" y="428"/>
                  </a:lnTo>
                  <a:lnTo>
                    <a:pt x="39" y="428"/>
                  </a:lnTo>
                  <a:lnTo>
                    <a:pt x="41" y="434"/>
                  </a:lnTo>
                  <a:lnTo>
                    <a:pt x="45" y="432"/>
                  </a:lnTo>
                  <a:lnTo>
                    <a:pt x="45" y="432"/>
                  </a:lnTo>
                  <a:lnTo>
                    <a:pt x="49" y="430"/>
                  </a:lnTo>
                  <a:lnTo>
                    <a:pt x="50" y="426"/>
                  </a:lnTo>
                  <a:lnTo>
                    <a:pt x="54" y="426"/>
                  </a:lnTo>
                  <a:lnTo>
                    <a:pt x="54" y="424"/>
                  </a:lnTo>
                  <a:lnTo>
                    <a:pt x="56" y="424"/>
                  </a:lnTo>
                  <a:lnTo>
                    <a:pt x="56" y="428"/>
                  </a:lnTo>
                  <a:lnTo>
                    <a:pt x="58" y="428"/>
                  </a:lnTo>
                  <a:lnTo>
                    <a:pt x="66" y="420"/>
                  </a:lnTo>
                  <a:lnTo>
                    <a:pt x="66" y="420"/>
                  </a:lnTo>
                  <a:lnTo>
                    <a:pt x="62" y="417"/>
                  </a:lnTo>
                  <a:lnTo>
                    <a:pt x="67" y="420"/>
                  </a:lnTo>
                  <a:lnTo>
                    <a:pt x="71" y="415"/>
                  </a:lnTo>
                  <a:lnTo>
                    <a:pt x="71" y="415"/>
                  </a:lnTo>
                  <a:lnTo>
                    <a:pt x="73" y="413"/>
                  </a:lnTo>
                  <a:lnTo>
                    <a:pt x="73" y="409"/>
                  </a:lnTo>
                  <a:lnTo>
                    <a:pt x="75" y="407"/>
                  </a:lnTo>
                  <a:lnTo>
                    <a:pt x="79" y="407"/>
                  </a:lnTo>
                  <a:lnTo>
                    <a:pt x="79" y="405"/>
                  </a:lnTo>
                  <a:lnTo>
                    <a:pt x="75" y="402"/>
                  </a:lnTo>
                  <a:lnTo>
                    <a:pt x="79" y="398"/>
                  </a:lnTo>
                  <a:lnTo>
                    <a:pt x="75" y="396"/>
                  </a:lnTo>
                  <a:lnTo>
                    <a:pt x="71" y="392"/>
                  </a:lnTo>
                  <a:lnTo>
                    <a:pt x="71" y="390"/>
                  </a:lnTo>
                  <a:lnTo>
                    <a:pt x="73" y="392"/>
                  </a:lnTo>
                  <a:lnTo>
                    <a:pt x="75" y="396"/>
                  </a:lnTo>
                  <a:lnTo>
                    <a:pt x="79" y="400"/>
                  </a:lnTo>
                  <a:lnTo>
                    <a:pt x="79" y="402"/>
                  </a:lnTo>
                  <a:lnTo>
                    <a:pt x="81" y="402"/>
                  </a:lnTo>
                  <a:lnTo>
                    <a:pt x="81" y="403"/>
                  </a:lnTo>
                  <a:lnTo>
                    <a:pt x="84" y="405"/>
                  </a:lnTo>
                  <a:lnTo>
                    <a:pt x="86" y="403"/>
                  </a:lnTo>
                  <a:lnTo>
                    <a:pt x="84" y="402"/>
                  </a:lnTo>
                  <a:lnTo>
                    <a:pt x="84" y="402"/>
                  </a:lnTo>
                  <a:lnTo>
                    <a:pt x="84" y="398"/>
                  </a:lnTo>
                  <a:lnTo>
                    <a:pt x="88" y="402"/>
                  </a:lnTo>
                  <a:lnTo>
                    <a:pt x="88" y="402"/>
                  </a:lnTo>
                  <a:lnTo>
                    <a:pt x="92" y="398"/>
                  </a:lnTo>
                  <a:lnTo>
                    <a:pt x="94" y="396"/>
                  </a:lnTo>
                  <a:lnTo>
                    <a:pt x="94" y="392"/>
                  </a:lnTo>
                  <a:lnTo>
                    <a:pt x="90" y="390"/>
                  </a:lnTo>
                  <a:lnTo>
                    <a:pt x="88" y="387"/>
                  </a:lnTo>
                  <a:lnTo>
                    <a:pt x="90" y="387"/>
                  </a:lnTo>
                  <a:lnTo>
                    <a:pt x="92" y="385"/>
                  </a:lnTo>
                  <a:lnTo>
                    <a:pt x="94" y="385"/>
                  </a:lnTo>
                  <a:lnTo>
                    <a:pt x="94" y="383"/>
                  </a:lnTo>
                  <a:lnTo>
                    <a:pt x="92" y="381"/>
                  </a:lnTo>
                  <a:lnTo>
                    <a:pt x="92" y="377"/>
                  </a:lnTo>
                  <a:lnTo>
                    <a:pt x="96" y="375"/>
                  </a:lnTo>
                  <a:lnTo>
                    <a:pt x="98" y="379"/>
                  </a:lnTo>
                  <a:lnTo>
                    <a:pt x="96" y="381"/>
                  </a:lnTo>
                  <a:lnTo>
                    <a:pt x="98" y="387"/>
                  </a:lnTo>
                  <a:lnTo>
                    <a:pt x="96" y="390"/>
                  </a:lnTo>
                  <a:lnTo>
                    <a:pt x="98" y="392"/>
                  </a:lnTo>
                  <a:lnTo>
                    <a:pt x="99" y="396"/>
                  </a:lnTo>
                  <a:lnTo>
                    <a:pt x="103" y="398"/>
                  </a:lnTo>
                  <a:lnTo>
                    <a:pt x="105" y="398"/>
                  </a:lnTo>
                  <a:lnTo>
                    <a:pt x="109" y="400"/>
                  </a:lnTo>
                  <a:lnTo>
                    <a:pt x="109" y="402"/>
                  </a:lnTo>
                  <a:lnTo>
                    <a:pt x="109" y="402"/>
                  </a:lnTo>
                  <a:lnTo>
                    <a:pt x="111" y="407"/>
                  </a:lnTo>
                  <a:lnTo>
                    <a:pt x="113" y="402"/>
                  </a:lnTo>
                  <a:lnTo>
                    <a:pt x="113" y="392"/>
                  </a:lnTo>
                  <a:lnTo>
                    <a:pt x="109" y="387"/>
                  </a:lnTo>
                  <a:lnTo>
                    <a:pt x="111" y="383"/>
                  </a:lnTo>
                  <a:lnTo>
                    <a:pt x="114" y="383"/>
                  </a:lnTo>
                  <a:lnTo>
                    <a:pt x="113" y="379"/>
                  </a:lnTo>
                  <a:lnTo>
                    <a:pt x="113" y="375"/>
                  </a:lnTo>
                  <a:lnTo>
                    <a:pt x="118" y="375"/>
                  </a:lnTo>
                  <a:lnTo>
                    <a:pt x="120" y="371"/>
                  </a:lnTo>
                  <a:lnTo>
                    <a:pt x="120" y="368"/>
                  </a:lnTo>
                  <a:lnTo>
                    <a:pt x="124" y="362"/>
                  </a:lnTo>
                  <a:lnTo>
                    <a:pt x="120" y="360"/>
                  </a:lnTo>
                  <a:lnTo>
                    <a:pt x="118" y="351"/>
                  </a:lnTo>
                  <a:lnTo>
                    <a:pt x="114" y="343"/>
                  </a:lnTo>
                  <a:lnTo>
                    <a:pt x="116" y="341"/>
                  </a:lnTo>
                  <a:lnTo>
                    <a:pt x="124" y="338"/>
                  </a:lnTo>
                  <a:lnTo>
                    <a:pt x="124" y="332"/>
                  </a:lnTo>
                  <a:lnTo>
                    <a:pt x="126" y="328"/>
                  </a:lnTo>
                  <a:lnTo>
                    <a:pt x="120" y="321"/>
                  </a:lnTo>
                  <a:lnTo>
                    <a:pt x="114" y="319"/>
                  </a:lnTo>
                  <a:lnTo>
                    <a:pt x="114" y="311"/>
                  </a:lnTo>
                  <a:lnTo>
                    <a:pt x="114" y="304"/>
                  </a:lnTo>
                  <a:lnTo>
                    <a:pt x="114" y="298"/>
                  </a:lnTo>
                  <a:lnTo>
                    <a:pt x="113" y="292"/>
                  </a:lnTo>
                  <a:lnTo>
                    <a:pt x="114" y="287"/>
                  </a:lnTo>
                  <a:lnTo>
                    <a:pt x="113" y="277"/>
                  </a:lnTo>
                  <a:lnTo>
                    <a:pt x="111" y="268"/>
                  </a:lnTo>
                  <a:lnTo>
                    <a:pt x="113" y="258"/>
                  </a:lnTo>
                  <a:lnTo>
                    <a:pt x="116" y="253"/>
                  </a:lnTo>
                  <a:lnTo>
                    <a:pt x="120" y="249"/>
                  </a:lnTo>
                  <a:lnTo>
                    <a:pt x="126" y="249"/>
                  </a:lnTo>
                  <a:lnTo>
                    <a:pt x="133" y="249"/>
                  </a:lnTo>
                  <a:lnTo>
                    <a:pt x="133" y="247"/>
                  </a:lnTo>
                  <a:lnTo>
                    <a:pt x="133" y="240"/>
                  </a:lnTo>
                  <a:lnTo>
                    <a:pt x="133" y="236"/>
                  </a:lnTo>
                  <a:lnTo>
                    <a:pt x="133" y="232"/>
                  </a:lnTo>
                  <a:lnTo>
                    <a:pt x="139" y="215"/>
                  </a:lnTo>
                  <a:lnTo>
                    <a:pt x="139" y="208"/>
                  </a:lnTo>
                  <a:lnTo>
                    <a:pt x="141" y="198"/>
                  </a:lnTo>
                  <a:lnTo>
                    <a:pt x="143" y="194"/>
                  </a:lnTo>
                  <a:lnTo>
                    <a:pt x="143" y="189"/>
                  </a:lnTo>
                  <a:lnTo>
                    <a:pt x="141" y="185"/>
                  </a:lnTo>
                  <a:lnTo>
                    <a:pt x="141" y="183"/>
                  </a:lnTo>
                  <a:lnTo>
                    <a:pt x="146" y="179"/>
                  </a:lnTo>
                  <a:lnTo>
                    <a:pt x="154" y="177"/>
                  </a:lnTo>
                  <a:lnTo>
                    <a:pt x="154" y="176"/>
                  </a:lnTo>
                  <a:lnTo>
                    <a:pt x="154" y="172"/>
                  </a:lnTo>
                  <a:lnTo>
                    <a:pt x="160" y="164"/>
                  </a:lnTo>
                  <a:lnTo>
                    <a:pt x="167" y="155"/>
                  </a:lnTo>
                  <a:lnTo>
                    <a:pt x="167" y="151"/>
                  </a:lnTo>
                  <a:lnTo>
                    <a:pt x="167" y="145"/>
                  </a:lnTo>
                  <a:lnTo>
                    <a:pt x="163" y="144"/>
                  </a:lnTo>
                  <a:lnTo>
                    <a:pt x="163" y="134"/>
                  </a:lnTo>
                  <a:lnTo>
                    <a:pt x="167" y="134"/>
                  </a:lnTo>
                  <a:lnTo>
                    <a:pt x="167" y="130"/>
                  </a:lnTo>
                  <a:lnTo>
                    <a:pt x="169" y="125"/>
                  </a:lnTo>
                  <a:lnTo>
                    <a:pt x="171" y="125"/>
                  </a:lnTo>
                  <a:lnTo>
                    <a:pt x="175" y="119"/>
                  </a:lnTo>
                  <a:lnTo>
                    <a:pt x="178" y="115"/>
                  </a:lnTo>
                  <a:lnTo>
                    <a:pt x="182" y="117"/>
                  </a:lnTo>
                  <a:lnTo>
                    <a:pt x="184" y="119"/>
                  </a:lnTo>
                  <a:lnTo>
                    <a:pt x="188" y="119"/>
                  </a:lnTo>
                  <a:lnTo>
                    <a:pt x="188" y="117"/>
                  </a:lnTo>
                  <a:lnTo>
                    <a:pt x="188" y="113"/>
                  </a:lnTo>
                  <a:lnTo>
                    <a:pt x="188" y="110"/>
                  </a:lnTo>
                  <a:lnTo>
                    <a:pt x="188" y="108"/>
                  </a:lnTo>
                  <a:lnTo>
                    <a:pt x="192" y="106"/>
                  </a:lnTo>
                  <a:lnTo>
                    <a:pt x="188" y="104"/>
                  </a:lnTo>
                  <a:lnTo>
                    <a:pt x="188" y="100"/>
                  </a:lnTo>
                  <a:lnTo>
                    <a:pt x="194" y="100"/>
                  </a:lnTo>
                  <a:lnTo>
                    <a:pt x="199" y="100"/>
                  </a:lnTo>
                  <a:lnTo>
                    <a:pt x="205" y="100"/>
                  </a:lnTo>
                  <a:lnTo>
                    <a:pt x="209" y="104"/>
                  </a:lnTo>
                  <a:lnTo>
                    <a:pt x="212" y="104"/>
                  </a:lnTo>
                  <a:lnTo>
                    <a:pt x="216" y="104"/>
                  </a:lnTo>
                  <a:lnTo>
                    <a:pt x="216" y="104"/>
                  </a:lnTo>
                  <a:lnTo>
                    <a:pt x="218" y="106"/>
                  </a:lnTo>
                  <a:lnTo>
                    <a:pt x="218" y="100"/>
                  </a:lnTo>
                  <a:lnTo>
                    <a:pt x="216" y="96"/>
                  </a:lnTo>
                  <a:lnTo>
                    <a:pt x="216" y="91"/>
                  </a:lnTo>
                  <a:lnTo>
                    <a:pt x="220" y="91"/>
                  </a:lnTo>
                  <a:lnTo>
                    <a:pt x="218" y="87"/>
                  </a:lnTo>
                  <a:lnTo>
                    <a:pt x="216" y="85"/>
                  </a:lnTo>
                  <a:lnTo>
                    <a:pt x="216" y="81"/>
                  </a:lnTo>
                  <a:lnTo>
                    <a:pt x="220" y="83"/>
                  </a:lnTo>
                  <a:lnTo>
                    <a:pt x="224" y="81"/>
                  </a:lnTo>
                  <a:lnTo>
                    <a:pt x="226" y="81"/>
                  </a:lnTo>
                  <a:lnTo>
                    <a:pt x="226" y="81"/>
                  </a:lnTo>
                  <a:lnTo>
                    <a:pt x="226" y="79"/>
                  </a:lnTo>
                  <a:lnTo>
                    <a:pt x="227" y="81"/>
                  </a:lnTo>
                  <a:lnTo>
                    <a:pt x="229" y="79"/>
                  </a:lnTo>
                  <a:lnTo>
                    <a:pt x="227" y="78"/>
                  </a:lnTo>
                  <a:lnTo>
                    <a:pt x="229" y="76"/>
                  </a:lnTo>
                  <a:lnTo>
                    <a:pt x="231" y="72"/>
                  </a:lnTo>
                  <a:lnTo>
                    <a:pt x="235" y="72"/>
                  </a:lnTo>
                  <a:lnTo>
                    <a:pt x="237" y="76"/>
                  </a:lnTo>
                  <a:lnTo>
                    <a:pt x="246" y="83"/>
                  </a:lnTo>
                  <a:lnTo>
                    <a:pt x="246" y="87"/>
                  </a:lnTo>
                  <a:lnTo>
                    <a:pt x="250" y="91"/>
                  </a:lnTo>
                  <a:lnTo>
                    <a:pt x="256" y="95"/>
                  </a:lnTo>
                  <a:lnTo>
                    <a:pt x="261" y="95"/>
                  </a:lnTo>
                  <a:lnTo>
                    <a:pt x="267" y="89"/>
                  </a:lnTo>
                  <a:lnTo>
                    <a:pt x="271" y="87"/>
                  </a:lnTo>
                  <a:lnTo>
                    <a:pt x="274" y="87"/>
                  </a:lnTo>
                  <a:lnTo>
                    <a:pt x="280" y="91"/>
                  </a:lnTo>
                  <a:lnTo>
                    <a:pt x="284" y="91"/>
                  </a:lnTo>
                  <a:lnTo>
                    <a:pt x="288" y="87"/>
                  </a:lnTo>
                  <a:lnTo>
                    <a:pt x="290" y="87"/>
                  </a:lnTo>
                  <a:lnTo>
                    <a:pt x="291" y="83"/>
                  </a:lnTo>
                  <a:lnTo>
                    <a:pt x="295" y="83"/>
                  </a:lnTo>
                  <a:lnTo>
                    <a:pt x="297" y="81"/>
                  </a:lnTo>
                  <a:lnTo>
                    <a:pt x="299" y="79"/>
                  </a:lnTo>
                  <a:lnTo>
                    <a:pt x="297" y="76"/>
                  </a:lnTo>
                  <a:lnTo>
                    <a:pt x="295" y="70"/>
                  </a:lnTo>
                  <a:lnTo>
                    <a:pt x="297" y="61"/>
                  </a:lnTo>
                  <a:lnTo>
                    <a:pt x="299" y="59"/>
                  </a:lnTo>
                  <a:lnTo>
                    <a:pt x="297" y="55"/>
                  </a:lnTo>
                  <a:lnTo>
                    <a:pt x="299" y="53"/>
                  </a:lnTo>
                  <a:lnTo>
                    <a:pt x="301" y="49"/>
                  </a:lnTo>
                  <a:lnTo>
                    <a:pt x="301" y="47"/>
                  </a:lnTo>
                  <a:lnTo>
                    <a:pt x="305" y="46"/>
                  </a:lnTo>
                  <a:lnTo>
                    <a:pt x="310" y="46"/>
                  </a:lnTo>
                  <a:lnTo>
                    <a:pt x="314" y="46"/>
                  </a:lnTo>
                  <a:lnTo>
                    <a:pt x="314" y="46"/>
                  </a:lnTo>
                  <a:lnTo>
                    <a:pt x="316" y="42"/>
                  </a:lnTo>
                  <a:lnTo>
                    <a:pt x="325" y="42"/>
                  </a:lnTo>
                  <a:lnTo>
                    <a:pt x="329" y="46"/>
                  </a:lnTo>
                  <a:lnTo>
                    <a:pt x="331" y="49"/>
                  </a:lnTo>
                  <a:lnTo>
                    <a:pt x="335" y="51"/>
                  </a:lnTo>
                  <a:lnTo>
                    <a:pt x="338" y="53"/>
                  </a:lnTo>
                  <a:lnTo>
                    <a:pt x="346" y="53"/>
                  </a:lnTo>
                  <a:lnTo>
                    <a:pt x="346" y="57"/>
                  </a:lnTo>
                  <a:lnTo>
                    <a:pt x="350" y="61"/>
                  </a:lnTo>
                  <a:lnTo>
                    <a:pt x="350" y="66"/>
                  </a:lnTo>
                  <a:lnTo>
                    <a:pt x="346" y="70"/>
                  </a:lnTo>
                  <a:lnTo>
                    <a:pt x="346" y="78"/>
                  </a:lnTo>
                  <a:lnTo>
                    <a:pt x="346" y="78"/>
                  </a:lnTo>
                  <a:lnTo>
                    <a:pt x="346" y="78"/>
                  </a:lnTo>
                  <a:lnTo>
                    <a:pt x="346" y="78"/>
                  </a:lnTo>
                  <a:close/>
                  <a:moveTo>
                    <a:pt x="15" y="398"/>
                  </a:moveTo>
                  <a:lnTo>
                    <a:pt x="17" y="402"/>
                  </a:lnTo>
                  <a:lnTo>
                    <a:pt x="15" y="402"/>
                  </a:lnTo>
                  <a:lnTo>
                    <a:pt x="15" y="398"/>
                  </a:lnTo>
                  <a:lnTo>
                    <a:pt x="15" y="398"/>
                  </a:lnTo>
                  <a:lnTo>
                    <a:pt x="15" y="398"/>
                  </a:lnTo>
                  <a:lnTo>
                    <a:pt x="15" y="398"/>
                  </a:lnTo>
                  <a:close/>
                  <a:moveTo>
                    <a:pt x="5" y="379"/>
                  </a:moveTo>
                  <a:lnTo>
                    <a:pt x="5" y="379"/>
                  </a:lnTo>
                  <a:lnTo>
                    <a:pt x="9" y="377"/>
                  </a:lnTo>
                  <a:lnTo>
                    <a:pt x="11" y="379"/>
                  </a:lnTo>
                  <a:lnTo>
                    <a:pt x="9" y="383"/>
                  </a:lnTo>
                  <a:lnTo>
                    <a:pt x="5" y="379"/>
                  </a:lnTo>
                  <a:lnTo>
                    <a:pt x="5" y="379"/>
                  </a:lnTo>
                  <a:lnTo>
                    <a:pt x="5" y="379"/>
                  </a:lnTo>
                  <a:lnTo>
                    <a:pt x="5" y="379"/>
                  </a:lnTo>
                  <a:close/>
                  <a:moveTo>
                    <a:pt x="13" y="371"/>
                  </a:moveTo>
                  <a:lnTo>
                    <a:pt x="13" y="373"/>
                  </a:lnTo>
                  <a:lnTo>
                    <a:pt x="11" y="373"/>
                  </a:lnTo>
                  <a:lnTo>
                    <a:pt x="13" y="371"/>
                  </a:lnTo>
                  <a:lnTo>
                    <a:pt x="13" y="371"/>
                  </a:lnTo>
                  <a:lnTo>
                    <a:pt x="13" y="371"/>
                  </a:lnTo>
                  <a:lnTo>
                    <a:pt x="13" y="371"/>
                  </a:lnTo>
                  <a:close/>
                  <a:moveTo>
                    <a:pt x="9" y="370"/>
                  </a:moveTo>
                  <a:lnTo>
                    <a:pt x="9" y="371"/>
                  </a:lnTo>
                  <a:lnTo>
                    <a:pt x="5" y="371"/>
                  </a:lnTo>
                  <a:lnTo>
                    <a:pt x="9" y="370"/>
                  </a:lnTo>
                  <a:lnTo>
                    <a:pt x="9" y="370"/>
                  </a:lnTo>
                  <a:lnTo>
                    <a:pt x="9" y="370"/>
                  </a:lnTo>
                  <a:lnTo>
                    <a:pt x="9" y="370"/>
                  </a:lnTo>
                  <a:close/>
                  <a:moveTo>
                    <a:pt x="5" y="356"/>
                  </a:moveTo>
                  <a:lnTo>
                    <a:pt x="0" y="353"/>
                  </a:lnTo>
                  <a:lnTo>
                    <a:pt x="5" y="351"/>
                  </a:lnTo>
                  <a:lnTo>
                    <a:pt x="5" y="351"/>
                  </a:lnTo>
                  <a:lnTo>
                    <a:pt x="5" y="356"/>
                  </a:lnTo>
                  <a:lnTo>
                    <a:pt x="5" y="356"/>
                  </a:lnTo>
                  <a:lnTo>
                    <a:pt x="5" y="356"/>
                  </a:lnTo>
                  <a:lnTo>
                    <a:pt x="5" y="356"/>
                  </a:lnTo>
                  <a:close/>
                  <a:moveTo>
                    <a:pt x="2" y="358"/>
                  </a:moveTo>
                  <a:lnTo>
                    <a:pt x="5" y="358"/>
                  </a:lnTo>
                  <a:lnTo>
                    <a:pt x="5" y="360"/>
                  </a:lnTo>
                  <a:lnTo>
                    <a:pt x="2" y="358"/>
                  </a:lnTo>
                  <a:lnTo>
                    <a:pt x="2" y="358"/>
                  </a:lnTo>
                  <a:lnTo>
                    <a:pt x="2" y="358"/>
                  </a:lnTo>
                  <a:lnTo>
                    <a:pt x="2" y="358"/>
                  </a:lnTo>
                  <a:close/>
                  <a:moveTo>
                    <a:pt x="9" y="362"/>
                  </a:moveTo>
                  <a:lnTo>
                    <a:pt x="9" y="362"/>
                  </a:lnTo>
                  <a:lnTo>
                    <a:pt x="11" y="366"/>
                  </a:lnTo>
                  <a:lnTo>
                    <a:pt x="11" y="368"/>
                  </a:lnTo>
                  <a:lnTo>
                    <a:pt x="9" y="362"/>
                  </a:lnTo>
                  <a:lnTo>
                    <a:pt x="9" y="362"/>
                  </a:lnTo>
                  <a:lnTo>
                    <a:pt x="9" y="362"/>
                  </a:lnTo>
                  <a:lnTo>
                    <a:pt x="9" y="362"/>
                  </a:lnTo>
                  <a:close/>
                  <a:moveTo>
                    <a:pt x="5" y="366"/>
                  </a:moveTo>
                  <a:lnTo>
                    <a:pt x="0" y="362"/>
                  </a:lnTo>
                  <a:lnTo>
                    <a:pt x="5" y="362"/>
                  </a:lnTo>
                  <a:lnTo>
                    <a:pt x="5" y="366"/>
                  </a:lnTo>
                  <a:lnTo>
                    <a:pt x="5" y="366"/>
                  </a:lnTo>
                  <a:lnTo>
                    <a:pt x="5" y="366"/>
                  </a:lnTo>
                  <a:lnTo>
                    <a:pt x="5" y="366"/>
                  </a:lnTo>
                  <a:close/>
                  <a:moveTo>
                    <a:pt x="0" y="345"/>
                  </a:moveTo>
                  <a:lnTo>
                    <a:pt x="0" y="347"/>
                  </a:lnTo>
                  <a:lnTo>
                    <a:pt x="0" y="349"/>
                  </a:lnTo>
                  <a:lnTo>
                    <a:pt x="2" y="347"/>
                  </a:lnTo>
                  <a:lnTo>
                    <a:pt x="0" y="345"/>
                  </a:lnTo>
                  <a:lnTo>
                    <a:pt x="0" y="345"/>
                  </a:lnTo>
                  <a:lnTo>
                    <a:pt x="0" y="345"/>
                  </a:lnTo>
                  <a:lnTo>
                    <a:pt x="0" y="345"/>
                  </a:lnTo>
                  <a:close/>
                  <a:moveTo>
                    <a:pt x="0" y="319"/>
                  </a:moveTo>
                  <a:lnTo>
                    <a:pt x="5" y="321"/>
                  </a:lnTo>
                  <a:lnTo>
                    <a:pt x="0" y="322"/>
                  </a:lnTo>
                  <a:lnTo>
                    <a:pt x="0" y="319"/>
                  </a:lnTo>
                  <a:lnTo>
                    <a:pt x="0" y="319"/>
                  </a:lnTo>
                  <a:lnTo>
                    <a:pt x="0" y="319"/>
                  </a:lnTo>
                  <a:lnTo>
                    <a:pt x="0" y="319"/>
                  </a:lnTo>
                  <a:close/>
                  <a:moveTo>
                    <a:pt x="0" y="311"/>
                  </a:moveTo>
                  <a:lnTo>
                    <a:pt x="5" y="315"/>
                  </a:lnTo>
                  <a:lnTo>
                    <a:pt x="2" y="317"/>
                  </a:lnTo>
                  <a:lnTo>
                    <a:pt x="0" y="311"/>
                  </a:lnTo>
                  <a:lnTo>
                    <a:pt x="0" y="311"/>
                  </a:lnTo>
                  <a:lnTo>
                    <a:pt x="0" y="311"/>
                  </a:lnTo>
                  <a:lnTo>
                    <a:pt x="0" y="311"/>
                  </a:lnTo>
                  <a:close/>
                  <a:moveTo>
                    <a:pt x="11" y="304"/>
                  </a:moveTo>
                  <a:lnTo>
                    <a:pt x="13" y="307"/>
                  </a:lnTo>
                  <a:lnTo>
                    <a:pt x="9" y="307"/>
                  </a:lnTo>
                  <a:lnTo>
                    <a:pt x="11" y="304"/>
                  </a:lnTo>
                  <a:lnTo>
                    <a:pt x="11" y="304"/>
                  </a:lnTo>
                  <a:lnTo>
                    <a:pt x="11" y="304"/>
                  </a:lnTo>
                  <a:lnTo>
                    <a:pt x="11" y="304"/>
                  </a:lnTo>
                  <a:close/>
                  <a:moveTo>
                    <a:pt x="15" y="302"/>
                  </a:moveTo>
                  <a:lnTo>
                    <a:pt x="17" y="302"/>
                  </a:lnTo>
                  <a:lnTo>
                    <a:pt x="17" y="307"/>
                  </a:lnTo>
                  <a:lnTo>
                    <a:pt x="15" y="307"/>
                  </a:lnTo>
                  <a:lnTo>
                    <a:pt x="15" y="302"/>
                  </a:lnTo>
                  <a:lnTo>
                    <a:pt x="15" y="302"/>
                  </a:lnTo>
                  <a:lnTo>
                    <a:pt x="15" y="302"/>
                  </a:lnTo>
                  <a:lnTo>
                    <a:pt x="15" y="302"/>
                  </a:lnTo>
                  <a:close/>
                  <a:moveTo>
                    <a:pt x="49" y="279"/>
                  </a:moveTo>
                  <a:lnTo>
                    <a:pt x="49" y="279"/>
                  </a:lnTo>
                  <a:lnTo>
                    <a:pt x="50" y="277"/>
                  </a:lnTo>
                  <a:lnTo>
                    <a:pt x="50" y="279"/>
                  </a:lnTo>
                  <a:lnTo>
                    <a:pt x="50" y="281"/>
                  </a:lnTo>
                  <a:lnTo>
                    <a:pt x="49" y="279"/>
                  </a:lnTo>
                  <a:lnTo>
                    <a:pt x="49" y="279"/>
                  </a:lnTo>
                  <a:lnTo>
                    <a:pt x="49" y="279"/>
                  </a:lnTo>
                  <a:lnTo>
                    <a:pt x="49" y="279"/>
                  </a:lnTo>
                  <a:close/>
                  <a:moveTo>
                    <a:pt x="49" y="274"/>
                  </a:moveTo>
                  <a:lnTo>
                    <a:pt x="49" y="274"/>
                  </a:lnTo>
                  <a:lnTo>
                    <a:pt x="49" y="274"/>
                  </a:lnTo>
                  <a:lnTo>
                    <a:pt x="45" y="272"/>
                  </a:lnTo>
                  <a:lnTo>
                    <a:pt x="49" y="272"/>
                  </a:lnTo>
                  <a:lnTo>
                    <a:pt x="49" y="274"/>
                  </a:lnTo>
                  <a:lnTo>
                    <a:pt x="49" y="274"/>
                  </a:lnTo>
                  <a:lnTo>
                    <a:pt x="49" y="274"/>
                  </a:lnTo>
                  <a:lnTo>
                    <a:pt x="49" y="274"/>
                  </a:lnTo>
                  <a:close/>
                  <a:moveTo>
                    <a:pt x="50" y="266"/>
                  </a:moveTo>
                  <a:lnTo>
                    <a:pt x="58" y="260"/>
                  </a:lnTo>
                  <a:lnTo>
                    <a:pt x="60" y="262"/>
                  </a:lnTo>
                  <a:lnTo>
                    <a:pt x="56" y="266"/>
                  </a:lnTo>
                  <a:lnTo>
                    <a:pt x="50" y="266"/>
                  </a:lnTo>
                  <a:lnTo>
                    <a:pt x="50" y="266"/>
                  </a:lnTo>
                  <a:lnTo>
                    <a:pt x="50" y="266"/>
                  </a:lnTo>
                  <a:lnTo>
                    <a:pt x="50" y="266"/>
                  </a:lnTo>
                  <a:close/>
                  <a:moveTo>
                    <a:pt x="54" y="274"/>
                  </a:moveTo>
                  <a:lnTo>
                    <a:pt x="54" y="270"/>
                  </a:lnTo>
                  <a:lnTo>
                    <a:pt x="58" y="270"/>
                  </a:lnTo>
                  <a:lnTo>
                    <a:pt x="60" y="268"/>
                  </a:lnTo>
                  <a:lnTo>
                    <a:pt x="62" y="266"/>
                  </a:lnTo>
                  <a:lnTo>
                    <a:pt x="66" y="270"/>
                  </a:lnTo>
                  <a:lnTo>
                    <a:pt x="62" y="272"/>
                  </a:lnTo>
                  <a:lnTo>
                    <a:pt x="58" y="272"/>
                  </a:lnTo>
                  <a:lnTo>
                    <a:pt x="54" y="274"/>
                  </a:lnTo>
                  <a:lnTo>
                    <a:pt x="54" y="274"/>
                  </a:lnTo>
                  <a:lnTo>
                    <a:pt x="54" y="274"/>
                  </a:lnTo>
                  <a:lnTo>
                    <a:pt x="54" y="274"/>
                  </a:lnTo>
                  <a:lnTo>
                    <a:pt x="54" y="274"/>
                  </a:lnTo>
                  <a:close/>
                  <a:moveTo>
                    <a:pt x="99" y="219"/>
                  </a:moveTo>
                  <a:lnTo>
                    <a:pt x="103" y="219"/>
                  </a:lnTo>
                  <a:lnTo>
                    <a:pt x="105" y="215"/>
                  </a:lnTo>
                  <a:lnTo>
                    <a:pt x="103" y="223"/>
                  </a:lnTo>
                  <a:lnTo>
                    <a:pt x="99" y="219"/>
                  </a:lnTo>
                  <a:lnTo>
                    <a:pt x="99" y="219"/>
                  </a:lnTo>
                  <a:lnTo>
                    <a:pt x="99" y="219"/>
                  </a:lnTo>
                  <a:lnTo>
                    <a:pt x="99" y="219"/>
                  </a:lnTo>
                  <a:close/>
                  <a:moveTo>
                    <a:pt x="98" y="228"/>
                  </a:moveTo>
                  <a:lnTo>
                    <a:pt x="96" y="226"/>
                  </a:lnTo>
                  <a:lnTo>
                    <a:pt x="92" y="226"/>
                  </a:lnTo>
                  <a:lnTo>
                    <a:pt x="96" y="223"/>
                  </a:lnTo>
                  <a:lnTo>
                    <a:pt x="99" y="223"/>
                  </a:lnTo>
                  <a:lnTo>
                    <a:pt x="103" y="223"/>
                  </a:lnTo>
                  <a:lnTo>
                    <a:pt x="99" y="226"/>
                  </a:lnTo>
                  <a:lnTo>
                    <a:pt x="98" y="228"/>
                  </a:lnTo>
                  <a:lnTo>
                    <a:pt x="98" y="228"/>
                  </a:lnTo>
                  <a:lnTo>
                    <a:pt x="98" y="228"/>
                  </a:lnTo>
                  <a:lnTo>
                    <a:pt x="98" y="228"/>
                  </a:lnTo>
                  <a:close/>
                  <a:moveTo>
                    <a:pt x="105" y="198"/>
                  </a:moveTo>
                  <a:lnTo>
                    <a:pt x="109" y="198"/>
                  </a:lnTo>
                  <a:lnTo>
                    <a:pt x="109" y="202"/>
                  </a:lnTo>
                  <a:lnTo>
                    <a:pt x="105" y="204"/>
                  </a:lnTo>
                  <a:lnTo>
                    <a:pt x="105" y="200"/>
                  </a:lnTo>
                  <a:lnTo>
                    <a:pt x="105" y="198"/>
                  </a:lnTo>
                  <a:lnTo>
                    <a:pt x="105" y="198"/>
                  </a:lnTo>
                  <a:lnTo>
                    <a:pt x="105" y="198"/>
                  </a:lnTo>
                  <a:lnTo>
                    <a:pt x="105" y="198"/>
                  </a:lnTo>
                  <a:close/>
                  <a:moveTo>
                    <a:pt x="113" y="191"/>
                  </a:moveTo>
                  <a:lnTo>
                    <a:pt x="114" y="189"/>
                  </a:lnTo>
                  <a:lnTo>
                    <a:pt x="118" y="189"/>
                  </a:lnTo>
                  <a:lnTo>
                    <a:pt x="113" y="193"/>
                  </a:lnTo>
                  <a:lnTo>
                    <a:pt x="113" y="191"/>
                  </a:lnTo>
                  <a:lnTo>
                    <a:pt x="113" y="191"/>
                  </a:lnTo>
                  <a:lnTo>
                    <a:pt x="113" y="191"/>
                  </a:lnTo>
                  <a:lnTo>
                    <a:pt x="113" y="191"/>
                  </a:lnTo>
                  <a:close/>
                  <a:moveTo>
                    <a:pt x="111" y="185"/>
                  </a:moveTo>
                  <a:lnTo>
                    <a:pt x="113" y="181"/>
                  </a:lnTo>
                  <a:lnTo>
                    <a:pt x="114" y="185"/>
                  </a:lnTo>
                  <a:lnTo>
                    <a:pt x="111" y="189"/>
                  </a:lnTo>
                  <a:lnTo>
                    <a:pt x="111" y="185"/>
                  </a:lnTo>
                  <a:lnTo>
                    <a:pt x="111" y="185"/>
                  </a:lnTo>
                  <a:lnTo>
                    <a:pt x="111" y="185"/>
                  </a:lnTo>
                  <a:lnTo>
                    <a:pt x="111" y="185"/>
                  </a:lnTo>
                  <a:close/>
                  <a:moveTo>
                    <a:pt x="133" y="151"/>
                  </a:moveTo>
                  <a:lnTo>
                    <a:pt x="133" y="149"/>
                  </a:lnTo>
                  <a:lnTo>
                    <a:pt x="135" y="149"/>
                  </a:lnTo>
                  <a:lnTo>
                    <a:pt x="133" y="153"/>
                  </a:lnTo>
                  <a:lnTo>
                    <a:pt x="133" y="151"/>
                  </a:lnTo>
                  <a:lnTo>
                    <a:pt x="133" y="151"/>
                  </a:lnTo>
                  <a:lnTo>
                    <a:pt x="133" y="151"/>
                  </a:lnTo>
                  <a:lnTo>
                    <a:pt x="133" y="151"/>
                  </a:lnTo>
                  <a:close/>
                  <a:moveTo>
                    <a:pt x="111" y="130"/>
                  </a:moveTo>
                  <a:lnTo>
                    <a:pt x="113" y="134"/>
                  </a:lnTo>
                  <a:lnTo>
                    <a:pt x="111" y="136"/>
                  </a:lnTo>
                  <a:lnTo>
                    <a:pt x="109" y="134"/>
                  </a:lnTo>
                  <a:lnTo>
                    <a:pt x="111" y="130"/>
                  </a:lnTo>
                  <a:lnTo>
                    <a:pt x="111" y="130"/>
                  </a:lnTo>
                  <a:lnTo>
                    <a:pt x="111" y="130"/>
                  </a:lnTo>
                  <a:lnTo>
                    <a:pt x="111" y="130"/>
                  </a:lnTo>
                  <a:close/>
                  <a:moveTo>
                    <a:pt x="116" y="121"/>
                  </a:moveTo>
                  <a:lnTo>
                    <a:pt x="113" y="125"/>
                  </a:lnTo>
                  <a:lnTo>
                    <a:pt x="113" y="121"/>
                  </a:lnTo>
                  <a:lnTo>
                    <a:pt x="116" y="117"/>
                  </a:lnTo>
                  <a:lnTo>
                    <a:pt x="116" y="121"/>
                  </a:lnTo>
                  <a:lnTo>
                    <a:pt x="116" y="121"/>
                  </a:lnTo>
                  <a:lnTo>
                    <a:pt x="116" y="121"/>
                  </a:lnTo>
                  <a:lnTo>
                    <a:pt x="116" y="121"/>
                  </a:lnTo>
                  <a:close/>
                  <a:moveTo>
                    <a:pt x="120" y="121"/>
                  </a:moveTo>
                  <a:lnTo>
                    <a:pt x="118" y="117"/>
                  </a:lnTo>
                  <a:lnTo>
                    <a:pt x="120" y="115"/>
                  </a:lnTo>
                  <a:lnTo>
                    <a:pt x="122" y="117"/>
                  </a:lnTo>
                  <a:lnTo>
                    <a:pt x="120" y="121"/>
                  </a:lnTo>
                  <a:lnTo>
                    <a:pt x="120" y="121"/>
                  </a:lnTo>
                  <a:lnTo>
                    <a:pt x="120" y="121"/>
                  </a:lnTo>
                  <a:lnTo>
                    <a:pt x="120" y="121"/>
                  </a:lnTo>
                  <a:close/>
                  <a:moveTo>
                    <a:pt x="130" y="112"/>
                  </a:moveTo>
                  <a:lnTo>
                    <a:pt x="130" y="115"/>
                  </a:lnTo>
                  <a:lnTo>
                    <a:pt x="124" y="121"/>
                  </a:lnTo>
                  <a:lnTo>
                    <a:pt x="126" y="113"/>
                  </a:lnTo>
                  <a:lnTo>
                    <a:pt x="130" y="112"/>
                  </a:lnTo>
                  <a:lnTo>
                    <a:pt x="130" y="112"/>
                  </a:lnTo>
                  <a:lnTo>
                    <a:pt x="130" y="112"/>
                  </a:lnTo>
                  <a:lnTo>
                    <a:pt x="130" y="112"/>
                  </a:lnTo>
                  <a:close/>
                  <a:moveTo>
                    <a:pt x="135" y="104"/>
                  </a:moveTo>
                  <a:lnTo>
                    <a:pt x="139" y="100"/>
                  </a:lnTo>
                  <a:lnTo>
                    <a:pt x="141" y="104"/>
                  </a:lnTo>
                  <a:lnTo>
                    <a:pt x="135" y="104"/>
                  </a:lnTo>
                  <a:lnTo>
                    <a:pt x="135" y="104"/>
                  </a:lnTo>
                  <a:lnTo>
                    <a:pt x="135" y="104"/>
                  </a:lnTo>
                  <a:lnTo>
                    <a:pt x="135" y="104"/>
                  </a:lnTo>
                  <a:close/>
                  <a:moveTo>
                    <a:pt x="141" y="104"/>
                  </a:moveTo>
                  <a:lnTo>
                    <a:pt x="141" y="112"/>
                  </a:lnTo>
                  <a:lnTo>
                    <a:pt x="137" y="110"/>
                  </a:lnTo>
                  <a:lnTo>
                    <a:pt x="133" y="113"/>
                  </a:lnTo>
                  <a:lnTo>
                    <a:pt x="133" y="110"/>
                  </a:lnTo>
                  <a:lnTo>
                    <a:pt x="141" y="104"/>
                  </a:lnTo>
                  <a:lnTo>
                    <a:pt x="141" y="104"/>
                  </a:lnTo>
                  <a:lnTo>
                    <a:pt x="141" y="104"/>
                  </a:lnTo>
                  <a:lnTo>
                    <a:pt x="141" y="104"/>
                  </a:lnTo>
                  <a:close/>
                  <a:moveTo>
                    <a:pt x="143" y="87"/>
                  </a:moveTo>
                  <a:lnTo>
                    <a:pt x="145" y="91"/>
                  </a:lnTo>
                  <a:lnTo>
                    <a:pt x="145" y="96"/>
                  </a:lnTo>
                  <a:lnTo>
                    <a:pt x="139" y="100"/>
                  </a:lnTo>
                  <a:lnTo>
                    <a:pt x="137" y="96"/>
                  </a:lnTo>
                  <a:lnTo>
                    <a:pt x="143" y="95"/>
                  </a:lnTo>
                  <a:lnTo>
                    <a:pt x="139" y="95"/>
                  </a:lnTo>
                  <a:lnTo>
                    <a:pt x="135" y="96"/>
                  </a:lnTo>
                  <a:lnTo>
                    <a:pt x="133" y="96"/>
                  </a:lnTo>
                  <a:lnTo>
                    <a:pt x="135" y="91"/>
                  </a:lnTo>
                  <a:lnTo>
                    <a:pt x="139" y="91"/>
                  </a:lnTo>
                  <a:lnTo>
                    <a:pt x="141" y="89"/>
                  </a:lnTo>
                  <a:lnTo>
                    <a:pt x="141" y="87"/>
                  </a:lnTo>
                  <a:lnTo>
                    <a:pt x="143" y="87"/>
                  </a:lnTo>
                  <a:lnTo>
                    <a:pt x="143" y="87"/>
                  </a:lnTo>
                  <a:lnTo>
                    <a:pt x="143" y="87"/>
                  </a:lnTo>
                  <a:lnTo>
                    <a:pt x="143" y="87"/>
                  </a:lnTo>
                  <a:close/>
                  <a:moveTo>
                    <a:pt x="148" y="89"/>
                  </a:moveTo>
                  <a:lnTo>
                    <a:pt x="146" y="87"/>
                  </a:lnTo>
                  <a:lnTo>
                    <a:pt x="146" y="81"/>
                  </a:lnTo>
                  <a:lnTo>
                    <a:pt x="152" y="78"/>
                  </a:lnTo>
                  <a:lnTo>
                    <a:pt x="152" y="76"/>
                  </a:lnTo>
                  <a:lnTo>
                    <a:pt x="154" y="72"/>
                  </a:lnTo>
                  <a:lnTo>
                    <a:pt x="158" y="76"/>
                  </a:lnTo>
                  <a:lnTo>
                    <a:pt x="154" y="79"/>
                  </a:lnTo>
                  <a:lnTo>
                    <a:pt x="154" y="83"/>
                  </a:lnTo>
                  <a:lnTo>
                    <a:pt x="148" y="89"/>
                  </a:lnTo>
                  <a:lnTo>
                    <a:pt x="148" y="89"/>
                  </a:lnTo>
                  <a:lnTo>
                    <a:pt x="148" y="89"/>
                  </a:lnTo>
                  <a:lnTo>
                    <a:pt x="148" y="89"/>
                  </a:lnTo>
                  <a:close/>
                  <a:moveTo>
                    <a:pt x="160" y="91"/>
                  </a:moveTo>
                  <a:lnTo>
                    <a:pt x="163" y="96"/>
                  </a:lnTo>
                  <a:lnTo>
                    <a:pt x="158" y="104"/>
                  </a:lnTo>
                  <a:lnTo>
                    <a:pt x="154" y="104"/>
                  </a:lnTo>
                  <a:lnTo>
                    <a:pt x="152" y="108"/>
                  </a:lnTo>
                  <a:lnTo>
                    <a:pt x="150" y="106"/>
                  </a:lnTo>
                  <a:lnTo>
                    <a:pt x="150" y="104"/>
                  </a:lnTo>
                  <a:lnTo>
                    <a:pt x="146" y="110"/>
                  </a:lnTo>
                  <a:lnTo>
                    <a:pt x="145" y="110"/>
                  </a:lnTo>
                  <a:lnTo>
                    <a:pt x="145" y="104"/>
                  </a:lnTo>
                  <a:lnTo>
                    <a:pt x="146" y="104"/>
                  </a:lnTo>
                  <a:lnTo>
                    <a:pt x="146" y="100"/>
                  </a:lnTo>
                  <a:lnTo>
                    <a:pt x="148" y="96"/>
                  </a:lnTo>
                  <a:lnTo>
                    <a:pt x="148" y="95"/>
                  </a:lnTo>
                  <a:lnTo>
                    <a:pt x="154" y="87"/>
                  </a:lnTo>
                  <a:lnTo>
                    <a:pt x="150" y="96"/>
                  </a:lnTo>
                  <a:lnTo>
                    <a:pt x="152" y="100"/>
                  </a:lnTo>
                  <a:lnTo>
                    <a:pt x="154" y="96"/>
                  </a:lnTo>
                  <a:lnTo>
                    <a:pt x="160" y="96"/>
                  </a:lnTo>
                  <a:lnTo>
                    <a:pt x="158" y="91"/>
                  </a:lnTo>
                  <a:lnTo>
                    <a:pt x="158" y="89"/>
                  </a:lnTo>
                  <a:lnTo>
                    <a:pt x="160" y="91"/>
                  </a:lnTo>
                  <a:lnTo>
                    <a:pt x="160" y="91"/>
                  </a:lnTo>
                  <a:lnTo>
                    <a:pt x="160" y="91"/>
                  </a:lnTo>
                  <a:lnTo>
                    <a:pt x="160" y="91"/>
                  </a:lnTo>
                  <a:close/>
                  <a:moveTo>
                    <a:pt x="158" y="87"/>
                  </a:moveTo>
                  <a:lnTo>
                    <a:pt x="158" y="85"/>
                  </a:lnTo>
                  <a:lnTo>
                    <a:pt x="160" y="85"/>
                  </a:lnTo>
                  <a:lnTo>
                    <a:pt x="163" y="87"/>
                  </a:lnTo>
                  <a:lnTo>
                    <a:pt x="163" y="89"/>
                  </a:lnTo>
                  <a:lnTo>
                    <a:pt x="158" y="87"/>
                  </a:lnTo>
                  <a:lnTo>
                    <a:pt x="158" y="87"/>
                  </a:lnTo>
                  <a:lnTo>
                    <a:pt x="158" y="87"/>
                  </a:lnTo>
                  <a:lnTo>
                    <a:pt x="158" y="87"/>
                  </a:lnTo>
                  <a:close/>
                  <a:moveTo>
                    <a:pt x="169" y="91"/>
                  </a:moveTo>
                  <a:lnTo>
                    <a:pt x="171" y="89"/>
                  </a:lnTo>
                  <a:lnTo>
                    <a:pt x="173" y="91"/>
                  </a:lnTo>
                  <a:lnTo>
                    <a:pt x="169" y="91"/>
                  </a:lnTo>
                  <a:lnTo>
                    <a:pt x="169" y="91"/>
                  </a:lnTo>
                  <a:lnTo>
                    <a:pt x="169" y="91"/>
                  </a:lnTo>
                  <a:lnTo>
                    <a:pt x="169" y="91"/>
                  </a:lnTo>
                  <a:close/>
                  <a:moveTo>
                    <a:pt x="182" y="72"/>
                  </a:moveTo>
                  <a:lnTo>
                    <a:pt x="182" y="76"/>
                  </a:lnTo>
                  <a:lnTo>
                    <a:pt x="182" y="78"/>
                  </a:lnTo>
                  <a:lnTo>
                    <a:pt x="178" y="78"/>
                  </a:lnTo>
                  <a:lnTo>
                    <a:pt x="177" y="79"/>
                  </a:lnTo>
                  <a:lnTo>
                    <a:pt x="173" y="79"/>
                  </a:lnTo>
                  <a:lnTo>
                    <a:pt x="171" y="85"/>
                  </a:lnTo>
                  <a:lnTo>
                    <a:pt x="169" y="85"/>
                  </a:lnTo>
                  <a:lnTo>
                    <a:pt x="169" y="81"/>
                  </a:lnTo>
                  <a:lnTo>
                    <a:pt x="167" y="81"/>
                  </a:lnTo>
                  <a:lnTo>
                    <a:pt x="169" y="76"/>
                  </a:lnTo>
                  <a:lnTo>
                    <a:pt x="167" y="76"/>
                  </a:lnTo>
                  <a:lnTo>
                    <a:pt x="167" y="72"/>
                  </a:lnTo>
                  <a:lnTo>
                    <a:pt x="173" y="72"/>
                  </a:lnTo>
                  <a:lnTo>
                    <a:pt x="167" y="70"/>
                  </a:lnTo>
                  <a:lnTo>
                    <a:pt x="171" y="66"/>
                  </a:lnTo>
                  <a:lnTo>
                    <a:pt x="173" y="66"/>
                  </a:lnTo>
                  <a:lnTo>
                    <a:pt x="173" y="64"/>
                  </a:lnTo>
                  <a:lnTo>
                    <a:pt x="178" y="64"/>
                  </a:lnTo>
                  <a:lnTo>
                    <a:pt x="178" y="66"/>
                  </a:lnTo>
                  <a:lnTo>
                    <a:pt x="182" y="70"/>
                  </a:lnTo>
                  <a:lnTo>
                    <a:pt x="182" y="72"/>
                  </a:lnTo>
                  <a:lnTo>
                    <a:pt x="182" y="72"/>
                  </a:lnTo>
                  <a:lnTo>
                    <a:pt x="182" y="72"/>
                  </a:lnTo>
                  <a:lnTo>
                    <a:pt x="182" y="72"/>
                  </a:lnTo>
                  <a:close/>
                  <a:moveTo>
                    <a:pt x="182" y="63"/>
                  </a:moveTo>
                  <a:lnTo>
                    <a:pt x="188" y="63"/>
                  </a:lnTo>
                  <a:lnTo>
                    <a:pt x="188" y="59"/>
                  </a:lnTo>
                  <a:lnTo>
                    <a:pt x="192" y="59"/>
                  </a:lnTo>
                  <a:lnTo>
                    <a:pt x="194" y="55"/>
                  </a:lnTo>
                  <a:lnTo>
                    <a:pt x="195" y="59"/>
                  </a:lnTo>
                  <a:lnTo>
                    <a:pt x="194" y="63"/>
                  </a:lnTo>
                  <a:lnTo>
                    <a:pt x="194" y="66"/>
                  </a:lnTo>
                  <a:lnTo>
                    <a:pt x="188" y="66"/>
                  </a:lnTo>
                  <a:lnTo>
                    <a:pt x="186" y="66"/>
                  </a:lnTo>
                  <a:lnTo>
                    <a:pt x="182" y="63"/>
                  </a:lnTo>
                  <a:lnTo>
                    <a:pt x="182" y="63"/>
                  </a:lnTo>
                  <a:lnTo>
                    <a:pt x="182" y="63"/>
                  </a:lnTo>
                  <a:lnTo>
                    <a:pt x="182" y="63"/>
                  </a:lnTo>
                  <a:close/>
                  <a:moveTo>
                    <a:pt x="197" y="42"/>
                  </a:moveTo>
                  <a:lnTo>
                    <a:pt x="195" y="40"/>
                  </a:lnTo>
                  <a:lnTo>
                    <a:pt x="199" y="36"/>
                  </a:lnTo>
                  <a:lnTo>
                    <a:pt x="197" y="42"/>
                  </a:lnTo>
                  <a:lnTo>
                    <a:pt x="197" y="42"/>
                  </a:lnTo>
                  <a:lnTo>
                    <a:pt x="197" y="42"/>
                  </a:lnTo>
                  <a:lnTo>
                    <a:pt x="197" y="42"/>
                  </a:lnTo>
                  <a:close/>
                  <a:moveTo>
                    <a:pt x="192" y="47"/>
                  </a:moveTo>
                  <a:lnTo>
                    <a:pt x="192" y="46"/>
                  </a:lnTo>
                  <a:lnTo>
                    <a:pt x="195" y="42"/>
                  </a:lnTo>
                  <a:lnTo>
                    <a:pt x="194" y="46"/>
                  </a:lnTo>
                  <a:lnTo>
                    <a:pt x="194" y="46"/>
                  </a:lnTo>
                  <a:lnTo>
                    <a:pt x="192" y="47"/>
                  </a:lnTo>
                  <a:lnTo>
                    <a:pt x="192" y="47"/>
                  </a:lnTo>
                  <a:lnTo>
                    <a:pt x="192" y="47"/>
                  </a:lnTo>
                  <a:lnTo>
                    <a:pt x="192" y="47"/>
                  </a:lnTo>
                  <a:close/>
                  <a:moveTo>
                    <a:pt x="203" y="55"/>
                  </a:moveTo>
                  <a:lnTo>
                    <a:pt x="203" y="49"/>
                  </a:lnTo>
                  <a:lnTo>
                    <a:pt x="205" y="53"/>
                  </a:lnTo>
                  <a:lnTo>
                    <a:pt x="203" y="55"/>
                  </a:lnTo>
                  <a:lnTo>
                    <a:pt x="203" y="55"/>
                  </a:lnTo>
                  <a:lnTo>
                    <a:pt x="203" y="55"/>
                  </a:lnTo>
                  <a:lnTo>
                    <a:pt x="203" y="55"/>
                  </a:lnTo>
                  <a:close/>
                  <a:moveTo>
                    <a:pt x="201" y="53"/>
                  </a:moveTo>
                  <a:lnTo>
                    <a:pt x="199" y="55"/>
                  </a:lnTo>
                  <a:lnTo>
                    <a:pt x="197" y="55"/>
                  </a:lnTo>
                  <a:lnTo>
                    <a:pt x="192" y="51"/>
                  </a:lnTo>
                  <a:lnTo>
                    <a:pt x="197" y="46"/>
                  </a:lnTo>
                  <a:lnTo>
                    <a:pt x="199" y="47"/>
                  </a:lnTo>
                  <a:lnTo>
                    <a:pt x="203" y="47"/>
                  </a:lnTo>
                  <a:lnTo>
                    <a:pt x="203" y="47"/>
                  </a:lnTo>
                  <a:lnTo>
                    <a:pt x="201" y="51"/>
                  </a:lnTo>
                  <a:lnTo>
                    <a:pt x="201" y="53"/>
                  </a:lnTo>
                  <a:lnTo>
                    <a:pt x="201" y="53"/>
                  </a:lnTo>
                  <a:lnTo>
                    <a:pt x="201" y="53"/>
                  </a:lnTo>
                  <a:lnTo>
                    <a:pt x="201" y="53"/>
                  </a:lnTo>
                  <a:close/>
                  <a:moveTo>
                    <a:pt x="210" y="46"/>
                  </a:moveTo>
                  <a:lnTo>
                    <a:pt x="209" y="46"/>
                  </a:lnTo>
                  <a:lnTo>
                    <a:pt x="205" y="46"/>
                  </a:lnTo>
                  <a:lnTo>
                    <a:pt x="205" y="42"/>
                  </a:lnTo>
                  <a:lnTo>
                    <a:pt x="203" y="36"/>
                  </a:lnTo>
                  <a:lnTo>
                    <a:pt x="205" y="36"/>
                  </a:lnTo>
                  <a:lnTo>
                    <a:pt x="207" y="42"/>
                  </a:lnTo>
                  <a:lnTo>
                    <a:pt x="210" y="42"/>
                  </a:lnTo>
                  <a:lnTo>
                    <a:pt x="210" y="46"/>
                  </a:lnTo>
                  <a:lnTo>
                    <a:pt x="210" y="46"/>
                  </a:lnTo>
                  <a:lnTo>
                    <a:pt x="210" y="46"/>
                  </a:lnTo>
                  <a:lnTo>
                    <a:pt x="210" y="46"/>
                  </a:lnTo>
                  <a:close/>
                  <a:moveTo>
                    <a:pt x="220" y="51"/>
                  </a:moveTo>
                  <a:lnTo>
                    <a:pt x="218" y="47"/>
                  </a:lnTo>
                  <a:lnTo>
                    <a:pt x="216" y="46"/>
                  </a:lnTo>
                  <a:lnTo>
                    <a:pt x="216" y="42"/>
                  </a:lnTo>
                  <a:lnTo>
                    <a:pt x="216" y="36"/>
                  </a:lnTo>
                  <a:lnTo>
                    <a:pt x="222" y="42"/>
                  </a:lnTo>
                  <a:lnTo>
                    <a:pt x="220" y="46"/>
                  </a:lnTo>
                  <a:lnTo>
                    <a:pt x="222" y="47"/>
                  </a:lnTo>
                  <a:lnTo>
                    <a:pt x="220" y="51"/>
                  </a:lnTo>
                  <a:lnTo>
                    <a:pt x="220" y="51"/>
                  </a:lnTo>
                  <a:lnTo>
                    <a:pt x="220" y="51"/>
                  </a:lnTo>
                  <a:lnTo>
                    <a:pt x="220" y="51"/>
                  </a:lnTo>
                  <a:close/>
                  <a:moveTo>
                    <a:pt x="248" y="36"/>
                  </a:moveTo>
                  <a:lnTo>
                    <a:pt x="246" y="36"/>
                  </a:lnTo>
                  <a:lnTo>
                    <a:pt x="241" y="34"/>
                  </a:lnTo>
                  <a:lnTo>
                    <a:pt x="242" y="32"/>
                  </a:lnTo>
                  <a:lnTo>
                    <a:pt x="246" y="32"/>
                  </a:lnTo>
                  <a:lnTo>
                    <a:pt x="248" y="34"/>
                  </a:lnTo>
                  <a:lnTo>
                    <a:pt x="248" y="36"/>
                  </a:lnTo>
                  <a:lnTo>
                    <a:pt x="248" y="36"/>
                  </a:lnTo>
                  <a:lnTo>
                    <a:pt x="248" y="36"/>
                  </a:lnTo>
                  <a:lnTo>
                    <a:pt x="248" y="36"/>
                  </a:lnTo>
                  <a:close/>
                  <a:moveTo>
                    <a:pt x="252" y="34"/>
                  </a:moveTo>
                  <a:lnTo>
                    <a:pt x="248" y="29"/>
                  </a:lnTo>
                  <a:lnTo>
                    <a:pt x="256" y="23"/>
                  </a:lnTo>
                  <a:lnTo>
                    <a:pt x="256" y="27"/>
                  </a:lnTo>
                  <a:lnTo>
                    <a:pt x="254" y="31"/>
                  </a:lnTo>
                  <a:lnTo>
                    <a:pt x="252" y="34"/>
                  </a:lnTo>
                  <a:lnTo>
                    <a:pt x="252" y="34"/>
                  </a:lnTo>
                  <a:lnTo>
                    <a:pt x="252" y="34"/>
                  </a:lnTo>
                  <a:lnTo>
                    <a:pt x="252" y="34"/>
                  </a:lnTo>
                  <a:close/>
                  <a:moveTo>
                    <a:pt x="246" y="27"/>
                  </a:moveTo>
                  <a:lnTo>
                    <a:pt x="242" y="27"/>
                  </a:lnTo>
                  <a:lnTo>
                    <a:pt x="237" y="25"/>
                  </a:lnTo>
                  <a:lnTo>
                    <a:pt x="235" y="21"/>
                  </a:lnTo>
                  <a:lnTo>
                    <a:pt x="237" y="23"/>
                  </a:lnTo>
                  <a:lnTo>
                    <a:pt x="241" y="19"/>
                  </a:lnTo>
                  <a:lnTo>
                    <a:pt x="242" y="23"/>
                  </a:lnTo>
                  <a:lnTo>
                    <a:pt x="246" y="19"/>
                  </a:lnTo>
                  <a:lnTo>
                    <a:pt x="248" y="19"/>
                  </a:lnTo>
                  <a:lnTo>
                    <a:pt x="254" y="15"/>
                  </a:lnTo>
                  <a:lnTo>
                    <a:pt x="254" y="17"/>
                  </a:lnTo>
                  <a:lnTo>
                    <a:pt x="246" y="27"/>
                  </a:lnTo>
                  <a:lnTo>
                    <a:pt x="246" y="27"/>
                  </a:lnTo>
                  <a:lnTo>
                    <a:pt x="246" y="27"/>
                  </a:lnTo>
                  <a:lnTo>
                    <a:pt x="246" y="27"/>
                  </a:lnTo>
                  <a:close/>
                  <a:moveTo>
                    <a:pt x="256" y="19"/>
                  </a:moveTo>
                  <a:lnTo>
                    <a:pt x="256" y="19"/>
                  </a:lnTo>
                  <a:lnTo>
                    <a:pt x="261" y="17"/>
                  </a:lnTo>
                  <a:lnTo>
                    <a:pt x="267" y="19"/>
                  </a:lnTo>
                  <a:lnTo>
                    <a:pt x="265" y="23"/>
                  </a:lnTo>
                  <a:lnTo>
                    <a:pt x="259" y="25"/>
                  </a:lnTo>
                  <a:lnTo>
                    <a:pt x="259" y="21"/>
                  </a:lnTo>
                  <a:lnTo>
                    <a:pt x="256" y="19"/>
                  </a:lnTo>
                  <a:lnTo>
                    <a:pt x="256" y="19"/>
                  </a:lnTo>
                  <a:lnTo>
                    <a:pt x="256" y="19"/>
                  </a:lnTo>
                  <a:lnTo>
                    <a:pt x="256" y="19"/>
                  </a:lnTo>
                  <a:close/>
                  <a:moveTo>
                    <a:pt x="267" y="12"/>
                  </a:moveTo>
                  <a:lnTo>
                    <a:pt x="265" y="12"/>
                  </a:lnTo>
                  <a:lnTo>
                    <a:pt x="265" y="12"/>
                  </a:lnTo>
                  <a:lnTo>
                    <a:pt x="261" y="10"/>
                  </a:lnTo>
                  <a:lnTo>
                    <a:pt x="265" y="8"/>
                  </a:lnTo>
                  <a:lnTo>
                    <a:pt x="267" y="12"/>
                  </a:lnTo>
                  <a:lnTo>
                    <a:pt x="267" y="12"/>
                  </a:lnTo>
                  <a:lnTo>
                    <a:pt x="267" y="12"/>
                  </a:lnTo>
                  <a:lnTo>
                    <a:pt x="267" y="12"/>
                  </a:lnTo>
                  <a:close/>
                  <a:moveTo>
                    <a:pt x="274" y="2"/>
                  </a:moveTo>
                  <a:lnTo>
                    <a:pt x="271" y="2"/>
                  </a:lnTo>
                  <a:lnTo>
                    <a:pt x="273" y="2"/>
                  </a:lnTo>
                  <a:lnTo>
                    <a:pt x="274" y="2"/>
                  </a:lnTo>
                  <a:lnTo>
                    <a:pt x="274" y="2"/>
                  </a:lnTo>
                  <a:lnTo>
                    <a:pt x="274" y="2"/>
                  </a:lnTo>
                  <a:lnTo>
                    <a:pt x="274" y="2"/>
                  </a:lnTo>
                  <a:lnTo>
                    <a:pt x="274" y="2"/>
                  </a:lnTo>
                  <a:close/>
                  <a:moveTo>
                    <a:pt x="280" y="8"/>
                  </a:moveTo>
                  <a:lnTo>
                    <a:pt x="280" y="6"/>
                  </a:lnTo>
                  <a:lnTo>
                    <a:pt x="282" y="2"/>
                  </a:lnTo>
                  <a:lnTo>
                    <a:pt x="284" y="2"/>
                  </a:lnTo>
                  <a:lnTo>
                    <a:pt x="286" y="2"/>
                  </a:lnTo>
                  <a:lnTo>
                    <a:pt x="286" y="0"/>
                  </a:lnTo>
                  <a:lnTo>
                    <a:pt x="288" y="2"/>
                  </a:lnTo>
                  <a:lnTo>
                    <a:pt x="291" y="2"/>
                  </a:lnTo>
                  <a:lnTo>
                    <a:pt x="290" y="6"/>
                  </a:lnTo>
                  <a:lnTo>
                    <a:pt x="291" y="6"/>
                  </a:lnTo>
                  <a:lnTo>
                    <a:pt x="291" y="10"/>
                  </a:lnTo>
                  <a:lnTo>
                    <a:pt x="288" y="12"/>
                  </a:lnTo>
                  <a:lnTo>
                    <a:pt x="284" y="8"/>
                  </a:lnTo>
                  <a:lnTo>
                    <a:pt x="280" y="8"/>
                  </a:lnTo>
                  <a:lnTo>
                    <a:pt x="280" y="8"/>
                  </a:lnTo>
                  <a:lnTo>
                    <a:pt x="280" y="8"/>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8">
              <a:extLst>
                <a:ext uri="{FF2B5EF4-FFF2-40B4-BE49-F238E27FC236}">
                  <a16:creationId xmlns:a16="http://schemas.microsoft.com/office/drawing/2014/main" id="{16D739FF-B41A-2147-A3B9-6D754903AD6C}"/>
                </a:ext>
              </a:extLst>
            </p:cNvPr>
            <p:cNvSpPr>
              <a:spLocks noEditPoints="1"/>
            </p:cNvSpPr>
            <p:nvPr/>
          </p:nvSpPr>
          <p:spPr bwMode="auto">
            <a:xfrm>
              <a:off x="6274610" y="1784801"/>
              <a:ext cx="152747" cy="320611"/>
            </a:xfrm>
            <a:custGeom>
              <a:avLst/>
              <a:gdLst/>
              <a:ahLst/>
              <a:cxnLst>
                <a:cxn ang="0">
                  <a:pos x="6" y="302"/>
                </a:cxn>
                <a:cxn ang="0">
                  <a:pos x="19" y="281"/>
                </a:cxn>
                <a:cxn ang="0">
                  <a:pos x="21" y="247"/>
                </a:cxn>
                <a:cxn ang="0">
                  <a:pos x="9" y="205"/>
                </a:cxn>
                <a:cxn ang="0">
                  <a:pos x="28" y="168"/>
                </a:cxn>
                <a:cxn ang="0">
                  <a:pos x="36" y="117"/>
                </a:cxn>
                <a:cxn ang="0">
                  <a:pos x="49" y="94"/>
                </a:cxn>
                <a:cxn ang="0">
                  <a:pos x="58" y="53"/>
                </a:cxn>
                <a:cxn ang="0">
                  <a:pos x="75" y="36"/>
                </a:cxn>
                <a:cxn ang="0">
                  <a:pos x="85" y="25"/>
                </a:cxn>
                <a:cxn ang="0">
                  <a:pos x="107" y="23"/>
                </a:cxn>
                <a:cxn ang="0">
                  <a:pos x="115" y="10"/>
                </a:cxn>
                <a:cxn ang="0">
                  <a:pos x="122" y="4"/>
                </a:cxn>
                <a:cxn ang="0">
                  <a:pos x="154" y="25"/>
                </a:cxn>
                <a:cxn ang="0">
                  <a:pos x="164" y="40"/>
                </a:cxn>
                <a:cxn ang="0">
                  <a:pos x="168" y="64"/>
                </a:cxn>
                <a:cxn ang="0">
                  <a:pos x="173" y="96"/>
                </a:cxn>
                <a:cxn ang="0">
                  <a:pos x="173" y="109"/>
                </a:cxn>
                <a:cxn ang="0">
                  <a:pos x="158" y="111"/>
                </a:cxn>
                <a:cxn ang="0">
                  <a:pos x="143" y="113"/>
                </a:cxn>
                <a:cxn ang="0">
                  <a:pos x="143" y="128"/>
                </a:cxn>
                <a:cxn ang="0">
                  <a:pos x="143" y="132"/>
                </a:cxn>
                <a:cxn ang="0">
                  <a:pos x="143" y="149"/>
                </a:cxn>
                <a:cxn ang="0">
                  <a:pos x="137" y="166"/>
                </a:cxn>
                <a:cxn ang="0">
                  <a:pos x="122" y="185"/>
                </a:cxn>
                <a:cxn ang="0">
                  <a:pos x="111" y="196"/>
                </a:cxn>
                <a:cxn ang="0">
                  <a:pos x="102" y="200"/>
                </a:cxn>
                <a:cxn ang="0">
                  <a:pos x="92" y="217"/>
                </a:cxn>
                <a:cxn ang="0">
                  <a:pos x="87" y="237"/>
                </a:cxn>
                <a:cxn ang="0">
                  <a:pos x="87" y="253"/>
                </a:cxn>
                <a:cxn ang="0">
                  <a:pos x="92" y="270"/>
                </a:cxn>
                <a:cxn ang="0">
                  <a:pos x="109" y="281"/>
                </a:cxn>
                <a:cxn ang="0">
                  <a:pos x="109" y="305"/>
                </a:cxn>
                <a:cxn ang="0">
                  <a:pos x="92" y="303"/>
                </a:cxn>
                <a:cxn ang="0">
                  <a:pos x="77" y="305"/>
                </a:cxn>
                <a:cxn ang="0">
                  <a:pos x="90" y="309"/>
                </a:cxn>
                <a:cxn ang="0">
                  <a:pos x="111" y="315"/>
                </a:cxn>
                <a:cxn ang="0">
                  <a:pos x="100" y="318"/>
                </a:cxn>
                <a:cxn ang="0">
                  <a:pos x="90" y="330"/>
                </a:cxn>
                <a:cxn ang="0">
                  <a:pos x="85" y="335"/>
                </a:cxn>
                <a:cxn ang="0">
                  <a:pos x="87" y="352"/>
                </a:cxn>
                <a:cxn ang="0">
                  <a:pos x="87" y="375"/>
                </a:cxn>
                <a:cxn ang="0">
                  <a:pos x="72" y="398"/>
                </a:cxn>
                <a:cxn ang="0">
                  <a:pos x="53" y="411"/>
                </a:cxn>
                <a:cxn ang="0">
                  <a:pos x="32" y="413"/>
                </a:cxn>
                <a:cxn ang="0">
                  <a:pos x="32" y="390"/>
                </a:cxn>
                <a:cxn ang="0">
                  <a:pos x="15" y="369"/>
                </a:cxn>
                <a:cxn ang="0">
                  <a:pos x="9" y="349"/>
                </a:cxn>
                <a:cxn ang="0">
                  <a:pos x="6" y="339"/>
                </a:cxn>
                <a:cxn ang="0">
                  <a:pos x="0" y="330"/>
                </a:cxn>
                <a:cxn ang="0">
                  <a:pos x="109" y="309"/>
                </a:cxn>
                <a:cxn ang="0">
                  <a:pos x="109" y="309"/>
                </a:cxn>
                <a:cxn ang="0">
                  <a:pos x="6" y="345"/>
                </a:cxn>
                <a:cxn ang="0">
                  <a:pos x="128" y="335"/>
                </a:cxn>
                <a:cxn ang="0">
                  <a:pos x="128" y="354"/>
                </a:cxn>
                <a:cxn ang="0">
                  <a:pos x="126" y="352"/>
                </a:cxn>
                <a:cxn ang="0">
                  <a:pos x="122" y="369"/>
                </a:cxn>
                <a:cxn ang="0">
                  <a:pos x="126" y="354"/>
                </a:cxn>
                <a:cxn ang="0">
                  <a:pos x="111" y="366"/>
                </a:cxn>
                <a:cxn ang="0">
                  <a:pos x="115" y="381"/>
                </a:cxn>
                <a:cxn ang="0">
                  <a:pos x="90" y="394"/>
                </a:cxn>
                <a:cxn ang="0">
                  <a:pos x="90" y="373"/>
                </a:cxn>
              </a:cxnLst>
              <a:rect l="0" t="0" r="r" b="b"/>
              <a:pathLst>
                <a:path w="179" h="418">
                  <a:moveTo>
                    <a:pt x="4" y="320"/>
                  </a:moveTo>
                  <a:lnTo>
                    <a:pt x="6" y="320"/>
                  </a:lnTo>
                  <a:lnTo>
                    <a:pt x="6" y="326"/>
                  </a:lnTo>
                  <a:lnTo>
                    <a:pt x="9" y="320"/>
                  </a:lnTo>
                  <a:lnTo>
                    <a:pt x="9" y="309"/>
                  </a:lnTo>
                  <a:lnTo>
                    <a:pt x="6" y="305"/>
                  </a:lnTo>
                  <a:lnTo>
                    <a:pt x="6" y="302"/>
                  </a:lnTo>
                  <a:lnTo>
                    <a:pt x="9" y="302"/>
                  </a:lnTo>
                  <a:lnTo>
                    <a:pt x="9" y="298"/>
                  </a:lnTo>
                  <a:lnTo>
                    <a:pt x="9" y="294"/>
                  </a:lnTo>
                  <a:lnTo>
                    <a:pt x="13" y="294"/>
                  </a:lnTo>
                  <a:lnTo>
                    <a:pt x="15" y="290"/>
                  </a:lnTo>
                  <a:lnTo>
                    <a:pt x="15" y="286"/>
                  </a:lnTo>
                  <a:lnTo>
                    <a:pt x="19" y="281"/>
                  </a:lnTo>
                  <a:lnTo>
                    <a:pt x="15" y="279"/>
                  </a:lnTo>
                  <a:lnTo>
                    <a:pt x="13" y="270"/>
                  </a:lnTo>
                  <a:lnTo>
                    <a:pt x="9" y="262"/>
                  </a:lnTo>
                  <a:lnTo>
                    <a:pt x="13" y="260"/>
                  </a:lnTo>
                  <a:lnTo>
                    <a:pt x="19" y="256"/>
                  </a:lnTo>
                  <a:lnTo>
                    <a:pt x="19" y="251"/>
                  </a:lnTo>
                  <a:lnTo>
                    <a:pt x="21" y="247"/>
                  </a:lnTo>
                  <a:lnTo>
                    <a:pt x="15" y="239"/>
                  </a:lnTo>
                  <a:lnTo>
                    <a:pt x="9" y="237"/>
                  </a:lnTo>
                  <a:lnTo>
                    <a:pt x="9" y="230"/>
                  </a:lnTo>
                  <a:lnTo>
                    <a:pt x="9" y="222"/>
                  </a:lnTo>
                  <a:lnTo>
                    <a:pt x="9" y="217"/>
                  </a:lnTo>
                  <a:lnTo>
                    <a:pt x="9" y="211"/>
                  </a:lnTo>
                  <a:lnTo>
                    <a:pt x="9" y="205"/>
                  </a:lnTo>
                  <a:lnTo>
                    <a:pt x="9" y="196"/>
                  </a:lnTo>
                  <a:lnTo>
                    <a:pt x="6" y="187"/>
                  </a:lnTo>
                  <a:lnTo>
                    <a:pt x="9" y="177"/>
                  </a:lnTo>
                  <a:lnTo>
                    <a:pt x="13" y="172"/>
                  </a:lnTo>
                  <a:lnTo>
                    <a:pt x="15" y="168"/>
                  </a:lnTo>
                  <a:lnTo>
                    <a:pt x="21" y="168"/>
                  </a:lnTo>
                  <a:lnTo>
                    <a:pt x="28" y="168"/>
                  </a:lnTo>
                  <a:lnTo>
                    <a:pt x="28" y="166"/>
                  </a:lnTo>
                  <a:lnTo>
                    <a:pt x="28" y="158"/>
                  </a:lnTo>
                  <a:lnTo>
                    <a:pt x="28" y="155"/>
                  </a:lnTo>
                  <a:lnTo>
                    <a:pt x="28" y="151"/>
                  </a:lnTo>
                  <a:lnTo>
                    <a:pt x="34" y="134"/>
                  </a:lnTo>
                  <a:lnTo>
                    <a:pt x="34" y="126"/>
                  </a:lnTo>
                  <a:lnTo>
                    <a:pt x="36" y="117"/>
                  </a:lnTo>
                  <a:lnTo>
                    <a:pt x="38" y="113"/>
                  </a:lnTo>
                  <a:lnTo>
                    <a:pt x="38" y="108"/>
                  </a:lnTo>
                  <a:lnTo>
                    <a:pt x="36" y="104"/>
                  </a:lnTo>
                  <a:lnTo>
                    <a:pt x="36" y="102"/>
                  </a:lnTo>
                  <a:lnTo>
                    <a:pt x="41" y="98"/>
                  </a:lnTo>
                  <a:lnTo>
                    <a:pt x="47" y="96"/>
                  </a:lnTo>
                  <a:lnTo>
                    <a:pt x="49" y="94"/>
                  </a:lnTo>
                  <a:lnTo>
                    <a:pt x="49" y="91"/>
                  </a:lnTo>
                  <a:lnTo>
                    <a:pt x="55" y="83"/>
                  </a:lnTo>
                  <a:lnTo>
                    <a:pt x="60" y="74"/>
                  </a:lnTo>
                  <a:lnTo>
                    <a:pt x="62" y="70"/>
                  </a:lnTo>
                  <a:lnTo>
                    <a:pt x="60" y="64"/>
                  </a:lnTo>
                  <a:lnTo>
                    <a:pt x="58" y="62"/>
                  </a:lnTo>
                  <a:lnTo>
                    <a:pt x="58" y="53"/>
                  </a:lnTo>
                  <a:lnTo>
                    <a:pt x="60" y="53"/>
                  </a:lnTo>
                  <a:lnTo>
                    <a:pt x="62" y="49"/>
                  </a:lnTo>
                  <a:lnTo>
                    <a:pt x="64" y="45"/>
                  </a:lnTo>
                  <a:lnTo>
                    <a:pt x="66" y="43"/>
                  </a:lnTo>
                  <a:lnTo>
                    <a:pt x="68" y="38"/>
                  </a:lnTo>
                  <a:lnTo>
                    <a:pt x="72" y="34"/>
                  </a:lnTo>
                  <a:lnTo>
                    <a:pt x="75" y="36"/>
                  </a:lnTo>
                  <a:lnTo>
                    <a:pt x="77" y="38"/>
                  </a:lnTo>
                  <a:lnTo>
                    <a:pt x="81" y="38"/>
                  </a:lnTo>
                  <a:lnTo>
                    <a:pt x="83" y="36"/>
                  </a:lnTo>
                  <a:lnTo>
                    <a:pt x="81" y="32"/>
                  </a:lnTo>
                  <a:lnTo>
                    <a:pt x="83" y="28"/>
                  </a:lnTo>
                  <a:lnTo>
                    <a:pt x="83" y="28"/>
                  </a:lnTo>
                  <a:lnTo>
                    <a:pt x="85" y="25"/>
                  </a:lnTo>
                  <a:lnTo>
                    <a:pt x="81" y="23"/>
                  </a:lnTo>
                  <a:lnTo>
                    <a:pt x="83" y="19"/>
                  </a:lnTo>
                  <a:lnTo>
                    <a:pt x="87" y="19"/>
                  </a:lnTo>
                  <a:lnTo>
                    <a:pt x="92" y="19"/>
                  </a:lnTo>
                  <a:lnTo>
                    <a:pt x="98" y="19"/>
                  </a:lnTo>
                  <a:lnTo>
                    <a:pt x="102" y="23"/>
                  </a:lnTo>
                  <a:lnTo>
                    <a:pt x="107" y="23"/>
                  </a:lnTo>
                  <a:lnTo>
                    <a:pt x="109" y="23"/>
                  </a:lnTo>
                  <a:lnTo>
                    <a:pt x="111" y="23"/>
                  </a:lnTo>
                  <a:lnTo>
                    <a:pt x="111" y="25"/>
                  </a:lnTo>
                  <a:lnTo>
                    <a:pt x="111" y="19"/>
                  </a:lnTo>
                  <a:lnTo>
                    <a:pt x="111" y="15"/>
                  </a:lnTo>
                  <a:lnTo>
                    <a:pt x="111" y="11"/>
                  </a:lnTo>
                  <a:lnTo>
                    <a:pt x="115" y="10"/>
                  </a:lnTo>
                  <a:lnTo>
                    <a:pt x="111" y="6"/>
                  </a:lnTo>
                  <a:lnTo>
                    <a:pt x="111" y="4"/>
                  </a:lnTo>
                  <a:lnTo>
                    <a:pt x="109" y="0"/>
                  </a:lnTo>
                  <a:lnTo>
                    <a:pt x="115" y="2"/>
                  </a:lnTo>
                  <a:lnTo>
                    <a:pt x="117" y="0"/>
                  </a:lnTo>
                  <a:lnTo>
                    <a:pt x="119" y="0"/>
                  </a:lnTo>
                  <a:lnTo>
                    <a:pt x="122" y="4"/>
                  </a:lnTo>
                  <a:lnTo>
                    <a:pt x="126" y="6"/>
                  </a:lnTo>
                  <a:lnTo>
                    <a:pt x="134" y="15"/>
                  </a:lnTo>
                  <a:lnTo>
                    <a:pt x="137" y="19"/>
                  </a:lnTo>
                  <a:lnTo>
                    <a:pt x="145" y="19"/>
                  </a:lnTo>
                  <a:lnTo>
                    <a:pt x="145" y="19"/>
                  </a:lnTo>
                  <a:lnTo>
                    <a:pt x="151" y="19"/>
                  </a:lnTo>
                  <a:lnTo>
                    <a:pt x="154" y="25"/>
                  </a:lnTo>
                  <a:lnTo>
                    <a:pt x="154" y="28"/>
                  </a:lnTo>
                  <a:lnTo>
                    <a:pt x="158" y="28"/>
                  </a:lnTo>
                  <a:lnTo>
                    <a:pt x="158" y="28"/>
                  </a:lnTo>
                  <a:lnTo>
                    <a:pt x="160" y="32"/>
                  </a:lnTo>
                  <a:lnTo>
                    <a:pt x="164" y="32"/>
                  </a:lnTo>
                  <a:lnTo>
                    <a:pt x="166" y="36"/>
                  </a:lnTo>
                  <a:lnTo>
                    <a:pt x="164" y="40"/>
                  </a:lnTo>
                  <a:lnTo>
                    <a:pt x="164" y="45"/>
                  </a:lnTo>
                  <a:lnTo>
                    <a:pt x="162" y="49"/>
                  </a:lnTo>
                  <a:lnTo>
                    <a:pt x="164" y="53"/>
                  </a:lnTo>
                  <a:lnTo>
                    <a:pt x="168" y="53"/>
                  </a:lnTo>
                  <a:lnTo>
                    <a:pt x="169" y="57"/>
                  </a:lnTo>
                  <a:lnTo>
                    <a:pt x="168" y="59"/>
                  </a:lnTo>
                  <a:lnTo>
                    <a:pt x="168" y="64"/>
                  </a:lnTo>
                  <a:lnTo>
                    <a:pt x="171" y="68"/>
                  </a:lnTo>
                  <a:lnTo>
                    <a:pt x="171" y="74"/>
                  </a:lnTo>
                  <a:lnTo>
                    <a:pt x="171" y="77"/>
                  </a:lnTo>
                  <a:lnTo>
                    <a:pt x="171" y="79"/>
                  </a:lnTo>
                  <a:lnTo>
                    <a:pt x="171" y="87"/>
                  </a:lnTo>
                  <a:lnTo>
                    <a:pt x="169" y="91"/>
                  </a:lnTo>
                  <a:lnTo>
                    <a:pt x="173" y="96"/>
                  </a:lnTo>
                  <a:lnTo>
                    <a:pt x="177" y="96"/>
                  </a:lnTo>
                  <a:lnTo>
                    <a:pt x="177" y="104"/>
                  </a:lnTo>
                  <a:lnTo>
                    <a:pt x="179" y="104"/>
                  </a:lnTo>
                  <a:lnTo>
                    <a:pt x="179" y="109"/>
                  </a:lnTo>
                  <a:lnTo>
                    <a:pt x="179" y="109"/>
                  </a:lnTo>
                  <a:lnTo>
                    <a:pt x="177" y="109"/>
                  </a:lnTo>
                  <a:lnTo>
                    <a:pt x="173" y="109"/>
                  </a:lnTo>
                  <a:lnTo>
                    <a:pt x="173" y="108"/>
                  </a:lnTo>
                  <a:lnTo>
                    <a:pt x="168" y="109"/>
                  </a:lnTo>
                  <a:lnTo>
                    <a:pt x="166" y="109"/>
                  </a:lnTo>
                  <a:lnTo>
                    <a:pt x="164" y="111"/>
                  </a:lnTo>
                  <a:lnTo>
                    <a:pt x="160" y="111"/>
                  </a:lnTo>
                  <a:lnTo>
                    <a:pt x="158" y="108"/>
                  </a:lnTo>
                  <a:lnTo>
                    <a:pt x="158" y="111"/>
                  </a:lnTo>
                  <a:lnTo>
                    <a:pt x="154" y="108"/>
                  </a:lnTo>
                  <a:lnTo>
                    <a:pt x="153" y="108"/>
                  </a:lnTo>
                  <a:lnTo>
                    <a:pt x="153" y="111"/>
                  </a:lnTo>
                  <a:lnTo>
                    <a:pt x="151" y="117"/>
                  </a:lnTo>
                  <a:lnTo>
                    <a:pt x="149" y="117"/>
                  </a:lnTo>
                  <a:lnTo>
                    <a:pt x="145" y="113"/>
                  </a:lnTo>
                  <a:lnTo>
                    <a:pt x="143" y="113"/>
                  </a:lnTo>
                  <a:lnTo>
                    <a:pt x="145" y="117"/>
                  </a:lnTo>
                  <a:lnTo>
                    <a:pt x="149" y="119"/>
                  </a:lnTo>
                  <a:lnTo>
                    <a:pt x="145" y="123"/>
                  </a:lnTo>
                  <a:lnTo>
                    <a:pt x="143" y="123"/>
                  </a:lnTo>
                  <a:lnTo>
                    <a:pt x="139" y="124"/>
                  </a:lnTo>
                  <a:lnTo>
                    <a:pt x="143" y="126"/>
                  </a:lnTo>
                  <a:lnTo>
                    <a:pt x="143" y="128"/>
                  </a:lnTo>
                  <a:lnTo>
                    <a:pt x="141" y="128"/>
                  </a:lnTo>
                  <a:lnTo>
                    <a:pt x="141" y="126"/>
                  </a:lnTo>
                  <a:lnTo>
                    <a:pt x="137" y="126"/>
                  </a:lnTo>
                  <a:lnTo>
                    <a:pt x="137" y="126"/>
                  </a:lnTo>
                  <a:lnTo>
                    <a:pt x="139" y="128"/>
                  </a:lnTo>
                  <a:lnTo>
                    <a:pt x="141" y="128"/>
                  </a:lnTo>
                  <a:lnTo>
                    <a:pt x="143" y="132"/>
                  </a:lnTo>
                  <a:lnTo>
                    <a:pt x="141" y="132"/>
                  </a:lnTo>
                  <a:lnTo>
                    <a:pt x="139" y="141"/>
                  </a:lnTo>
                  <a:lnTo>
                    <a:pt x="139" y="143"/>
                  </a:lnTo>
                  <a:lnTo>
                    <a:pt x="136" y="143"/>
                  </a:lnTo>
                  <a:lnTo>
                    <a:pt x="139" y="147"/>
                  </a:lnTo>
                  <a:lnTo>
                    <a:pt x="143" y="147"/>
                  </a:lnTo>
                  <a:lnTo>
                    <a:pt x="143" y="149"/>
                  </a:lnTo>
                  <a:lnTo>
                    <a:pt x="141" y="151"/>
                  </a:lnTo>
                  <a:lnTo>
                    <a:pt x="143" y="153"/>
                  </a:lnTo>
                  <a:lnTo>
                    <a:pt x="145" y="153"/>
                  </a:lnTo>
                  <a:lnTo>
                    <a:pt x="143" y="158"/>
                  </a:lnTo>
                  <a:lnTo>
                    <a:pt x="139" y="158"/>
                  </a:lnTo>
                  <a:lnTo>
                    <a:pt x="137" y="162"/>
                  </a:lnTo>
                  <a:lnTo>
                    <a:pt x="137" y="166"/>
                  </a:lnTo>
                  <a:lnTo>
                    <a:pt x="134" y="173"/>
                  </a:lnTo>
                  <a:lnTo>
                    <a:pt x="134" y="173"/>
                  </a:lnTo>
                  <a:lnTo>
                    <a:pt x="130" y="177"/>
                  </a:lnTo>
                  <a:lnTo>
                    <a:pt x="126" y="173"/>
                  </a:lnTo>
                  <a:lnTo>
                    <a:pt x="126" y="177"/>
                  </a:lnTo>
                  <a:lnTo>
                    <a:pt x="128" y="181"/>
                  </a:lnTo>
                  <a:lnTo>
                    <a:pt x="122" y="185"/>
                  </a:lnTo>
                  <a:lnTo>
                    <a:pt x="121" y="189"/>
                  </a:lnTo>
                  <a:lnTo>
                    <a:pt x="119" y="189"/>
                  </a:lnTo>
                  <a:lnTo>
                    <a:pt x="119" y="185"/>
                  </a:lnTo>
                  <a:lnTo>
                    <a:pt x="115" y="185"/>
                  </a:lnTo>
                  <a:lnTo>
                    <a:pt x="115" y="189"/>
                  </a:lnTo>
                  <a:lnTo>
                    <a:pt x="115" y="192"/>
                  </a:lnTo>
                  <a:lnTo>
                    <a:pt x="111" y="196"/>
                  </a:lnTo>
                  <a:lnTo>
                    <a:pt x="111" y="192"/>
                  </a:lnTo>
                  <a:lnTo>
                    <a:pt x="109" y="192"/>
                  </a:lnTo>
                  <a:lnTo>
                    <a:pt x="109" y="196"/>
                  </a:lnTo>
                  <a:lnTo>
                    <a:pt x="107" y="196"/>
                  </a:lnTo>
                  <a:lnTo>
                    <a:pt x="105" y="196"/>
                  </a:lnTo>
                  <a:lnTo>
                    <a:pt x="102" y="196"/>
                  </a:lnTo>
                  <a:lnTo>
                    <a:pt x="102" y="200"/>
                  </a:lnTo>
                  <a:lnTo>
                    <a:pt x="104" y="200"/>
                  </a:lnTo>
                  <a:lnTo>
                    <a:pt x="104" y="204"/>
                  </a:lnTo>
                  <a:lnTo>
                    <a:pt x="98" y="207"/>
                  </a:lnTo>
                  <a:lnTo>
                    <a:pt x="94" y="205"/>
                  </a:lnTo>
                  <a:lnTo>
                    <a:pt x="94" y="209"/>
                  </a:lnTo>
                  <a:lnTo>
                    <a:pt x="96" y="211"/>
                  </a:lnTo>
                  <a:lnTo>
                    <a:pt x="92" y="217"/>
                  </a:lnTo>
                  <a:lnTo>
                    <a:pt x="87" y="217"/>
                  </a:lnTo>
                  <a:lnTo>
                    <a:pt x="85" y="217"/>
                  </a:lnTo>
                  <a:lnTo>
                    <a:pt x="90" y="221"/>
                  </a:lnTo>
                  <a:lnTo>
                    <a:pt x="90" y="226"/>
                  </a:lnTo>
                  <a:lnTo>
                    <a:pt x="87" y="226"/>
                  </a:lnTo>
                  <a:lnTo>
                    <a:pt x="90" y="232"/>
                  </a:lnTo>
                  <a:lnTo>
                    <a:pt x="87" y="237"/>
                  </a:lnTo>
                  <a:lnTo>
                    <a:pt x="90" y="239"/>
                  </a:lnTo>
                  <a:lnTo>
                    <a:pt x="90" y="243"/>
                  </a:lnTo>
                  <a:lnTo>
                    <a:pt x="87" y="241"/>
                  </a:lnTo>
                  <a:lnTo>
                    <a:pt x="87" y="243"/>
                  </a:lnTo>
                  <a:lnTo>
                    <a:pt x="87" y="247"/>
                  </a:lnTo>
                  <a:lnTo>
                    <a:pt x="87" y="251"/>
                  </a:lnTo>
                  <a:lnTo>
                    <a:pt x="87" y="253"/>
                  </a:lnTo>
                  <a:lnTo>
                    <a:pt x="87" y="254"/>
                  </a:lnTo>
                  <a:lnTo>
                    <a:pt x="87" y="254"/>
                  </a:lnTo>
                  <a:lnTo>
                    <a:pt x="87" y="260"/>
                  </a:lnTo>
                  <a:lnTo>
                    <a:pt x="87" y="264"/>
                  </a:lnTo>
                  <a:lnTo>
                    <a:pt x="87" y="266"/>
                  </a:lnTo>
                  <a:lnTo>
                    <a:pt x="90" y="268"/>
                  </a:lnTo>
                  <a:lnTo>
                    <a:pt x="92" y="270"/>
                  </a:lnTo>
                  <a:lnTo>
                    <a:pt x="92" y="271"/>
                  </a:lnTo>
                  <a:lnTo>
                    <a:pt x="94" y="271"/>
                  </a:lnTo>
                  <a:lnTo>
                    <a:pt x="96" y="275"/>
                  </a:lnTo>
                  <a:lnTo>
                    <a:pt x="100" y="271"/>
                  </a:lnTo>
                  <a:lnTo>
                    <a:pt x="102" y="271"/>
                  </a:lnTo>
                  <a:lnTo>
                    <a:pt x="104" y="277"/>
                  </a:lnTo>
                  <a:lnTo>
                    <a:pt x="109" y="281"/>
                  </a:lnTo>
                  <a:lnTo>
                    <a:pt x="109" y="285"/>
                  </a:lnTo>
                  <a:lnTo>
                    <a:pt x="115" y="286"/>
                  </a:lnTo>
                  <a:lnTo>
                    <a:pt x="115" y="288"/>
                  </a:lnTo>
                  <a:lnTo>
                    <a:pt x="117" y="292"/>
                  </a:lnTo>
                  <a:lnTo>
                    <a:pt x="115" y="298"/>
                  </a:lnTo>
                  <a:lnTo>
                    <a:pt x="111" y="303"/>
                  </a:lnTo>
                  <a:lnTo>
                    <a:pt x="109" y="305"/>
                  </a:lnTo>
                  <a:lnTo>
                    <a:pt x="104" y="309"/>
                  </a:lnTo>
                  <a:lnTo>
                    <a:pt x="102" y="305"/>
                  </a:lnTo>
                  <a:lnTo>
                    <a:pt x="102" y="305"/>
                  </a:lnTo>
                  <a:lnTo>
                    <a:pt x="96" y="303"/>
                  </a:lnTo>
                  <a:lnTo>
                    <a:pt x="94" y="302"/>
                  </a:lnTo>
                  <a:lnTo>
                    <a:pt x="94" y="303"/>
                  </a:lnTo>
                  <a:lnTo>
                    <a:pt x="92" y="303"/>
                  </a:lnTo>
                  <a:lnTo>
                    <a:pt x="90" y="302"/>
                  </a:lnTo>
                  <a:lnTo>
                    <a:pt x="87" y="302"/>
                  </a:lnTo>
                  <a:lnTo>
                    <a:pt x="87" y="303"/>
                  </a:lnTo>
                  <a:lnTo>
                    <a:pt x="85" y="305"/>
                  </a:lnTo>
                  <a:lnTo>
                    <a:pt x="83" y="303"/>
                  </a:lnTo>
                  <a:lnTo>
                    <a:pt x="81" y="305"/>
                  </a:lnTo>
                  <a:lnTo>
                    <a:pt x="77" y="305"/>
                  </a:lnTo>
                  <a:lnTo>
                    <a:pt x="75" y="305"/>
                  </a:lnTo>
                  <a:lnTo>
                    <a:pt x="75" y="305"/>
                  </a:lnTo>
                  <a:lnTo>
                    <a:pt x="81" y="309"/>
                  </a:lnTo>
                  <a:lnTo>
                    <a:pt x="83" y="309"/>
                  </a:lnTo>
                  <a:lnTo>
                    <a:pt x="83" y="305"/>
                  </a:lnTo>
                  <a:lnTo>
                    <a:pt x="87" y="305"/>
                  </a:lnTo>
                  <a:lnTo>
                    <a:pt x="90" y="309"/>
                  </a:lnTo>
                  <a:lnTo>
                    <a:pt x="92" y="309"/>
                  </a:lnTo>
                  <a:lnTo>
                    <a:pt x="94" y="311"/>
                  </a:lnTo>
                  <a:lnTo>
                    <a:pt x="98" y="309"/>
                  </a:lnTo>
                  <a:lnTo>
                    <a:pt x="100" y="311"/>
                  </a:lnTo>
                  <a:lnTo>
                    <a:pt x="104" y="309"/>
                  </a:lnTo>
                  <a:lnTo>
                    <a:pt x="109" y="309"/>
                  </a:lnTo>
                  <a:lnTo>
                    <a:pt x="111" y="315"/>
                  </a:lnTo>
                  <a:lnTo>
                    <a:pt x="111" y="317"/>
                  </a:lnTo>
                  <a:lnTo>
                    <a:pt x="109" y="318"/>
                  </a:lnTo>
                  <a:lnTo>
                    <a:pt x="105" y="318"/>
                  </a:lnTo>
                  <a:lnTo>
                    <a:pt x="102" y="324"/>
                  </a:lnTo>
                  <a:lnTo>
                    <a:pt x="100" y="322"/>
                  </a:lnTo>
                  <a:lnTo>
                    <a:pt x="102" y="320"/>
                  </a:lnTo>
                  <a:lnTo>
                    <a:pt x="100" y="318"/>
                  </a:lnTo>
                  <a:lnTo>
                    <a:pt x="98" y="320"/>
                  </a:lnTo>
                  <a:lnTo>
                    <a:pt x="98" y="322"/>
                  </a:lnTo>
                  <a:lnTo>
                    <a:pt x="96" y="322"/>
                  </a:lnTo>
                  <a:lnTo>
                    <a:pt x="94" y="326"/>
                  </a:lnTo>
                  <a:lnTo>
                    <a:pt x="92" y="330"/>
                  </a:lnTo>
                  <a:lnTo>
                    <a:pt x="90" y="328"/>
                  </a:lnTo>
                  <a:lnTo>
                    <a:pt x="90" y="330"/>
                  </a:lnTo>
                  <a:lnTo>
                    <a:pt x="87" y="332"/>
                  </a:lnTo>
                  <a:lnTo>
                    <a:pt x="87" y="332"/>
                  </a:lnTo>
                  <a:lnTo>
                    <a:pt x="87" y="332"/>
                  </a:lnTo>
                  <a:lnTo>
                    <a:pt x="85" y="334"/>
                  </a:lnTo>
                  <a:lnTo>
                    <a:pt x="87" y="334"/>
                  </a:lnTo>
                  <a:lnTo>
                    <a:pt x="90" y="335"/>
                  </a:lnTo>
                  <a:lnTo>
                    <a:pt x="85" y="335"/>
                  </a:lnTo>
                  <a:lnTo>
                    <a:pt x="90" y="339"/>
                  </a:lnTo>
                  <a:lnTo>
                    <a:pt x="90" y="341"/>
                  </a:lnTo>
                  <a:lnTo>
                    <a:pt x="87" y="345"/>
                  </a:lnTo>
                  <a:lnTo>
                    <a:pt x="90" y="349"/>
                  </a:lnTo>
                  <a:lnTo>
                    <a:pt x="87" y="351"/>
                  </a:lnTo>
                  <a:lnTo>
                    <a:pt x="83" y="349"/>
                  </a:lnTo>
                  <a:lnTo>
                    <a:pt x="87" y="352"/>
                  </a:lnTo>
                  <a:lnTo>
                    <a:pt x="85" y="356"/>
                  </a:lnTo>
                  <a:lnTo>
                    <a:pt x="87" y="358"/>
                  </a:lnTo>
                  <a:lnTo>
                    <a:pt x="85" y="360"/>
                  </a:lnTo>
                  <a:lnTo>
                    <a:pt x="87" y="364"/>
                  </a:lnTo>
                  <a:lnTo>
                    <a:pt x="85" y="369"/>
                  </a:lnTo>
                  <a:lnTo>
                    <a:pt x="85" y="373"/>
                  </a:lnTo>
                  <a:lnTo>
                    <a:pt x="87" y="375"/>
                  </a:lnTo>
                  <a:lnTo>
                    <a:pt x="87" y="377"/>
                  </a:lnTo>
                  <a:lnTo>
                    <a:pt x="85" y="386"/>
                  </a:lnTo>
                  <a:lnTo>
                    <a:pt x="83" y="390"/>
                  </a:lnTo>
                  <a:lnTo>
                    <a:pt x="81" y="398"/>
                  </a:lnTo>
                  <a:lnTo>
                    <a:pt x="77" y="403"/>
                  </a:lnTo>
                  <a:lnTo>
                    <a:pt x="73" y="399"/>
                  </a:lnTo>
                  <a:lnTo>
                    <a:pt x="72" y="398"/>
                  </a:lnTo>
                  <a:lnTo>
                    <a:pt x="68" y="399"/>
                  </a:lnTo>
                  <a:lnTo>
                    <a:pt x="60" y="398"/>
                  </a:lnTo>
                  <a:lnTo>
                    <a:pt x="60" y="398"/>
                  </a:lnTo>
                  <a:lnTo>
                    <a:pt x="58" y="403"/>
                  </a:lnTo>
                  <a:lnTo>
                    <a:pt x="53" y="403"/>
                  </a:lnTo>
                  <a:lnTo>
                    <a:pt x="49" y="409"/>
                  </a:lnTo>
                  <a:lnTo>
                    <a:pt x="53" y="411"/>
                  </a:lnTo>
                  <a:lnTo>
                    <a:pt x="53" y="415"/>
                  </a:lnTo>
                  <a:lnTo>
                    <a:pt x="49" y="418"/>
                  </a:lnTo>
                  <a:lnTo>
                    <a:pt x="43" y="415"/>
                  </a:lnTo>
                  <a:lnTo>
                    <a:pt x="36" y="418"/>
                  </a:lnTo>
                  <a:lnTo>
                    <a:pt x="32" y="418"/>
                  </a:lnTo>
                  <a:lnTo>
                    <a:pt x="30" y="415"/>
                  </a:lnTo>
                  <a:lnTo>
                    <a:pt x="32" y="413"/>
                  </a:lnTo>
                  <a:lnTo>
                    <a:pt x="30" y="403"/>
                  </a:lnTo>
                  <a:lnTo>
                    <a:pt x="28" y="403"/>
                  </a:lnTo>
                  <a:lnTo>
                    <a:pt x="25" y="399"/>
                  </a:lnTo>
                  <a:lnTo>
                    <a:pt x="25" y="398"/>
                  </a:lnTo>
                  <a:lnTo>
                    <a:pt x="25" y="398"/>
                  </a:lnTo>
                  <a:lnTo>
                    <a:pt x="28" y="394"/>
                  </a:lnTo>
                  <a:lnTo>
                    <a:pt x="32" y="390"/>
                  </a:lnTo>
                  <a:lnTo>
                    <a:pt x="30" y="386"/>
                  </a:lnTo>
                  <a:lnTo>
                    <a:pt x="28" y="388"/>
                  </a:lnTo>
                  <a:lnTo>
                    <a:pt x="25" y="384"/>
                  </a:lnTo>
                  <a:lnTo>
                    <a:pt x="23" y="381"/>
                  </a:lnTo>
                  <a:lnTo>
                    <a:pt x="19" y="379"/>
                  </a:lnTo>
                  <a:lnTo>
                    <a:pt x="19" y="375"/>
                  </a:lnTo>
                  <a:lnTo>
                    <a:pt x="15" y="369"/>
                  </a:lnTo>
                  <a:lnTo>
                    <a:pt x="13" y="366"/>
                  </a:lnTo>
                  <a:lnTo>
                    <a:pt x="13" y="360"/>
                  </a:lnTo>
                  <a:lnTo>
                    <a:pt x="9" y="360"/>
                  </a:lnTo>
                  <a:lnTo>
                    <a:pt x="6" y="358"/>
                  </a:lnTo>
                  <a:lnTo>
                    <a:pt x="9" y="356"/>
                  </a:lnTo>
                  <a:lnTo>
                    <a:pt x="9" y="352"/>
                  </a:lnTo>
                  <a:lnTo>
                    <a:pt x="9" y="349"/>
                  </a:lnTo>
                  <a:lnTo>
                    <a:pt x="9" y="345"/>
                  </a:lnTo>
                  <a:lnTo>
                    <a:pt x="13" y="343"/>
                  </a:lnTo>
                  <a:lnTo>
                    <a:pt x="9" y="341"/>
                  </a:lnTo>
                  <a:lnTo>
                    <a:pt x="9" y="339"/>
                  </a:lnTo>
                  <a:lnTo>
                    <a:pt x="9" y="339"/>
                  </a:lnTo>
                  <a:lnTo>
                    <a:pt x="6" y="339"/>
                  </a:lnTo>
                  <a:lnTo>
                    <a:pt x="6" y="339"/>
                  </a:lnTo>
                  <a:lnTo>
                    <a:pt x="9" y="343"/>
                  </a:lnTo>
                  <a:lnTo>
                    <a:pt x="6" y="345"/>
                  </a:lnTo>
                  <a:lnTo>
                    <a:pt x="6" y="339"/>
                  </a:lnTo>
                  <a:lnTo>
                    <a:pt x="6" y="339"/>
                  </a:lnTo>
                  <a:lnTo>
                    <a:pt x="0" y="339"/>
                  </a:lnTo>
                  <a:lnTo>
                    <a:pt x="0" y="332"/>
                  </a:lnTo>
                  <a:lnTo>
                    <a:pt x="0" y="330"/>
                  </a:lnTo>
                  <a:lnTo>
                    <a:pt x="0" y="322"/>
                  </a:lnTo>
                  <a:lnTo>
                    <a:pt x="4" y="320"/>
                  </a:lnTo>
                  <a:lnTo>
                    <a:pt x="4" y="320"/>
                  </a:lnTo>
                  <a:lnTo>
                    <a:pt x="4" y="320"/>
                  </a:lnTo>
                  <a:lnTo>
                    <a:pt x="4" y="320"/>
                  </a:lnTo>
                  <a:lnTo>
                    <a:pt x="4" y="320"/>
                  </a:lnTo>
                  <a:close/>
                  <a:moveTo>
                    <a:pt x="109" y="309"/>
                  </a:moveTo>
                  <a:lnTo>
                    <a:pt x="111" y="315"/>
                  </a:lnTo>
                  <a:lnTo>
                    <a:pt x="111" y="315"/>
                  </a:lnTo>
                  <a:lnTo>
                    <a:pt x="115" y="309"/>
                  </a:lnTo>
                  <a:lnTo>
                    <a:pt x="117" y="305"/>
                  </a:lnTo>
                  <a:lnTo>
                    <a:pt x="117" y="303"/>
                  </a:lnTo>
                  <a:lnTo>
                    <a:pt x="111" y="303"/>
                  </a:lnTo>
                  <a:lnTo>
                    <a:pt x="109" y="309"/>
                  </a:lnTo>
                  <a:lnTo>
                    <a:pt x="109" y="309"/>
                  </a:lnTo>
                  <a:lnTo>
                    <a:pt x="109" y="309"/>
                  </a:lnTo>
                  <a:lnTo>
                    <a:pt x="109" y="309"/>
                  </a:lnTo>
                  <a:close/>
                  <a:moveTo>
                    <a:pt x="6" y="345"/>
                  </a:moveTo>
                  <a:lnTo>
                    <a:pt x="6" y="349"/>
                  </a:lnTo>
                  <a:lnTo>
                    <a:pt x="6" y="349"/>
                  </a:lnTo>
                  <a:lnTo>
                    <a:pt x="6" y="345"/>
                  </a:lnTo>
                  <a:lnTo>
                    <a:pt x="6" y="345"/>
                  </a:lnTo>
                  <a:lnTo>
                    <a:pt x="6" y="345"/>
                  </a:lnTo>
                  <a:lnTo>
                    <a:pt x="6" y="345"/>
                  </a:lnTo>
                  <a:lnTo>
                    <a:pt x="6" y="345"/>
                  </a:lnTo>
                  <a:close/>
                  <a:moveTo>
                    <a:pt x="124" y="335"/>
                  </a:moveTo>
                  <a:lnTo>
                    <a:pt x="126" y="339"/>
                  </a:lnTo>
                  <a:lnTo>
                    <a:pt x="128" y="335"/>
                  </a:lnTo>
                  <a:lnTo>
                    <a:pt x="126" y="334"/>
                  </a:lnTo>
                  <a:lnTo>
                    <a:pt x="124" y="335"/>
                  </a:lnTo>
                  <a:lnTo>
                    <a:pt x="124" y="335"/>
                  </a:lnTo>
                  <a:lnTo>
                    <a:pt x="124" y="335"/>
                  </a:lnTo>
                  <a:lnTo>
                    <a:pt x="124" y="335"/>
                  </a:lnTo>
                  <a:close/>
                  <a:moveTo>
                    <a:pt x="126" y="352"/>
                  </a:moveTo>
                  <a:lnTo>
                    <a:pt x="128" y="354"/>
                  </a:lnTo>
                  <a:lnTo>
                    <a:pt x="130" y="351"/>
                  </a:lnTo>
                  <a:lnTo>
                    <a:pt x="134" y="351"/>
                  </a:lnTo>
                  <a:lnTo>
                    <a:pt x="130" y="349"/>
                  </a:lnTo>
                  <a:lnTo>
                    <a:pt x="128" y="349"/>
                  </a:lnTo>
                  <a:lnTo>
                    <a:pt x="126" y="352"/>
                  </a:lnTo>
                  <a:lnTo>
                    <a:pt x="126" y="352"/>
                  </a:lnTo>
                  <a:lnTo>
                    <a:pt x="126" y="352"/>
                  </a:lnTo>
                  <a:lnTo>
                    <a:pt x="126" y="352"/>
                  </a:lnTo>
                  <a:close/>
                  <a:moveTo>
                    <a:pt x="115" y="381"/>
                  </a:moveTo>
                  <a:lnTo>
                    <a:pt x="117" y="379"/>
                  </a:lnTo>
                  <a:lnTo>
                    <a:pt x="119" y="377"/>
                  </a:lnTo>
                  <a:lnTo>
                    <a:pt x="117" y="375"/>
                  </a:lnTo>
                  <a:lnTo>
                    <a:pt x="117" y="373"/>
                  </a:lnTo>
                  <a:lnTo>
                    <a:pt x="122" y="369"/>
                  </a:lnTo>
                  <a:lnTo>
                    <a:pt x="122" y="369"/>
                  </a:lnTo>
                  <a:lnTo>
                    <a:pt x="126" y="364"/>
                  </a:lnTo>
                  <a:lnTo>
                    <a:pt x="124" y="364"/>
                  </a:lnTo>
                  <a:lnTo>
                    <a:pt x="122" y="360"/>
                  </a:lnTo>
                  <a:lnTo>
                    <a:pt x="124" y="358"/>
                  </a:lnTo>
                  <a:lnTo>
                    <a:pt x="124" y="356"/>
                  </a:lnTo>
                  <a:lnTo>
                    <a:pt x="126" y="354"/>
                  </a:lnTo>
                  <a:lnTo>
                    <a:pt x="124" y="352"/>
                  </a:lnTo>
                  <a:lnTo>
                    <a:pt x="122" y="354"/>
                  </a:lnTo>
                  <a:lnTo>
                    <a:pt x="117" y="354"/>
                  </a:lnTo>
                  <a:lnTo>
                    <a:pt x="115" y="358"/>
                  </a:lnTo>
                  <a:lnTo>
                    <a:pt x="115" y="360"/>
                  </a:lnTo>
                  <a:lnTo>
                    <a:pt x="111" y="364"/>
                  </a:lnTo>
                  <a:lnTo>
                    <a:pt x="111" y="366"/>
                  </a:lnTo>
                  <a:lnTo>
                    <a:pt x="111" y="369"/>
                  </a:lnTo>
                  <a:lnTo>
                    <a:pt x="115" y="373"/>
                  </a:lnTo>
                  <a:lnTo>
                    <a:pt x="115" y="373"/>
                  </a:lnTo>
                  <a:lnTo>
                    <a:pt x="115" y="375"/>
                  </a:lnTo>
                  <a:lnTo>
                    <a:pt x="115" y="379"/>
                  </a:lnTo>
                  <a:lnTo>
                    <a:pt x="115" y="381"/>
                  </a:lnTo>
                  <a:lnTo>
                    <a:pt x="115" y="381"/>
                  </a:lnTo>
                  <a:lnTo>
                    <a:pt x="115" y="381"/>
                  </a:lnTo>
                  <a:lnTo>
                    <a:pt x="115" y="381"/>
                  </a:lnTo>
                  <a:close/>
                  <a:moveTo>
                    <a:pt x="87" y="390"/>
                  </a:moveTo>
                  <a:lnTo>
                    <a:pt x="87" y="394"/>
                  </a:lnTo>
                  <a:lnTo>
                    <a:pt x="87" y="398"/>
                  </a:lnTo>
                  <a:lnTo>
                    <a:pt x="87" y="398"/>
                  </a:lnTo>
                  <a:lnTo>
                    <a:pt x="90" y="394"/>
                  </a:lnTo>
                  <a:lnTo>
                    <a:pt x="90" y="390"/>
                  </a:lnTo>
                  <a:lnTo>
                    <a:pt x="92" y="383"/>
                  </a:lnTo>
                  <a:lnTo>
                    <a:pt x="94" y="377"/>
                  </a:lnTo>
                  <a:lnTo>
                    <a:pt x="94" y="373"/>
                  </a:lnTo>
                  <a:lnTo>
                    <a:pt x="92" y="369"/>
                  </a:lnTo>
                  <a:lnTo>
                    <a:pt x="90" y="373"/>
                  </a:lnTo>
                  <a:lnTo>
                    <a:pt x="90" y="373"/>
                  </a:lnTo>
                  <a:lnTo>
                    <a:pt x="90" y="381"/>
                  </a:lnTo>
                  <a:lnTo>
                    <a:pt x="87" y="381"/>
                  </a:lnTo>
                  <a:lnTo>
                    <a:pt x="87" y="390"/>
                  </a:lnTo>
                  <a:lnTo>
                    <a:pt x="87" y="390"/>
                  </a:lnTo>
                  <a:lnTo>
                    <a:pt x="87" y="390"/>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9">
              <a:extLst>
                <a:ext uri="{FF2B5EF4-FFF2-40B4-BE49-F238E27FC236}">
                  <a16:creationId xmlns:a16="http://schemas.microsoft.com/office/drawing/2014/main" id="{935C7C8F-D714-2042-BA56-E04818DBBB8A}"/>
                </a:ext>
              </a:extLst>
            </p:cNvPr>
            <p:cNvSpPr>
              <a:spLocks noEditPoints="1"/>
            </p:cNvSpPr>
            <p:nvPr/>
          </p:nvSpPr>
          <p:spPr bwMode="auto">
            <a:xfrm>
              <a:off x="6377865" y="1753353"/>
              <a:ext cx="157014" cy="253881"/>
            </a:xfrm>
            <a:custGeom>
              <a:avLst/>
              <a:gdLst/>
              <a:ahLst/>
              <a:cxnLst>
                <a:cxn ang="0">
                  <a:pos x="167" y="277"/>
                </a:cxn>
                <a:cxn ang="0">
                  <a:pos x="171" y="226"/>
                </a:cxn>
                <a:cxn ang="0">
                  <a:pos x="158" y="188"/>
                </a:cxn>
                <a:cxn ang="0">
                  <a:pos x="152" y="165"/>
                </a:cxn>
                <a:cxn ang="0">
                  <a:pos x="146" y="128"/>
                </a:cxn>
                <a:cxn ang="0">
                  <a:pos x="141" y="83"/>
                </a:cxn>
                <a:cxn ang="0">
                  <a:pos x="120" y="64"/>
                </a:cxn>
                <a:cxn ang="0">
                  <a:pos x="116" y="37"/>
                </a:cxn>
                <a:cxn ang="0">
                  <a:pos x="120" y="11"/>
                </a:cxn>
                <a:cxn ang="0">
                  <a:pos x="90" y="0"/>
                </a:cxn>
                <a:cxn ang="0">
                  <a:pos x="75" y="7"/>
                </a:cxn>
                <a:cxn ang="0">
                  <a:pos x="71" y="34"/>
                </a:cxn>
                <a:cxn ang="0">
                  <a:pos x="62" y="45"/>
                </a:cxn>
                <a:cxn ang="0">
                  <a:pos x="37" y="52"/>
                </a:cxn>
                <a:cxn ang="0">
                  <a:pos x="9" y="30"/>
                </a:cxn>
                <a:cxn ang="0">
                  <a:pos x="0" y="37"/>
                </a:cxn>
                <a:cxn ang="0">
                  <a:pos x="26" y="58"/>
                </a:cxn>
                <a:cxn ang="0">
                  <a:pos x="39" y="68"/>
                </a:cxn>
                <a:cxn ang="0">
                  <a:pos x="45" y="88"/>
                </a:cxn>
                <a:cxn ang="0">
                  <a:pos x="54" y="107"/>
                </a:cxn>
                <a:cxn ang="0">
                  <a:pos x="54" y="135"/>
                </a:cxn>
                <a:cxn ang="0">
                  <a:pos x="65" y="149"/>
                </a:cxn>
                <a:cxn ang="0">
                  <a:pos x="80" y="167"/>
                </a:cxn>
                <a:cxn ang="0">
                  <a:pos x="84" y="181"/>
                </a:cxn>
                <a:cxn ang="0">
                  <a:pos x="65" y="192"/>
                </a:cxn>
                <a:cxn ang="0">
                  <a:pos x="54" y="201"/>
                </a:cxn>
                <a:cxn ang="0">
                  <a:pos x="54" y="218"/>
                </a:cxn>
                <a:cxn ang="0">
                  <a:pos x="41" y="220"/>
                </a:cxn>
                <a:cxn ang="0">
                  <a:pos x="37" y="233"/>
                </a:cxn>
                <a:cxn ang="0">
                  <a:pos x="28" y="235"/>
                </a:cxn>
                <a:cxn ang="0">
                  <a:pos x="26" y="250"/>
                </a:cxn>
                <a:cxn ang="0">
                  <a:pos x="30" y="263"/>
                </a:cxn>
                <a:cxn ang="0">
                  <a:pos x="37" y="282"/>
                </a:cxn>
                <a:cxn ang="0">
                  <a:pos x="33" y="307"/>
                </a:cxn>
                <a:cxn ang="0">
                  <a:pos x="45" y="312"/>
                </a:cxn>
                <a:cxn ang="0">
                  <a:pos x="58" y="316"/>
                </a:cxn>
                <a:cxn ang="0">
                  <a:pos x="65" y="331"/>
                </a:cxn>
                <a:cxn ang="0">
                  <a:pos x="79" y="327"/>
                </a:cxn>
                <a:cxn ang="0">
                  <a:pos x="103" y="316"/>
                </a:cxn>
                <a:cxn ang="0">
                  <a:pos x="109" y="314"/>
                </a:cxn>
                <a:cxn ang="0">
                  <a:pos x="116" y="314"/>
                </a:cxn>
                <a:cxn ang="0">
                  <a:pos x="129" y="311"/>
                </a:cxn>
                <a:cxn ang="0">
                  <a:pos x="141" y="307"/>
                </a:cxn>
                <a:cxn ang="0">
                  <a:pos x="146" y="307"/>
                </a:cxn>
                <a:cxn ang="0">
                  <a:pos x="75" y="167"/>
                </a:cxn>
                <a:cxn ang="0">
                  <a:pos x="79" y="173"/>
                </a:cxn>
                <a:cxn ang="0">
                  <a:pos x="24" y="226"/>
                </a:cxn>
                <a:cxn ang="0">
                  <a:pos x="28" y="228"/>
                </a:cxn>
                <a:cxn ang="0">
                  <a:pos x="22" y="228"/>
                </a:cxn>
                <a:cxn ang="0">
                  <a:pos x="60" y="327"/>
                </a:cxn>
                <a:cxn ang="0">
                  <a:pos x="56" y="322"/>
                </a:cxn>
                <a:cxn ang="0">
                  <a:pos x="56" y="322"/>
                </a:cxn>
                <a:cxn ang="0">
                  <a:pos x="48" y="320"/>
                </a:cxn>
                <a:cxn ang="0">
                  <a:pos x="45" y="316"/>
                </a:cxn>
                <a:cxn ang="0">
                  <a:pos x="33" y="312"/>
                </a:cxn>
                <a:cxn ang="0">
                  <a:pos x="33" y="312"/>
                </a:cxn>
                <a:cxn ang="0">
                  <a:pos x="11" y="312"/>
                </a:cxn>
                <a:cxn ang="0">
                  <a:pos x="16" y="324"/>
                </a:cxn>
                <a:cxn ang="0">
                  <a:pos x="11" y="322"/>
                </a:cxn>
              </a:cxnLst>
              <a:rect l="0" t="0" r="r" b="b"/>
              <a:pathLst>
                <a:path w="184" h="331">
                  <a:moveTo>
                    <a:pt x="146" y="307"/>
                  </a:moveTo>
                  <a:lnTo>
                    <a:pt x="144" y="301"/>
                  </a:lnTo>
                  <a:lnTo>
                    <a:pt x="154" y="295"/>
                  </a:lnTo>
                  <a:lnTo>
                    <a:pt x="158" y="292"/>
                  </a:lnTo>
                  <a:lnTo>
                    <a:pt x="163" y="282"/>
                  </a:lnTo>
                  <a:lnTo>
                    <a:pt x="167" y="277"/>
                  </a:lnTo>
                  <a:lnTo>
                    <a:pt x="173" y="267"/>
                  </a:lnTo>
                  <a:lnTo>
                    <a:pt x="180" y="256"/>
                  </a:lnTo>
                  <a:lnTo>
                    <a:pt x="184" y="241"/>
                  </a:lnTo>
                  <a:lnTo>
                    <a:pt x="184" y="235"/>
                  </a:lnTo>
                  <a:lnTo>
                    <a:pt x="176" y="226"/>
                  </a:lnTo>
                  <a:lnTo>
                    <a:pt x="171" y="226"/>
                  </a:lnTo>
                  <a:lnTo>
                    <a:pt x="163" y="213"/>
                  </a:lnTo>
                  <a:lnTo>
                    <a:pt x="163" y="207"/>
                  </a:lnTo>
                  <a:lnTo>
                    <a:pt x="167" y="201"/>
                  </a:lnTo>
                  <a:lnTo>
                    <a:pt x="167" y="196"/>
                  </a:lnTo>
                  <a:lnTo>
                    <a:pt x="163" y="192"/>
                  </a:lnTo>
                  <a:lnTo>
                    <a:pt x="158" y="188"/>
                  </a:lnTo>
                  <a:lnTo>
                    <a:pt x="158" y="182"/>
                  </a:lnTo>
                  <a:lnTo>
                    <a:pt x="160" y="181"/>
                  </a:lnTo>
                  <a:lnTo>
                    <a:pt x="158" y="177"/>
                  </a:lnTo>
                  <a:lnTo>
                    <a:pt x="154" y="175"/>
                  </a:lnTo>
                  <a:lnTo>
                    <a:pt x="152" y="173"/>
                  </a:lnTo>
                  <a:lnTo>
                    <a:pt x="152" y="165"/>
                  </a:lnTo>
                  <a:lnTo>
                    <a:pt x="154" y="162"/>
                  </a:lnTo>
                  <a:lnTo>
                    <a:pt x="152" y="162"/>
                  </a:lnTo>
                  <a:lnTo>
                    <a:pt x="152" y="158"/>
                  </a:lnTo>
                  <a:lnTo>
                    <a:pt x="152" y="147"/>
                  </a:lnTo>
                  <a:lnTo>
                    <a:pt x="154" y="147"/>
                  </a:lnTo>
                  <a:lnTo>
                    <a:pt x="146" y="128"/>
                  </a:lnTo>
                  <a:lnTo>
                    <a:pt x="139" y="113"/>
                  </a:lnTo>
                  <a:lnTo>
                    <a:pt x="137" y="107"/>
                  </a:lnTo>
                  <a:lnTo>
                    <a:pt x="133" y="101"/>
                  </a:lnTo>
                  <a:lnTo>
                    <a:pt x="135" y="92"/>
                  </a:lnTo>
                  <a:lnTo>
                    <a:pt x="139" y="88"/>
                  </a:lnTo>
                  <a:lnTo>
                    <a:pt x="141" y="83"/>
                  </a:lnTo>
                  <a:lnTo>
                    <a:pt x="139" y="81"/>
                  </a:lnTo>
                  <a:lnTo>
                    <a:pt x="129" y="75"/>
                  </a:lnTo>
                  <a:lnTo>
                    <a:pt x="129" y="71"/>
                  </a:lnTo>
                  <a:lnTo>
                    <a:pt x="128" y="68"/>
                  </a:lnTo>
                  <a:lnTo>
                    <a:pt x="122" y="64"/>
                  </a:lnTo>
                  <a:lnTo>
                    <a:pt x="120" y="64"/>
                  </a:lnTo>
                  <a:lnTo>
                    <a:pt x="116" y="54"/>
                  </a:lnTo>
                  <a:lnTo>
                    <a:pt x="112" y="52"/>
                  </a:lnTo>
                  <a:lnTo>
                    <a:pt x="114" y="45"/>
                  </a:lnTo>
                  <a:lnTo>
                    <a:pt x="116" y="41"/>
                  </a:lnTo>
                  <a:lnTo>
                    <a:pt x="112" y="39"/>
                  </a:lnTo>
                  <a:lnTo>
                    <a:pt x="116" y="37"/>
                  </a:lnTo>
                  <a:lnTo>
                    <a:pt x="120" y="35"/>
                  </a:lnTo>
                  <a:lnTo>
                    <a:pt x="120" y="28"/>
                  </a:lnTo>
                  <a:lnTo>
                    <a:pt x="124" y="24"/>
                  </a:lnTo>
                  <a:lnTo>
                    <a:pt x="124" y="19"/>
                  </a:lnTo>
                  <a:lnTo>
                    <a:pt x="120" y="15"/>
                  </a:lnTo>
                  <a:lnTo>
                    <a:pt x="120" y="11"/>
                  </a:lnTo>
                  <a:lnTo>
                    <a:pt x="112" y="11"/>
                  </a:lnTo>
                  <a:lnTo>
                    <a:pt x="109" y="9"/>
                  </a:lnTo>
                  <a:lnTo>
                    <a:pt x="105" y="7"/>
                  </a:lnTo>
                  <a:lnTo>
                    <a:pt x="103" y="3"/>
                  </a:lnTo>
                  <a:lnTo>
                    <a:pt x="99" y="0"/>
                  </a:lnTo>
                  <a:lnTo>
                    <a:pt x="90" y="0"/>
                  </a:lnTo>
                  <a:lnTo>
                    <a:pt x="88" y="3"/>
                  </a:lnTo>
                  <a:lnTo>
                    <a:pt x="88" y="3"/>
                  </a:lnTo>
                  <a:lnTo>
                    <a:pt x="84" y="3"/>
                  </a:lnTo>
                  <a:lnTo>
                    <a:pt x="79" y="3"/>
                  </a:lnTo>
                  <a:lnTo>
                    <a:pt x="75" y="5"/>
                  </a:lnTo>
                  <a:lnTo>
                    <a:pt x="75" y="7"/>
                  </a:lnTo>
                  <a:lnTo>
                    <a:pt x="75" y="11"/>
                  </a:lnTo>
                  <a:lnTo>
                    <a:pt x="71" y="13"/>
                  </a:lnTo>
                  <a:lnTo>
                    <a:pt x="75" y="17"/>
                  </a:lnTo>
                  <a:lnTo>
                    <a:pt x="71" y="19"/>
                  </a:lnTo>
                  <a:lnTo>
                    <a:pt x="71" y="30"/>
                  </a:lnTo>
                  <a:lnTo>
                    <a:pt x="71" y="34"/>
                  </a:lnTo>
                  <a:lnTo>
                    <a:pt x="75" y="37"/>
                  </a:lnTo>
                  <a:lnTo>
                    <a:pt x="71" y="39"/>
                  </a:lnTo>
                  <a:lnTo>
                    <a:pt x="71" y="41"/>
                  </a:lnTo>
                  <a:lnTo>
                    <a:pt x="65" y="41"/>
                  </a:lnTo>
                  <a:lnTo>
                    <a:pt x="64" y="45"/>
                  </a:lnTo>
                  <a:lnTo>
                    <a:pt x="62" y="45"/>
                  </a:lnTo>
                  <a:lnTo>
                    <a:pt x="58" y="51"/>
                  </a:lnTo>
                  <a:lnTo>
                    <a:pt x="54" y="49"/>
                  </a:lnTo>
                  <a:lnTo>
                    <a:pt x="48" y="45"/>
                  </a:lnTo>
                  <a:lnTo>
                    <a:pt x="45" y="45"/>
                  </a:lnTo>
                  <a:lnTo>
                    <a:pt x="41" y="47"/>
                  </a:lnTo>
                  <a:lnTo>
                    <a:pt x="37" y="52"/>
                  </a:lnTo>
                  <a:lnTo>
                    <a:pt x="30" y="52"/>
                  </a:lnTo>
                  <a:lnTo>
                    <a:pt x="24" y="49"/>
                  </a:lnTo>
                  <a:lnTo>
                    <a:pt x="20" y="45"/>
                  </a:lnTo>
                  <a:lnTo>
                    <a:pt x="20" y="41"/>
                  </a:lnTo>
                  <a:lnTo>
                    <a:pt x="11" y="34"/>
                  </a:lnTo>
                  <a:lnTo>
                    <a:pt x="9" y="30"/>
                  </a:lnTo>
                  <a:lnTo>
                    <a:pt x="5" y="30"/>
                  </a:lnTo>
                  <a:lnTo>
                    <a:pt x="3" y="34"/>
                  </a:lnTo>
                  <a:lnTo>
                    <a:pt x="1" y="35"/>
                  </a:lnTo>
                  <a:lnTo>
                    <a:pt x="3" y="37"/>
                  </a:lnTo>
                  <a:lnTo>
                    <a:pt x="1" y="39"/>
                  </a:lnTo>
                  <a:lnTo>
                    <a:pt x="0" y="37"/>
                  </a:lnTo>
                  <a:lnTo>
                    <a:pt x="0" y="39"/>
                  </a:lnTo>
                  <a:lnTo>
                    <a:pt x="3" y="43"/>
                  </a:lnTo>
                  <a:lnTo>
                    <a:pt x="7" y="45"/>
                  </a:lnTo>
                  <a:lnTo>
                    <a:pt x="15" y="54"/>
                  </a:lnTo>
                  <a:lnTo>
                    <a:pt x="20" y="58"/>
                  </a:lnTo>
                  <a:lnTo>
                    <a:pt x="26" y="58"/>
                  </a:lnTo>
                  <a:lnTo>
                    <a:pt x="28" y="58"/>
                  </a:lnTo>
                  <a:lnTo>
                    <a:pt x="32" y="58"/>
                  </a:lnTo>
                  <a:lnTo>
                    <a:pt x="35" y="64"/>
                  </a:lnTo>
                  <a:lnTo>
                    <a:pt x="37" y="68"/>
                  </a:lnTo>
                  <a:lnTo>
                    <a:pt x="39" y="68"/>
                  </a:lnTo>
                  <a:lnTo>
                    <a:pt x="39" y="68"/>
                  </a:lnTo>
                  <a:lnTo>
                    <a:pt x="41" y="71"/>
                  </a:lnTo>
                  <a:lnTo>
                    <a:pt x="45" y="71"/>
                  </a:lnTo>
                  <a:lnTo>
                    <a:pt x="47" y="75"/>
                  </a:lnTo>
                  <a:lnTo>
                    <a:pt x="45" y="79"/>
                  </a:lnTo>
                  <a:lnTo>
                    <a:pt x="45" y="84"/>
                  </a:lnTo>
                  <a:lnTo>
                    <a:pt x="45" y="88"/>
                  </a:lnTo>
                  <a:lnTo>
                    <a:pt x="45" y="92"/>
                  </a:lnTo>
                  <a:lnTo>
                    <a:pt x="48" y="92"/>
                  </a:lnTo>
                  <a:lnTo>
                    <a:pt x="50" y="98"/>
                  </a:lnTo>
                  <a:lnTo>
                    <a:pt x="48" y="98"/>
                  </a:lnTo>
                  <a:lnTo>
                    <a:pt x="48" y="103"/>
                  </a:lnTo>
                  <a:lnTo>
                    <a:pt x="54" y="107"/>
                  </a:lnTo>
                  <a:lnTo>
                    <a:pt x="54" y="115"/>
                  </a:lnTo>
                  <a:lnTo>
                    <a:pt x="54" y="116"/>
                  </a:lnTo>
                  <a:lnTo>
                    <a:pt x="54" y="118"/>
                  </a:lnTo>
                  <a:lnTo>
                    <a:pt x="54" y="128"/>
                  </a:lnTo>
                  <a:lnTo>
                    <a:pt x="50" y="130"/>
                  </a:lnTo>
                  <a:lnTo>
                    <a:pt x="54" y="135"/>
                  </a:lnTo>
                  <a:lnTo>
                    <a:pt x="58" y="135"/>
                  </a:lnTo>
                  <a:lnTo>
                    <a:pt x="60" y="143"/>
                  </a:lnTo>
                  <a:lnTo>
                    <a:pt x="62" y="145"/>
                  </a:lnTo>
                  <a:lnTo>
                    <a:pt x="62" y="149"/>
                  </a:lnTo>
                  <a:lnTo>
                    <a:pt x="64" y="149"/>
                  </a:lnTo>
                  <a:lnTo>
                    <a:pt x="65" y="149"/>
                  </a:lnTo>
                  <a:lnTo>
                    <a:pt x="71" y="152"/>
                  </a:lnTo>
                  <a:lnTo>
                    <a:pt x="79" y="152"/>
                  </a:lnTo>
                  <a:lnTo>
                    <a:pt x="82" y="158"/>
                  </a:lnTo>
                  <a:lnTo>
                    <a:pt x="79" y="162"/>
                  </a:lnTo>
                  <a:lnTo>
                    <a:pt x="80" y="162"/>
                  </a:lnTo>
                  <a:lnTo>
                    <a:pt x="80" y="167"/>
                  </a:lnTo>
                  <a:lnTo>
                    <a:pt x="80" y="169"/>
                  </a:lnTo>
                  <a:lnTo>
                    <a:pt x="86" y="175"/>
                  </a:lnTo>
                  <a:lnTo>
                    <a:pt x="80" y="173"/>
                  </a:lnTo>
                  <a:lnTo>
                    <a:pt x="80" y="175"/>
                  </a:lnTo>
                  <a:lnTo>
                    <a:pt x="84" y="179"/>
                  </a:lnTo>
                  <a:lnTo>
                    <a:pt x="84" y="181"/>
                  </a:lnTo>
                  <a:lnTo>
                    <a:pt x="79" y="179"/>
                  </a:lnTo>
                  <a:lnTo>
                    <a:pt x="75" y="179"/>
                  </a:lnTo>
                  <a:lnTo>
                    <a:pt x="71" y="181"/>
                  </a:lnTo>
                  <a:lnTo>
                    <a:pt x="71" y="182"/>
                  </a:lnTo>
                  <a:lnTo>
                    <a:pt x="65" y="186"/>
                  </a:lnTo>
                  <a:lnTo>
                    <a:pt x="65" y="192"/>
                  </a:lnTo>
                  <a:lnTo>
                    <a:pt x="65" y="192"/>
                  </a:lnTo>
                  <a:lnTo>
                    <a:pt x="60" y="197"/>
                  </a:lnTo>
                  <a:lnTo>
                    <a:pt x="58" y="203"/>
                  </a:lnTo>
                  <a:lnTo>
                    <a:pt x="58" y="203"/>
                  </a:lnTo>
                  <a:lnTo>
                    <a:pt x="56" y="201"/>
                  </a:lnTo>
                  <a:lnTo>
                    <a:pt x="54" y="201"/>
                  </a:lnTo>
                  <a:lnTo>
                    <a:pt x="56" y="205"/>
                  </a:lnTo>
                  <a:lnTo>
                    <a:pt x="54" y="209"/>
                  </a:lnTo>
                  <a:lnTo>
                    <a:pt x="50" y="209"/>
                  </a:lnTo>
                  <a:lnTo>
                    <a:pt x="48" y="213"/>
                  </a:lnTo>
                  <a:lnTo>
                    <a:pt x="48" y="216"/>
                  </a:lnTo>
                  <a:lnTo>
                    <a:pt x="54" y="218"/>
                  </a:lnTo>
                  <a:lnTo>
                    <a:pt x="47" y="216"/>
                  </a:lnTo>
                  <a:lnTo>
                    <a:pt x="47" y="216"/>
                  </a:lnTo>
                  <a:lnTo>
                    <a:pt x="45" y="216"/>
                  </a:lnTo>
                  <a:lnTo>
                    <a:pt x="41" y="220"/>
                  </a:lnTo>
                  <a:lnTo>
                    <a:pt x="45" y="222"/>
                  </a:lnTo>
                  <a:lnTo>
                    <a:pt x="41" y="220"/>
                  </a:lnTo>
                  <a:lnTo>
                    <a:pt x="41" y="222"/>
                  </a:lnTo>
                  <a:lnTo>
                    <a:pt x="41" y="226"/>
                  </a:lnTo>
                  <a:lnTo>
                    <a:pt x="41" y="226"/>
                  </a:lnTo>
                  <a:lnTo>
                    <a:pt x="41" y="230"/>
                  </a:lnTo>
                  <a:lnTo>
                    <a:pt x="39" y="231"/>
                  </a:lnTo>
                  <a:lnTo>
                    <a:pt x="37" y="233"/>
                  </a:lnTo>
                  <a:lnTo>
                    <a:pt x="35" y="231"/>
                  </a:lnTo>
                  <a:lnTo>
                    <a:pt x="33" y="231"/>
                  </a:lnTo>
                  <a:lnTo>
                    <a:pt x="32" y="230"/>
                  </a:lnTo>
                  <a:lnTo>
                    <a:pt x="30" y="231"/>
                  </a:lnTo>
                  <a:lnTo>
                    <a:pt x="30" y="233"/>
                  </a:lnTo>
                  <a:lnTo>
                    <a:pt x="28" y="235"/>
                  </a:lnTo>
                  <a:lnTo>
                    <a:pt x="30" y="237"/>
                  </a:lnTo>
                  <a:lnTo>
                    <a:pt x="28" y="243"/>
                  </a:lnTo>
                  <a:lnTo>
                    <a:pt x="26" y="243"/>
                  </a:lnTo>
                  <a:lnTo>
                    <a:pt x="24" y="246"/>
                  </a:lnTo>
                  <a:lnTo>
                    <a:pt x="26" y="250"/>
                  </a:lnTo>
                  <a:lnTo>
                    <a:pt x="26" y="250"/>
                  </a:lnTo>
                  <a:lnTo>
                    <a:pt x="26" y="256"/>
                  </a:lnTo>
                  <a:lnTo>
                    <a:pt x="26" y="256"/>
                  </a:lnTo>
                  <a:lnTo>
                    <a:pt x="28" y="256"/>
                  </a:lnTo>
                  <a:lnTo>
                    <a:pt x="30" y="258"/>
                  </a:lnTo>
                  <a:lnTo>
                    <a:pt x="30" y="262"/>
                  </a:lnTo>
                  <a:lnTo>
                    <a:pt x="30" y="263"/>
                  </a:lnTo>
                  <a:lnTo>
                    <a:pt x="30" y="267"/>
                  </a:lnTo>
                  <a:lnTo>
                    <a:pt x="30" y="267"/>
                  </a:lnTo>
                  <a:lnTo>
                    <a:pt x="33" y="275"/>
                  </a:lnTo>
                  <a:lnTo>
                    <a:pt x="35" y="277"/>
                  </a:lnTo>
                  <a:lnTo>
                    <a:pt x="33" y="280"/>
                  </a:lnTo>
                  <a:lnTo>
                    <a:pt x="37" y="282"/>
                  </a:lnTo>
                  <a:lnTo>
                    <a:pt x="33" y="284"/>
                  </a:lnTo>
                  <a:lnTo>
                    <a:pt x="35" y="290"/>
                  </a:lnTo>
                  <a:lnTo>
                    <a:pt x="33" y="292"/>
                  </a:lnTo>
                  <a:lnTo>
                    <a:pt x="33" y="299"/>
                  </a:lnTo>
                  <a:lnTo>
                    <a:pt x="35" y="301"/>
                  </a:lnTo>
                  <a:lnTo>
                    <a:pt x="33" y="307"/>
                  </a:lnTo>
                  <a:lnTo>
                    <a:pt x="33" y="311"/>
                  </a:lnTo>
                  <a:lnTo>
                    <a:pt x="35" y="311"/>
                  </a:lnTo>
                  <a:lnTo>
                    <a:pt x="39" y="311"/>
                  </a:lnTo>
                  <a:lnTo>
                    <a:pt x="41" y="311"/>
                  </a:lnTo>
                  <a:lnTo>
                    <a:pt x="41" y="307"/>
                  </a:lnTo>
                  <a:lnTo>
                    <a:pt x="45" y="312"/>
                  </a:lnTo>
                  <a:lnTo>
                    <a:pt x="48" y="312"/>
                  </a:lnTo>
                  <a:lnTo>
                    <a:pt x="50" y="314"/>
                  </a:lnTo>
                  <a:lnTo>
                    <a:pt x="56" y="312"/>
                  </a:lnTo>
                  <a:lnTo>
                    <a:pt x="58" y="314"/>
                  </a:lnTo>
                  <a:lnTo>
                    <a:pt x="56" y="316"/>
                  </a:lnTo>
                  <a:lnTo>
                    <a:pt x="58" y="316"/>
                  </a:lnTo>
                  <a:lnTo>
                    <a:pt x="64" y="314"/>
                  </a:lnTo>
                  <a:lnTo>
                    <a:pt x="64" y="316"/>
                  </a:lnTo>
                  <a:lnTo>
                    <a:pt x="62" y="320"/>
                  </a:lnTo>
                  <a:lnTo>
                    <a:pt x="65" y="327"/>
                  </a:lnTo>
                  <a:lnTo>
                    <a:pt x="65" y="329"/>
                  </a:lnTo>
                  <a:lnTo>
                    <a:pt x="65" y="331"/>
                  </a:lnTo>
                  <a:lnTo>
                    <a:pt x="65" y="331"/>
                  </a:lnTo>
                  <a:lnTo>
                    <a:pt x="69" y="327"/>
                  </a:lnTo>
                  <a:lnTo>
                    <a:pt x="71" y="327"/>
                  </a:lnTo>
                  <a:lnTo>
                    <a:pt x="71" y="329"/>
                  </a:lnTo>
                  <a:lnTo>
                    <a:pt x="75" y="327"/>
                  </a:lnTo>
                  <a:lnTo>
                    <a:pt x="79" y="327"/>
                  </a:lnTo>
                  <a:lnTo>
                    <a:pt x="82" y="324"/>
                  </a:lnTo>
                  <a:lnTo>
                    <a:pt x="86" y="324"/>
                  </a:lnTo>
                  <a:lnTo>
                    <a:pt x="94" y="320"/>
                  </a:lnTo>
                  <a:lnTo>
                    <a:pt x="94" y="316"/>
                  </a:lnTo>
                  <a:lnTo>
                    <a:pt x="99" y="320"/>
                  </a:lnTo>
                  <a:lnTo>
                    <a:pt x="103" y="316"/>
                  </a:lnTo>
                  <a:lnTo>
                    <a:pt x="105" y="312"/>
                  </a:lnTo>
                  <a:lnTo>
                    <a:pt x="105" y="314"/>
                  </a:lnTo>
                  <a:lnTo>
                    <a:pt x="103" y="316"/>
                  </a:lnTo>
                  <a:lnTo>
                    <a:pt x="105" y="320"/>
                  </a:lnTo>
                  <a:lnTo>
                    <a:pt x="109" y="312"/>
                  </a:lnTo>
                  <a:lnTo>
                    <a:pt x="109" y="314"/>
                  </a:lnTo>
                  <a:lnTo>
                    <a:pt x="109" y="311"/>
                  </a:lnTo>
                  <a:lnTo>
                    <a:pt x="109" y="311"/>
                  </a:lnTo>
                  <a:lnTo>
                    <a:pt x="111" y="312"/>
                  </a:lnTo>
                  <a:lnTo>
                    <a:pt x="112" y="312"/>
                  </a:lnTo>
                  <a:lnTo>
                    <a:pt x="114" y="311"/>
                  </a:lnTo>
                  <a:lnTo>
                    <a:pt x="116" y="314"/>
                  </a:lnTo>
                  <a:lnTo>
                    <a:pt x="118" y="312"/>
                  </a:lnTo>
                  <a:lnTo>
                    <a:pt x="118" y="311"/>
                  </a:lnTo>
                  <a:lnTo>
                    <a:pt x="122" y="311"/>
                  </a:lnTo>
                  <a:lnTo>
                    <a:pt x="122" y="312"/>
                  </a:lnTo>
                  <a:lnTo>
                    <a:pt x="124" y="311"/>
                  </a:lnTo>
                  <a:lnTo>
                    <a:pt x="129" y="311"/>
                  </a:lnTo>
                  <a:lnTo>
                    <a:pt x="133" y="312"/>
                  </a:lnTo>
                  <a:lnTo>
                    <a:pt x="137" y="311"/>
                  </a:lnTo>
                  <a:lnTo>
                    <a:pt x="137" y="311"/>
                  </a:lnTo>
                  <a:lnTo>
                    <a:pt x="135" y="307"/>
                  </a:lnTo>
                  <a:lnTo>
                    <a:pt x="137" y="307"/>
                  </a:lnTo>
                  <a:lnTo>
                    <a:pt x="141" y="307"/>
                  </a:lnTo>
                  <a:lnTo>
                    <a:pt x="141" y="311"/>
                  </a:lnTo>
                  <a:lnTo>
                    <a:pt x="144" y="311"/>
                  </a:lnTo>
                  <a:lnTo>
                    <a:pt x="144" y="311"/>
                  </a:lnTo>
                  <a:lnTo>
                    <a:pt x="146" y="307"/>
                  </a:lnTo>
                  <a:lnTo>
                    <a:pt x="146" y="307"/>
                  </a:lnTo>
                  <a:lnTo>
                    <a:pt x="146" y="307"/>
                  </a:lnTo>
                  <a:lnTo>
                    <a:pt x="146" y="307"/>
                  </a:lnTo>
                  <a:close/>
                  <a:moveTo>
                    <a:pt x="79" y="173"/>
                  </a:moveTo>
                  <a:lnTo>
                    <a:pt x="75" y="175"/>
                  </a:lnTo>
                  <a:lnTo>
                    <a:pt x="71" y="175"/>
                  </a:lnTo>
                  <a:lnTo>
                    <a:pt x="71" y="171"/>
                  </a:lnTo>
                  <a:lnTo>
                    <a:pt x="75" y="167"/>
                  </a:lnTo>
                  <a:lnTo>
                    <a:pt x="79" y="169"/>
                  </a:lnTo>
                  <a:lnTo>
                    <a:pt x="79" y="171"/>
                  </a:lnTo>
                  <a:lnTo>
                    <a:pt x="75" y="171"/>
                  </a:lnTo>
                  <a:lnTo>
                    <a:pt x="79" y="173"/>
                  </a:lnTo>
                  <a:lnTo>
                    <a:pt x="79" y="173"/>
                  </a:lnTo>
                  <a:lnTo>
                    <a:pt x="79" y="173"/>
                  </a:lnTo>
                  <a:lnTo>
                    <a:pt x="79" y="173"/>
                  </a:lnTo>
                  <a:close/>
                  <a:moveTo>
                    <a:pt x="24" y="226"/>
                  </a:moveTo>
                  <a:lnTo>
                    <a:pt x="26" y="222"/>
                  </a:lnTo>
                  <a:lnTo>
                    <a:pt x="28" y="226"/>
                  </a:lnTo>
                  <a:lnTo>
                    <a:pt x="26" y="226"/>
                  </a:lnTo>
                  <a:lnTo>
                    <a:pt x="24" y="226"/>
                  </a:lnTo>
                  <a:lnTo>
                    <a:pt x="24" y="226"/>
                  </a:lnTo>
                  <a:lnTo>
                    <a:pt x="24" y="226"/>
                  </a:lnTo>
                  <a:lnTo>
                    <a:pt x="24" y="226"/>
                  </a:lnTo>
                  <a:close/>
                  <a:moveTo>
                    <a:pt x="22" y="228"/>
                  </a:moveTo>
                  <a:lnTo>
                    <a:pt x="26" y="230"/>
                  </a:lnTo>
                  <a:lnTo>
                    <a:pt x="28" y="228"/>
                  </a:lnTo>
                  <a:lnTo>
                    <a:pt x="28" y="231"/>
                  </a:lnTo>
                  <a:lnTo>
                    <a:pt x="24" y="233"/>
                  </a:lnTo>
                  <a:lnTo>
                    <a:pt x="22" y="231"/>
                  </a:lnTo>
                  <a:lnTo>
                    <a:pt x="22" y="228"/>
                  </a:lnTo>
                  <a:lnTo>
                    <a:pt x="22" y="228"/>
                  </a:lnTo>
                  <a:lnTo>
                    <a:pt x="22" y="228"/>
                  </a:lnTo>
                  <a:lnTo>
                    <a:pt x="22" y="228"/>
                  </a:lnTo>
                  <a:close/>
                  <a:moveTo>
                    <a:pt x="62" y="326"/>
                  </a:moveTo>
                  <a:lnTo>
                    <a:pt x="62" y="329"/>
                  </a:lnTo>
                  <a:lnTo>
                    <a:pt x="60" y="331"/>
                  </a:lnTo>
                  <a:lnTo>
                    <a:pt x="58" y="329"/>
                  </a:lnTo>
                  <a:lnTo>
                    <a:pt x="60" y="327"/>
                  </a:lnTo>
                  <a:lnTo>
                    <a:pt x="62" y="326"/>
                  </a:lnTo>
                  <a:lnTo>
                    <a:pt x="62" y="326"/>
                  </a:lnTo>
                  <a:lnTo>
                    <a:pt x="62" y="326"/>
                  </a:lnTo>
                  <a:lnTo>
                    <a:pt x="62" y="326"/>
                  </a:lnTo>
                  <a:close/>
                  <a:moveTo>
                    <a:pt x="56" y="322"/>
                  </a:moveTo>
                  <a:lnTo>
                    <a:pt x="56" y="322"/>
                  </a:lnTo>
                  <a:lnTo>
                    <a:pt x="58" y="324"/>
                  </a:lnTo>
                  <a:lnTo>
                    <a:pt x="56" y="324"/>
                  </a:lnTo>
                  <a:lnTo>
                    <a:pt x="56" y="322"/>
                  </a:lnTo>
                  <a:lnTo>
                    <a:pt x="56" y="322"/>
                  </a:lnTo>
                  <a:lnTo>
                    <a:pt x="56" y="322"/>
                  </a:lnTo>
                  <a:lnTo>
                    <a:pt x="56" y="322"/>
                  </a:lnTo>
                  <a:close/>
                  <a:moveTo>
                    <a:pt x="48" y="320"/>
                  </a:moveTo>
                  <a:lnTo>
                    <a:pt x="54" y="316"/>
                  </a:lnTo>
                  <a:lnTo>
                    <a:pt x="54" y="320"/>
                  </a:lnTo>
                  <a:lnTo>
                    <a:pt x="50" y="322"/>
                  </a:lnTo>
                  <a:lnTo>
                    <a:pt x="48" y="320"/>
                  </a:lnTo>
                  <a:lnTo>
                    <a:pt x="48" y="320"/>
                  </a:lnTo>
                  <a:lnTo>
                    <a:pt x="48" y="320"/>
                  </a:lnTo>
                  <a:lnTo>
                    <a:pt x="48" y="320"/>
                  </a:lnTo>
                  <a:lnTo>
                    <a:pt x="48" y="320"/>
                  </a:lnTo>
                  <a:close/>
                  <a:moveTo>
                    <a:pt x="41" y="311"/>
                  </a:moveTo>
                  <a:lnTo>
                    <a:pt x="45" y="314"/>
                  </a:lnTo>
                  <a:lnTo>
                    <a:pt x="45" y="316"/>
                  </a:lnTo>
                  <a:lnTo>
                    <a:pt x="41" y="314"/>
                  </a:lnTo>
                  <a:lnTo>
                    <a:pt x="41" y="311"/>
                  </a:lnTo>
                  <a:lnTo>
                    <a:pt x="41" y="311"/>
                  </a:lnTo>
                  <a:lnTo>
                    <a:pt x="41" y="311"/>
                  </a:lnTo>
                  <a:lnTo>
                    <a:pt x="41" y="311"/>
                  </a:lnTo>
                  <a:close/>
                  <a:moveTo>
                    <a:pt x="33" y="312"/>
                  </a:moveTo>
                  <a:lnTo>
                    <a:pt x="37" y="312"/>
                  </a:lnTo>
                  <a:lnTo>
                    <a:pt x="35" y="314"/>
                  </a:lnTo>
                  <a:lnTo>
                    <a:pt x="35" y="314"/>
                  </a:lnTo>
                  <a:lnTo>
                    <a:pt x="33" y="312"/>
                  </a:lnTo>
                  <a:lnTo>
                    <a:pt x="33" y="312"/>
                  </a:lnTo>
                  <a:lnTo>
                    <a:pt x="33" y="312"/>
                  </a:lnTo>
                  <a:lnTo>
                    <a:pt x="33" y="312"/>
                  </a:lnTo>
                  <a:close/>
                  <a:moveTo>
                    <a:pt x="9" y="320"/>
                  </a:moveTo>
                  <a:lnTo>
                    <a:pt x="11" y="320"/>
                  </a:lnTo>
                  <a:lnTo>
                    <a:pt x="15" y="320"/>
                  </a:lnTo>
                  <a:lnTo>
                    <a:pt x="11" y="316"/>
                  </a:lnTo>
                  <a:lnTo>
                    <a:pt x="11" y="312"/>
                  </a:lnTo>
                  <a:lnTo>
                    <a:pt x="15" y="312"/>
                  </a:lnTo>
                  <a:lnTo>
                    <a:pt x="20" y="316"/>
                  </a:lnTo>
                  <a:lnTo>
                    <a:pt x="20" y="320"/>
                  </a:lnTo>
                  <a:lnTo>
                    <a:pt x="16" y="320"/>
                  </a:lnTo>
                  <a:lnTo>
                    <a:pt x="16" y="322"/>
                  </a:lnTo>
                  <a:lnTo>
                    <a:pt x="16" y="324"/>
                  </a:lnTo>
                  <a:lnTo>
                    <a:pt x="20" y="324"/>
                  </a:lnTo>
                  <a:lnTo>
                    <a:pt x="20" y="327"/>
                  </a:lnTo>
                  <a:lnTo>
                    <a:pt x="20" y="329"/>
                  </a:lnTo>
                  <a:lnTo>
                    <a:pt x="16" y="326"/>
                  </a:lnTo>
                  <a:lnTo>
                    <a:pt x="11" y="324"/>
                  </a:lnTo>
                  <a:lnTo>
                    <a:pt x="11" y="322"/>
                  </a:lnTo>
                  <a:lnTo>
                    <a:pt x="7" y="320"/>
                  </a:lnTo>
                  <a:lnTo>
                    <a:pt x="9" y="320"/>
                  </a:lnTo>
                  <a:lnTo>
                    <a:pt x="9" y="320"/>
                  </a:lnTo>
                  <a:lnTo>
                    <a:pt x="9" y="320"/>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10">
              <a:extLst>
                <a:ext uri="{FF2B5EF4-FFF2-40B4-BE49-F238E27FC236}">
                  <a16:creationId xmlns:a16="http://schemas.microsoft.com/office/drawing/2014/main" id="{173222BA-D2D6-2544-8420-F0E28D9C256B}"/>
                </a:ext>
              </a:extLst>
            </p:cNvPr>
            <p:cNvSpPr>
              <a:spLocks/>
            </p:cNvSpPr>
            <p:nvPr/>
          </p:nvSpPr>
          <p:spPr bwMode="auto">
            <a:xfrm>
              <a:off x="6202076" y="2113081"/>
              <a:ext cx="134827" cy="142664"/>
            </a:xfrm>
            <a:custGeom>
              <a:avLst/>
              <a:gdLst/>
              <a:ahLst/>
              <a:cxnLst>
                <a:cxn ang="0">
                  <a:pos x="57" y="4"/>
                </a:cxn>
                <a:cxn ang="0">
                  <a:pos x="66" y="11"/>
                </a:cxn>
                <a:cxn ang="0">
                  <a:pos x="70" y="19"/>
                </a:cxn>
                <a:cxn ang="0">
                  <a:pos x="78" y="15"/>
                </a:cxn>
                <a:cxn ang="0">
                  <a:pos x="87" y="17"/>
                </a:cxn>
                <a:cxn ang="0">
                  <a:pos x="79" y="24"/>
                </a:cxn>
                <a:cxn ang="0">
                  <a:pos x="89" y="28"/>
                </a:cxn>
                <a:cxn ang="0">
                  <a:pos x="104" y="20"/>
                </a:cxn>
                <a:cxn ang="0">
                  <a:pos x="110" y="13"/>
                </a:cxn>
                <a:cxn ang="0">
                  <a:pos x="110" y="17"/>
                </a:cxn>
                <a:cxn ang="0">
                  <a:pos x="117" y="17"/>
                </a:cxn>
                <a:cxn ang="0">
                  <a:pos x="128" y="24"/>
                </a:cxn>
                <a:cxn ang="0">
                  <a:pos x="138" y="30"/>
                </a:cxn>
                <a:cxn ang="0">
                  <a:pos x="147" y="43"/>
                </a:cxn>
                <a:cxn ang="0">
                  <a:pos x="147" y="60"/>
                </a:cxn>
                <a:cxn ang="0">
                  <a:pos x="151" y="73"/>
                </a:cxn>
                <a:cxn ang="0">
                  <a:pos x="157" y="88"/>
                </a:cxn>
                <a:cxn ang="0">
                  <a:pos x="151" y="100"/>
                </a:cxn>
                <a:cxn ang="0">
                  <a:pos x="138" y="103"/>
                </a:cxn>
                <a:cxn ang="0">
                  <a:pos x="123" y="111"/>
                </a:cxn>
                <a:cxn ang="0">
                  <a:pos x="108" y="115"/>
                </a:cxn>
                <a:cxn ang="0">
                  <a:pos x="115" y="128"/>
                </a:cxn>
                <a:cxn ang="0">
                  <a:pos x="126" y="141"/>
                </a:cxn>
                <a:cxn ang="0">
                  <a:pos x="138" y="162"/>
                </a:cxn>
                <a:cxn ang="0">
                  <a:pos x="123" y="171"/>
                </a:cxn>
                <a:cxn ang="0">
                  <a:pos x="126" y="182"/>
                </a:cxn>
                <a:cxn ang="0">
                  <a:pos x="110" y="181"/>
                </a:cxn>
                <a:cxn ang="0">
                  <a:pos x="96" y="182"/>
                </a:cxn>
                <a:cxn ang="0">
                  <a:pos x="83" y="182"/>
                </a:cxn>
                <a:cxn ang="0">
                  <a:pos x="70" y="182"/>
                </a:cxn>
                <a:cxn ang="0">
                  <a:pos x="59" y="181"/>
                </a:cxn>
                <a:cxn ang="0">
                  <a:pos x="53" y="177"/>
                </a:cxn>
                <a:cxn ang="0">
                  <a:pos x="44" y="181"/>
                </a:cxn>
                <a:cxn ang="0">
                  <a:pos x="34" y="179"/>
                </a:cxn>
                <a:cxn ang="0">
                  <a:pos x="36" y="162"/>
                </a:cxn>
                <a:cxn ang="0">
                  <a:pos x="38" y="147"/>
                </a:cxn>
                <a:cxn ang="0">
                  <a:pos x="23" y="145"/>
                </a:cxn>
                <a:cxn ang="0">
                  <a:pos x="14" y="141"/>
                </a:cxn>
                <a:cxn ang="0">
                  <a:pos x="8" y="132"/>
                </a:cxn>
                <a:cxn ang="0">
                  <a:pos x="6" y="117"/>
                </a:cxn>
                <a:cxn ang="0">
                  <a:pos x="2" y="101"/>
                </a:cxn>
                <a:cxn ang="0">
                  <a:pos x="2" y="86"/>
                </a:cxn>
                <a:cxn ang="0">
                  <a:pos x="15" y="79"/>
                </a:cxn>
                <a:cxn ang="0">
                  <a:pos x="19" y="68"/>
                </a:cxn>
                <a:cxn ang="0">
                  <a:pos x="14" y="64"/>
                </a:cxn>
                <a:cxn ang="0">
                  <a:pos x="23" y="54"/>
                </a:cxn>
                <a:cxn ang="0">
                  <a:pos x="25" y="47"/>
                </a:cxn>
                <a:cxn ang="0">
                  <a:pos x="19" y="39"/>
                </a:cxn>
                <a:cxn ang="0">
                  <a:pos x="34" y="37"/>
                </a:cxn>
                <a:cxn ang="0">
                  <a:pos x="38" y="39"/>
                </a:cxn>
                <a:cxn ang="0">
                  <a:pos x="42" y="43"/>
                </a:cxn>
                <a:cxn ang="0">
                  <a:pos x="44" y="34"/>
                </a:cxn>
                <a:cxn ang="0">
                  <a:pos x="57" y="30"/>
                </a:cxn>
                <a:cxn ang="0">
                  <a:pos x="57" y="30"/>
                </a:cxn>
                <a:cxn ang="0">
                  <a:pos x="53" y="22"/>
                </a:cxn>
                <a:cxn ang="0">
                  <a:pos x="44" y="13"/>
                </a:cxn>
                <a:cxn ang="0">
                  <a:pos x="47" y="5"/>
                </a:cxn>
                <a:cxn ang="0">
                  <a:pos x="44" y="0"/>
                </a:cxn>
              </a:cxnLst>
              <a:rect l="0" t="0" r="r" b="b"/>
              <a:pathLst>
                <a:path w="158" h="186">
                  <a:moveTo>
                    <a:pt x="44" y="0"/>
                  </a:moveTo>
                  <a:lnTo>
                    <a:pt x="47" y="0"/>
                  </a:lnTo>
                  <a:lnTo>
                    <a:pt x="57" y="4"/>
                  </a:lnTo>
                  <a:lnTo>
                    <a:pt x="57" y="4"/>
                  </a:lnTo>
                  <a:lnTo>
                    <a:pt x="61" y="4"/>
                  </a:lnTo>
                  <a:lnTo>
                    <a:pt x="64" y="5"/>
                  </a:lnTo>
                  <a:lnTo>
                    <a:pt x="68" y="5"/>
                  </a:lnTo>
                  <a:lnTo>
                    <a:pt x="66" y="11"/>
                  </a:lnTo>
                  <a:lnTo>
                    <a:pt x="64" y="13"/>
                  </a:lnTo>
                  <a:lnTo>
                    <a:pt x="64" y="15"/>
                  </a:lnTo>
                  <a:lnTo>
                    <a:pt x="68" y="17"/>
                  </a:lnTo>
                  <a:lnTo>
                    <a:pt x="70" y="19"/>
                  </a:lnTo>
                  <a:lnTo>
                    <a:pt x="72" y="17"/>
                  </a:lnTo>
                  <a:lnTo>
                    <a:pt x="74" y="15"/>
                  </a:lnTo>
                  <a:lnTo>
                    <a:pt x="76" y="13"/>
                  </a:lnTo>
                  <a:lnTo>
                    <a:pt x="78" y="15"/>
                  </a:lnTo>
                  <a:lnTo>
                    <a:pt x="81" y="19"/>
                  </a:lnTo>
                  <a:lnTo>
                    <a:pt x="83" y="19"/>
                  </a:lnTo>
                  <a:lnTo>
                    <a:pt x="83" y="15"/>
                  </a:lnTo>
                  <a:lnTo>
                    <a:pt x="87" y="17"/>
                  </a:lnTo>
                  <a:lnTo>
                    <a:pt x="87" y="20"/>
                  </a:lnTo>
                  <a:lnTo>
                    <a:pt x="83" y="22"/>
                  </a:lnTo>
                  <a:lnTo>
                    <a:pt x="83" y="22"/>
                  </a:lnTo>
                  <a:lnTo>
                    <a:pt x="79" y="24"/>
                  </a:lnTo>
                  <a:lnTo>
                    <a:pt x="83" y="26"/>
                  </a:lnTo>
                  <a:lnTo>
                    <a:pt x="83" y="26"/>
                  </a:lnTo>
                  <a:lnTo>
                    <a:pt x="89" y="26"/>
                  </a:lnTo>
                  <a:lnTo>
                    <a:pt x="89" y="28"/>
                  </a:lnTo>
                  <a:lnTo>
                    <a:pt x="93" y="28"/>
                  </a:lnTo>
                  <a:lnTo>
                    <a:pt x="96" y="24"/>
                  </a:lnTo>
                  <a:lnTo>
                    <a:pt x="98" y="20"/>
                  </a:lnTo>
                  <a:lnTo>
                    <a:pt x="104" y="20"/>
                  </a:lnTo>
                  <a:lnTo>
                    <a:pt x="104" y="19"/>
                  </a:lnTo>
                  <a:lnTo>
                    <a:pt x="108" y="17"/>
                  </a:lnTo>
                  <a:lnTo>
                    <a:pt x="108" y="15"/>
                  </a:lnTo>
                  <a:lnTo>
                    <a:pt x="110" y="13"/>
                  </a:lnTo>
                  <a:lnTo>
                    <a:pt x="115" y="13"/>
                  </a:lnTo>
                  <a:lnTo>
                    <a:pt x="111" y="15"/>
                  </a:lnTo>
                  <a:lnTo>
                    <a:pt x="110" y="17"/>
                  </a:lnTo>
                  <a:lnTo>
                    <a:pt x="110" y="17"/>
                  </a:lnTo>
                  <a:lnTo>
                    <a:pt x="108" y="19"/>
                  </a:lnTo>
                  <a:lnTo>
                    <a:pt x="108" y="20"/>
                  </a:lnTo>
                  <a:lnTo>
                    <a:pt x="111" y="17"/>
                  </a:lnTo>
                  <a:lnTo>
                    <a:pt x="117" y="17"/>
                  </a:lnTo>
                  <a:lnTo>
                    <a:pt x="119" y="17"/>
                  </a:lnTo>
                  <a:lnTo>
                    <a:pt x="119" y="19"/>
                  </a:lnTo>
                  <a:lnTo>
                    <a:pt x="123" y="19"/>
                  </a:lnTo>
                  <a:lnTo>
                    <a:pt x="128" y="24"/>
                  </a:lnTo>
                  <a:lnTo>
                    <a:pt x="132" y="22"/>
                  </a:lnTo>
                  <a:lnTo>
                    <a:pt x="134" y="26"/>
                  </a:lnTo>
                  <a:lnTo>
                    <a:pt x="134" y="30"/>
                  </a:lnTo>
                  <a:lnTo>
                    <a:pt x="138" y="30"/>
                  </a:lnTo>
                  <a:lnTo>
                    <a:pt x="138" y="30"/>
                  </a:lnTo>
                  <a:lnTo>
                    <a:pt x="143" y="34"/>
                  </a:lnTo>
                  <a:lnTo>
                    <a:pt x="147" y="34"/>
                  </a:lnTo>
                  <a:lnTo>
                    <a:pt x="147" y="43"/>
                  </a:lnTo>
                  <a:lnTo>
                    <a:pt x="147" y="47"/>
                  </a:lnTo>
                  <a:lnTo>
                    <a:pt x="140" y="51"/>
                  </a:lnTo>
                  <a:lnTo>
                    <a:pt x="140" y="52"/>
                  </a:lnTo>
                  <a:lnTo>
                    <a:pt x="147" y="60"/>
                  </a:lnTo>
                  <a:lnTo>
                    <a:pt x="147" y="64"/>
                  </a:lnTo>
                  <a:lnTo>
                    <a:pt x="149" y="68"/>
                  </a:lnTo>
                  <a:lnTo>
                    <a:pt x="149" y="68"/>
                  </a:lnTo>
                  <a:lnTo>
                    <a:pt x="151" y="73"/>
                  </a:lnTo>
                  <a:lnTo>
                    <a:pt x="149" y="75"/>
                  </a:lnTo>
                  <a:lnTo>
                    <a:pt x="153" y="85"/>
                  </a:lnTo>
                  <a:lnTo>
                    <a:pt x="155" y="86"/>
                  </a:lnTo>
                  <a:lnTo>
                    <a:pt x="157" y="88"/>
                  </a:lnTo>
                  <a:lnTo>
                    <a:pt x="158" y="98"/>
                  </a:lnTo>
                  <a:lnTo>
                    <a:pt x="157" y="100"/>
                  </a:lnTo>
                  <a:lnTo>
                    <a:pt x="153" y="100"/>
                  </a:lnTo>
                  <a:lnTo>
                    <a:pt x="151" y="100"/>
                  </a:lnTo>
                  <a:lnTo>
                    <a:pt x="143" y="100"/>
                  </a:lnTo>
                  <a:lnTo>
                    <a:pt x="143" y="103"/>
                  </a:lnTo>
                  <a:lnTo>
                    <a:pt x="143" y="105"/>
                  </a:lnTo>
                  <a:lnTo>
                    <a:pt x="138" y="103"/>
                  </a:lnTo>
                  <a:lnTo>
                    <a:pt x="134" y="103"/>
                  </a:lnTo>
                  <a:lnTo>
                    <a:pt x="132" y="107"/>
                  </a:lnTo>
                  <a:lnTo>
                    <a:pt x="126" y="107"/>
                  </a:lnTo>
                  <a:lnTo>
                    <a:pt x="123" y="111"/>
                  </a:lnTo>
                  <a:lnTo>
                    <a:pt x="121" y="113"/>
                  </a:lnTo>
                  <a:lnTo>
                    <a:pt x="113" y="118"/>
                  </a:lnTo>
                  <a:lnTo>
                    <a:pt x="110" y="117"/>
                  </a:lnTo>
                  <a:lnTo>
                    <a:pt x="108" y="115"/>
                  </a:lnTo>
                  <a:lnTo>
                    <a:pt x="106" y="117"/>
                  </a:lnTo>
                  <a:lnTo>
                    <a:pt x="106" y="118"/>
                  </a:lnTo>
                  <a:lnTo>
                    <a:pt x="111" y="122"/>
                  </a:lnTo>
                  <a:lnTo>
                    <a:pt x="115" y="128"/>
                  </a:lnTo>
                  <a:lnTo>
                    <a:pt x="115" y="132"/>
                  </a:lnTo>
                  <a:lnTo>
                    <a:pt x="117" y="135"/>
                  </a:lnTo>
                  <a:lnTo>
                    <a:pt x="121" y="137"/>
                  </a:lnTo>
                  <a:lnTo>
                    <a:pt x="126" y="141"/>
                  </a:lnTo>
                  <a:lnTo>
                    <a:pt x="128" y="145"/>
                  </a:lnTo>
                  <a:lnTo>
                    <a:pt x="138" y="152"/>
                  </a:lnTo>
                  <a:lnTo>
                    <a:pt x="138" y="156"/>
                  </a:lnTo>
                  <a:lnTo>
                    <a:pt x="138" y="162"/>
                  </a:lnTo>
                  <a:lnTo>
                    <a:pt x="134" y="162"/>
                  </a:lnTo>
                  <a:lnTo>
                    <a:pt x="132" y="164"/>
                  </a:lnTo>
                  <a:lnTo>
                    <a:pt x="128" y="165"/>
                  </a:lnTo>
                  <a:lnTo>
                    <a:pt x="123" y="171"/>
                  </a:lnTo>
                  <a:lnTo>
                    <a:pt x="123" y="173"/>
                  </a:lnTo>
                  <a:lnTo>
                    <a:pt x="128" y="177"/>
                  </a:lnTo>
                  <a:lnTo>
                    <a:pt x="128" y="181"/>
                  </a:lnTo>
                  <a:lnTo>
                    <a:pt x="126" y="182"/>
                  </a:lnTo>
                  <a:lnTo>
                    <a:pt x="123" y="179"/>
                  </a:lnTo>
                  <a:lnTo>
                    <a:pt x="117" y="181"/>
                  </a:lnTo>
                  <a:lnTo>
                    <a:pt x="113" y="179"/>
                  </a:lnTo>
                  <a:lnTo>
                    <a:pt x="110" y="181"/>
                  </a:lnTo>
                  <a:lnTo>
                    <a:pt x="104" y="182"/>
                  </a:lnTo>
                  <a:lnTo>
                    <a:pt x="102" y="182"/>
                  </a:lnTo>
                  <a:lnTo>
                    <a:pt x="98" y="182"/>
                  </a:lnTo>
                  <a:lnTo>
                    <a:pt x="96" y="182"/>
                  </a:lnTo>
                  <a:lnTo>
                    <a:pt x="93" y="182"/>
                  </a:lnTo>
                  <a:lnTo>
                    <a:pt x="87" y="182"/>
                  </a:lnTo>
                  <a:lnTo>
                    <a:pt x="81" y="182"/>
                  </a:lnTo>
                  <a:lnTo>
                    <a:pt x="83" y="182"/>
                  </a:lnTo>
                  <a:lnTo>
                    <a:pt x="81" y="186"/>
                  </a:lnTo>
                  <a:lnTo>
                    <a:pt x="76" y="186"/>
                  </a:lnTo>
                  <a:lnTo>
                    <a:pt x="74" y="182"/>
                  </a:lnTo>
                  <a:lnTo>
                    <a:pt x="70" y="182"/>
                  </a:lnTo>
                  <a:lnTo>
                    <a:pt x="68" y="182"/>
                  </a:lnTo>
                  <a:lnTo>
                    <a:pt x="66" y="182"/>
                  </a:lnTo>
                  <a:lnTo>
                    <a:pt x="64" y="182"/>
                  </a:lnTo>
                  <a:lnTo>
                    <a:pt x="59" y="181"/>
                  </a:lnTo>
                  <a:lnTo>
                    <a:pt x="57" y="179"/>
                  </a:lnTo>
                  <a:lnTo>
                    <a:pt x="57" y="181"/>
                  </a:lnTo>
                  <a:lnTo>
                    <a:pt x="53" y="181"/>
                  </a:lnTo>
                  <a:lnTo>
                    <a:pt x="53" y="177"/>
                  </a:lnTo>
                  <a:lnTo>
                    <a:pt x="47" y="179"/>
                  </a:lnTo>
                  <a:lnTo>
                    <a:pt x="47" y="181"/>
                  </a:lnTo>
                  <a:lnTo>
                    <a:pt x="47" y="182"/>
                  </a:lnTo>
                  <a:lnTo>
                    <a:pt x="44" y="181"/>
                  </a:lnTo>
                  <a:lnTo>
                    <a:pt x="38" y="182"/>
                  </a:lnTo>
                  <a:lnTo>
                    <a:pt x="36" y="182"/>
                  </a:lnTo>
                  <a:lnTo>
                    <a:pt x="36" y="182"/>
                  </a:lnTo>
                  <a:lnTo>
                    <a:pt x="34" y="179"/>
                  </a:lnTo>
                  <a:lnTo>
                    <a:pt x="30" y="177"/>
                  </a:lnTo>
                  <a:lnTo>
                    <a:pt x="30" y="171"/>
                  </a:lnTo>
                  <a:lnTo>
                    <a:pt x="32" y="164"/>
                  </a:lnTo>
                  <a:lnTo>
                    <a:pt x="36" y="162"/>
                  </a:lnTo>
                  <a:lnTo>
                    <a:pt x="36" y="158"/>
                  </a:lnTo>
                  <a:lnTo>
                    <a:pt x="38" y="152"/>
                  </a:lnTo>
                  <a:lnTo>
                    <a:pt x="42" y="149"/>
                  </a:lnTo>
                  <a:lnTo>
                    <a:pt x="38" y="147"/>
                  </a:lnTo>
                  <a:lnTo>
                    <a:pt x="34" y="147"/>
                  </a:lnTo>
                  <a:lnTo>
                    <a:pt x="30" y="145"/>
                  </a:lnTo>
                  <a:lnTo>
                    <a:pt x="27" y="147"/>
                  </a:lnTo>
                  <a:lnTo>
                    <a:pt x="23" y="145"/>
                  </a:lnTo>
                  <a:lnTo>
                    <a:pt x="21" y="145"/>
                  </a:lnTo>
                  <a:lnTo>
                    <a:pt x="17" y="147"/>
                  </a:lnTo>
                  <a:lnTo>
                    <a:pt x="14" y="143"/>
                  </a:lnTo>
                  <a:lnTo>
                    <a:pt x="14" y="141"/>
                  </a:lnTo>
                  <a:lnTo>
                    <a:pt x="12" y="139"/>
                  </a:lnTo>
                  <a:lnTo>
                    <a:pt x="12" y="139"/>
                  </a:lnTo>
                  <a:lnTo>
                    <a:pt x="12" y="132"/>
                  </a:lnTo>
                  <a:lnTo>
                    <a:pt x="8" y="132"/>
                  </a:lnTo>
                  <a:lnTo>
                    <a:pt x="8" y="128"/>
                  </a:lnTo>
                  <a:lnTo>
                    <a:pt x="2" y="122"/>
                  </a:lnTo>
                  <a:lnTo>
                    <a:pt x="2" y="122"/>
                  </a:lnTo>
                  <a:lnTo>
                    <a:pt x="6" y="117"/>
                  </a:lnTo>
                  <a:lnTo>
                    <a:pt x="2" y="113"/>
                  </a:lnTo>
                  <a:lnTo>
                    <a:pt x="2" y="111"/>
                  </a:lnTo>
                  <a:lnTo>
                    <a:pt x="0" y="105"/>
                  </a:lnTo>
                  <a:lnTo>
                    <a:pt x="2" y="101"/>
                  </a:lnTo>
                  <a:lnTo>
                    <a:pt x="0" y="101"/>
                  </a:lnTo>
                  <a:lnTo>
                    <a:pt x="2" y="98"/>
                  </a:lnTo>
                  <a:lnTo>
                    <a:pt x="2" y="92"/>
                  </a:lnTo>
                  <a:lnTo>
                    <a:pt x="2" y="86"/>
                  </a:lnTo>
                  <a:lnTo>
                    <a:pt x="6" y="83"/>
                  </a:lnTo>
                  <a:lnTo>
                    <a:pt x="8" y="79"/>
                  </a:lnTo>
                  <a:lnTo>
                    <a:pt x="12" y="79"/>
                  </a:lnTo>
                  <a:lnTo>
                    <a:pt x="15" y="79"/>
                  </a:lnTo>
                  <a:lnTo>
                    <a:pt x="19" y="77"/>
                  </a:lnTo>
                  <a:lnTo>
                    <a:pt x="17" y="73"/>
                  </a:lnTo>
                  <a:lnTo>
                    <a:pt x="19" y="73"/>
                  </a:lnTo>
                  <a:lnTo>
                    <a:pt x="19" y="68"/>
                  </a:lnTo>
                  <a:lnTo>
                    <a:pt x="21" y="68"/>
                  </a:lnTo>
                  <a:lnTo>
                    <a:pt x="19" y="64"/>
                  </a:lnTo>
                  <a:lnTo>
                    <a:pt x="14" y="64"/>
                  </a:lnTo>
                  <a:lnTo>
                    <a:pt x="14" y="64"/>
                  </a:lnTo>
                  <a:lnTo>
                    <a:pt x="15" y="60"/>
                  </a:lnTo>
                  <a:lnTo>
                    <a:pt x="19" y="62"/>
                  </a:lnTo>
                  <a:lnTo>
                    <a:pt x="23" y="60"/>
                  </a:lnTo>
                  <a:lnTo>
                    <a:pt x="23" y="54"/>
                  </a:lnTo>
                  <a:lnTo>
                    <a:pt x="23" y="52"/>
                  </a:lnTo>
                  <a:lnTo>
                    <a:pt x="25" y="49"/>
                  </a:lnTo>
                  <a:lnTo>
                    <a:pt x="25" y="49"/>
                  </a:lnTo>
                  <a:lnTo>
                    <a:pt x="25" y="47"/>
                  </a:lnTo>
                  <a:lnTo>
                    <a:pt x="25" y="47"/>
                  </a:lnTo>
                  <a:lnTo>
                    <a:pt x="25" y="43"/>
                  </a:lnTo>
                  <a:lnTo>
                    <a:pt x="21" y="43"/>
                  </a:lnTo>
                  <a:lnTo>
                    <a:pt x="19" y="39"/>
                  </a:lnTo>
                  <a:lnTo>
                    <a:pt x="19" y="37"/>
                  </a:lnTo>
                  <a:lnTo>
                    <a:pt x="29" y="34"/>
                  </a:lnTo>
                  <a:lnTo>
                    <a:pt x="30" y="34"/>
                  </a:lnTo>
                  <a:lnTo>
                    <a:pt x="34" y="37"/>
                  </a:lnTo>
                  <a:lnTo>
                    <a:pt x="34" y="39"/>
                  </a:lnTo>
                  <a:lnTo>
                    <a:pt x="38" y="43"/>
                  </a:lnTo>
                  <a:lnTo>
                    <a:pt x="38" y="43"/>
                  </a:lnTo>
                  <a:lnTo>
                    <a:pt x="38" y="39"/>
                  </a:lnTo>
                  <a:lnTo>
                    <a:pt x="38" y="37"/>
                  </a:lnTo>
                  <a:lnTo>
                    <a:pt x="38" y="34"/>
                  </a:lnTo>
                  <a:lnTo>
                    <a:pt x="44" y="39"/>
                  </a:lnTo>
                  <a:lnTo>
                    <a:pt x="42" y="43"/>
                  </a:lnTo>
                  <a:lnTo>
                    <a:pt x="47" y="47"/>
                  </a:lnTo>
                  <a:lnTo>
                    <a:pt x="44" y="43"/>
                  </a:lnTo>
                  <a:lnTo>
                    <a:pt x="44" y="39"/>
                  </a:lnTo>
                  <a:lnTo>
                    <a:pt x="44" y="34"/>
                  </a:lnTo>
                  <a:lnTo>
                    <a:pt x="47" y="30"/>
                  </a:lnTo>
                  <a:lnTo>
                    <a:pt x="47" y="30"/>
                  </a:lnTo>
                  <a:lnTo>
                    <a:pt x="53" y="34"/>
                  </a:lnTo>
                  <a:lnTo>
                    <a:pt x="57" y="30"/>
                  </a:lnTo>
                  <a:lnTo>
                    <a:pt x="61" y="37"/>
                  </a:lnTo>
                  <a:lnTo>
                    <a:pt x="70" y="39"/>
                  </a:lnTo>
                  <a:lnTo>
                    <a:pt x="62" y="34"/>
                  </a:lnTo>
                  <a:lnTo>
                    <a:pt x="57" y="30"/>
                  </a:lnTo>
                  <a:lnTo>
                    <a:pt x="53" y="30"/>
                  </a:lnTo>
                  <a:lnTo>
                    <a:pt x="47" y="28"/>
                  </a:lnTo>
                  <a:lnTo>
                    <a:pt x="47" y="24"/>
                  </a:lnTo>
                  <a:lnTo>
                    <a:pt x="53" y="22"/>
                  </a:lnTo>
                  <a:lnTo>
                    <a:pt x="47" y="20"/>
                  </a:lnTo>
                  <a:lnTo>
                    <a:pt x="47" y="17"/>
                  </a:lnTo>
                  <a:lnTo>
                    <a:pt x="44" y="17"/>
                  </a:lnTo>
                  <a:lnTo>
                    <a:pt x="44" y="13"/>
                  </a:lnTo>
                  <a:lnTo>
                    <a:pt x="47" y="13"/>
                  </a:lnTo>
                  <a:lnTo>
                    <a:pt x="53" y="13"/>
                  </a:lnTo>
                  <a:lnTo>
                    <a:pt x="47" y="9"/>
                  </a:lnTo>
                  <a:lnTo>
                    <a:pt x="47" y="5"/>
                  </a:lnTo>
                  <a:lnTo>
                    <a:pt x="47" y="5"/>
                  </a:lnTo>
                  <a:lnTo>
                    <a:pt x="44" y="5"/>
                  </a:lnTo>
                  <a:lnTo>
                    <a:pt x="44" y="0"/>
                  </a:lnTo>
                  <a:lnTo>
                    <a:pt x="44" y="0"/>
                  </a:lnTo>
                  <a:lnTo>
                    <a:pt x="44" y="0"/>
                  </a:lnTo>
                  <a:lnTo>
                    <a:pt x="44" y="0"/>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11">
              <a:extLst>
                <a:ext uri="{FF2B5EF4-FFF2-40B4-BE49-F238E27FC236}">
                  <a16:creationId xmlns:a16="http://schemas.microsoft.com/office/drawing/2014/main" id="{7EF4A8C2-8AC6-6742-9BC6-3257901850DA}"/>
                </a:ext>
              </a:extLst>
            </p:cNvPr>
            <p:cNvSpPr>
              <a:spLocks/>
            </p:cNvSpPr>
            <p:nvPr/>
          </p:nvSpPr>
          <p:spPr bwMode="auto">
            <a:xfrm>
              <a:off x="6417971" y="2238871"/>
              <a:ext cx="139094" cy="82070"/>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BDBD00"/>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12">
              <a:extLst>
                <a:ext uri="{FF2B5EF4-FFF2-40B4-BE49-F238E27FC236}">
                  <a16:creationId xmlns:a16="http://schemas.microsoft.com/office/drawing/2014/main" id="{51EE2626-CFB4-3746-A9B6-BB768ED37A00}"/>
                </a:ext>
              </a:extLst>
            </p:cNvPr>
            <p:cNvSpPr>
              <a:spLocks/>
            </p:cNvSpPr>
            <p:nvPr/>
          </p:nvSpPr>
          <p:spPr bwMode="auto">
            <a:xfrm>
              <a:off x="6417971" y="2238871"/>
              <a:ext cx="139094" cy="82070"/>
            </a:xfrm>
            <a:custGeom>
              <a:avLst/>
              <a:gdLst/>
              <a:ahLst/>
              <a:cxnLst>
                <a:cxn ang="0">
                  <a:pos x="41" y="5"/>
                </a:cxn>
                <a:cxn ang="0">
                  <a:pos x="47" y="3"/>
                </a:cxn>
                <a:cxn ang="0">
                  <a:pos x="60" y="9"/>
                </a:cxn>
                <a:cxn ang="0">
                  <a:pos x="64" y="13"/>
                </a:cxn>
                <a:cxn ang="0">
                  <a:pos x="75" y="13"/>
                </a:cxn>
                <a:cxn ang="0">
                  <a:pos x="82" y="9"/>
                </a:cxn>
                <a:cxn ang="0">
                  <a:pos x="99" y="5"/>
                </a:cxn>
                <a:cxn ang="0">
                  <a:pos x="113" y="9"/>
                </a:cxn>
                <a:cxn ang="0">
                  <a:pos x="122" y="20"/>
                </a:cxn>
                <a:cxn ang="0">
                  <a:pos x="133" y="34"/>
                </a:cxn>
                <a:cxn ang="0">
                  <a:pos x="133" y="54"/>
                </a:cxn>
                <a:cxn ang="0">
                  <a:pos x="141" y="66"/>
                </a:cxn>
                <a:cxn ang="0">
                  <a:pos x="152" y="67"/>
                </a:cxn>
                <a:cxn ang="0">
                  <a:pos x="160" y="64"/>
                </a:cxn>
                <a:cxn ang="0">
                  <a:pos x="163" y="69"/>
                </a:cxn>
                <a:cxn ang="0">
                  <a:pos x="163" y="73"/>
                </a:cxn>
                <a:cxn ang="0">
                  <a:pos x="158" y="79"/>
                </a:cxn>
                <a:cxn ang="0">
                  <a:pos x="150" y="82"/>
                </a:cxn>
                <a:cxn ang="0">
                  <a:pos x="150" y="88"/>
                </a:cxn>
                <a:cxn ang="0">
                  <a:pos x="146" y="98"/>
                </a:cxn>
                <a:cxn ang="0">
                  <a:pos x="145" y="101"/>
                </a:cxn>
                <a:cxn ang="0">
                  <a:pos x="139" y="98"/>
                </a:cxn>
                <a:cxn ang="0">
                  <a:pos x="133" y="96"/>
                </a:cxn>
                <a:cxn ang="0">
                  <a:pos x="122" y="94"/>
                </a:cxn>
                <a:cxn ang="0">
                  <a:pos x="105" y="99"/>
                </a:cxn>
                <a:cxn ang="0">
                  <a:pos x="99" y="103"/>
                </a:cxn>
                <a:cxn ang="0">
                  <a:pos x="90" y="103"/>
                </a:cxn>
                <a:cxn ang="0">
                  <a:pos x="82" y="103"/>
                </a:cxn>
                <a:cxn ang="0">
                  <a:pos x="75" y="103"/>
                </a:cxn>
                <a:cxn ang="0">
                  <a:pos x="64" y="103"/>
                </a:cxn>
                <a:cxn ang="0">
                  <a:pos x="60" y="101"/>
                </a:cxn>
                <a:cxn ang="0">
                  <a:pos x="50" y="103"/>
                </a:cxn>
                <a:cxn ang="0">
                  <a:pos x="50" y="99"/>
                </a:cxn>
                <a:cxn ang="0">
                  <a:pos x="49" y="94"/>
                </a:cxn>
                <a:cxn ang="0">
                  <a:pos x="41" y="90"/>
                </a:cxn>
                <a:cxn ang="0">
                  <a:pos x="45" y="82"/>
                </a:cxn>
                <a:cxn ang="0">
                  <a:pos x="35" y="86"/>
                </a:cxn>
                <a:cxn ang="0">
                  <a:pos x="28" y="86"/>
                </a:cxn>
                <a:cxn ang="0">
                  <a:pos x="20" y="79"/>
                </a:cxn>
                <a:cxn ang="0">
                  <a:pos x="22" y="75"/>
                </a:cxn>
                <a:cxn ang="0">
                  <a:pos x="11" y="67"/>
                </a:cxn>
                <a:cxn ang="0">
                  <a:pos x="5" y="58"/>
                </a:cxn>
                <a:cxn ang="0">
                  <a:pos x="0" y="54"/>
                </a:cxn>
                <a:cxn ang="0">
                  <a:pos x="9" y="50"/>
                </a:cxn>
                <a:cxn ang="0">
                  <a:pos x="13" y="47"/>
                </a:cxn>
                <a:cxn ang="0">
                  <a:pos x="17" y="39"/>
                </a:cxn>
                <a:cxn ang="0">
                  <a:pos x="28" y="18"/>
                </a:cxn>
                <a:cxn ang="0">
                  <a:pos x="35" y="11"/>
                </a:cxn>
                <a:cxn ang="0">
                  <a:pos x="39" y="5"/>
                </a:cxn>
                <a:cxn ang="0">
                  <a:pos x="39" y="5"/>
                </a:cxn>
              </a:cxnLst>
              <a:rect l="0" t="0" r="r" b="b"/>
              <a:pathLst>
                <a:path w="163" h="107">
                  <a:moveTo>
                    <a:pt x="39" y="5"/>
                  </a:moveTo>
                  <a:lnTo>
                    <a:pt x="41" y="5"/>
                  </a:lnTo>
                  <a:lnTo>
                    <a:pt x="43" y="3"/>
                  </a:lnTo>
                  <a:lnTo>
                    <a:pt x="47" y="3"/>
                  </a:lnTo>
                  <a:lnTo>
                    <a:pt x="54" y="5"/>
                  </a:lnTo>
                  <a:lnTo>
                    <a:pt x="60" y="9"/>
                  </a:lnTo>
                  <a:lnTo>
                    <a:pt x="64" y="9"/>
                  </a:lnTo>
                  <a:lnTo>
                    <a:pt x="64" y="13"/>
                  </a:lnTo>
                  <a:lnTo>
                    <a:pt x="69" y="15"/>
                  </a:lnTo>
                  <a:lnTo>
                    <a:pt x="75" y="13"/>
                  </a:lnTo>
                  <a:lnTo>
                    <a:pt x="79" y="11"/>
                  </a:lnTo>
                  <a:lnTo>
                    <a:pt x="82" y="9"/>
                  </a:lnTo>
                  <a:lnTo>
                    <a:pt x="94" y="5"/>
                  </a:lnTo>
                  <a:lnTo>
                    <a:pt x="99" y="5"/>
                  </a:lnTo>
                  <a:lnTo>
                    <a:pt x="111" y="0"/>
                  </a:lnTo>
                  <a:lnTo>
                    <a:pt x="113" y="9"/>
                  </a:lnTo>
                  <a:lnTo>
                    <a:pt x="120" y="17"/>
                  </a:lnTo>
                  <a:lnTo>
                    <a:pt x="122" y="20"/>
                  </a:lnTo>
                  <a:lnTo>
                    <a:pt x="129" y="28"/>
                  </a:lnTo>
                  <a:lnTo>
                    <a:pt x="133" y="34"/>
                  </a:lnTo>
                  <a:lnTo>
                    <a:pt x="135" y="37"/>
                  </a:lnTo>
                  <a:lnTo>
                    <a:pt x="133" y="54"/>
                  </a:lnTo>
                  <a:lnTo>
                    <a:pt x="137" y="62"/>
                  </a:lnTo>
                  <a:lnTo>
                    <a:pt x="141" y="66"/>
                  </a:lnTo>
                  <a:lnTo>
                    <a:pt x="146" y="67"/>
                  </a:lnTo>
                  <a:lnTo>
                    <a:pt x="152" y="67"/>
                  </a:lnTo>
                  <a:lnTo>
                    <a:pt x="154" y="66"/>
                  </a:lnTo>
                  <a:lnTo>
                    <a:pt x="160" y="64"/>
                  </a:lnTo>
                  <a:lnTo>
                    <a:pt x="163" y="67"/>
                  </a:lnTo>
                  <a:lnTo>
                    <a:pt x="163" y="69"/>
                  </a:lnTo>
                  <a:lnTo>
                    <a:pt x="163" y="71"/>
                  </a:lnTo>
                  <a:lnTo>
                    <a:pt x="163" y="73"/>
                  </a:lnTo>
                  <a:lnTo>
                    <a:pt x="163" y="79"/>
                  </a:lnTo>
                  <a:lnTo>
                    <a:pt x="158" y="79"/>
                  </a:lnTo>
                  <a:lnTo>
                    <a:pt x="152" y="79"/>
                  </a:lnTo>
                  <a:lnTo>
                    <a:pt x="150" y="82"/>
                  </a:lnTo>
                  <a:lnTo>
                    <a:pt x="148" y="86"/>
                  </a:lnTo>
                  <a:lnTo>
                    <a:pt x="150" y="88"/>
                  </a:lnTo>
                  <a:lnTo>
                    <a:pt x="150" y="94"/>
                  </a:lnTo>
                  <a:lnTo>
                    <a:pt x="146" y="98"/>
                  </a:lnTo>
                  <a:lnTo>
                    <a:pt x="148" y="101"/>
                  </a:lnTo>
                  <a:lnTo>
                    <a:pt x="145" y="101"/>
                  </a:lnTo>
                  <a:lnTo>
                    <a:pt x="143" y="99"/>
                  </a:lnTo>
                  <a:lnTo>
                    <a:pt x="139" y="98"/>
                  </a:lnTo>
                  <a:lnTo>
                    <a:pt x="135" y="99"/>
                  </a:lnTo>
                  <a:lnTo>
                    <a:pt x="133" y="96"/>
                  </a:lnTo>
                  <a:lnTo>
                    <a:pt x="128" y="94"/>
                  </a:lnTo>
                  <a:lnTo>
                    <a:pt x="122" y="94"/>
                  </a:lnTo>
                  <a:lnTo>
                    <a:pt x="116" y="94"/>
                  </a:lnTo>
                  <a:lnTo>
                    <a:pt x="105" y="99"/>
                  </a:lnTo>
                  <a:lnTo>
                    <a:pt x="103" y="103"/>
                  </a:lnTo>
                  <a:lnTo>
                    <a:pt x="99" y="103"/>
                  </a:lnTo>
                  <a:lnTo>
                    <a:pt x="97" y="103"/>
                  </a:lnTo>
                  <a:lnTo>
                    <a:pt x="90" y="103"/>
                  </a:lnTo>
                  <a:lnTo>
                    <a:pt x="86" y="103"/>
                  </a:lnTo>
                  <a:lnTo>
                    <a:pt x="82" y="103"/>
                  </a:lnTo>
                  <a:lnTo>
                    <a:pt x="79" y="103"/>
                  </a:lnTo>
                  <a:lnTo>
                    <a:pt x="75" y="103"/>
                  </a:lnTo>
                  <a:lnTo>
                    <a:pt x="69" y="107"/>
                  </a:lnTo>
                  <a:lnTo>
                    <a:pt x="64" y="103"/>
                  </a:lnTo>
                  <a:lnTo>
                    <a:pt x="64" y="103"/>
                  </a:lnTo>
                  <a:lnTo>
                    <a:pt x="60" y="101"/>
                  </a:lnTo>
                  <a:lnTo>
                    <a:pt x="56" y="101"/>
                  </a:lnTo>
                  <a:lnTo>
                    <a:pt x="50" y="103"/>
                  </a:lnTo>
                  <a:lnTo>
                    <a:pt x="49" y="101"/>
                  </a:lnTo>
                  <a:lnTo>
                    <a:pt x="50" y="99"/>
                  </a:lnTo>
                  <a:lnTo>
                    <a:pt x="50" y="96"/>
                  </a:lnTo>
                  <a:lnTo>
                    <a:pt x="49" y="94"/>
                  </a:lnTo>
                  <a:lnTo>
                    <a:pt x="43" y="94"/>
                  </a:lnTo>
                  <a:lnTo>
                    <a:pt x="41" y="90"/>
                  </a:lnTo>
                  <a:lnTo>
                    <a:pt x="41" y="86"/>
                  </a:lnTo>
                  <a:lnTo>
                    <a:pt x="45" y="82"/>
                  </a:lnTo>
                  <a:lnTo>
                    <a:pt x="39" y="82"/>
                  </a:lnTo>
                  <a:lnTo>
                    <a:pt x="35" y="86"/>
                  </a:lnTo>
                  <a:lnTo>
                    <a:pt x="33" y="82"/>
                  </a:lnTo>
                  <a:lnTo>
                    <a:pt x="28" y="86"/>
                  </a:lnTo>
                  <a:lnTo>
                    <a:pt x="26" y="82"/>
                  </a:lnTo>
                  <a:lnTo>
                    <a:pt x="20" y="79"/>
                  </a:lnTo>
                  <a:lnTo>
                    <a:pt x="20" y="79"/>
                  </a:lnTo>
                  <a:lnTo>
                    <a:pt x="22" y="75"/>
                  </a:lnTo>
                  <a:lnTo>
                    <a:pt x="17" y="69"/>
                  </a:lnTo>
                  <a:lnTo>
                    <a:pt x="11" y="67"/>
                  </a:lnTo>
                  <a:lnTo>
                    <a:pt x="11" y="64"/>
                  </a:lnTo>
                  <a:lnTo>
                    <a:pt x="5" y="58"/>
                  </a:lnTo>
                  <a:lnTo>
                    <a:pt x="5" y="54"/>
                  </a:lnTo>
                  <a:lnTo>
                    <a:pt x="0" y="54"/>
                  </a:lnTo>
                  <a:lnTo>
                    <a:pt x="5" y="50"/>
                  </a:lnTo>
                  <a:lnTo>
                    <a:pt x="9" y="50"/>
                  </a:lnTo>
                  <a:lnTo>
                    <a:pt x="9" y="47"/>
                  </a:lnTo>
                  <a:lnTo>
                    <a:pt x="13" y="47"/>
                  </a:lnTo>
                  <a:lnTo>
                    <a:pt x="17" y="43"/>
                  </a:lnTo>
                  <a:lnTo>
                    <a:pt x="17" y="39"/>
                  </a:lnTo>
                  <a:lnTo>
                    <a:pt x="24" y="30"/>
                  </a:lnTo>
                  <a:lnTo>
                    <a:pt x="28" y="18"/>
                  </a:lnTo>
                  <a:lnTo>
                    <a:pt x="30" y="11"/>
                  </a:lnTo>
                  <a:lnTo>
                    <a:pt x="35" y="11"/>
                  </a:lnTo>
                  <a:lnTo>
                    <a:pt x="39" y="5"/>
                  </a:lnTo>
                  <a:lnTo>
                    <a:pt x="39" y="5"/>
                  </a:lnTo>
                  <a:lnTo>
                    <a:pt x="39" y="5"/>
                  </a:lnTo>
                  <a:lnTo>
                    <a:pt x="39" y="5"/>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13">
              <a:extLst>
                <a:ext uri="{FF2B5EF4-FFF2-40B4-BE49-F238E27FC236}">
                  <a16:creationId xmlns:a16="http://schemas.microsoft.com/office/drawing/2014/main" id="{F4E4735F-12B8-8A46-B9D4-4DD8B0CBFE0F}"/>
                </a:ext>
              </a:extLst>
            </p:cNvPr>
            <p:cNvSpPr>
              <a:spLocks/>
            </p:cNvSpPr>
            <p:nvPr/>
          </p:nvSpPr>
          <p:spPr bwMode="auto">
            <a:xfrm>
              <a:off x="6359944" y="2235804"/>
              <a:ext cx="89600" cy="52157"/>
            </a:xfrm>
            <a:custGeom>
              <a:avLst/>
              <a:gdLst/>
              <a:ahLst/>
              <a:cxnLst>
                <a:cxn ang="0">
                  <a:pos x="68" y="58"/>
                </a:cxn>
                <a:cxn ang="0">
                  <a:pos x="71" y="54"/>
                </a:cxn>
                <a:cxn ang="0">
                  <a:pos x="75" y="54"/>
                </a:cxn>
                <a:cxn ang="0">
                  <a:pos x="77" y="51"/>
                </a:cxn>
                <a:cxn ang="0">
                  <a:pos x="81" y="51"/>
                </a:cxn>
                <a:cxn ang="0">
                  <a:pos x="83" y="47"/>
                </a:cxn>
                <a:cxn ang="0">
                  <a:pos x="83" y="43"/>
                </a:cxn>
                <a:cxn ang="0">
                  <a:pos x="92" y="34"/>
                </a:cxn>
                <a:cxn ang="0">
                  <a:pos x="96" y="22"/>
                </a:cxn>
                <a:cxn ang="0">
                  <a:pos x="98" y="15"/>
                </a:cxn>
                <a:cxn ang="0">
                  <a:pos x="103" y="15"/>
                </a:cxn>
                <a:cxn ang="0">
                  <a:pos x="105" y="9"/>
                </a:cxn>
                <a:cxn ang="0">
                  <a:pos x="103" y="7"/>
                </a:cxn>
                <a:cxn ang="0">
                  <a:pos x="98" y="4"/>
                </a:cxn>
                <a:cxn ang="0">
                  <a:pos x="96" y="0"/>
                </a:cxn>
                <a:cxn ang="0">
                  <a:pos x="88" y="2"/>
                </a:cxn>
                <a:cxn ang="0">
                  <a:pos x="83" y="0"/>
                </a:cxn>
                <a:cxn ang="0">
                  <a:pos x="77" y="2"/>
                </a:cxn>
                <a:cxn ang="0">
                  <a:pos x="71" y="0"/>
                </a:cxn>
                <a:cxn ang="0">
                  <a:pos x="68" y="0"/>
                </a:cxn>
                <a:cxn ang="0">
                  <a:pos x="64" y="4"/>
                </a:cxn>
                <a:cxn ang="0">
                  <a:pos x="58" y="7"/>
                </a:cxn>
                <a:cxn ang="0">
                  <a:pos x="58" y="13"/>
                </a:cxn>
                <a:cxn ang="0">
                  <a:pos x="54" y="7"/>
                </a:cxn>
                <a:cxn ang="0">
                  <a:pos x="49" y="9"/>
                </a:cxn>
                <a:cxn ang="0">
                  <a:pos x="43" y="13"/>
                </a:cxn>
                <a:cxn ang="0">
                  <a:pos x="43" y="15"/>
                </a:cxn>
                <a:cxn ang="0">
                  <a:pos x="34" y="17"/>
                </a:cxn>
                <a:cxn ang="0">
                  <a:pos x="26" y="19"/>
                </a:cxn>
                <a:cxn ang="0">
                  <a:pos x="21" y="17"/>
                </a:cxn>
                <a:cxn ang="0">
                  <a:pos x="9" y="9"/>
                </a:cxn>
                <a:cxn ang="0">
                  <a:pos x="9" y="13"/>
                </a:cxn>
                <a:cxn ang="0">
                  <a:pos x="9" y="17"/>
                </a:cxn>
                <a:cxn ang="0">
                  <a:pos x="9" y="21"/>
                </a:cxn>
                <a:cxn ang="0">
                  <a:pos x="0" y="21"/>
                </a:cxn>
                <a:cxn ang="0">
                  <a:pos x="0" y="22"/>
                </a:cxn>
                <a:cxn ang="0">
                  <a:pos x="4" y="26"/>
                </a:cxn>
                <a:cxn ang="0">
                  <a:pos x="2" y="30"/>
                </a:cxn>
                <a:cxn ang="0">
                  <a:pos x="2" y="34"/>
                </a:cxn>
                <a:cxn ang="0">
                  <a:pos x="4" y="38"/>
                </a:cxn>
                <a:cxn ang="0">
                  <a:pos x="0" y="41"/>
                </a:cxn>
                <a:cxn ang="0">
                  <a:pos x="0" y="41"/>
                </a:cxn>
                <a:cxn ang="0">
                  <a:pos x="4" y="47"/>
                </a:cxn>
                <a:cxn ang="0">
                  <a:pos x="5" y="53"/>
                </a:cxn>
                <a:cxn ang="0">
                  <a:pos x="7" y="53"/>
                </a:cxn>
                <a:cxn ang="0">
                  <a:pos x="15" y="58"/>
                </a:cxn>
                <a:cxn ang="0">
                  <a:pos x="19" y="62"/>
                </a:cxn>
                <a:cxn ang="0">
                  <a:pos x="22" y="66"/>
                </a:cxn>
                <a:cxn ang="0">
                  <a:pos x="32" y="66"/>
                </a:cxn>
                <a:cxn ang="0">
                  <a:pos x="39" y="68"/>
                </a:cxn>
                <a:cxn ang="0">
                  <a:pos x="43" y="66"/>
                </a:cxn>
                <a:cxn ang="0">
                  <a:pos x="43" y="66"/>
                </a:cxn>
                <a:cxn ang="0">
                  <a:pos x="45" y="62"/>
                </a:cxn>
                <a:cxn ang="0">
                  <a:pos x="51" y="62"/>
                </a:cxn>
                <a:cxn ang="0">
                  <a:pos x="53" y="62"/>
                </a:cxn>
                <a:cxn ang="0">
                  <a:pos x="54" y="58"/>
                </a:cxn>
                <a:cxn ang="0">
                  <a:pos x="58" y="56"/>
                </a:cxn>
                <a:cxn ang="0">
                  <a:pos x="62" y="56"/>
                </a:cxn>
                <a:cxn ang="0">
                  <a:pos x="64" y="58"/>
                </a:cxn>
                <a:cxn ang="0">
                  <a:pos x="68" y="58"/>
                </a:cxn>
                <a:cxn ang="0">
                  <a:pos x="68" y="58"/>
                </a:cxn>
                <a:cxn ang="0">
                  <a:pos x="68" y="58"/>
                </a:cxn>
              </a:cxnLst>
              <a:rect l="0" t="0" r="r" b="b"/>
              <a:pathLst>
                <a:path w="105" h="68">
                  <a:moveTo>
                    <a:pt x="68" y="58"/>
                  </a:moveTo>
                  <a:lnTo>
                    <a:pt x="71" y="54"/>
                  </a:lnTo>
                  <a:lnTo>
                    <a:pt x="75" y="54"/>
                  </a:lnTo>
                  <a:lnTo>
                    <a:pt x="77" y="51"/>
                  </a:lnTo>
                  <a:lnTo>
                    <a:pt x="81" y="51"/>
                  </a:lnTo>
                  <a:lnTo>
                    <a:pt x="83" y="47"/>
                  </a:lnTo>
                  <a:lnTo>
                    <a:pt x="83" y="43"/>
                  </a:lnTo>
                  <a:lnTo>
                    <a:pt x="92" y="34"/>
                  </a:lnTo>
                  <a:lnTo>
                    <a:pt x="96" y="22"/>
                  </a:lnTo>
                  <a:lnTo>
                    <a:pt x="98" y="15"/>
                  </a:lnTo>
                  <a:lnTo>
                    <a:pt x="103" y="15"/>
                  </a:lnTo>
                  <a:lnTo>
                    <a:pt x="105" y="9"/>
                  </a:lnTo>
                  <a:lnTo>
                    <a:pt x="103" y="7"/>
                  </a:lnTo>
                  <a:lnTo>
                    <a:pt x="98" y="4"/>
                  </a:lnTo>
                  <a:lnTo>
                    <a:pt x="96" y="0"/>
                  </a:lnTo>
                  <a:lnTo>
                    <a:pt x="88" y="2"/>
                  </a:lnTo>
                  <a:lnTo>
                    <a:pt x="83" y="0"/>
                  </a:lnTo>
                  <a:lnTo>
                    <a:pt x="77" y="2"/>
                  </a:lnTo>
                  <a:lnTo>
                    <a:pt x="71" y="0"/>
                  </a:lnTo>
                  <a:lnTo>
                    <a:pt x="68" y="0"/>
                  </a:lnTo>
                  <a:lnTo>
                    <a:pt x="64" y="4"/>
                  </a:lnTo>
                  <a:lnTo>
                    <a:pt x="58" y="7"/>
                  </a:lnTo>
                  <a:lnTo>
                    <a:pt x="58" y="13"/>
                  </a:lnTo>
                  <a:lnTo>
                    <a:pt x="54" y="7"/>
                  </a:lnTo>
                  <a:lnTo>
                    <a:pt x="49" y="9"/>
                  </a:lnTo>
                  <a:lnTo>
                    <a:pt x="43" y="13"/>
                  </a:lnTo>
                  <a:lnTo>
                    <a:pt x="43" y="15"/>
                  </a:lnTo>
                  <a:lnTo>
                    <a:pt x="34" y="17"/>
                  </a:lnTo>
                  <a:lnTo>
                    <a:pt x="26" y="19"/>
                  </a:lnTo>
                  <a:lnTo>
                    <a:pt x="21" y="17"/>
                  </a:lnTo>
                  <a:lnTo>
                    <a:pt x="9" y="9"/>
                  </a:lnTo>
                  <a:lnTo>
                    <a:pt x="9" y="13"/>
                  </a:lnTo>
                  <a:lnTo>
                    <a:pt x="9" y="17"/>
                  </a:lnTo>
                  <a:lnTo>
                    <a:pt x="9" y="21"/>
                  </a:lnTo>
                  <a:lnTo>
                    <a:pt x="0" y="21"/>
                  </a:lnTo>
                  <a:lnTo>
                    <a:pt x="0" y="22"/>
                  </a:lnTo>
                  <a:lnTo>
                    <a:pt x="4" y="26"/>
                  </a:lnTo>
                  <a:lnTo>
                    <a:pt x="2" y="30"/>
                  </a:lnTo>
                  <a:lnTo>
                    <a:pt x="2" y="34"/>
                  </a:lnTo>
                  <a:lnTo>
                    <a:pt x="4" y="38"/>
                  </a:lnTo>
                  <a:lnTo>
                    <a:pt x="0" y="41"/>
                  </a:lnTo>
                  <a:lnTo>
                    <a:pt x="0" y="41"/>
                  </a:lnTo>
                  <a:lnTo>
                    <a:pt x="4" y="47"/>
                  </a:lnTo>
                  <a:lnTo>
                    <a:pt x="5" y="53"/>
                  </a:lnTo>
                  <a:lnTo>
                    <a:pt x="7" y="53"/>
                  </a:lnTo>
                  <a:lnTo>
                    <a:pt x="15" y="58"/>
                  </a:lnTo>
                  <a:lnTo>
                    <a:pt x="19" y="62"/>
                  </a:lnTo>
                  <a:lnTo>
                    <a:pt x="22" y="66"/>
                  </a:lnTo>
                  <a:lnTo>
                    <a:pt x="32" y="66"/>
                  </a:lnTo>
                  <a:lnTo>
                    <a:pt x="39" y="68"/>
                  </a:lnTo>
                  <a:lnTo>
                    <a:pt x="43" y="66"/>
                  </a:lnTo>
                  <a:lnTo>
                    <a:pt x="43" y="66"/>
                  </a:lnTo>
                  <a:lnTo>
                    <a:pt x="45" y="62"/>
                  </a:lnTo>
                  <a:lnTo>
                    <a:pt x="51" y="62"/>
                  </a:lnTo>
                  <a:lnTo>
                    <a:pt x="53" y="62"/>
                  </a:lnTo>
                  <a:lnTo>
                    <a:pt x="54" y="58"/>
                  </a:lnTo>
                  <a:lnTo>
                    <a:pt x="58" y="56"/>
                  </a:lnTo>
                  <a:lnTo>
                    <a:pt x="62" y="56"/>
                  </a:lnTo>
                  <a:lnTo>
                    <a:pt x="64" y="58"/>
                  </a:lnTo>
                  <a:lnTo>
                    <a:pt x="68" y="58"/>
                  </a:lnTo>
                  <a:lnTo>
                    <a:pt x="68" y="58"/>
                  </a:lnTo>
                  <a:lnTo>
                    <a:pt x="68" y="58"/>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14">
              <a:extLst>
                <a:ext uri="{FF2B5EF4-FFF2-40B4-BE49-F238E27FC236}">
                  <a16:creationId xmlns:a16="http://schemas.microsoft.com/office/drawing/2014/main" id="{6E78A153-430D-4448-8079-FA9C9A3A355E}"/>
                </a:ext>
              </a:extLst>
            </p:cNvPr>
            <p:cNvSpPr>
              <a:spLocks/>
            </p:cNvSpPr>
            <p:nvPr/>
          </p:nvSpPr>
          <p:spPr bwMode="auto">
            <a:xfrm>
              <a:off x="6369330" y="2218162"/>
              <a:ext cx="75947" cy="29146"/>
            </a:xfrm>
            <a:custGeom>
              <a:avLst/>
              <a:gdLst/>
              <a:ahLst/>
              <a:cxnLst>
                <a:cxn ang="0">
                  <a:pos x="0" y="30"/>
                </a:cxn>
                <a:cxn ang="0">
                  <a:pos x="11" y="36"/>
                </a:cxn>
                <a:cxn ang="0">
                  <a:pos x="19" y="38"/>
                </a:cxn>
                <a:cxn ang="0">
                  <a:pos x="25" y="36"/>
                </a:cxn>
                <a:cxn ang="0">
                  <a:pos x="32" y="34"/>
                </a:cxn>
                <a:cxn ang="0">
                  <a:pos x="34" y="32"/>
                </a:cxn>
                <a:cxn ang="0">
                  <a:pos x="40" y="30"/>
                </a:cxn>
                <a:cxn ang="0">
                  <a:pos x="43" y="27"/>
                </a:cxn>
                <a:cxn ang="0">
                  <a:pos x="49" y="32"/>
                </a:cxn>
                <a:cxn ang="0">
                  <a:pos x="49" y="28"/>
                </a:cxn>
                <a:cxn ang="0">
                  <a:pos x="53" y="25"/>
                </a:cxn>
                <a:cxn ang="0">
                  <a:pos x="57" y="21"/>
                </a:cxn>
                <a:cxn ang="0">
                  <a:pos x="62" y="21"/>
                </a:cxn>
                <a:cxn ang="0">
                  <a:pos x="66" y="23"/>
                </a:cxn>
                <a:cxn ang="0">
                  <a:pos x="74" y="21"/>
                </a:cxn>
                <a:cxn ang="0">
                  <a:pos x="77" y="23"/>
                </a:cxn>
                <a:cxn ang="0">
                  <a:pos x="85" y="19"/>
                </a:cxn>
                <a:cxn ang="0">
                  <a:pos x="85" y="13"/>
                </a:cxn>
                <a:cxn ang="0">
                  <a:pos x="89" y="6"/>
                </a:cxn>
                <a:cxn ang="0">
                  <a:pos x="87" y="6"/>
                </a:cxn>
                <a:cxn ang="0">
                  <a:pos x="81" y="2"/>
                </a:cxn>
                <a:cxn ang="0">
                  <a:pos x="74" y="2"/>
                </a:cxn>
                <a:cxn ang="0">
                  <a:pos x="72" y="2"/>
                </a:cxn>
                <a:cxn ang="0">
                  <a:pos x="68" y="0"/>
                </a:cxn>
                <a:cxn ang="0">
                  <a:pos x="66" y="2"/>
                </a:cxn>
                <a:cxn ang="0">
                  <a:pos x="62" y="4"/>
                </a:cxn>
                <a:cxn ang="0">
                  <a:pos x="62" y="2"/>
                </a:cxn>
                <a:cxn ang="0">
                  <a:pos x="57" y="2"/>
                </a:cxn>
                <a:cxn ang="0">
                  <a:pos x="55" y="2"/>
                </a:cxn>
                <a:cxn ang="0">
                  <a:pos x="51" y="2"/>
                </a:cxn>
                <a:cxn ang="0">
                  <a:pos x="49" y="6"/>
                </a:cxn>
                <a:cxn ang="0">
                  <a:pos x="47" y="6"/>
                </a:cxn>
                <a:cxn ang="0">
                  <a:pos x="43" y="6"/>
                </a:cxn>
                <a:cxn ang="0">
                  <a:pos x="43" y="6"/>
                </a:cxn>
                <a:cxn ang="0">
                  <a:pos x="36" y="6"/>
                </a:cxn>
                <a:cxn ang="0">
                  <a:pos x="32" y="10"/>
                </a:cxn>
                <a:cxn ang="0">
                  <a:pos x="28" y="10"/>
                </a:cxn>
                <a:cxn ang="0">
                  <a:pos x="25" y="13"/>
                </a:cxn>
                <a:cxn ang="0">
                  <a:pos x="19" y="13"/>
                </a:cxn>
                <a:cxn ang="0">
                  <a:pos x="11" y="17"/>
                </a:cxn>
                <a:cxn ang="0">
                  <a:pos x="10" y="15"/>
                </a:cxn>
                <a:cxn ang="0">
                  <a:pos x="4" y="15"/>
                </a:cxn>
                <a:cxn ang="0">
                  <a:pos x="0" y="19"/>
                </a:cxn>
                <a:cxn ang="0">
                  <a:pos x="0" y="19"/>
                </a:cxn>
                <a:cxn ang="0">
                  <a:pos x="0" y="23"/>
                </a:cxn>
                <a:cxn ang="0">
                  <a:pos x="0" y="30"/>
                </a:cxn>
                <a:cxn ang="0">
                  <a:pos x="0" y="30"/>
                </a:cxn>
                <a:cxn ang="0">
                  <a:pos x="0" y="30"/>
                </a:cxn>
              </a:cxnLst>
              <a:rect l="0" t="0" r="r" b="b"/>
              <a:pathLst>
                <a:path w="89" h="38">
                  <a:moveTo>
                    <a:pt x="0" y="30"/>
                  </a:moveTo>
                  <a:lnTo>
                    <a:pt x="11" y="36"/>
                  </a:lnTo>
                  <a:lnTo>
                    <a:pt x="19" y="38"/>
                  </a:lnTo>
                  <a:lnTo>
                    <a:pt x="25" y="36"/>
                  </a:lnTo>
                  <a:lnTo>
                    <a:pt x="32" y="34"/>
                  </a:lnTo>
                  <a:lnTo>
                    <a:pt x="34" y="32"/>
                  </a:lnTo>
                  <a:lnTo>
                    <a:pt x="40" y="30"/>
                  </a:lnTo>
                  <a:lnTo>
                    <a:pt x="43" y="27"/>
                  </a:lnTo>
                  <a:lnTo>
                    <a:pt x="49" y="32"/>
                  </a:lnTo>
                  <a:lnTo>
                    <a:pt x="49" y="28"/>
                  </a:lnTo>
                  <a:lnTo>
                    <a:pt x="53" y="25"/>
                  </a:lnTo>
                  <a:lnTo>
                    <a:pt x="57" y="21"/>
                  </a:lnTo>
                  <a:lnTo>
                    <a:pt x="62" y="21"/>
                  </a:lnTo>
                  <a:lnTo>
                    <a:pt x="66" y="23"/>
                  </a:lnTo>
                  <a:lnTo>
                    <a:pt x="74" y="21"/>
                  </a:lnTo>
                  <a:lnTo>
                    <a:pt x="77" y="23"/>
                  </a:lnTo>
                  <a:lnTo>
                    <a:pt x="85" y="19"/>
                  </a:lnTo>
                  <a:lnTo>
                    <a:pt x="85" y="13"/>
                  </a:lnTo>
                  <a:lnTo>
                    <a:pt x="89" y="6"/>
                  </a:lnTo>
                  <a:lnTo>
                    <a:pt x="87" y="6"/>
                  </a:lnTo>
                  <a:lnTo>
                    <a:pt x="81" y="2"/>
                  </a:lnTo>
                  <a:lnTo>
                    <a:pt x="74" y="2"/>
                  </a:lnTo>
                  <a:lnTo>
                    <a:pt x="72" y="2"/>
                  </a:lnTo>
                  <a:lnTo>
                    <a:pt x="68" y="0"/>
                  </a:lnTo>
                  <a:lnTo>
                    <a:pt x="66" y="2"/>
                  </a:lnTo>
                  <a:lnTo>
                    <a:pt x="62" y="4"/>
                  </a:lnTo>
                  <a:lnTo>
                    <a:pt x="62" y="2"/>
                  </a:lnTo>
                  <a:lnTo>
                    <a:pt x="57" y="2"/>
                  </a:lnTo>
                  <a:lnTo>
                    <a:pt x="55" y="2"/>
                  </a:lnTo>
                  <a:lnTo>
                    <a:pt x="51" y="2"/>
                  </a:lnTo>
                  <a:lnTo>
                    <a:pt x="49" y="6"/>
                  </a:lnTo>
                  <a:lnTo>
                    <a:pt x="47" y="6"/>
                  </a:lnTo>
                  <a:lnTo>
                    <a:pt x="43" y="6"/>
                  </a:lnTo>
                  <a:lnTo>
                    <a:pt x="43" y="6"/>
                  </a:lnTo>
                  <a:lnTo>
                    <a:pt x="36" y="6"/>
                  </a:lnTo>
                  <a:lnTo>
                    <a:pt x="32" y="10"/>
                  </a:lnTo>
                  <a:lnTo>
                    <a:pt x="28" y="10"/>
                  </a:lnTo>
                  <a:lnTo>
                    <a:pt x="25" y="13"/>
                  </a:lnTo>
                  <a:lnTo>
                    <a:pt x="19" y="13"/>
                  </a:lnTo>
                  <a:lnTo>
                    <a:pt x="11" y="17"/>
                  </a:lnTo>
                  <a:lnTo>
                    <a:pt x="10" y="15"/>
                  </a:lnTo>
                  <a:lnTo>
                    <a:pt x="4" y="15"/>
                  </a:lnTo>
                  <a:lnTo>
                    <a:pt x="0" y="19"/>
                  </a:lnTo>
                  <a:lnTo>
                    <a:pt x="0" y="19"/>
                  </a:lnTo>
                  <a:lnTo>
                    <a:pt x="0" y="23"/>
                  </a:lnTo>
                  <a:lnTo>
                    <a:pt x="0" y="30"/>
                  </a:lnTo>
                  <a:lnTo>
                    <a:pt x="0" y="30"/>
                  </a:lnTo>
                  <a:lnTo>
                    <a:pt x="0" y="30"/>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15">
              <a:extLst>
                <a:ext uri="{FF2B5EF4-FFF2-40B4-BE49-F238E27FC236}">
                  <a16:creationId xmlns:a16="http://schemas.microsoft.com/office/drawing/2014/main" id="{367187CA-CE98-474C-A529-1129CC8C074A}"/>
                </a:ext>
              </a:extLst>
            </p:cNvPr>
            <p:cNvSpPr>
              <a:spLocks/>
            </p:cNvSpPr>
            <p:nvPr/>
          </p:nvSpPr>
          <p:spPr bwMode="auto">
            <a:xfrm>
              <a:off x="6260103" y="2227367"/>
              <a:ext cx="109227" cy="49089"/>
            </a:xfrm>
            <a:custGeom>
              <a:avLst/>
              <a:gdLst/>
              <a:ahLst/>
              <a:cxnLst>
                <a:cxn ang="0">
                  <a:pos x="79" y="60"/>
                </a:cxn>
                <a:cxn ang="0">
                  <a:pos x="89" y="64"/>
                </a:cxn>
                <a:cxn ang="0">
                  <a:pos x="96" y="60"/>
                </a:cxn>
                <a:cxn ang="0">
                  <a:pos x="104" y="60"/>
                </a:cxn>
                <a:cxn ang="0">
                  <a:pos x="113" y="54"/>
                </a:cxn>
                <a:cxn ang="0">
                  <a:pos x="122" y="49"/>
                </a:cxn>
                <a:cxn ang="0">
                  <a:pos x="121" y="41"/>
                </a:cxn>
                <a:cxn ang="0">
                  <a:pos x="119" y="33"/>
                </a:cxn>
                <a:cxn ang="0">
                  <a:pos x="128" y="33"/>
                </a:cxn>
                <a:cxn ang="0">
                  <a:pos x="128" y="24"/>
                </a:cxn>
                <a:cxn ang="0">
                  <a:pos x="126" y="9"/>
                </a:cxn>
                <a:cxn ang="0">
                  <a:pos x="115" y="3"/>
                </a:cxn>
                <a:cxn ang="0">
                  <a:pos x="107" y="5"/>
                </a:cxn>
                <a:cxn ang="0">
                  <a:pos x="94" y="1"/>
                </a:cxn>
                <a:cxn ang="0">
                  <a:pos x="89" y="3"/>
                </a:cxn>
                <a:cxn ang="0">
                  <a:pos x="89" y="7"/>
                </a:cxn>
                <a:cxn ang="0">
                  <a:pos x="81" y="11"/>
                </a:cxn>
                <a:cxn ang="0">
                  <a:pos x="68" y="5"/>
                </a:cxn>
                <a:cxn ang="0">
                  <a:pos x="68" y="13"/>
                </a:cxn>
                <a:cxn ang="0">
                  <a:pos x="64" y="15"/>
                </a:cxn>
                <a:cxn ang="0">
                  <a:pos x="55" y="24"/>
                </a:cxn>
                <a:cxn ang="0">
                  <a:pos x="60" y="28"/>
                </a:cxn>
                <a:cxn ang="0">
                  <a:pos x="58" y="33"/>
                </a:cxn>
                <a:cxn ang="0">
                  <a:pos x="49" y="33"/>
                </a:cxn>
                <a:cxn ang="0">
                  <a:pos x="42" y="33"/>
                </a:cxn>
                <a:cxn ang="0">
                  <a:pos x="34" y="35"/>
                </a:cxn>
                <a:cxn ang="0">
                  <a:pos x="28" y="35"/>
                </a:cxn>
                <a:cxn ang="0">
                  <a:pos x="21" y="33"/>
                </a:cxn>
                <a:cxn ang="0">
                  <a:pos x="17" y="35"/>
                </a:cxn>
                <a:cxn ang="0">
                  <a:pos x="10" y="37"/>
                </a:cxn>
                <a:cxn ang="0">
                  <a:pos x="4" y="35"/>
                </a:cxn>
                <a:cxn ang="0">
                  <a:pos x="0" y="35"/>
                </a:cxn>
                <a:cxn ang="0">
                  <a:pos x="2" y="41"/>
                </a:cxn>
                <a:cxn ang="0">
                  <a:pos x="6" y="47"/>
                </a:cxn>
                <a:cxn ang="0">
                  <a:pos x="11" y="45"/>
                </a:cxn>
                <a:cxn ang="0">
                  <a:pos x="17" y="47"/>
                </a:cxn>
                <a:cxn ang="0">
                  <a:pos x="21" y="49"/>
                </a:cxn>
                <a:cxn ang="0">
                  <a:pos x="28" y="52"/>
                </a:cxn>
                <a:cxn ang="0">
                  <a:pos x="40" y="47"/>
                </a:cxn>
                <a:cxn ang="0">
                  <a:pos x="47" y="50"/>
                </a:cxn>
                <a:cxn ang="0">
                  <a:pos x="66" y="58"/>
                </a:cxn>
                <a:cxn ang="0">
                  <a:pos x="75" y="60"/>
                </a:cxn>
                <a:cxn ang="0">
                  <a:pos x="75" y="60"/>
                </a:cxn>
              </a:cxnLst>
              <a:rect l="0" t="0" r="r" b="b"/>
              <a:pathLst>
                <a:path w="128" h="64">
                  <a:moveTo>
                    <a:pt x="75" y="60"/>
                  </a:moveTo>
                  <a:lnTo>
                    <a:pt x="79" y="60"/>
                  </a:lnTo>
                  <a:lnTo>
                    <a:pt x="85" y="60"/>
                  </a:lnTo>
                  <a:lnTo>
                    <a:pt x="89" y="64"/>
                  </a:lnTo>
                  <a:lnTo>
                    <a:pt x="92" y="60"/>
                  </a:lnTo>
                  <a:lnTo>
                    <a:pt x="96" y="60"/>
                  </a:lnTo>
                  <a:lnTo>
                    <a:pt x="102" y="60"/>
                  </a:lnTo>
                  <a:lnTo>
                    <a:pt x="104" y="60"/>
                  </a:lnTo>
                  <a:lnTo>
                    <a:pt x="104" y="60"/>
                  </a:lnTo>
                  <a:lnTo>
                    <a:pt x="113" y="54"/>
                  </a:lnTo>
                  <a:lnTo>
                    <a:pt x="119" y="52"/>
                  </a:lnTo>
                  <a:lnTo>
                    <a:pt x="122" y="49"/>
                  </a:lnTo>
                  <a:lnTo>
                    <a:pt x="121" y="45"/>
                  </a:lnTo>
                  <a:lnTo>
                    <a:pt x="121" y="41"/>
                  </a:lnTo>
                  <a:lnTo>
                    <a:pt x="122" y="37"/>
                  </a:lnTo>
                  <a:lnTo>
                    <a:pt x="119" y="33"/>
                  </a:lnTo>
                  <a:lnTo>
                    <a:pt x="119" y="33"/>
                  </a:lnTo>
                  <a:lnTo>
                    <a:pt x="128" y="33"/>
                  </a:lnTo>
                  <a:lnTo>
                    <a:pt x="128" y="28"/>
                  </a:lnTo>
                  <a:lnTo>
                    <a:pt x="128" y="24"/>
                  </a:lnTo>
                  <a:lnTo>
                    <a:pt x="126" y="15"/>
                  </a:lnTo>
                  <a:lnTo>
                    <a:pt x="126" y="9"/>
                  </a:lnTo>
                  <a:lnTo>
                    <a:pt x="119" y="7"/>
                  </a:lnTo>
                  <a:lnTo>
                    <a:pt x="115" y="3"/>
                  </a:lnTo>
                  <a:lnTo>
                    <a:pt x="111" y="5"/>
                  </a:lnTo>
                  <a:lnTo>
                    <a:pt x="107" y="5"/>
                  </a:lnTo>
                  <a:lnTo>
                    <a:pt x="102" y="1"/>
                  </a:lnTo>
                  <a:lnTo>
                    <a:pt x="94" y="1"/>
                  </a:lnTo>
                  <a:lnTo>
                    <a:pt x="90" y="0"/>
                  </a:lnTo>
                  <a:lnTo>
                    <a:pt x="89" y="3"/>
                  </a:lnTo>
                  <a:lnTo>
                    <a:pt x="89" y="5"/>
                  </a:lnTo>
                  <a:lnTo>
                    <a:pt x="89" y="7"/>
                  </a:lnTo>
                  <a:lnTo>
                    <a:pt x="83" y="9"/>
                  </a:lnTo>
                  <a:lnTo>
                    <a:pt x="81" y="11"/>
                  </a:lnTo>
                  <a:lnTo>
                    <a:pt x="72" y="5"/>
                  </a:lnTo>
                  <a:lnTo>
                    <a:pt x="68" y="5"/>
                  </a:lnTo>
                  <a:lnTo>
                    <a:pt x="68" y="7"/>
                  </a:lnTo>
                  <a:lnTo>
                    <a:pt x="68" y="13"/>
                  </a:lnTo>
                  <a:lnTo>
                    <a:pt x="66" y="13"/>
                  </a:lnTo>
                  <a:lnTo>
                    <a:pt x="64" y="15"/>
                  </a:lnTo>
                  <a:lnTo>
                    <a:pt x="60" y="18"/>
                  </a:lnTo>
                  <a:lnTo>
                    <a:pt x="55" y="24"/>
                  </a:lnTo>
                  <a:lnTo>
                    <a:pt x="55" y="26"/>
                  </a:lnTo>
                  <a:lnTo>
                    <a:pt x="60" y="28"/>
                  </a:lnTo>
                  <a:lnTo>
                    <a:pt x="60" y="33"/>
                  </a:lnTo>
                  <a:lnTo>
                    <a:pt x="58" y="33"/>
                  </a:lnTo>
                  <a:lnTo>
                    <a:pt x="55" y="30"/>
                  </a:lnTo>
                  <a:lnTo>
                    <a:pt x="49" y="33"/>
                  </a:lnTo>
                  <a:lnTo>
                    <a:pt x="45" y="30"/>
                  </a:lnTo>
                  <a:lnTo>
                    <a:pt x="42" y="33"/>
                  </a:lnTo>
                  <a:lnTo>
                    <a:pt x="36" y="35"/>
                  </a:lnTo>
                  <a:lnTo>
                    <a:pt x="34" y="35"/>
                  </a:lnTo>
                  <a:lnTo>
                    <a:pt x="30" y="35"/>
                  </a:lnTo>
                  <a:lnTo>
                    <a:pt x="28" y="35"/>
                  </a:lnTo>
                  <a:lnTo>
                    <a:pt x="25" y="33"/>
                  </a:lnTo>
                  <a:lnTo>
                    <a:pt x="21" y="33"/>
                  </a:lnTo>
                  <a:lnTo>
                    <a:pt x="15" y="33"/>
                  </a:lnTo>
                  <a:lnTo>
                    <a:pt x="17" y="35"/>
                  </a:lnTo>
                  <a:lnTo>
                    <a:pt x="15" y="37"/>
                  </a:lnTo>
                  <a:lnTo>
                    <a:pt x="10" y="37"/>
                  </a:lnTo>
                  <a:lnTo>
                    <a:pt x="8" y="33"/>
                  </a:lnTo>
                  <a:lnTo>
                    <a:pt x="4" y="35"/>
                  </a:lnTo>
                  <a:lnTo>
                    <a:pt x="2" y="35"/>
                  </a:lnTo>
                  <a:lnTo>
                    <a:pt x="0" y="35"/>
                  </a:lnTo>
                  <a:lnTo>
                    <a:pt x="4" y="37"/>
                  </a:lnTo>
                  <a:lnTo>
                    <a:pt x="2" y="41"/>
                  </a:lnTo>
                  <a:lnTo>
                    <a:pt x="6" y="43"/>
                  </a:lnTo>
                  <a:lnTo>
                    <a:pt x="6" y="47"/>
                  </a:lnTo>
                  <a:lnTo>
                    <a:pt x="8" y="47"/>
                  </a:lnTo>
                  <a:lnTo>
                    <a:pt x="11" y="45"/>
                  </a:lnTo>
                  <a:lnTo>
                    <a:pt x="15" y="49"/>
                  </a:lnTo>
                  <a:lnTo>
                    <a:pt x="17" y="47"/>
                  </a:lnTo>
                  <a:lnTo>
                    <a:pt x="21" y="47"/>
                  </a:lnTo>
                  <a:lnTo>
                    <a:pt x="21" y="49"/>
                  </a:lnTo>
                  <a:lnTo>
                    <a:pt x="21" y="49"/>
                  </a:lnTo>
                  <a:lnTo>
                    <a:pt x="28" y="52"/>
                  </a:lnTo>
                  <a:lnTo>
                    <a:pt x="36" y="47"/>
                  </a:lnTo>
                  <a:lnTo>
                    <a:pt x="40" y="47"/>
                  </a:lnTo>
                  <a:lnTo>
                    <a:pt x="47" y="47"/>
                  </a:lnTo>
                  <a:lnTo>
                    <a:pt x="47" y="50"/>
                  </a:lnTo>
                  <a:lnTo>
                    <a:pt x="57" y="56"/>
                  </a:lnTo>
                  <a:lnTo>
                    <a:pt x="66" y="58"/>
                  </a:lnTo>
                  <a:lnTo>
                    <a:pt x="74" y="58"/>
                  </a:lnTo>
                  <a:lnTo>
                    <a:pt x="75" y="60"/>
                  </a:lnTo>
                  <a:lnTo>
                    <a:pt x="75" y="60"/>
                  </a:lnTo>
                  <a:lnTo>
                    <a:pt x="75" y="60"/>
                  </a:lnTo>
                  <a:lnTo>
                    <a:pt x="75" y="60"/>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16">
              <a:extLst>
                <a:ext uri="{FF2B5EF4-FFF2-40B4-BE49-F238E27FC236}">
                  <a16:creationId xmlns:a16="http://schemas.microsoft.com/office/drawing/2014/main" id="{06795FDB-33A9-B146-86E0-3A9AC7F60C08}"/>
                </a:ext>
              </a:extLst>
            </p:cNvPr>
            <p:cNvSpPr>
              <a:spLocks/>
            </p:cNvSpPr>
            <p:nvPr/>
          </p:nvSpPr>
          <p:spPr bwMode="auto">
            <a:xfrm>
              <a:off x="6319836" y="2113082"/>
              <a:ext cx="147627" cy="109683"/>
            </a:xfrm>
            <a:custGeom>
              <a:avLst/>
              <a:gdLst/>
              <a:ahLst/>
              <a:cxnLst>
                <a:cxn ang="0">
                  <a:pos x="107" y="143"/>
                </a:cxn>
                <a:cxn ang="0">
                  <a:pos x="111" y="139"/>
                </a:cxn>
                <a:cxn ang="0">
                  <a:pos x="116" y="139"/>
                </a:cxn>
                <a:cxn ang="0">
                  <a:pos x="124" y="143"/>
                </a:cxn>
                <a:cxn ang="0">
                  <a:pos x="128" y="137"/>
                </a:cxn>
                <a:cxn ang="0">
                  <a:pos x="133" y="139"/>
                </a:cxn>
                <a:cxn ang="0">
                  <a:pos x="148" y="143"/>
                </a:cxn>
                <a:cxn ang="0">
                  <a:pos x="154" y="137"/>
                </a:cxn>
                <a:cxn ang="0">
                  <a:pos x="164" y="120"/>
                </a:cxn>
                <a:cxn ang="0">
                  <a:pos x="167" y="113"/>
                </a:cxn>
                <a:cxn ang="0">
                  <a:pos x="173" y="107"/>
                </a:cxn>
                <a:cxn ang="0">
                  <a:pos x="173" y="101"/>
                </a:cxn>
                <a:cxn ang="0">
                  <a:pos x="167" y="98"/>
                </a:cxn>
                <a:cxn ang="0">
                  <a:pos x="164" y="88"/>
                </a:cxn>
                <a:cxn ang="0">
                  <a:pos x="164" y="75"/>
                </a:cxn>
                <a:cxn ang="0">
                  <a:pos x="160" y="64"/>
                </a:cxn>
                <a:cxn ang="0">
                  <a:pos x="164" y="58"/>
                </a:cxn>
                <a:cxn ang="0">
                  <a:pos x="164" y="45"/>
                </a:cxn>
                <a:cxn ang="0">
                  <a:pos x="160" y="36"/>
                </a:cxn>
                <a:cxn ang="0">
                  <a:pos x="154" y="24"/>
                </a:cxn>
                <a:cxn ang="0">
                  <a:pos x="152" y="11"/>
                </a:cxn>
                <a:cxn ang="0">
                  <a:pos x="147" y="7"/>
                </a:cxn>
                <a:cxn ang="0">
                  <a:pos x="98" y="9"/>
                </a:cxn>
                <a:cxn ang="0">
                  <a:pos x="88" y="15"/>
                </a:cxn>
                <a:cxn ang="0">
                  <a:pos x="81" y="15"/>
                </a:cxn>
                <a:cxn ang="0">
                  <a:pos x="92" y="7"/>
                </a:cxn>
                <a:cxn ang="0">
                  <a:pos x="86" y="11"/>
                </a:cxn>
                <a:cxn ang="0">
                  <a:pos x="71" y="13"/>
                </a:cxn>
                <a:cxn ang="0">
                  <a:pos x="69" y="5"/>
                </a:cxn>
                <a:cxn ang="0">
                  <a:pos x="77" y="7"/>
                </a:cxn>
                <a:cxn ang="0">
                  <a:pos x="71" y="2"/>
                </a:cxn>
                <a:cxn ang="0">
                  <a:pos x="56" y="5"/>
                </a:cxn>
                <a:cxn ang="0">
                  <a:pos x="43" y="5"/>
                </a:cxn>
                <a:cxn ang="0">
                  <a:pos x="34" y="11"/>
                </a:cxn>
                <a:cxn ang="0">
                  <a:pos x="32" y="19"/>
                </a:cxn>
                <a:cxn ang="0">
                  <a:pos x="17" y="20"/>
                </a:cxn>
                <a:cxn ang="0">
                  <a:pos x="9" y="26"/>
                </a:cxn>
                <a:cxn ang="0">
                  <a:pos x="5" y="32"/>
                </a:cxn>
                <a:cxn ang="0">
                  <a:pos x="5" y="34"/>
                </a:cxn>
                <a:cxn ang="0">
                  <a:pos x="5" y="49"/>
                </a:cxn>
                <a:cxn ang="0">
                  <a:pos x="0" y="54"/>
                </a:cxn>
                <a:cxn ang="0">
                  <a:pos x="5" y="64"/>
                </a:cxn>
                <a:cxn ang="0">
                  <a:pos x="9" y="69"/>
                </a:cxn>
                <a:cxn ang="0">
                  <a:pos x="9" y="75"/>
                </a:cxn>
                <a:cxn ang="0">
                  <a:pos x="15" y="88"/>
                </a:cxn>
                <a:cxn ang="0">
                  <a:pos x="19" y="100"/>
                </a:cxn>
                <a:cxn ang="0">
                  <a:pos x="19" y="103"/>
                </a:cxn>
                <a:cxn ang="0">
                  <a:pos x="22" y="103"/>
                </a:cxn>
                <a:cxn ang="0">
                  <a:pos x="32" y="103"/>
                </a:cxn>
                <a:cxn ang="0">
                  <a:pos x="34" y="109"/>
                </a:cxn>
                <a:cxn ang="0">
                  <a:pos x="41" y="109"/>
                </a:cxn>
                <a:cxn ang="0">
                  <a:pos x="39" y="115"/>
                </a:cxn>
                <a:cxn ang="0">
                  <a:pos x="41" y="120"/>
                </a:cxn>
                <a:cxn ang="0">
                  <a:pos x="47" y="118"/>
                </a:cxn>
                <a:cxn ang="0">
                  <a:pos x="43" y="113"/>
                </a:cxn>
                <a:cxn ang="0">
                  <a:pos x="54" y="117"/>
                </a:cxn>
                <a:cxn ang="0">
                  <a:pos x="58" y="120"/>
                </a:cxn>
                <a:cxn ang="0">
                  <a:pos x="69" y="122"/>
                </a:cxn>
                <a:cxn ang="0">
                  <a:pos x="88" y="132"/>
                </a:cxn>
                <a:cxn ang="0">
                  <a:pos x="94" y="137"/>
                </a:cxn>
                <a:cxn ang="0">
                  <a:pos x="101" y="137"/>
                </a:cxn>
                <a:cxn ang="0">
                  <a:pos x="103" y="143"/>
                </a:cxn>
                <a:cxn ang="0">
                  <a:pos x="103" y="143"/>
                </a:cxn>
              </a:cxnLst>
              <a:rect l="0" t="0" r="r" b="b"/>
              <a:pathLst>
                <a:path w="173" h="143">
                  <a:moveTo>
                    <a:pt x="103" y="143"/>
                  </a:moveTo>
                  <a:lnTo>
                    <a:pt x="107" y="143"/>
                  </a:lnTo>
                  <a:lnTo>
                    <a:pt x="109" y="143"/>
                  </a:lnTo>
                  <a:lnTo>
                    <a:pt x="111" y="139"/>
                  </a:lnTo>
                  <a:lnTo>
                    <a:pt x="115" y="139"/>
                  </a:lnTo>
                  <a:lnTo>
                    <a:pt x="116" y="139"/>
                  </a:lnTo>
                  <a:lnTo>
                    <a:pt x="122" y="139"/>
                  </a:lnTo>
                  <a:lnTo>
                    <a:pt x="124" y="143"/>
                  </a:lnTo>
                  <a:lnTo>
                    <a:pt x="128" y="139"/>
                  </a:lnTo>
                  <a:lnTo>
                    <a:pt x="128" y="137"/>
                  </a:lnTo>
                  <a:lnTo>
                    <a:pt x="133" y="139"/>
                  </a:lnTo>
                  <a:lnTo>
                    <a:pt x="133" y="139"/>
                  </a:lnTo>
                  <a:lnTo>
                    <a:pt x="141" y="139"/>
                  </a:lnTo>
                  <a:lnTo>
                    <a:pt x="148" y="143"/>
                  </a:lnTo>
                  <a:lnTo>
                    <a:pt x="154" y="143"/>
                  </a:lnTo>
                  <a:lnTo>
                    <a:pt x="154" y="137"/>
                  </a:lnTo>
                  <a:lnTo>
                    <a:pt x="152" y="133"/>
                  </a:lnTo>
                  <a:lnTo>
                    <a:pt x="164" y="120"/>
                  </a:lnTo>
                  <a:lnTo>
                    <a:pt x="167" y="115"/>
                  </a:lnTo>
                  <a:lnTo>
                    <a:pt x="167" y="113"/>
                  </a:lnTo>
                  <a:lnTo>
                    <a:pt x="173" y="113"/>
                  </a:lnTo>
                  <a:lnTo>
                    <a:pt x="173" y="107"/>
                  </a:lnTo>
                  <a:lnTo>
                    <a:pt x="173" y="105"/>
                  </a:lnTo>
                  <a:lnTo>
                    <a:pt x="173" y="101"/>
                  </a:lnTo>
                  <a:lnTo>
                    <a:pt x="173" y="100"/>
                  </a:lnTo>
                  <a:lnTo>
                    <a:pt x="167" y="98"/>
                  </a:lnTo>
                  <a:lnTo>
                    <a:pt x="167" y="90"/>
                  </a:lnTo>
                  <a:lnTo>
                    <a:pt x="164" y="88"/>
                  </a:lnTo>
                  <a:lnTo>
                    <a:pt x="164" y="79"/>
                  </a:lnTo>
                  <a:lnTo>
                    <a:pt x="164" y="75"/>
                  </a:lnTo>
                  <a:lnTo>
                    <a:pt x="160" y="69"/>
                  </a:lnTo>
                  <a:lnTo>
                    <a:pt x="160" y="64"/>
                  </a:lnTo>
                  <a:lnTo>
                    <a:pt x="162" y="58"/>
                  </a:lnTo>
                  <a:lnTo>
                    <a:pt x="164" y="58"/>
                  </a:lnTo>
                  <a:lnTo>
                    <a:pt x="164" y="47"/>
                  </a:lnTo>
                  <a:lnTo>
                    <a:pt x="164" y="45"/>
                  </a:lnTo>
                  <a:lnTo>
                    <a:pt x="164" y="41"/>
                  </a:lnTo>
                  <a:lnTo>
                    <a:pt x="160" y="36"/>
                  </a:lnTo>
                  <a:lnTo>
                    <a:pt x="158" y="26"/>
                  </a:lnTo>
                  <a:lnTo>
                    <a:pt x="154" y="24"/>
                  </a:lnTo>
                  <a:lnTo>
                    <a:pt x="154" y="19"/>
                  </a:lnTo>
                  <a:lnTo>
                    <a:pt x="152" y="11"/>
                  </a:lnTo>
                  <a:lnTo>
                    <a:pt x="148" y="11"/>
                  </a:lnTo>
                  <a:lnTo>
                    <a:pt x="147" y="7"/>
                  </a:lnTo>
                  <a:lnTo>
                    <a:pt x="120" y="11"/>
                  </a:lnTo>
                  <a:lnTo>
                    <a:pt x="98" y="9"/>
                  </a:lnTo>
                  <a:lnTo>
                    <a:pt x="94" y="9"/>
                  </a:lnTo>
                  <a:lnTo>
                    <a:pt x="88" y="15"/>
                  </a:lnTo>
                  <a:lnTo>
                    <a:pt x="83" y="17"/>
                  </a:lnTo>
                  <a:lnTo>
                    <a:pt x="81" y="15"/>
                  </a:lnTo>
                  <a:lnTo>
                    <a:pt x="86" y="13"/>
                  </a:lnTo>
                  <a:lnTo>
                    <a:pt x="92" y="7"/>
                  </a:lnTo>
                  <a:lnTo>
                    <a:pt x="88" y="7"/>
                  </a:lnTo>
                  <a:lnTo>
                    <a:pt x="86" y="11"/>
                  </a:lnTo>
                  <a:lnTo>
                    <a:pt x="79" y="15"/>
                  </a:lnTo>
                  <a:lnTo>
                    <a:pt x="71" y="13"/>
                  </a:lnTo>
                  <a:lnTo>
                    <a:pt x="69" y="7"/>
                  </a:lnTo>
                  <a:lnTo>
                    <a:pt x="69" y="5"/>
                  </a:lnTo>
                  <a:lnTo>
                    <a:pt x="75" y="5"/>
                  </a:lnTo>
                  <a:lnTo>
                    <a:pt x="77" y="7"/>
                  </a:lnTo>
                  <a:lnTo>
                    <a:pt x="77" y="5"/>
                  </a:lnTo>
                  <a:lnTo>
                    <a:pt x="71" y="2"/>
                  </a:lnTo>
                  <a:lnTo>
                    <a:pt x="62" y="0"/>
                  </a:lnTo>
                  <a:lnTo>
                    <a:pt x="56" y="5"/>
                  </a:lnTo>
                  <a:lnTo>
                    <a:pt x="49" y="5"/>
                  </a:lnTo>
                  <a:lnTo>
                    <a:pt x="43" y="5"/>
                  </a:lnTo>
                  <a:lnTo>
                    <a:pt x="41" y="11"/>
                  </a:lnTo>
                  <a:lnTo>
                    <a:pt x="34" y="11"/>
                  </a:lnTo>
                  <a:lnTo>
                    <a:pt x="32" y="15"/>
                  </a:lnTo>
                  <a:lnTo>
                    <a:pt x="32" y="19"/>
                  </a:lnTo>
                  <a:lnTo>
                    <a:pt x="26" y="19"/>
                  </a:lnTo>
                  <a:lnTo>
                    <a:pt x="17" y="20"/>
                  </a:lnTo>
                  <a:lnTo>
                    <a:pt x="11" y="24"/>
                  </a:lnTo>
                  <a:lnTo>
                    <a:pt x="9" y="26"/>
                  </a:lnTo>
                  <a:lnTo>
                    <a:pt x="7" y="32"/>
                  </a:lnTo>
                  <a:lnTo>
                    <a:pt x="5" y="32"/>
                  </a:lnTo>
                  <a:lnTo>
                    <a:pt x="7" y="34"/>
                  </a:lnTo>
                  <a:lnTo>
                    <a:pt x="5" y="34"/>
                  </a:lnTo>
                  <a:lnTo>
                    <a:pt x="7" y="43"/>
                  </a:lnTo>
                  <a:lnTo>
                    <a:pt x="5" y="49"/>
                  </a:lnTo>
                  <a:lnTo>
                    <a:pt x="0" y="51"/>
                  </a:lnTo>
                  <a:lnTo>
                    <a:pt x="0" y="54"/>
                  </a:lnTo>
                  <a:lnTo>
                    <a:pt x="7" y="60"/>
                  </a:lnTo>
                  <a:lnTo>
                    <a:pt x="5" y="64"/>
                  </a:lnTo>
                  <a:lnTo>
                    <a:pt x="9" y="68"/>
                  </a:lnTo>
                  <a:lnTo>
                    <a:pt x="9" y="69"/>
                  </a:lnTo>
                  <a:lnTo>
                    <a:pt x="11" y="75"/>
                  </a:lnTo>
                  <a:lnTo>
                    <a:pt x="9" y="75"/>
                  </a:lnTo>
                  <a:lnTo>
                    <a:pt x="13" y="85"/>
                  </a:lnTo>
                  <a:lnTo>
                    <a:pt x="15" y="88"/>
                  </a:lnTo>
                  <a:lnTo>
                    <a:pt x="17" y="88"/>
                  </a:lnTo>
                  <a:lnTo>
                    <a:pt x="19" y="100"/>
                  </a:lnTo>
                  <a:lnTo>
                    <a:pt x="17" y="101"/>
                  </a:lnTo>
                  <a:lnTo>
                    <a:pt x="19" y="103"/>
                  </a:lnTo>
                  <a:lnTo>
                    <a:pt x="19" y="101"/>
                  </a:lnTo>
                  <a:lnTo>
                    <a:pt x="22" y="103"/>
                  </a:lnTo>
                  <a:lnTo>
                    <a:pt x="22" y="101"/>
                  </a:lnTo>
                  <a:lnTo>
                    <a:pt x="32" y="103"/>
                  </a:lnTo>
                  <a:lnTo>
                    <a:pt x="32" y="105"/>
                  </a:lnTo>
                  <a:lnTo>
                    <a:pt x="34" y="109"/>
                  </a:lnTo>
                  <a:lnTo>
                    <a:pt x="37" y="109"/>
                  </a:lnTo>
                  <a:lnTo>
                    <a:pt x="41" y="109"/>
                  </a:lnTo>
                  <a:lnTo>
                    <a:pt x="39" y="113"/>
                  </a:lnTo>
                  <a:lnTo>
                    <a:pt x="39" y="115"/>
                  </a:lnTo>
                  <a:lnTo>
                    <a:pt x="41" y="117"/>
                  </a:lnTo>
                  <a:lnTo>
                    <a:pt x="41" y="120"/>
                  </a:lnTo>
                  <a:lnTo>
                    <a:pt x="45" y="120"/>
                  </a:lnTo>
                  <a:lnTo>
                    <a:pt x="47" y="118"/>
                  </a:lnTo>
                  <a:lnTo>
                    <a:pt x="49" y="118"/>
                  </a:lnTo>
                  <a:lnTo>
                    <a:pt x="43" y="113"/>
                  </a:lnTo>
                  <a:lnTo>
                    <a:pt x="45" y="113"/>
                  </a:lnTo>
                  <a:lnTo>
                    <a:pt x="54" y="117"/>
                  </a:lnTo>
                  <a:lnTo>
                    <a:pt x="58" y="117"/>
                  </a:lnTo>
                  <a:lnTo>
                    <a:pt x="58" y="120"/>
                  </a:lnTo>
                  <a:lnTo>
                    <a:pt x="62" y="122"/>
                  </a:lnTo>
                  <a:lnTo>
                    <a:pt x="69" y="122"/>
                  </a:lnTo>
                  <a:lnTo>
                    <a:pt x="75" y="124"/>
                  </a:lnTo>
                  <a:lnTo>
                    <a:pt x="88" y="132"/>
                  </a:lnTo>
                  <a:lnTo>
                    <a:pt x="92" y="137"/>
                  </a:lnTo>
                  <a:lnTo>
                    <a:pt x="94" y="137"/>
                  </a:lnTo>
                  <a:lnTo>
                    <a:pt x="94" y="137"/>
                  </a:lnTo>
                  <a:lnTo>
                    <a:pt x="101" y="137"/>
                  </a:lnTo>
                  <a:lnTo>
                    <a:pt x="103" y="137"/>
                  </a:lnTo>
                  <a:lnTo>
                    <a:pt x="103" y="143"/>
                  </a:lnTo>
                  <a:lnTo>
                    <a:pt x="103" y="143"/>
                  </a:lnTo>
                  <a:lnTo>
                    <a:pt x="103" y="143"/>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17">
              <a:extLst>
                <a:ext uri="{FF2B5EF4-FFF2-40B4-BE49-F238E27FC236}">
                  <a16:creationId xmlns:a16="http://schemas.microsoft.com/office/drawing/2014/main" id="{EF1876B6-19C5-E541-9F14-4C5FECB8DB95}"/>
                </a:ext>
              </a:extLst>
            </p:cNvPr>
            <p:cNvSpPr>
              <a:spLocks/>
            </p:cNvSpPr>
            <p:nvPr/>
          </p:nvSpPr>
          <p:spPr bwMode="auto">
            <a:xfrm>
              <a:off x="6292530" y="2190549"/>
              <a:ext cx="116907" cy="45254"/>
            </a:xfrm>
            <a:custGeom>
              <a:avLst/>
              <a:gdLst/>
              <a:ahLst/>
              <a:cxnLst>
                <a:cxn ang="0">
                  <a:pos x="51" y="2"/>
                </a:cxn>
                <a:cxn ang="0">
                  <a:pos x="54" y="2"/>
                </a:cxn>
                <a:cxn ang="0">
                  <a:pos x="66" y="2"/>
                </a:cxn>
                <a:cxn ang="0">
                  <a:pos x="68" y="8"/>
                </a:cxn>
                <a:cxn ang="0">
                  <a:pos x="75" y="10"/>
                </a:cxn>
                <a:cxn ang="0">
                  <a:pos x="73" y="14"/>
                </a:cxn>
                <a:cxn ang="0">
                  <a:pos x="75" y="19"/>
                </a:cxn>
                <a:cxn ang="0">
                  <a:pos x="81" y="17"/>
                </a:cxn>
                <a:cxn ang="0">
                  <a:pos x="77" y="14"/>
                </a:cxn>
                <a:cxn ang="0">
                  <a:pos x="86" y="17"/>
                </a:cxn>
                <a:cxn ang="0">
                  <a:pos x="92" y="19"/>
                </a:cxn>
                <a:cxn ang="0">
                  <a:pos x="103" y="21"/>
                </a:cxn>
                <a:cxn ang="0">
                  <a:pos x="120" y="31"/>
                </a:cxn>
                <a:cxn ang="0">
                  <a:pos x="126" y="38"/>
                </a:cxn>
                <a:cxn ang="0">
                  <a:pos x="133" y="36"/>
                </a:cxn>
                <a:cxn ang="0">
                  <a:pos x="137" y="42"/>
                </a:cxn>
                <a:cxn ang="0">
                  <a:pos x="126" y="46"/>
                </a:cxn>
                <a:cxn ang="0">
                  <a:pos x="116" y="51"/>
                </a:cxn>
                <a:cxn ang="0">
                  <a:pos x="101" y="55"/>
                </a:cxn>
                <a:cxn ang="0">
                  <a:pos x="94" y="53"/>
                </a:cxn>
                <a:cxn ang="0">
                  <a:pos x="81" y="55"/>
                </a:cxn>
                <a:cxn ang="0">
                  <a:pos x="75" y="53"/>
                </a:cxn>
                <a:cxn ang="0">
                  <a:pos x="64" y="49"/>
                </a:cxn>
                <a:cxn ang="0">
                  <a:pos x="52" y="48"/>
                </a:cxn>
                <a:cxn ang="0">
                  <a:pos x="51" y="53"/>
                </a:cxn>
                <a:cxn ang="0">
                  <a:pos x="45" y="57"/>
                </a:cxn>
                <a:cxn ang="0">
                  <a:pos x="34" y="53"/>
                </a:cxn>
                <a:cxn ang="0">
                  <a:pos x="32" y="53"/>
                </a:cxn>
                <a:cxn ang="0">
                  <a:pos x="20" y="42"/>
                </a:cxn>
                <a:cxn ang="0">
                  <a:pos x="11" y="36"/>
                </a:cxn>
                <a:cxn ang="0">
                  <a:pos x="7" y="29"/>
                </a:cxn>
                <a:cxn ang="0">
                  <a:pos x="0" y="19"/>
                </a:cxn>
                <a:cxn ang="0">
                  <a:pos x="2" y="14"/>
                </a:cxn>
                <a:cxn ang="0">
                  <a:pos x="7" y="17"/>
                </a:cxn>
                <a:cxn ang="0">
                  <a:pos x="15" y="12"/>
                </a:cxn>
                <a:cxn ang="0">
                  <a:pos x="24" y="8"/>
                </a:cxn>
                <a:cxn ang="0">
                  <a:pos x="32" y="4"/>
                </a:cxn>
                <a:cxn ang="0">
                  <a:pos x="37" y="4"/>
                </a:cxn>
                <a:cxn ang="0">
                  <a:pos x="45" y="0"/>
                </a:cxn>
                <a:cxn ang="0">
                  <a:pos x="51" y="0"/>
                </a:cxn>
                <a:cxn ang="0">
                  <a:pos x="51" y="0"/>
                </a:cxn>
              </a:cxnLst>
              <a:rect l="0" t="0" r="r" b="b"/>
              <a:pathLst>
                <a:path w="137" h="59">
                  <a:moveTo>
                    <a:pt x="51" y="0"/>
                  </a:moveTo>
                  <a:lnTo>
                    <a:pt x="51" y="2"/>
                  </a:lnTo>
                  <a:lnTo>
                    <a:pt x="52" y="0"/>
                  </a:lnTo>
                  <a:lnTo>
                    <a:pt x="54" y="2"/>
                  </a:lnTo>
                  <a:lnTo>
                    <a:pt x="56" y="0"/>
                  </a:lnTo>
                  <a:lnTo>
                    <a:pt x="66" y="2"/>
                  </a:lnTo>
                  <a:lnTo>
                    <a:pt x="66" y="4"/>
                  </a:lnTo>
                  <a:lnTo>
                    <a:pt x="68" y="8"/>
                  </a:lnTo>
                  <a:lnTo>
                    <a:pt x="71" y="8"/>
                  </a:lnTo>
                  <a:lnTo>
                    <a:pt x="75" y="10"/>
                  </a:lnTo>
                  <a:lnTo>
                    <a:pt x="73" y="14"/>
                  </a:lnTo>
                  <a:lnTo>
                    <a:pt x="73" y="14"/>
                  </a:lnTo>
                  <a:lnTo>
                    <a:pt x="75" y="17"/>
                  </a:lnTo>
                  <a:lnTo>
                    <a:pt x="75" y="19"/>
                  </a:lnTo>
                  <a:lnTo>
                    <a:pt x="77" y="19"/>
                  </a:lnTo>
                  <a:lnTo>
                    <a:pt x="81" y="17"/>
                  </a:lnTo>
                  <a:lnTo>
                    <a:pt x="81" y="17"/>
                  </a:lnTo>
                  <a:lnTo>
                    <a:pt x="77" y="14"/>
                  </a:lnTo>
                  <a:lnTo>
                    <a:pt x="77" y="14"/>
                  </a:lnTo>
                  <a:lnTo>
                    <a:pt x="86" y="17"/>
                  </a:lnTo>
                  <a:lnTo>
                    <a:pt x="92" y="17"/>
                  </a:lnTo>
                  <a:lnTo>
                    <a:pt x="92" y="19"/>
                  </a:lnTo>
                  <a:lnTo>
                    <a:pt x="96" y="21"/>
                  </a:lnTo>
                  <a:lnTo>
                    <a:pt x="103" y="21"/>
                  </a:lnTo>
                  <a:lnTo>
                    <a:pt x="109" y="23"/>
                  </a:lnTo>
                  <a:lnTo>
                    <a:pt x="120" y="31"/>
                  </a:lnTo>
                  <a:lnTo>
                    <a:pt x="126" y="38"/>
                  </a:lnTo>
                  <a:lnTo>
                    <a:pt x="126" y="38"/>
                  </a:lnTo>
                  <a:lnTo>
                    <a:pt x="128" y="36"/>
                  </a:lnTo>
                  <a:lnTo>
                    <a:pt x="133" y="36"/>
                  </a:lnTo>
                  <a:lnTo>
                    <a:pt x="137" y="38"/>
                  </a:lnTo>
                  <a:lnTo>
                    <a:pt x="137" y="42"/>
                  </a:lnTo>
                  <a:lnTo>
                    <a:pt x="128" y="42"/>
                  </a:lnTo>
                  <a:lnTo>
                    <a:pt x="126" y="46"/>
                  </a:lnTo>
                  <a:lnTo>
                    <a:pt x="120" y="46"/>
                  </a:lnTo>
                  <a:lnTo>
                    <a:pt x="116" y="51"/>
                  </a:lnTo>
                  <a:lnTo>
                    <a:pt x="109" y="51"/>
                  </a:lnTo>
                  <a:lnTo>
                    <a:pt x="101" y="55"/>
                  </a:lnTo>
                  <a:lnTo>
                    <a:pt x="100" y="53"/>
                  </a:lnTo>
                  <a:lnTo>
                    <a:pt x="94" y="53"/>
                  </a:lnTo>
                  <a:lnTo>
                    <a:pt x="90" y="57"/>
                  </a:lnTo>
                  <a:lnTo>
                    <a:pt x="81" y="55"/>
                  </a:lnTo>
                  <a:lnTo>
                    <a:pt x="77" y="51"/>
                  </a:lnTo>
                  <a:lnTo>
                    <a:pt x="75" y="53"/>
                  </a:lnTo>
                  <a:lnTo>
                    <a:pt x="69" y="53"/>
                  </a:lnTo>
                  <a:lnTo>
                    <a:pt x="64" y="49"/>
                  </a:lnTo>
                  <a:lnTo>
                    <a:pt x="56" y="49"/>
                  </a:lnTo>
                  <a:lnTo>
                    <a:pt x="52" y="48"/>
                  </a:lnTo>
                  <a:lnTo>
                    <a:pt x="51" y="51"/>
                  </a:lnTo>
                  <a:lnTo>
                    <a:pt x="51" y="53"/>
                  </a:lnTo>
                  <a:lnTo>
                    <a:pt x="51" y="55"/>
                  </a:lnTo>
                  <a:lnTo>
                    <a:pt x="45" y="57"/>
                  </a:lnTo>
                  <a:lnTo>
                    <a:pt x="41" y="59"/>
                  </a:lnTo>
                  <a:lnTo>
                    <a:pt x="34" y="53"/>
                  </a:lnTo>
                  <a:lnTo>
                    <a:pt x="30" y="53"/>
                  </a:lnTo>
                  <a:lnTo>
                    <a:pt x="32" y="53"/>
                  </a:lnTo>
                  <a:lnTo>
                    <a:pt x="22" y="44"/>
                  </a:lnTo>
                  <a:lnTo>
                    <a:pt x="20" y="42"/>
                  </a:lnTo>
                  <a:lnTo>
                    <a:pt x="15" y="38"/>
                  </a:lnTo>
                  <a:lnTo>
                    <a:pt x="11" y="36"/>
                  </a:lnTo>
                  <a:lnTo>
                    <a:pt x="7" y="32"/>
                  </a:lnTo>
                  <a:lnTo>
                    <a:pt x="7" y="29"/>
                  </a:lnTo>
                  <a:lnTo>
                    <a:pt x="5" y="21"/>
                  </a:lnTo>
                  <a:lnTo>
                    <a:pt x="0" y="19"/>
                  </a:lnTo>
                  <a:lnTo>
                    <a:pt x="0" y="17"/>
                  </a:lnTo>
                  <a:lnTo>
                    <a:pt x="2" y="14"/>
                  </a:lnTo>
                  <a:lnTo>
                    <a:pt x="2" y="17"/>
                  </a:lnTo>
                  <a:lnTo>
                    <a:pt x="7" y="17"/>
                  </a:lnTo>
                  <a:lnTo>
                    <a:pt x="15" y="14"/>
                  </a:lnTo>
                  <a:lnTo>
                    <a:pt x="15" y="12"/>
                  </a:lnTo>
                  <a:lnTo>
                    <a:pt x="20" y="8"/>
                  </a:lnTo>
                  <a:lnTo>
                    <a:pt x="24" y="8"/>
                  </a:lnTo>
                  <a:lnTo>
                    <a:pt x="26" y="4"/>
                  </a:lnTo>
                  <a:lnTo>
                    <a:pt x="32" y="4"/>
                  </a:lnTo>
                  <a:lnTo>
                    <a:pt x="36" y="6"/>
                  </a:lnTo>
                  <a:lnTo>
                    <a:pt x="37" y="4"/>
                  </a:lnTo>
                  <a:lnTo>
                    <a:pt x="37" y="0"/>
                  </a:lnTo>
                  <a:lnTo>
                    <a:pt x="45" y="0"/>
                  </a:lnTo>
                  <a:lnTo>
                    <a:pt x="47" y="0"/>
                  </a:lnTo>
                  <a:lnTo>
                    <a:pt x="51" y="0"/>
                  </a:lnTo>
                  <a:lnTo>
                    <a:pt x="51" y="0"/>
                  </a:lnTo>
                  <a:lnTo>
                    <a:pt x="51" y="0"/>
                  </a:lnTo>
                  <a:lnTo>
                    <a:pt x="51" y="0"/>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18">
              <a:extLst>
                <a:ext uri="{FF2B5EF4-FFF2-40B4-BE49-F238E27FC236}">
                  <a16:creationId xmlns:a16="http://schemas.microsoft.com/office/drawing/2014/main" id="{4EF84B9B-33A8-564B-9254-930A44D03433}"/>
                </a:ext>
              </a:extLst>
            </p:cNvPr>
            <p:cNvSpPr>
              <a:spLocks/>
            </p:cNvSpPr>
            <p:nvPr/>
          </p:nvSpPr>
          <p:spPr bwMode="auto">
            <a:xfrm>
              <a:off x="6207197" y="2247308"/>
              <a:ext cx="72534" cy="36050"/>
            </a:xfrm>
            <a:custGeom>
              <a:avLst/>
              <a:gdLst/>
              <a:ahLst/>
              <a:cxnLst>
                <a:cxn ang="0">
                  <a:pos x="36" y="7"/>
                </a:cxn>
                <a:cxn ang="0">
                  <a:pos x="43" y="6"/>
                </a:cxn>
                <a:cxn ang="0">
                  <a:pos x="45" y="2"/>
                </a:cxn>
                <a:cxn ang="0">
                  <a:pos x="49" y="4"/>
                </a:cxn>
                <a:cxn ang="0">
                  <a:pos x="55" y="2"/>
                </a:cxn>
                <a:cxn ang="0">
                  <a:pos x="60" y="7"/>
                </a:cxn>
                <a:cxn ang="0">
                  <a:pos x="64" y="11"/>
                </a:cxn>
                <a:cxn ang="0">
                  <a:pos x="68" y="17"/>
                </a:cxn>
                <a:cxn ang="0">
                  <a:pos x="73" y="15"/>
                </a:cxn>
                <a:cxn ang="0">
                  <a:pos x="81" y="17"/>
                </a:cxn>
                <a:cxn ang="0">
                  <a:pos x="85" y="19"/>
                </a:cxn>
                <a:cxn ang="0">
                  <a:pos x="83" y="30"/>
                </a:cxn>
                <a:cxn ang="0">
                  <a:pos x="73" y="39"/>
                </a:cxn>
                <a:cxn ang="0">
                  <a:pos x="68" y="36"/>
                </a:cxn>
                <a:cxn ang="0">
                  <a:pos x="58" y="39"/>
                </a:cxn>
                <a:cxn ang="0">
                  <a:pos x="55" y="41"/>
                </a:cxn>
                <a:cxn ang="0">
                  <a:pos x="49" y="36"/>
                </a:cxn>
                <a:cxn ang="0">
                  <a:pos x="38" y="43"/>
                </a:cxn>
                <a:cxn ang="0">
                  <a:pos x="24" y="47"/>
                </a:cxn>
                <a:cxn ang="0">
                  <a:pos x="23" y="41"/>
                </a:cxn>
                <a:cxn ang="0">
                  <a:pos x="19" y="36"/>
                </a:cxn>
                <a:cxn ang="0">
                  <a:pos x="9" y="30"/>
                </a:cxn>
                <a:cxn ang="0">
                  <a:pos x="9" y="39"/>
                </a:cxn>
                <a:cxn ang="0">
                  <a:pos x="0" y="39"/>
                </a:cxn>
                <a:cxn ang="0">
                  <a:pos x="2" y="36"/>
                </a:cxn>
                <a:cxn ang="0">
                  <a:pos x="4" y="34"/>
                </a:cxn>
                <a:cxn ang="0">
                  <a:pos x="9" y="19"/>
                </a:cxn>
                <a:cxn ang="0">
                  <a:pos x="15" y="15"/>
                </a:cxn>
                <a:cxn ang="0">
                  <a:pos x="19" y="9"/>
                </a:cxn>
                <a:cxn ang="0">
                  <a:pos x="19" y="6"/>
                </a:cxn>
                <a:cxn ang="0">
                  <a:pos x="23" y="7"/>
                </a:cxn>
                <a:cxn ang="0">
                  <a:pos x="32" y="6"/>
                </a:cxn>
                <a:cxn ang="0">
                  <a:pos x="32" y="6"/>
                </a:cxn>
              </a:cxnLst>
              <a:rect l="0" t="0" r="r" b="b"/>
              <a:pathLst>
                <a:path w="85" h="47">
                  <a:moveTo>
                    <a:pt x="32" y="6"/>
                  </a:moveTo>
                  <a:lnTo>
                    <a:pt x="36" y="7"/>
                  </a:lnTo>
                  <a:lnTo>
                    <a:pt x="40" y="4"/>
                  </a:lnTo>
                  <a:lnTo>
                    <a:pt x="43" y="6"/>
                  </a:lnTo>
                  <a:lnTo>
                    <a:pt x="45" y="4"/>
                  </a:lnTo>
                  <a:lnTo>
                    <a:pt x="45" y="2"/>
                  </a:lnTo>
                  <a:lnTo>
                    <a:pt x="49" y="0"/>
                  </a:lnTo>
                  <a:lnTo>
                    <a:pt x="49" y="4"/>
                  </a:lnTo>
                  <a:lnTo>
                    <a:pt x="53" y="4"/>
                  </a:lnTo>
                  <a:lnTo>
                    <a:pt x="55" y="2"/>
                  </a:lnTo>
                  <a:lnTo>
                    <a:pt x="55" y="4"/>
                  </a:lnTo>
                  <a:lnTo>
                    <a:pt x="60" y="7"/>
                  </a:lnTo>
                  <a:lnTo>
                    <a:pt x="68" y="9"/>
                  </a:lnTo>
                  <a:lnTo>
                    <a:pt x="64" y="11"/>
                  </a:lnTo>
                  <a:lnTo>
                    <a:pt x="64" y="15"/>
                  </a:lnTo>
                  <a:lnTo>
                    <a:pt x="68" y="17"/>
                  </a:lnTo>
                  <a:lnTo>
                    <a:pt x="70" y="17"/>
                  </a:lnTo>
                  <a:lnTo>
                    <a:pt x="73" y="15"/>
                  </a:lnTo>
                  <a:lnTo>
                    <a:pt x="77" y="19"/>
                  </a:lnTo>
                  <a:lnTo>
                    <a:pt x="81" y="17"/>
                  </a:lnTo>
                  <a:lnTo>
                    <a:pt x="83" y="17"/>
                  </a:lnTo>
                  <a:lnTo>
                    <a:pt x="85" y="19"/>
                  </a:lnTo>
                  <a:lnTo>
                    <a:pt x="81" y="24"/>
                  </a:lnTo>
                  <a:lnTo>
                    <a:pt x="83" y="30"/>
                  </a:lnTo>
                  <a:lnTo>
                    <a:pt x="75" y="30"/>
                  </a:lnTo>
                  <a:lnTo>
                    <a:pt x="73" y="39"/>
                  </a:lnTo>
                  <a:lnTo>
                    <a:pt x="72" y="36"/>
                  </a:lnTo>
                  <a:lnTo>
                    <a:pt x="68" y="36"/>
                  </a:lnTo>
                  <a:lnTo>
                    <a:pt x="58" y="34"/>
                  </a:lnTo>
                  <a:lnTo>
                    <a:pt x="58" y="39"/>
                  </a:lnTo>
                  <a:lnTo>
                    <a:pt x="55" y="45"/>
                  </a:lnTo>
                  <a:lnTo>
                    <a:pt x="55" y="41"/>
                  </a:lnTo>
                  <a:lnTo>
                    <a:pt x="49" y="39"/>
                  </a:lnTo>
                  <a:lnTo>
                    <a:pt x="49" y="36"/>
                  </a:lnTo>
                  <a:lnTo>
                    <a:pt x="45" y="30"/>
                  </a:lnTo>
                  <a:lnTo>
                    <a:pt x="38" y="43"/>
                  </a:lnTo>
                  <a:lnTo>
                    <a:pt x="32" y="41"/>
                  </a:lnTo>
                  <a:lnTo>
                    <a:pt x="24" y="47"/>
                  </a:lnTo>
                  <a:lnTo>
                    <a:pt x="23" y="45"/>
                  </a:lnTo>
                  <a:lnTo>
                    <a:pt x="23" y="41"/>
                  </a:lnTo>
                  <a:lnTo>
                    <a:pt x="19" y="39"/>
                  </a:lnTo>
                  <a:lnTo>
                    <a:pt x="19" y="36"/>
                  </a:lnTo>
                  <a:lnTo>
                    <a:pt x="15" y="34"/>
                  </a:lnTo>
                  <a:lnTo>
                    <a:pt x="9" y="30"/>
                  </a:lnTo>
                  <a:lnTo>
                    <a:pt x="8" y="36"/>
                  </a:lnTo>
                  <a:lnTo>
                    <a:pt x="9" y="39"/>
                  </a:lnTo>
                  <a:lnTo>
                    <a:pt x="4" y="39"/>
                  </a:lnTo>
                  <a:lnTo>
                    <a:pt x="0" y="39"/>
                  </a:lnTo>
                  <a:lnTo>
                    <a:pt x="0" y="36"/>
                  </a:lnTo>
                  <a:lnTo>
                    <a:pt x="2" y="36"/>
                  </a:lnTo>
                  <a:lnTo>
                    <a:pt x="4" y="36"/>
                  </a:lnTo>
                  <a:lnTo>
                    <a:pt x="4" y="34"/>
                  </a:lnTo>
                  <a:lnTo>
                    <a:pt x="6" y="28"/>
                  </a:lnTo>
                  <a:lnTo>
                    <a:pt x="9" y="19"/>
                  </a:lnTo>
                  <a:lnTo>
                    <a:pt x="13" y="19"/>
                  </a:lnTo>
                  <a:lnTo>
                    <a:pt x="15" y="15"/>
                  </a:lnTo>
                  <a:lnTo>
                    <a:pt x="19" y="11"/>
                  </a:lnTo>
                  <a:lnTo>
                    <a:pt x="19" y="9"/>
                  </a:lnTo>
                  <a:lnTo>
                    <a:pt x="13" y="7"/>
                  </a:lnTo>
                  <a:lnTo>
                    <a:pt x="19" y="6"/>
                  </a:lnTo>
                  <a:lnTo>
                    <a:pt x="23" y="4"/>
                  </a:lnTo>
                  <a:lnTo>
                    <a:pt x="23" y="7"/>
                  </a:lnTo>
                  <a:lnTo>
                    <a:pt x="28" y="7"/>
                  </a:lnTo>
                  <a:lnTo>
                    <a:pt x="32" y="6"/>
                  </a:lnTo>
                  <a:lnTo>
                    <a:pt x="32" y="6"/>
                  </a:lnTo>
                  <a:lnTo>
                    <a:pt x="32" y="6"/>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19">
              <a:extLst>
                <a:ext uri="{FF2B5EF4-FFF2-40B4-BE49-F238E27FC236}">
                  <a16:creationId xmlns:a16="http://schemas.microsoft.com/office/drawing/2014/main" id="{1A6D521E-CCAE-7749-9690-8E68068B49A1}"/>
                </a:ext>
              </a:extLst>
            </p:cNvPr>
            <p:cNvSpPr>
              <a:spLocks noEditPoints="1"/>
            </p:cNvSpPr>
            <p:nvPr/>
          </p:nvSpPr>
          <p:spPr bwMode="auto">
            <a:xfrm>
              <a:off x="6167089" y="2146063"/>
              <a:ext cx="58027" cy="44487"/>
            </a:xfrm>
            <a:custGeom>
              <a:avLst/>
              <a:gdLst/>
              <a:ahLst/>
              <a:cxnLst>
                <a:cxn ang="0">
                  <a:pos x="43" y="55"/>
                </a:cxn>
                <a:cxn ang="0">
                  <a:pos x="43" y="43"/>
                </a:cxn>
                <a:cxn ang="0">
                  <a:pos x="49" y="36"/>
                </a:cxn>
                <a:cxn ang="0">
                  <a:pos x="58" y="36"/>
                </a:cxn>
                <a:cxn ang="0">
                  <a:pos x="60" y="30"/>
                </a:cxn>
                <a:cxn ang="0">
                  <a:pos x="60" y="25"/>
                </a:cxn>
                <a:cxn ang="0">
                  <a:pos x="60" y="21"/>
                </a:cxn>
                <a:cxn ang="0">
                  <a:pos x="56" y="21"/>
                </a:cxn>
                <a:cxn ang="0">
                  <a:pos x="60" y="19"/>
                </a:cxn>
                <a:cxn ang="0">
                  <a:pos x="66" y="11"/>
                </a:cxn>
                <a:cxn ang="0">
                  <a:pos x="68" y="6"/>
                </a:cxn>
                <a:cxn ang="0">
                  <a:pos x="68" y="6"/>
                </a:cxn>
                <a:cxn ang="0">
                  <a:pos x="60" y="2"/>
                </a:cxn>
                <a:cxn ang="0">
                  <a:pos x="51" y="0"/>
                </a:cxn>
                <a:cxn ang="0">
                  <a:pos x="43" y="2"/>
                </a:cxn>
                <a:cxn ang="0">
                  <a:pos x="36" y="2"/>
                </a:cxn>
                <a:cxn ang="0">
                  <a:pos x="24" y="11"/>
                </a:cxn>
                <a:cxn ang="0">
                  <a:pos x="19" y="11"/>
                </a:cxn>
                <a:cxn ang="0">
                  <a:pos x="17" y="19"/>
                </a:cxn>
                <a:cxn ang="0">
                  <a:pos x="17" y="26"/>
                </a:cxn>
                <a:cxn ang="0">
                  <a:pos x="13" y="32"/>
                </a:cxn>
                <a:cxn ang="0">
                  <a:pos x="9" y="36"/>
                </a:cxn>
                <a:cxn ang="0">
                  <a:pos x="19" y="40"/>
                </a:cxn>
                <a:cxn ang="0">
                  <a:pos x="13" y="43"/>
                </a:cxn>
                <a:cxn ang="0">
                  <a:pos x="13" y="45"/>
                </a:cxn>
                <a:cxn ang="0">
                  <a:pos x="17" y="47"/>
                </a:cxn>
                <a:cxn ang="0">
                  <a:pos x="9" y="43"/>
                </a:cxn>
                <a:cxn ang="0">
                  <a:pos x="2" y="43"/>
                </a:cxn>
                <a:cxn ang="0">
                  <a:pos x="7" y="45"/>
                </a:cxn>
                <a:cxn ang="0">
                  <a:pos x="9" y="49"/>
                </a:cxn>
                <a:cxn ang="0">
                  <a:pos x="9" y="49"/>
                </a:cxn>
                <a:cxn ang="0">
                  <a:pos x="4" y="47"/>
                </a:cxn>
                <a:cxn ang="0">
                  <a:pos x="0" y="47"/>
                </a:cxn>
                <a:cxn ang="0">
                  <a:pos x="4" y="51"/>
                </a:cxn>
                <a:cxn ang="0">
                  <a:pos x="9" y="55"/>
                </a:cxn>
                <a:cxn ang="0">
                  <a:pos x="13" y="51"/>
                </a:cxn>
                <a:cxn ang="0">
                  <a:pos x="19" y="49"/>
                </a:cxn>
                <a:cxn ang="0">
                  <a:pos x="24" y="47"/>
                </a:cxn>
                <a:cxn ang="0">
                  <a:pos x="30" y="49"/>
                </a:cxn>
                <a:cxn ang="0">
                  <a:pos x="38" y="51"/>
                </a:cxn>
                <a:cxn ang="0">
                  <a:pos x="39" y="55"/>
                </a:cxn>
                <a:cxn ang="0">
                  <a:pos x="41" y="58"/>
                </a:cxn>
                <a:cxn ang="0">
                  <a:pos x="41" y="58"/>
                </a:cxn>
                <a:cxn ang="0">
                  <a:pos x="9" y="40"/>
                </a:cxn>
                <a:cxn ang="0">
                  <a:pos x="9" y="43"/>
                </a:cxn>
                <a:cxn ang="0">
                  <a:pos x="4" y="43"/>
                </a:cxn>
                <a:cxn ang="0">
                  <a:pos x="4" y="43"/>
                </a:cxn>
                <a:cxn ang="0">
                  <a:pos x="7" y="40"/>
                </a:cxn>
                <a:cxn ang="0">
                  <a:pos x="13" y="40"/>
                </a:cxn>
                <a:cxn ang="0">
                  <a:pos x="9" y="40"/>
                </a:cxn>
                <a:cxn ang="0">
                  <a:pos x="9" y="40"/>
                </a:cxn>
                <a:cxn ang="0">
                  <a:pos x="7" y="40"/>
                </a:cxn>
              </a:cxnLst>
              <a:rect l="0" t="0" r="r" b="b"/>
              <a:pathLst>
                <a:path w="68" h="58">
                  <a:moveTo>
                    <a:pt x="41" y="58"/>
                  </a:moveTo>
                  <a:lnTo>
                    <a:pt x="43" y="55"/>
                  </a:lnTo>
                  <a:lnTo>
                    <a:pt x="45" y="47"/>
                  </a:lnTo>
                  <a:lnTo>
                    <a:pt x="43" y="43"/>
                  </a:lnTo>
                  <a:lnTo>
                    <a:pt x="47" y="40"/>
                  </a:lnTo>
                  <a:lnTo>
                    <a:pt x="49" y="36"/>
                  </a:lnTo>
                  <a:lnTo>
                    <a:pt x="55" y="36"/>
                  </a:lnTo>
                  <a:lnTo>
                    <a:pt x="58" y="36"/>
                  </a:lnTo>
                  <a:lnTo>
                    <a:pt x="60" y="34"/>
                  </a:lnTo>
                  <a:lnTo>
                    <a:pt x="60" y="30"/>
                  </a:lnTo>
                  <a:lnTo>
                    <a:pt x="60" y="30"/>
                  </a:lnTo>
                  <a:lnTo>
                    <a:pt x="60" y="25"/>
                  </a:lnTo>
                  <a:lnTo>
                    <a:pt x="64" y="25"/>
                  </a:lnTo>
                  <a:lnTo>
                    <a:pt x="60" y="21"/>
                  </a:lnTo>
                  <a:lnTo>
                    <a:pt x="56" y="21"/>
                  </a:lnTo>
                  <a:lnTo>
                    <a:pt x="56" y="21"/>
                  </a:lnTo>
                  <a:lnTo>
                    <a:pt x="58" y="17"/>
                  </a:lnTo>
                  <a:lnTo>
                    <a:pt x="60" y="19"/>
                  </a:lnTo>
                  <a:lnTo>
                    <a:pt x="66" y="17"/>
                  </a:lnTo>
                  <a:lnTo>
                    <a:pt x="66" y="11"/>
                  </a:lnTo>
                  <a:lnTo>
                    <a:pt x="66" y="9"/>
                  </a:lnTo>
                  <a:lnTo>
                    <a:pt x="68" y="6"/>
                  </a:lnTo>
                  <a:lnTo>
                    <a:pt x="68" y="6"/>
                  </a:lnTo>
                  <a:lnTo>
                    <a:pt x="68" y="6"/>
                  </a:lnTo>
                  <a:lnTo>
                    <a:pt x="64" y="6"/>
                  </a:lnTo>
                  <a:lnTo>
                    <a:pt x="60" y="2"/>
                  </a:lnTo>
                  <a:lnTo>
                    <a:pt x="56" y="0"/>
                  </a:lnTo>
                  <a:lnTo>
                    <a:pt x="51" y="0"/>
                  </a:lnTo>
                  <a:lnTo>
                    <a:pt x="47" y="2"/>
                  </a:lnTo>
                  <a:lnTo>
                    <a:pt x="43" y="2"/>
                  </a:lnTo>
                  <a:lnTo>
                    <a:pt x="41" y="2"/>
                  </a:lnTo>
                  <a:lnTo>
                    <a:pt x="36" y="2"/>
                  </a:lnTo>
                  <a:lnTo>
                    <a:pt x="32" y="6"/>
                  </a:lnTo>
                  <a:lnTo>
                    <a:pt x="24" y="11"/>
                  </a:lnTo>
                  <a:lnTo>
                    <a:pt x="23" y="9"/>
                  </a:lnTo>
                  <a:lnTo>
                    <a:pt x="19" y="11"/>
                  </a:lnTo>
                  <a:lnTo>
                    <a:pt x="19" y="15"/>
                  </a:lnTo>
                  <a:lnTo>
                    <a:pt x="17" y="19"/>
                  </a:lnTo>
                  <a:lnTo>
                    <a:pt x="19" y="21"/>
                  </a:lnTo>
                  <a:lnTo>
                    <a:pt x="17" y="26"/>
                  </a:lnTo>
                  <a:lnTo>
                    <a:pt x="13" y="28"/>
                  </a:lnTo>
                  <a:lnTo>
                    <a:pt x="13" y="32"/>
                  </a:lnTo>
                  <a:lnTo>
                    <a:pt x="9" y="34"/>
                  </a:lnTo>
                  <a:lnTo>
                    <a:pt x="9" y="36"/>
                  </a:lnTo>
                  <a:lnTo>
                    <a:pt x="13" y="40"/>
                  </a:lnTo>
                  <a:lnTo>
                    <a:pt x="19" y="40"/>
                  </a:lnTo>
                  <a:lnTo>
                    <a:pt x="13" y="40"/>
                  </a:lnTo>
                  <a:lnTo>
                    <a:pt x="13" y="43"/>
                  </a:lnTo>
                  <a:lnTo>
                    <a:pt x="9" y="43"/>
                  </a:lnTo>
                  <a:lnTo>
                    <a:pt x="13" y="45"/>
                  </a:lnTo>
                  <a:lnTo>
                    <a:pt x="17" y="45"/>
                  </a:lnTo>
                  <a:lnTo>
                    <a:pt x="17" y="47"/>
                  </a:lnTo>
                  <a:lnTo>
                    <a:pt x="13" y="47"/>
                  </a:lnTo>
                  <a:lnTo>
                    <a:pt x="9" y="43"/>
                  </a:lnTo>
                  <a:lnTo>
                    <a:pt x="4" y="43"/>
                  </a:lnTo>
                  <a:lnTo>
                    <a:pt x="2" y="43"/>
                  </a:lnTo>
                  <a:lnTo>
                    <a:pt x="4" y="45"/>
                  </a:lnTo>
                  <a:lnTo>
                    <a:pt x="7" y="45"/>
                  </a:lnTo>
                  <a:lnTo>
                    <a:pt x="9" y="49"/>
                  </a:lnTo>
                  <a:lnTo>
                    <a:pt x="9" y="49"/>
                  </a:lnTo>
                  <a:lnTo>
                    <a:pt x="13" y="51"/>
                  </a:lnTo>
                  <a:lnTo>
                    <a:pt x="9" y="49"/>
                  </a:lnTo>
                  <a:lnTo>
                    <a:pt x="9" y="49"/>
                  </a:lnTo>
                  <a:lnTo>
                    <a:pt x="4" y="47"/>
                  </a:lnTo>
                  <a:lnTo>
                    <a:pt x="0" y="47"/>
                  </a:lnTo>
                  <a:lnTo>
                    <a:pt x="0" y="47"/>
                  </a:lnTo>
                  <a:lnTo>
                    <a:pt x="2" y="49"/>
                  </a:lnTo>
                  <a:lnTo>
                    <a:pt x="4" y="51"/>
                  </a:lnTo>
                  <a:lnTo>
                    <a:pt x="7" y="51"/>
                  </a:lnTo>
                  <a:lnTo>
                    <a:pt x="9" y="55"/>
                  </a:lnTo>
                  <a:lnTo>
                    <a:pt x="9" y="51"/>
                  </a:lnTo>
                  <a:lnTo>
                    <a:pt x="13" y="51"/>
                  </a:lnTo>
                  <a:lnTo>
                    <a:pt x="13" y="49"/>
                  </a:lnTo>
                  <a:lnTo>
                    <a:pt x="19" y="49"/>
                  </a:lnTo>
                  <a:lnTo>
                    <a:pt x="19" y="47"/>
                  </a:lnTo>
                  <a:lnTo>
                    <a:pt x="24" y="47"/>
                  </a:lnTo>
                  <a:lnTo>
                    <a:pt x="28" y="49"/>
                  </a:lnTo>
                  <a:lnTo>
                    <a:pt x="30" y="49"/>
                  </a:lnTo>
                  <a:lnTo>
                    <a:pt x="32" y="51"/>
                  </a:lnTo>
                  <a:lnTo>
                    <a:pt x="38" y="51"/>
                  </a:lnTo>
                  <a:lnTo>
                    <a:pt x="39" y="55"/>
                  </a:lnTo>
                  <a:lnTo>
                    <a:pt x="39" y="55"/>
                  </a:lnTo>
                  <a:lnTo>
                    <a:pt x="41" y="58"/>
                  </a:lnTo>
                  <a:lnTo>
                    <a:pt x="41" y="58"/>
                  </a:lnTo>
                  <a:lnTo>
                    <a:pt x="41" y="58"/>
                  </a:lnTo>
                  <a:lnTo>
                    <a:pt x="41" y="58"/>
                  </a:lnTo>
                  <a:close/>
                  <a:moveTo>
                    <a:pt x="4" y="43"/>
                  </a:moveTo>
                  <a:lnTo>
                    <a:pt x="9" y="40"/>
                  </a:lnTo>
                  <a:lnTo>
                    <a:pt x="9" y="43"/>
                  </a:lnTo>
                  <a:lnTo>
                    <a:pt x="9" y="43"/>
                  </a:lnTo>
                  <a:lnTo>
                    <a:pt x="9" y="43"/>
                  </a:lnTo>
                  <a:lnTo>
                    <a:pt x="4" y="43"/>
                  </a:lnTo>
                  <a:lnTo>
                    <a:pt x="4" y="43"/>
                  </a:lnTo>
                  <a:lnTo>
                    <a:pt x="4" y="43"/>
                  </a:lnTo>
                  <a:lnTo>
                    <a:pt x="4" y="43"/>
                  </a:lnTo>
                  <a:close/>
                  <a:moveTo>
                    <a:pt x="7" y="40"/>
                  </a:moveTo>
                  <a:lnTo>
                    <a:pt x="9" y="40"/>
                  </a:lnTo>
                  <a:lnTo>
                    <a:pt x="13" y="40"/>
                  </a:lnTo>
                  <a:lnTo>
                    <a:pt x="13" y="40"/>
                  </a:lnTo>
                  <a:lnTo>
                    <a:pt x="9" y="40"/>
                  </a:lnTo>
                  <a:lnTo>
                    <a:pt x="9" y="40"/>
                  </a:lnTo>
                  <a:lnTo>
                    <a:pt x="9" y="40"/>
                  </a:lnTo>
                  <a:lnTo>
                    <a:pt x="7" y="40"/>
                  </a:lnTo>
                  <a:lnTo>
                    <a:pt x="7" y="40"/>
                  </a:lnTo>
                  <a:lnTo>
                    <a:pt x="7" y="40"/>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20">
              <a:extLst>
                <a:ext uri="{FF2B5EF4-FFF2-40B4-BE49-F238E27FC236}">
                  <a16:creationId xmlns:a16="http://schemas.microsoft.com/office/drawing/2014/main" id="{55188983-2BE1-C84D-A6A8-A073720E93C3}"/>
                </a:ext>
              </a:extLst>
            </p:cNvPr>
            <p:cNvSpPr>
              <a:spLocks/>
            </p:cNvSpPr>
            <p:nvPr/>
          </p:nvSpPr>
          <p:spPr bwMode="auto">
            <a:xfrm>
              <a:off x="6161970" y="2182113"/>
              <a:ext cx="45226" cy="32981"/>
            </a:xfrm>
            <a:custGeom>
              <a:avLst/>
              <a:gdLst/>
              <a:ahLst/>
              <a:cxnLst>
                <a:cxn ang="0">
                  <a:pos x="49" y="28"/>
                </a:cxn>
                <a:cxn ang="0">
                  <a:pos x="53" y="25"/>
                </a:cxn>
                <a:cxn ang="0">
                  <a:pos x="49" y="21"/>
                </a:cxn>
                <a:cxn ang="0">
                  <a:pos x="49" y="19"/>
                </a:cxn>
                <a:cxn ang="0">
                  <a:pos x="47" y="13"/>
                </a:cxn>
                <a:cxn ang="0">
                  <a:pos x="49" y="10"/>
                </a:cxn>
                <a:cxn ang="0">
                  <a:pos x="45" y="8"/>
                </a:cxn>
                <a:cxn ang="0">
                  <a:pos x="45" y="6"/>
                </a:cxn>
                <a:cxn ang="0">
                  <a:pos x="44" y="2"/>
                </a:cxn>
                <a:cxn ang="0">
                  <a:pos x="38" y="2"/>
                </a:cxn>
                <a:cxn ang="0">
                  <a:pos x="36" y="2"/>
                </a:cxn>
                <a:cxn ang="0">
                  <a:pos x="34" y="2"/>
                </a:cxn>
                <a:cxn ang="0">
                  <a:pos x="30" y="0"/>
                </a:cxn>
                <a:cxn ang="0">
                  <a:pos x="25" y="0"/>
                </a:cxn>
                <a:cxn ang="0">
                  <a:pos x="25" y="2"/>
                </a:cxn>
                <a:cxn ang="0">
                  <a:pos x="21" y="2"/>
                </a:cxn>
                <a:cxn ang="0">
                  <a:pos x="21" y="2"/>
                </a:cxn>
                <a:cxn ang="0">
                  <a:pos x="17" y="2"/>
                </a:cxn>
                <a:cxn ang="0">
                  <a:pos x="15" y="6"/>
                </a:cxn>
                <a:cxn ang="0">
                  <a:pos x="13" y="2"/>
                </a:cxn>
                <a:cxn ang="0">
                  <a:pos x="10" y="2"/>
                </a:cxn>
                <a:cxn ang="0">
                  <a:pos x="10" y="2"/>
                </a:cxn>
                <a:cxn ang="0">
                  <a:pos x="6" y="0"/>
                </a:cxn>
                <a:cxn ang="0">
                  <a:pos x="4" y="2"/>
                </a:cxn>
                <a:cxn ang="0">
                  <a:pos x="0" y="8"/>
                </a:cxn>
                <a:cxn ang="0">
                  <a:pos x="4" y="10"/>
                </a:cxn>
                <a:cxn ang="0">
                  <a:pos x="4" y="15"/>
                </a:cxn>
                <a:cxn ang="0">
                  <a:pos x="6" y="17"/>
                </a:cxn>
                <a:cxn ang="0">
                  <a:pos x="10" y="21"/>
                </a:cxn>
                <a:cxn ang="0">
                  <a:pos x="13" y="25"/>
                </a:cxn>
                <a:cxn ang="0">
                  <a:pos x="15" y="25"/>
                </a:cxn>
                <a:cxn ang="0">
                  <a:pos x="17" y="25"/>
                </a:cxn>
                <a:cxn ang="0">
                  <a:pos x="21" y="27"/>
                </a:cxn>
                <a:cxn ang="0">
                  <a:pos x="21" y="32"/>
                </a:cxn>
                <a:cxn ang="0">
                  <a:pos x="25" y="34"/>
                </a:cxn>
                <a:cxn ang="0">
                  <a:pos x="25" y="32"/>
                </a:cxn>
                <a:cxn ang="0">
                  <a:pos x="29" y="32"/>
                </a:cxn>
                <a:cxn ang="0">
                  <a:pos x="29" y="34"/>
                </a:cxn>
                <a:cxn ang="0">
                  <a:pos x="34" y="36"/>
                </a:cxn>
                <a:cxn ang="0">
                  <a:pos x="36" y="40"/>
                </a:cxn>
                <a:cxn ang="0">
                  <a:pos x="40" y="40"/>
                </a:cxn>
                <a:cxn ang="0">
                  <a:pos x="44" y="43"/>
                </a:cxn>
                <a:cxn ang="0">
                  <a:pos x="45" y="40"/>
                </a:cxn>
                <a:cxn ang="0">
                  <a:pos x="49" y="40"/>
                </a:cxn>
                <a:cxn ang="0">
                  <a:pos x="49" y="40"/>
                </a:cxn>
                <a:cxn ang="0">
                  <a:pos x="47" y="40"/>
                </a:cxn>
                <a:cxn ang="0">
                  <a:pos x="47" y="36"/>
                </a:cxn>
                <a:cxn ang="0">
                  <a:pos x="45" y="34"/>
                </a:cxn>
                <a:cxn ang="0">
                  <a:pos x="47" y="32"/>
                </a:cxn>
                <a:cxn ang="0">
                  <a:pos x="49" y="28"/>
                </a:cxn>
                <a:cxn ang="0">
                  <a:pos x="49" y="28"/>
                </a:cxn>
                <a:cxn ang="0">
                  <a:pos x="49" y="28"/>
                </a:cxn>
                <a:cxn ang="0">
                  <a:pos x="49" y="28"/>
                </a:cxn>
              </a:cxnLst>
              <a:rect l="0" t="0" r="r" b="b"/>
              <a:pathLst>
                <a:path w="53" h="43">
                  <a:moveTo>
                    <a:pt x="49" y="28"/>
                  </a:moveTo>
                  <a:lnTo>
                    <a:pt x="53" y="25"/>
                  </a:lnTo>
                  <a:lnTo>
                    <a:pt x="49" y="21"/>
                  </a:lnTo>
                  <a:lnTo>
                    <a:pt x="49" y="19"/>
                  </a:lnTo>
                  <a:lnTo>
                    <a:pt x="47" y="13"/>
                  </a:lnTo>
                  <a:lnTo>
                    <a:pt x="49" y="10"/>
                  </a:lnTo>
                  <a:lnTo>
                    <a:pt x="45" y="8"/>
                  </a:lnTo>
                  <a:lnTo>
                    <a:pt x="45" y="6"/>
                  </a:lnTo>
                  <a:lnTo>
                    <a:pt x="44" y="2"/>
                  </a:lnTo>
                  <a:lnTo>
                    <a:pt x="38" y="2"/>
                  </a:lnTo>
                  <a:lnTo>
                    <a:pt x="36" y="2"/>
                  </a:lnTo>
                  <a:lnTo>
                    <a:pt x="34" y="2"/>
                  </a:lnTo>
                  <a:lnTo>
                    <a:pt x="30" y="0"/>
                  </a:lnTo>
                  <a:lnTo>
                    <a:pt x="25" y="0"/>
                  </a:lnTo>
                  <a:lnTo>
                    <a:pt x="25" y="2"/>
                  </a:lnTo>
                  <a:lnTo>
                    <a:pt x="21" y="2"/>
                  </a:lnTo>
                  <a:lnTo>
                    <a:pt x="21" y="2"/>
                  </a:lnTo>
                  <a:lnTo>
                    <a:pt x="17" y="2"/>
                  </a:lnTo>
                  <a:lnTo>
                    <a:pt x="15" y="6"/>
                  </a:lnTo>
                  <a:lnTo>
                    <a:pt x="13" y="2"/>
                  </a:lnTo>
                  <a:lnTo>
                    <a:pt x="10" y="2"/>
                  </a:lnTo>
                  <a:lnTo>
                    <a:pt x="10" y="2"/>
                  </a:lnTo>
                  <a:lnTo>
                    <a:pt x="6" y="0"/>
                  </a:lnTo>
                  <a:lnTo>
                    <a:pt x="4" y="2"/>
                  </a:lnTo>
                  <a:lnTo>
                    <a:pt x="0" y="8"/>
                  </a:lnTo>
                  <a:lnTo>
                    <a:pt x="4" y="10"/>
                  </a:lnTo>
                  <a:lnTo>
                    <a:pt x="4" y="15"/>
                  </a:lnTo>
                  <a:lnTo>
                    <a:pt x="6" y="17"/>
                  </a:lnTo>
                  <a:lnTo>
                    <a:pt x="10" y="21"/>
                  </a:lnTo>
                  <a:lnTo>
                    <a:pt x="13" y="25"/>
                  </a:lnTo>
                  <a:lnTo>
                    <a:pt x="15" y="25"/>
                  </a:lnTo>
                  <a:lnTo>
                    <a:pt x="17" y="25"/>
                  </a:lnTo>
                  <a:lnTo>
                    <a:pt x="21" y="27"/>
                  </a:lnTo>
                  <a:lnTo>
                    <a:pt x="21" y="32"/>
                  </a:lnTo>
                  <a:lnTo>
                    <a:pt x="25" y="34"/>
                  </a:lnTo>
                  <a:lnTo>
                    <a:pt x="25" y="32"/>
                  </a:lnTo>
                  <a:lnTo>
                    <a:pt x="29" y="32"/>
                  </a:lnTo>
                  <a:lnTo>
                    <a:pt x="29" y="34"/>
                  </a:lnTo>
                  <a:lnTo>
                    <a:pt x="34" y="36"/>
                  </a:lnTo>
                  <a:lnTo>
                    <a:pt x="36" y="40"/>
                  </a:lnTo>
                  <a:lnTo>
                    <a:pt x="40" y="40"/>
                  </a:lnTo>
                  <a:lnTo>
                    <a:pt x="44" y="43"/>
                  </a:lnTo>
                  <a:lnTo>
                    <a:pt x="45" y="40"/>
                  </a:lnTo>
                  <a:lnTo>
                    <a:pt x="49" y="40"/>
                  </a:lnTo>
                  <a:lnTo>
                    <a:pt x="49" y="40"/>
                  </a:lnTo>
                  <a:lnTo>
                    <a:pt x="47" y="40"/>
                  </a:lnTo>
                  <a:lnTo>
                    <a:pt x="47" y="36"/>
                  </a:lnTo>
                  <a:lnTo>
                    <a:pt x="45" y="34"/>
                  </a:lnTo>
                  <a:lnTo>
                    <a:pt x="47" y="32"/>
                  </a:lnTo>
                  <a:lnTo>
                    <a:pt x="49" y="28"/>
                  </a:lnTo>
                  <a:lnTo>
                    <a:pt x="49" y="28"/>
                  </a:lnTo>
                  <a:lnTo>
                    <a:pt x="49" y="28"/>
                  </a:lnTo>
                  <a:lnTo>
                    <a:pt x="49" y="28"/>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21">
              <a:extLst>
                <a:ext uri="{FF2B5EF4-FFF2-40B4-BE49-F238E27FC236}">
                  <a16:creationId xmlns:a16="http://schemas.microsoft.com/office/drawing/2014/main" id="{70961CAD-469E-9047-A542-67FC771CB7C2}"/>
                </a:ext>
              </a:extLst>
            </p:cNvPr>
            <p:cNvSpPr>
              <a:spLocks/>
            </p:cNvSpPr>
            <p:nvPr/>
          </p:nvSpPr>
          <p:spPr bwMode="auto">
            <a:xfrm>
              <a:off x="6202076" y="2206657"/>
              <a:ext cx="10240" cy="11505"/>
            </a:xfrm>
            <a:custGeom>
              <a:avLst/>
              <a:gdLst/>
              <a:ahLst/>
              <a:cxnLst>
                <a:cxn ang="0">
                  <a:pos x="4" y="11"/>
                </a:cxn>
                <a:cxn ang="0">
                  <a:pos x="4" y="10"/>
                </a:cxn>
                <a:cxn ang="0">
                  <a:pos x="2" y="10"/>
                </a:cxn>
                <a:cxn ang="0">
                  <a:pos x="2" y="6"/>
                </a:cxn>
                <a:cxn ang="0">
                  <a:pos x="0" y="6"/>
                </a:cxn>
                <a:cxn ang="0">
                  <a:pos x="2" y="2"/>
                </a:cxn>
                <a:cxn ang="0">
                  <a:pos x="4" y="0"/>
                </a:cxn>
                <a:cxn ang="0">
                  <a:pos x="4" y="0"/>
                </a:cxn>
                <a:cxn ang="0">
                  <a:pos x="8" y="6"/>
                </a:cxn>
                <a:cxn ang="0">
                  <a:pos x="8" y="10"/>
                </a:cxn>
                <a:cxn ang="0">
                  <a:pos x="12" y="10"/>
                </a:cxn>
                <a:cxn ang="0">
                  <a:pos x="12" y="15"/>
                </a:cxn>
                <a:cxn ang="0">
                  <a:pos x="8" y="15"/>
                </a:cxn>
                <a:cxn ang="0">
                  <a:pos x="4" y="15"/>
                </a:cxn>
                <a:cxn ang="0">
                  <a:pos x="4" y="11"/>
                </a:cxn>
                <a:cxn ang="0">
                  <a:pos x="4" y="11"/>
                </a:cxn>
                <a:cxn ang="0">
                  <a:pos x="4" y="11"/>
                </a:cxn>
                <a:cxn ang="0">
                  <a:pos x="4" y="11"/>
                </a:cxn>
              </a:cxnLst>
              <a:rect l="0" t="0" r="r" b="b"/>
              <a:pathLst>
                <a:path w="12" h="15">
                  <a:moveTo>
                    <a:pt x="4" y="11"/>
                  </a:moveTo>
                  <a:lnTo>
                    <a:pt x="4" y="10"/>
                  </a:lnTo>
                  <a:lnTo>
                    <a:pt x="2" y="10"/>
                  </a:lnTo>
                  <a:lnTo>
                    <a:pt x="2" y="6"/>
                  </a:lnTo>
                  <a:lnTo>
                    <a:pt x="0" y="6"/>
                  </a:lnTo>
                  <a:lnTo>
                    <a:pt x="2" y="2"/>
                  </a:lnTo>
                  <a:lnTo>
                    <a:pt x="4" y="0"/>
                  </a:lnTo>
                  <a:lnTo>
                    <a:pt x="4" y="0"/>
                  </a:lnTo>
                  <a:lnTo>
                    <a:pt x="8" y="6"/>
                  </a:lnTo>
                  <a:lnTo>
                    <a:pt x="8" y="10"/>
                  </a:lnTo>
                  <a:lnTo>
                    <a:pt x="12" y="10"/>
                  </a:lnTo>
                  <a:lnTo>
                    <a:pt x="12" y="15"/>
                  </a:lnTo>
                  <a:lnTo>
                    <a:pt x="8" y="15"/>
                  </a:lnTo>
                  <a:lnTo>
                    <a:pt x="4" y="15"/>
                  </a:lnTo>
                  <a:lnTo>
                    <a:pt x="4" y="11"/>
                  </a:lnTo>
                  <a:lnTo>
                    <a:pt x="4" y="11"/>
                  </a:lnTo>
                  <a:lnTo>
                    <a:pt x="4" y="11"/>
                  </a:lnTo>
                  <a:lnTo>
                    <a:pt x="4" y="11"/>
                  </a:lnTo>
                  <a:close/>
                </a:path>
              </a:pathLst>
            </a:custGeom>
            <a:solidFill>
              <a:schemeClr val="accent5"/>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22">
              <a:extLst>
                <a:ext uri="{FF2B5EF4-FFF2-40B4-BE49-F238E27FC236}">
                  <a16:creationId xmlns:a16="http://schemas.microsoft.com/office/drawing/2014/main" id="{6B66B1AC-8A51-0143-8A5E-DC0197572E15}"/>
                </a:ext>
              </a:extLst>
            </p:cNvPr>
            <p:cNvSpPr>
              <a:spLocks/>
            </p:cNvSpPr>
            <p:nvPr/>
          </p:nvSpPr>
          <p:spPr bwMode="auto">
            <a:xfrm>
              <a:off x="5977650" y="2105411"/>
              <a:ext cx="62294" cy="72866"/>
            </a:xfrm>
            <a:custGeom>
              <a:avLst/>
              <a:gdLst/>
              <a:ahLst/>
              <a:cxnLst>
                <a:cxn ang="0">
                  <a:pos x="30" y="91"/>
                </a:cxn>
                <a:cxn ang="0">
                  <a:pos x="36" y="87"/>
                </a:cxn>
                <a:cxn ang="0">
                  <a:pos x="41" y="85"/>
                </a:cxn>
                <a:cxn ang="0">
                  <a:pos x="56" y="79"/>
                </a:cxn>
                <a:cxn ang="0">
                  <a:pos x="60" y="78"/>
                </a:cxn>
                <a:cxn ang="0">
                  <a:pos x="64" y="76"/>
                </a:cxn>
                <a:cxn ang="0">
                  <a:pos x="69" y="68"/>
                </a:cxn>
                <a:cxn ang="0">
                  <a:pos x="71" y="53"/>
                </a:cxn>
                <a:cxn ang="0">
                  <a:pos x="71" y="46"/>
                </a:cxn>
                <a:cxn ang="0">
                  <a:pos x="68" y="38"/>
                </a:cxn>
                <a:cxn ang="0">
                  <a:pos x="68" y="32"/>
                </a:cxn>
                <a:cxn ang="0">
                  <a:pos x="56" y="23"/>
                </a:cxn>
                <a:cxn ang="0">
                  <a:pos x="51" y="30"/>
                </a:cxn>
                <a:cxn ang="0">
                  <a:pos x="51" y="15"/>
                </a:cxn>
                <a:cxn ang="0">
                  <a:pos x="56" y="8"/>
                </a:cxn>
                <a:cxn ang="0">
                  <a:pos x="60" y="4"/>
                </a:cxn>
                <a:cxn ang="0">
                  <a:pos x="56" y="0"/>
                </a:cxn>
                <a:cxn ang="0">
                  <a:pos x="49" y="10"/>
                </a:cxn>
                <a:cxn ang="0">
                  <a:pos x="49" y="4"/>
                </a:cxn>
                <a:cxn ang="0">
                  <a:pos x="45" y="4"/>
                </a:cxn>
                <a:cxn ang="0">
                  <a:pos x="39" y="6"/>
                </a:cxn>
                <a:cxn ang="0">
                  <a:pos x="39" y="12"/>
                </a:cxn>
                <a:cxn ang="0">
                  <a:pos x="36" y="14"/>
                </a:cxn>
                <a:cxn ang="0">
                  <a:pos x="36" y="19"/>
                </a:cxn>
                <a:cxn ang="0">
                  <a:pos x="41" y="19"/>
                </a:cxn>
                <a:cxn ang="0">
                  <a:pos x="36" y="25"/>
                </a:cxn>
                <a:cxn ang="0">
                  <a:pos x="24" y="29"/>
                </a:cxn>
                <a:cxn ang="0">
                  <a:pos x="15" y="25"/>
                </a:cxn>
                <a:cxn ang="0">
                  <a:pos x="11" y="27"/>
                </a:cxn>
                <a:cxn ang="0">
                  <a:pos x="15" y="32"/>
                </a:cxn>
                <a:cxn ang="0">
                  <a:pos x="5" y="32"/>
                </a:cxn>
                <a:cxn ang="0">
                  <a:pos x="17" y="38"/>
                </a:cxn>
                <a:cxn ang="0">
                  <a:pos x="15" y="42"/>
                </a:cxn>
                <a:cxn ang="0">
                  <a:pos x="5" y="46"/>
                </a:cxn>
                <a:cxn ang="0">
                  <a:pos x="9" y="47"/>
                </a:cxn>
                <a:cxn ang="0">
                  <a:pos x="26" y="51"/>
                </a:cxn>
                <a:cxn ang="0">
                  <a:pos x="17" y="59"/>
                </a:cxn>
                <a:cxn ang="0">
                  <a:pos x="9" y="68"/>
                </a:cxn>
                <a:cxn ang="0">
                  <a:pos x="17" y="66"/>
                </a:cxn>
                <a:cxn ang="0">
                  <a:pos x="24" y="64"/>
                </a:cxn>
                <a:cxn ang="0">
                  <a:pos x="15" y="68"/>
                </a:cxn>
                <a:cxn ang="0">
                  <a:pos x="9" y="72"/>
                </a:cxn>
                <a:cxn ang="0">
                  <a:pos x="9" y="76"/>
                </a:cxn>
                <a:cxn ang="0">
                  <a:pos x="2" y="76"/>
                </a:cxn>
                <a:cxn ang="0">
                  <a:pos x="9" y="78"/>
                </a:cxn>
                <a:cxn ang="0">
                  <a:pos x="2" y="85"/>
                </a:cxn>
                <a:cxn ang="0">
                  <a:pos x="15" y="85"/>
                </a:cxn>
                <a:cxn ang="0">
                  <a:pos x="9" y="91"/>
                </a:cxn>
                <a:cxn ang="0">
                  <a:pos x="9" y="91"/>
                </a:cxn>
                <a:cxn ang="0">
                  <a:pos x="15" y="95"/>
                </a:cxn>
                <a:cxn ang="0">
                  <a:pos x="17" y="95"/>
                </a:cxn>
              </a:cxnLst>
              <a:rect l="0" t="0" r="r" b="b"/>
              <a:pathLst>
                <a:path w="73" h="95">
                  <a:moveTo>
                    <a:pt x="17" y="95"/>
                  </a:moveTo>
                  <a:lnTo>
                    <a:pt x="24" y="95"/>
                  </a:lnTo>
                  <a:lnTo>
                    <a:pt x="30" y="91"/>
                  </a:lnTo>
                  <a:lnTo>
                    <a:pt x="36" y="87"/>
                  </a:lnTo>
                  <a:lnTo>
                    <a:pt x="34" y="85"/>
                  </a:lnTo>
                  <a:lnTo>
                    <a:pt x="36" y="87"/>
                  </a:lnTo>
                  <a:lnTo>
                    <a:pt x="36" y="87"/>
                  </a:lnTo>
                  <a:lnTo>
                    <a:pt x="39" y="87"/>
                  </a:lnTo>
                  <a:lnTo>
                    <a:pt x="41" y="85"/>
                  </a:lnTo>
                  <a:lnTo>
                    <a:pt x="45" y="85"/>
                  </a:lnTo>
                  <a:lnTo>
                    <a:pt x="45" y="81"/>
                  </a:lnTo>
                  <a:lnTo>
                    <a:pt x="56" y="79"/>
                  </a:lnTo>
                  <a:lnTo>
                    <a:pt x="58" y="78"/>
                  </a:lnTo>
                  <a:lnTo>
                    <a:pt x="58" y="79"/>
                  </a:lnTo>
                  <a:lnTo>
                    <a:pt x="60" y="78"/>
                  </a:lnTo>
                  <a:lnTo>
                    <a:pt x="64" y="79"/>
                  </a:lnTo>
                  <a:lnTo>
                    <a:pt x="68" y="79"/>
                  </a:lnTo>
                  <a:lnTo>
                    <a:pt x="64" y="76"/>
                  </a:lnTo>
                  <a:lnTo>
                    <a:pt x="66" y="72"/>
                  </a:lnTo>
                  <a:lnTo>
                    <a:pt x="69" y="70"/>
                  </a:lnTo>
                  <a:lnTo>
                    <a:pt x="69" y="68"/>
                  </a:lnTo>
                  <a:lnTo>
                    <a:pt x="71" y="64"/>
                  </a:lnTo>
                  <a:lnTo>
                    <a:pt x="73" y="61"/>
                  </a:lnTo>
                  <a:lnTo>
                    <a:pt x="71" y="53"/>
                  </a:lnTo>
                  <a:lnTo>
                    <a:pt x="69" y="51"/>
                  </a:lnTo>
                  <a:lnTo>
                    <a:pt x="71" y="49"/>
                  </a:lnTo>
                  <a:lnTo>
                    <a:pt x="71" y="46"/>
                  </a:lnTo>
                  <a:lnTo>
                    <a:pt x="69" y="42"/>
                  </a:lnTo>
                  <a:lnTo>
                    <a:pt x="69" y="38"/>
                  </a:lnTo>
                  <a:lnTo>
                    <a:pt x="68" y="38"/>
                  </a:lnTo>
                  <a:lnTo>
                    <a:pt x="69" y="34"/>
                  </a:lnTo>
                  <a:lnTo>
                    <a:pt x="71" y="34"/>
                  </a:lnTo>
                  <a:lnTo>
                    <a:pt x="68" y="32"/>
                  </a:lnTo>
                  <a:lnTo>
                    <a:pt x="64" y="32"/>
                  </a:lnTo>
                  <a:lnTo>
                    <a:pt x="60" y="25"/>
                  </a:lnTo>
                  <a:lnTo>
                    <a:pt x="56" y="23"/>
                  </a:lnTo>
                  <a:lnTo>
                    <a:pt x="54" y="25"/>
                  </a:lnTo>
                  <a:lnTo>
                    <a:pt x="51" y="29"/>
                  </a:lnTo>
                  <a:lnTo>
                    <a:pt x="51" y="30"/>
                  </a:lnTo>
                  <a:lnTo>
                    <a:pt x="41" y="23"/>
                  </a:lnTo>
                  <a:lnTo>
                    <a:pt x="47" y="15"/>
                  </a:lnTo>
                  <a:lnTo>
                    <a:pt x="51" y="15"/>
                  </a:lnTo>
                  <a:lnTo>
                    <a:pt x="51" y="12"/>
                  </a:lnTo>
                  <a:lnTo>
                    <a:pt x="54" y="10"/>
                  </a:lnTo>
                  <a:lnTo>
                    <a:pt x="56" y="8"/>
                  </a:lnTo>
                  <a:lnTo>
                    <a:pt x="54" y="8"/>
                  </a:lnTo>
                  <a:lnTo>
                    <a:pt x="58" y="6"/>
                  </a:lnTo>
                  <a:lnTo>
                    <a:pt x="60" y="4"/>
                  </a:lnTo>
                  <a:lnTo>
                    <a:pt x="56" y="0"/>
                  </a:lnTo>
                  <a:lnTo>
                    <a:pt x="54" y="0"/>
                  </a:lnTo>
                  <a:lnTo>
                    <a:pt x="56" y="0"/>
                  </a:lnTo>
                  <a:lnTo>
                    <a:pt x="51" y="0"/>
                  </a:lnTo>
                  <a:lnTo>
                    <a:pt x="51" y="6"/>
                  </a:lnTo>
                  <a:lnTo>
                    <a:pt x="49" y="10"/>
                  </a:lnTo>
                  <a:lnTo>
                    <a:pt x="51" y="8"/>
                  </a:lnTo>
                  <a:lnTo>
                    <a:pt x="51" y="6"/>
                  </a:lnTo>
                  <a:lnTo>
                    <a:pt x="49" y="4"/>
                  </a:lnTo>
                  <a:lnTo>
                    <a:pt x="47" y="4"/>
                  </a:lnTo>
                  <a:lnTo>
                    <a:pt x="49" y="4"/>
                  </a:lnTo>
                  <a:lnTo>
                    <a:pt x="45" y="4"/>
                  </a:lnTo>
                  <a:lnTo>
                    <a:pt x="43" y="4"/>
                  </a:lnTo>
                  <a:lnTo>
                    <a:pt x="39" y="4"/>
                  </a:lnTo>
                  <a:lnTo>
                    <a:pt x="39" y="6"/>
                  </a:lnTo>
                  <a:lnTo>
                    <a:pt x="39" y="8"/>
                  </a:lnTo>
                  <a:lnTo>
                    <a:pt x="36" y="10"/>
                  </a:lnTo>
                  <a:lnTo>
                    <a:pt x="39" y="12"/>
                  </a:lnTo>
                  <a:lnTo>
                    <a:pt x="39" y="14"/>
                  </a:lnTo>
                  <a:lnTo>
                    <a:pt x="36" y="14"/>
                  </a:lnTo>
                  <a:lnTo>
                    <a:pt x="36" y="14"/>
                  </a:lnTo>
                  <a:lnTo>
                    <a:pt x="34" y="15"/>
                  </a:lnTo>
                  <a:lnTo>
                    <a:pt x="34" y="19"/>
                  </a:lnTo>
                  <a:lnTo>
                    <a:pt x="36" y="19"/>
                  </a:lnTo>
                  <a:lnTo>
                    <a:pt x="36" y="19"/>
                  </a:lnTo>
                  <a:lnTo>
                    <a:pt x="39" y="19"/>
                  </a:lnTo>
                  <a:lnTo>
                    <a:pt x="41" y="19"/>
                  </a:lnTo>
                  <a:lnTo>
                    <a:pt x="39" y="21"/>
                  </a:lnTo>
                  <a:lnTo>
                    <a:pt x="34" y="23"/>
                  </a:lnTo>
                  <a:lnTo>
                    <a:pt x="36" y="25"/>
                  </a:lnTo>
                  <a:lnTo>
                    <a:pt x="30" y="27"/>
                  </a:lnTo>
                  <a:lnTo>
                    <a:pt x="26" y="25"/>
                  </a:lnTo>
                  <a:lnTo>
                    <a:pt x="24" y="29"/>
                  </a:lnTo>
                  <a:lnTo>
                    <a:pt x="22" y="25"/>
                  </a:lnTo>
                  <a:lnTo>
                    <a:pt x="15" y="23"/>
                  </a:lnTo>
                  <a:lnTo>
                    <a:pt x="15" y="25"/>
                  </a:lnTo>
                  <a:lnTo>
                    <a:pt x="9" y="23"/>
                  </a:lnTo>
                  <a:lnTo>
                    <a:pt x="9" y="29"/>
                  </a:lnTo>
                  <a:lnTo>
                    <a:pt x="11" y="27"/>
                  </a:lnTo>
                  <a:lnTo>
                    <a:pt x="11" y="29"/>
                  </a:lnTo>
                  <a:lnTo>
                    <a:pt x="15" y="30"/>
                  </a:lnTo>
                  <a:lnTo>
                    <a:pt x="15" y="32"/>
                  </a:lnTo>
                  <a:lnTo>
                    <a:pt x="11" y="34"/>
                  </a:lnTo>
                  <a:lnTo>
                    <a:pt x="11" y="32"/>
                  </a:lnTo>
                  <a:lnTo>
                    <a:pt x="5" y="32"/>
                  </a:lnTo>
                  <a:lnTo>
                    <a:pt x="11" y="34"/>
                  </a:lnTo>
                  <a:lnTo>
                    <a:pt x="15" y="34"/>
                  </a:lnTo>
                  <a:lnTo>
                    <a:pt x="17" y="38"/>
                  </a:lnTo>
                  <a:lnTo>
                    <a:pt x="11" y="38"/>
                  </a:lnTo>
                  <a:lnTo>
                    <a:pt x="11" y="40"/>
                  </a:lnTo>
                  <a:lnTo>
                    <a:pt x="15" y="42"/>
                  </a:lnTo>
                  <a:lnTo>
                    <a:pt x="9" y="42"/>
                  </a:lnTo>
                  <a:lnTo>
                    <a:pt x="9" y="44"/>
                  </a:lnTo>
                  <a:lnTo>
                    <a:pt x="5" y="46"/>
                  </a:lnTo>
                  <a:lnTo>
                    <a:pt x="9" y="47"/>
                  </a:lnTo>
                  <a:lnTo>
                    <a:pt x="11" y="46"/>
                  </a:lnTo>
                  <a:lnTo>
                    <a:pt x="9" y="47"/>
                  </a:lnTo>
                  <a:lnTo>
                    <a:pt x="15" y="47"/>
                  </a:lnTo>
                  <a:lnTo>
                    <a:pt x="15" y="51"/>
                  </a:lnTo>
                  <a:lnTo>
                    <a:pt x="26" y="51"/>
                  </a:lnTo>
                  <a:lnTo>
                    <a:pt x="22" y="53"/>
                  </a:lnTo>
                  <a:lnTo>
                    <a:pt x="21" y="53"/>
                  </a:lnTo>
                  <a:lnTo>
                    <a:pt x="17" y="59"/>
                  </a:lnTo>
                  <a:lnTo>
                    <a:pt x="19" y="59"/>
                  </a:lnTo>
                  <a:lnTo>
                    <a:pt x="15" y="62"/>
                  </a:lnTo>
                  <a:lnTo>
                    <a:pt x="9" y="68"/>
                  </a:lnTo>
                  <a:lnTo>
                    <a:pt x="11" y="68"/>
                  </a:lnTo>
                  <a:lnTo>
                    <a:pt x="15" y="64"/>
                  </a:lnTo>
                  <a:lnTo>
                    <a:pt x="17" y="66"/>
                  </a:lnTo>
                  <a:lnTo>
                    <a:pt x="22" y="66"/>
                  </a:lnTo>
                  <a:lnTo>
                    <a:pt x="24" y="64"/>
                  </a:lnTo>
                  <a:lnTo>
                    <a:pt x="24" y="64"/>
                  </a:lnTo>
                  <a:lnTo>
                    <a:pt x="26" y="66"/>
                  </a:lnTo>
                  <a:lnTo>
                    <a:pt x="21" y="68"/>
                  </a:lnTo>
                  <a:lnTo>
                    <a:pt x="15" y="68"/>
                  </a:lnTo>
                  <a:lnTo>
                    <a:pt x="15" y="70"/>
                  </a:lnTo>
                  <a:lnTo>
                    <a:pt x="9" y="72"/>
                  </a:lnTo>
                  <a:lnTo>
                    <a:pt x="9" y="72"/>
                  </a:lnTo>
                  <a:lnTo>
                    <a:pt x="9" y="76"/>
                  </a:lnTo>
                  <a:lnTo>
                    <a:pt x="11" y="76"/>
                  </a:lnTo>
                  <a:lnTo>
                    <a:pt x="9" y="76"/>
                  </a:lnTo>
                  <a:lnTo>
                    <a:pt x="5" y="72"/>
                  </a:lnTo>
                  <a:lnTo>
                    <a:pt x="5" y="76"/>
                  </a:lnTo>
                  <a:lnTo>
                    <a:pt x="2" y="76"/>
                  </a:lnTo>
                  <a:lnTo>
                    <a:pt x="0" y="76"/>
                  </a:lnTo>
                  <a:lnTo>
                    <a:pt x="0" y="78"/>
                  </a:lnTo>
                  <a:lnTo>
                    <a:pt x="9" y="78"/>
                  </a:lnTo>
                  <a:lnTo>
                    <a:pt x="5" y="79"/>
                  </a:lnTo>
                  <a:lnTo>
                    <a:pt x="2" y="81"/>
                  </a:lnTo>
                  <a:lnTo>
                    <a:pt x="2" y="85"/>
                  </a:lnTo>
                  <a:lnTo>
                    <a:pt x="2" y="85"/>
                  </a:lnTo>
                  <a:lnTo>
                    <a:pt x="5" y="87"/>
                  </a:lnTo>
                  <a:lnTo>
                    <a:pt x="15" y="85"/>
                  </a:lnTo>
                  <a:lnTo>
                    <a:pt x="5" y="87"/>
                  </a:lnTo>
                  <a:lnTo>
                    <a:pt x="2" y="91"/>
                  </a:lnTo>
                  <a:lnTo>
                    <a:pt x="9" y="91"/>
                  </a:lnTo>
                  <a:lnTo>
                    <a:pt x="15" y="87"/>
                  </a:lnTo>
                  <a:lnTo>
                    <a:pt x="15" y="91"/>
                  </a:lnTo>
                  <a:lnTo>
                    <a:pt x="9" y="91"/>
                  </a:lnTo>
                  <a:lnTo>
                    <a:pt x="11" y="91"/>
                  </a:lnTo>
                  <a:lnTo>
                    <a:pt x="9" y="95"/>
                  </a:lnTo>
                  <a:lnTo>
                    <a:pt x="15" y="95"/>
                  </a:lnTo>
                  <a:lnTo>
                    <a:pt x="17" y="95"/>
                  </a:lnTo>
                  <a:lnTo>
                    <a:pt x="17" y="95"/>
                  </a:lnTo>
                  <a:lnTo>
                    <a:pt x="17" y="95"/>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23">
              <a:extLst>
                <a:ext uri="{FF2B5EF4-FFF2-40B4-BE49-F238E27FC236}">
                  <a16:creationId xmlns:a16="http://schemas.microsoft.com/office/drawing/2014/main" id="{A8AD7AF5-9B26-CA48-B99B-DCDBB12C6F1A}"/>
                </a:ext>
              </a:extLst>
            </p:cNvPr>
            <p:cNvSpPr>
              <a:spLocks noEditPoints="1"/>
            </p:cNvSpPr>
            <p:nvPr/>
          </p:nvSpPr>
          <p:spPr bwMode="auto">
            <a:xfrm>
              <a:off x="6012635" y="1987291"/>
              <a:ext cx="134827" cy="227802"/>
            </a:xfrm>
            <a:custGeom>
              <a:avLst/>
              <a:gdLst/>
              <a:ahLst/>
              <a:cxnLst>
                <a:cxn ang="0">
                  <a:pos x="10" y="166"/>
                </a:cxn>
                <a:cxn ang="0">
                  <a:pos x="42" y="173"/>
                </a:cxn>
                <a:cxn ang="0">
                  <a:pos x="30" y="190"/>
                </a:cxn>
                <a:cxn ang="0">
                  <a:pos x="115" y="6"/>
                </a:cxn>
                <a:cxn ang="0">
                  <a:pos x="106" y="13"/>
                </a:cxn>
                <a:cxn ang="0">
                  <a:pos x="111" y="11"/>
                </a:cxn>
                <a:cxn ang="0">
                  <a:pos x="111" y="15"/>
                </a:cxn>
                <a:cxn ang="0">
                  <a:pos x="147" y="254"/>
                </a:cxn>
                <a:cxn ang="0">
                  <a:pos x="111" y="281"/>
                </a:cxn>
                <a:cxn ang="0">
                  <a:pos x="47" y="141"/>
                </a:cxn>
                <a:cxn ang="0">
                  <a:pos x="21" y="126"/>
                </a:cxn>
                <a:cxn ang="0">
                  <a:pos x="34" y="115"/>
                </a:cxn>
                <a:cxn ang="0">
                  <a:pos x="28" y="111"/>
                </a:cxn>
                <a:cxn ang="0">
                  <a:pos x="76" y="60"/>
                </a:cxn>
                <a:cxn ang="0">
                  <a:pos x="72" y="64"/>
                </a:cxn>
                <a:cxn ang="0">
                  <a:pos x="25" y="83"/>
                </a:cxn>
                <a:cxn ang="0">
                  <a:pos x="21" y="87"/>
                </a:cxn>
                <a:cxn ang="0">
                  <a:pos x="19" y="96"/>
                </a:cxn>
                <a:cxn ang="0">
                  <a:pos x="19" y="100"/>
                </a:cxn>
                <a:cxn ang="0">
                  <a:pos x="13" y="111"/>
                </a:cxn>
                <a:cxn ang="0">
                  <a:pos x="17" y="109"/>
                </a:cxn>
                <a:cxn ang="0">
                  <a:pos x="30" y="100"/>
                </a:cxn>
                <a:cxn ang="0">
                  <a:pos x="34" y="111"/>
                </a:cxn>
                <a:cxn ang="0">
                  <a:pos x="32" y="130"/>
                </a:cxn>
                <a:cxn ang="0">
                  <a:pos x="34" y="145"/>
                </a:cxn>
                <a:cxn ang="0">
                  <a:pos x="44" y="154"/>
                </a:cxn>
                <a:cxn ang="0">
                  <a:pos x="60" y="205"/>
                </a:cxn>
                <a:cxn ang="0">
                  <a:pos x="55" y="190"/>
                </a:cxn>
                <a:cxn ang="0">
                  <a:pos x="53" y="284"/>
                </a:cxn>
                <a:cxn ang="0">
                  <a:pos x="72" y="282"/>
                </a:cxn>
                <a:cxn ang="0">
                  <a:pos x="108" y="277"/>
                </a:cxn>
                <a:cxn ang="0">
                  <a:pos x="140" y="271"/>
                </a:cxn>
                <a:cxn ang="0">
                  <a:pos x="147" y="258"/>
                </a:cxn>
                <a:cxn ang="0">
                  <a:pos x="145" y="249"/>
                </a:cxn>
                <a:cxn ang="0">
                  <a:pos x="153" y="241"/>
                </a:cxn>
                <a:cxn ang="0">
                  <a:pos x="130" y="220"/>
                </a:cxn>
                <a:cxn ang="0">
                  <a:pos x="119" y="196"/>
                </a:cxn>
                <a:cxn ang="0">
                  <a:pos x="123" y="184"/>
                </a:cxn>
                <a:cxn ang="0">
                  <a:pos x="91" y="141"/>
                </a:cxn>
                <a:cxn ang="0">
                  <a:pos x="77" y="135"/>
                </a:cxn>
                <a:cxn ang="0">
                  <a:pos x="85" y="120"/>
                </a:cxn>
                <a:cxn ang="0">
                  <a:pos x="83" y="94"/>
                </a:cxn>
                <a:cxn ang="0">
                  <a:pos x="64" y="94"/>
                </a:cxn>
                <a:cxn ang="0">
                  <a:pos x="77" y="70"/>
                </a:cxn>
                <a:cxn ang="0">
                  <a:pos x="53" y="71"/>
                </a:cxn>
                <a:cxn ang="0">
                  <a:pos x="47" y="90"/>
                </a:cxn>
                <a:cxn ang="0">
                  <a:pos x="44" y="100"/>
                </a:cxn>
                <a:cxn ang="0">
                  <a:pos x="42" y="105"/>
                </a:cxn>
                <a:cxn ang="0">
                  <a:pos x="36" y="119"/>
                </a:cxn>
                <a:cxn ang="0">
                  <a:pos x="47" y="120"/>
                </a:cxn>
                <a:cxn ang="0">
                  <a:pos x="40" y="149"/>
                </a:cxn>
                <a:cxn ang="0">
                  <a:pos x="44" y="137"/>
                </a:cxn>
                <a:cxn ang="0">
                  <a:pos x="51" y="145"/>
                </a:cxn>
                <a:cxn ang="0">
                  <a:pos x="59" y="173"/>
                </a:cxn>
                <a:cxn ang="0">
                  <a:pos x="74" y="184"/>
                </a:cxn>
                <a:cxn ang="0">
                  <a:pos x="87" y="207"/>
                </a:cxn>
                <a:cxn ang="0">
                  <a:pos x="59" y="218"/>
                </a:cxn>
                <a:cxn ang="0">
                  <a:pos x="60" y="237"/>
                </a:cxn>
                <a:cxn ang="0">
                  <a:pos x="49" y="254"/>
                </a:cxn>
                <a:cxn ang="0">
                  <a:pos x="72" y="258"/>
                </a:cxn>
                <a:cxn ang="0">
                  <a:pos x="74" y="264"/>
                </a:cxn>
                <a:cxn ang="0">
                  <a:pos x="44" y="288"/>
                </a:cxn>
              </a:cxnLst>
              <a:rect l="0" t="0" r="r" b="b"/>
              <a:pathLst>
                <a:path w="158" h="297">
                  <a:moveTo>
                    <a:pt x="30" y="190"/>
                  </a:moveTo>
                  <a:lnTo>
                    <a:pt x="28" y="188"/>
                  </a:lnTo>
                  <a:lnTo>
                    <a:pt x="25" y="188"/>
                  </a:lnTo>
                  <a:lnTo>
                    <a:pt x="21" y="181"/>
                  </a:lnTo>
                  <a:lnTo>
                    <a:pt x="15" y="179"/>
                  </a:lnTo>
                  <a:lnTo>
                    <a:pt x="13" y="181"/>
                  </a:lnTo>
                  <a:lnTo>
                    <a:pt x="12" y="184"/>
                  </a:lnTo>
                  <a:lnTo>
                    <a:pt x="10" y="184"/>
                  </a:lnTo>
                  <a:lnTo>
                    <a:pt x="0" y="179"/>
                  </a:lnTo>
                  <a:lnTo>
                    <a:pt x="6" y="169"/>
                  </a:lnTo>
                  <a:lnTo>
                    <a:pt x="10" y="169"/>
                  </a:lnTo>
                  <a:lnTo>
                    <a:pt x="10" y="166"/>
                  </a:lnTo>
                  <a:lnTo>
                    <a:pt x="13" y="164"/>
                  </a:lnTo>
                  <a:lnTo>
                    <a:pt x="15" y="164"/>
                  </a:lnTo>
                  <a:lnTo>
                    <a:pt x="19" y="164"/>
                  </a:lnTo>
                  <a:lnTo>
                    <a:pt x="19" y="160"/>
                  </a:lnTo>
                  <a:lnTo>
                    <a:pt x="21" y="160"/>
                  </a:lnTo>
                  <a:lnTo>
                    <a:pt x="25" y="160"/>
                  </a:lnTo>
                  <a:lnTo>
                    <a:pt x="30" y="160"/>
                  </a:lnTo>
                  <a:lnTo>
                    <a:pt x="32" y="160"/>
                  </a:lnTo>
                  <a:lnTo>
                    <a:pt x="32" y="164"/>
                  </a:lnTo>
                  <a:lnTo>
                    <a:pt x="38" y="171"/>
                  </a:lnTo>
                  <a:lnTo>
                    <a:pt x="36" y="173"/>
                  </a:lnTo>
                  <a:lnTo>
                    <a:pt x="42" y="173"/>
                  </a:lnTo>
                  <a:lnTo>
                    <a:pt x="42" y="183"/>
                  </a:lnTo>
                  <a:lnTo>
                    <a:pt x="40" y="175"/>
                  </a:lnTo>
                  <a:lnTo>
                    <a:pt x="38" y="175"/>
                  </a:lnTo>
                  <a:lnTo>
                    <a:pt x="40" y="179"/>
                  </a:lnTo>
                  <a:lnTo>
                    <a:pt x="38" y="181"/>
                  </a:lnTo>
                  <a:lnTo>
                    <a:pt x="42" y="183"/>
                  </a:lnTo>
                  <a:lnTo>
                    <a:pt x="40" y="184"/>
                  </a:lnTo>
                  <a:lnTo>
                    <a:pt x="36" y="184"/>
                  </a:lnTo>
                  <a:lnTo>
                    <a:pt x="36" y="184"/>
                  </a:lnTo>
                  <a:lnTo>
                    <a:pt x="32" y="190"/>
                  </a:lnTo>
                  <a:lnTo>
                    <a:pt x="30" y="188"/>
                  </a:lnTo>
                  <a:lnTo>
                    <a:pt x="30" y="190"/>
                  </a:lnTo>
                  <a:lnTo>
                    <a:pt x="30" y="190"/>
                  </a:lnTo>
                  <a:lnTo>
                    <a:pt x="30" y="190"/>
                  </a:lnTo>
                  <a:lnTo>
                    <a:pt x="30" y="190"/>
                  </a:lnTo>
                  <a:lnTo>
                    <a:pt x="30" y="190"/>
                  </a:lnTo>
                  <a:close/>
                  <a:moveTo>
                    <a:pt x="108" y="26"/>
                  </a:moveTo>
                  <a:lnTo>
                    <a:pt x="109" y="24"/>
                  </a:lnTo>
                  <a:lnTo>
                    <a:pt x="109" y="26"/>
                  </a:lnTo>
                  <a:lnTo>
                    <a:pt x="108" y="26"/>
                  </a:lnTo>
                  <a:lnTo>
                    <a:pt x="108" y="26"/>
                  </a:lnTo>
                  <a:lnTo>
                    <a:pt x="108" y="26"/>
                  </a:lnTo>
                  <a:lnTo>
                    <a:pt x="108" y="26"/>
                  </a:lnTo>
                  <a:close/>
                  <a:moveTo>
                    <a:pt x="115" y="6"/>
                  </a:moveTo>
                  <a:lnTo>
                    <a:pt x="111" y="4"/>
                  </a:lnTo>
                  <a:lnTo>
                    <a:pt x="115" y="0"/>
                  </a:lnTo>
                  <a:lnTo>
                    <a:pt x="115" y="6"/>
                  </a:lnTo>
                  <a:lnTo>
                    <a:pt x="115" y="6"/>
                  </a:lnTo>
                  <a:lnTo>
                    <a:pt x="115" y="6"/>
                  </a:lnTo>
                  <a:lnTo>
                    <a:pt x="115" y="6"/>
                  </a:lnTo>
                  <a:close/>
                  <a:moveTo>
                    <a:pt x="106" y="13"/>
                  </a:moveTo>
                  <a:lnTo>
                    <a:pt x="106" y="9"/>
                  </a:lnTo>
                  <a:lnTo>
                    <a:pt x="104" y="9"/>
                  </a:lnTo>
                  <a:lnTo>
                    <a:pt x="104" y="13"/>
                  </a:lnTo>
                  <a:lnTo>
                    <a:pt x="104" y="13"/>
                  </a:lnTo>
                  <a:lnTo>
                    <a:pt x="106" y="13"/>
                  </a:lnTo>
                  <a:lnTo>
                    <a:pt x="106" y="13"/>
                  </a:lnTo>
                  <a:lnTo>
                    <a:pt x="106" y="13"/>
                  </a:lnTo>
                  <a:lnTo>
                    <a:pt x="106" y="13"/>
                  </a:lnTo>
                  <a:close/>
                  <a:moveTo>
                    <a:pt x="111" y="11"/>
                  </a:moveTo>
                  <a:lnTo>
                    <a:pt x="108" y="9"/>
                  </a:lnTo>
                  <a:lnTo>
                    <a:pt x="109" y="7"/>
                  </a:lnTo>
                  <a:lnTo>
                    <a:pt x="109" y="4"/>
                  </a:lnTo>
                  <a:lnTo>
                    <a:pt x="111" y="6"/>
                  </a:lnTo>
                  <a:lnTo>
                    <a:pt x="111" y="9"/>
                  </a:lnTo>
                  <a:lnTo>
                    <a:pt x="111" y="11"/>
                  </a:lnTo>
                  <a:lnTo>
                    <a:pt x="111" y="11"/>
                  </a:lnTo>
                  <a:lnTo>
                    <a:pt x="111" y="11"/>
                  </a:lnTo>
                  <a:lnTo>
                    <a:pt x="111" y="11"/>
                  </a:lnTo>
                  <a:close/>
                  <a:moveTo>
                    <a:pt x="109" y="22"/>
                  </a:moveTo>
                  <a:lnTo>
                    <a:pt x="108" y="21"/>
                  </a:lnTo>
                  <a:lnTo>
                    <a:pt x="102" y="19"/>
                  </a:lnTo>
                  <a:lnTo>
                    <a:pt x="100" y="17"/>
                  </a:lnTo>
                  <a:lnTo>
                    <a:pt x="104" y="17"/>
                  </a:lnTo>
                  <a:lnTo>
                    <a:pt x="108" y="17"/>
                  </a:lnTo>
                  <a:lnTo>
                    <a:pt x="108" y="15"/>
                  </a:lnTo>
                  <a:lnTo>
                    <a:pt x="108" y="13"/>
                  </a:lnTo>
                  <a:lnTo>
                    <a:pt x="108" y="13"/>
                  </a:lnTo>
                  <a:lnTo>
                    <a:pt x="109" y="13"/>
                  </a:lnTo>
                  <a:lnTo>
                    <a:pt x="111" y="15"/>
                  </a:lnTo>
                  <a:lnTo>
                    <a:pt x="111" y="17"/>
                  </a:lnTo>
                  <a:lnTo>
                    <a:pt x="111" y="19"/>
                  </a:lnTo>
                  <a:lnTo>
                    <a:pt x="109" y="21"/>
                  </a:lnTo>
                  <a:lnTo>
                    <a:pt x="111" y="24"/>
                  </a:lnTo>
                  <a:lnTo>
                    <a:pt x="109" y="22"/>
                  </a:lnTo>
                  <a:lnTo>
                    <a:pt x="109" y="22"/>
                  </a:lnTo>
                  <a:lnTo>
                    <a:pt x="109" y="22"/>
                  </a:lnTo>
                  <a:lnTo>
                    <a:pt x="109" y="22"/>
                  </a:lnTo>
                  <a:close/>
                  <a:moveTo>
                    <a:pt x="143" y="258"/>
                  </a:moveTo>
                  <a:lnTo>
                    <a:pt x="145" y="258"/>
                  </a:lnTo>
                  <a:lnTo>
                    <a:pt x="147" y="258"/>
                  </a:lnTo>
                  <a:lnTo>
                    <a:pt x="147" y="254"/>
                  </a:lnTo>
                  <a:lnTo>
                    <a:pt x="145" y="254"/>
                  </a:lnTo>
                  <a:lnTo>
                    <a:pt x="143" y="258"/>
                  </a:lnTo>
                  <a:lnTo>
                    <a:pt x="143" y="258"/>
                  </a:lnTo>
                  <a:lnTo>
                    <a:pt x="143" y="258"/>
                  </a:lnTo>
                  <a:lnTo>
                    <a:pt x="143" y="258"/>
                  </a:lnTo>
                  <a:close/>
                  <a:moveTo>
                    <a:pt x="106" y="277"/>
                  </a:moveTo>
                  <a:lnTo>
                    <a:pt x="111" y="275"/>
                  </a:lnTo>
                  <a:lnTo>
                    <a:pt x="111" y="277"/>
                  </a:lnTo>
                  <a:lnTo>
                    <a:pt x="115" y="277"/>
                  </a:lnTo>
                  <a:lnTo>
                    <a:pt x="115" y="279"/>
                  </a:lnTo>
                  <a:lnTo>
                    <a:pt x="115" y="281"/>
                  </a:lnTo>
                  <a:lnTo>
                    <a:pt x="111" y="281"/>
                  </a:lnTo>
                  <a:lnTo>
                    <a:pt x="109" y="279"/>
                  </a:lnTo>
                  <a:lnTo>
                    <a:pt x="106" y="277"/>
                  </a:lnTo>
                  <a:lnTo>
                    <a:pt x="106" y="277"/>
                  </a:lnTo>
                  <a:lnTo>
                    <a:pt x="106" y="277"/>
                  </a:lnTo>
                  <a:lnTo>
                    <a:pt x="106" y="277"/>
                  </a:lnTo>
                  <a:close/>
                  <a:moveTo>
                    <a:pt x="47" y="141"/>
                  </a:moveTo>
                  <a:lnTo>
                    <a:pt x="47" y="145"/>
                  </a:lnTo>
                  <a:lnTo>
                    <a:pt x="47" y="147"/>
                  </a:lnTo>
                  <a:lnTo>
                    <a:pt x="47" y="143"/>
                  </a:lnTo>
                  <a:lnTo>
                    <a:pt x="47" y="141"/>
                  </a:lnTo>
                  <a:lnTo>
                    <a:pt x="47" y="141"/>
                  </a:lnTo>
                  <a:lnTo>
                    <a:pt x="47" y="141"/>
                  </a:lnTo>
                  <a:lnTo>
                    <a:pt x="47" y="141"/>
                  </a:lnTo>
                  <a:close/>
                  <a:moveTo>
                    <a:pt x="30" y="139"/>
                  </a:moveTo>
                  <a:lnTo>
                    <a:pt x="30" y="135"/>
                  </a:lnTo>
                  <a:lnTo>
                    <a:pt x="32" y="137"/>
                  </a:lnTo>
                  <a:lnTo>
                    <a:pt x="30" y="139"/>
                  </a:lnTo>
                  <a:lnTo>
                    <a:pt x="30" y="139"/>
                  </a:lnTo>
                  <a:lnTo>
                    <a:pt x="30" y="139"/>
                  </a:lnTo>
                  <a:lnTo>
                    <a:pt x="30" y="139"/>
                  </a:lnTo>
                  <a:close/>
                  <a:moveTo>
                    <a:pt x="21" y="126"/>
                  </a:moveTo>
                  <a:lnTo>
                    <a:pt x="21" y="124"/>
                  </a:lnTo>
                  <a:lnTo>
                    <a:pt x="25" y="124"/>
                  </a:lnTo>
                  <a:lnTo>
                    <a:pt x="21" y="126"/>
                  </a:lnTo>
                  <a:lnTo>
                    <a:pt x="21" y="126"/>
                  </a:lnTo>
                  <a:lnTo>
                    <a:pt x="21" y="126"/>
                  </a:lnTo>
                  <a:lnTo>
                    <a:pt x="21" y="126"/>
                  </a:lnTo>
                  <a:close/>
                  <a:moveTo>
                    <a:pt x="25" y="124"/>
                  </a:moveTo>
                  <a:lnTo>
                    <a:pt x="28" y="120"/>
                  </a:lnTo>
                  <a:lnTo>
                    <a:pt x="28" y="120"/>
                  </a:lnTo>
                  <a:lnTo>
                    <a:pt x="25" y="124"/>
                  </a:lnTo>
                  <a:lnTo>
                    <a:pt x="25" y="124"/>
                  </a:lnTo>
                  <a:lnTo>
                    <a:pt x="25" y="124"/>
                  </a:lnTo>
                  <a:lnTo>
                    <a:pt x="25" y="124"/>
                  </a:lnTo>
                  <a:close/>
                  <a:moveTo>
                    <a:pt x="32" y="117"/>
                  </a:moveTo>
                  <a:lnTo>
                    <a:pt x="34" y="115"/>
                  </a:lnTo>
                  <a:lnTo>
                    <a:pt x="32" y="115"/>
                  </a:lnTo>
                  <a:lnTo>
                    <a:pt x="32" y="117"/>
                  </a:lnTo>
                  <a:lnTo>
                    <a:pt x="32" y="117"/>
                  </a:lnTo>
                  <a:lnTo>
                    <a:pt x="32" y="117"/>
                  </a:lnTo>
                  <a:lnTo>
                    <a:pt x="32" y="117"/>
                  </a:lnTo>
                  <a:close/>
                  <a:moveTo>
                    <a:pt x="28" y="111"/>
                  </a:moveTo>
                  <a:lnTo>
                    <a:pt x="30" y="115"/>
                  </a:lnTo>
                  <a:lnTo>
                    <a:pt x="30" y="113"/>
                  </a:lnTo>
                  <a:lnTo>
                    <a:pt x="30" y="111"/>
                  </a:lnTo>
                  <a:lnTo>
                    <a:pt x="28" y="111"/>
                  </a:lnTo>
                  <a:lnTo>
                    <a:pt x="28" y="111"/>
                  </a:lnTo>
                  <a:lnTo>
                    <a:pt x="28" y="111"/>
                  </a:lnTo>
                  <a:lnTo>
                    <a:pt x="28" y="111"/>
                  </a:lnTo>
                  <a:close/>
                  <a:moveTo>
                    <a:pt x="76" y="56"/>
                  </a:moveTo>
                  <a:lnTo>
                    <a:pt x="77" y="56"/>
                  </a:lnTo>
                  <a:lnTo>
                    <a:pt x="77" y="56"/>
                  </a:lnTo>
                  <a:lnTo>
                    <a:pt x="76" y="56"/>
                  </a:lnTo>
                  <a:lnTo>
                    <a:pt x="76" y="56"/>
                  </a:lnTo>
                  <a:lnTo>
                    <a:pt x="76" y="56"/>
                  </a:lnTo>
                  <a:lnTo>
                    <a:pt x="76" y="56"/>
                  </a:lnTo>
                  <a:close/>
                  <a:moveTo>
                    <a:pt x="72" y="56"/>
                  </a:moveTo>
                  <a:lnTo>
                    <a:pt x="74" y="56"/>
                  </a:lnTo>
                  <a:lnTo>
                    <a:pt x="77" y="60"/>
                  </a:lnTo>
                  <a:lnTo>
                    <a:pt x="76" y="60"/>
                  </a:lnTo>
                  <a:lnTo>
                    <a:pt x="79" y="60"/>
                  </a:lnTo>
                  <a:lnTo>
                    <a:pt x="79" y="64"/>
                  </a:lnTo>
                  <a:lnTo>
                    <a:pt x="77" y="64"/>
                  </a:lnTo>
                  <a:lnTo>
                    <a:pt x="74" y="64"/>
                  </a:lnTo>
                  <a:lnTo>
                    <a:pt x="74" y="60"/>
                  </a:lnTo>
                  <a:lnTo>
                    <a:pt x="72" y="64"/>
                  </a:lnTo>
                  <a:lnTo>
                    <a:pt x="72" y="60"/>
                  </a:lnTo>
                  <a:lnTo>
                    <a:pt x="72" y="56"/>
                  </a:lnTo>
                  <a:lnTo>
                    <a:pt x="72" y="56"/>
                  </a:lnTo>
                  <a:lnTo>
                    <a:pt x="72" y="56"/>
                  </a:lnTo>
                  <a:lnTo>
                    <a:pt x="72" y="56"/>
                  </a:lnTo>
                  <a:close/>
                  <a:moveTo>
                    <a:pt x="72" y="64"/>
                  </a:moveTo>
                  <a:lnTo>
                    <a:pt x="74" y="66"/>
                  </a:lnTo>
                  <a:lnTo>
                    <a:pt x="74" y="64"/>
                  </a:lnTo>
                  <a:lnTo>
                    <a:pt x="74" y="64"/>
                  </a:lnTo>
                  <a:lnTo>
                    <a:pt x="72" y="64"/>
                  </a:lnTo>
                  <a:lnTo>
                    <a:pt x="72" y="64"/>
                  </a:lnTo>
                  <a:lnTo>
                    <a:pt x="72" y="64"/>
                  </a:lnTo>
                  <a:lnTo>
                    <a:pt x="72" y="64"/>
                  </a:lnTo>
                  <a:close/>
                  <a:moveTo>
                    <a:pt x="21" y="87"/>
                  </a:moveTo>
                  <a:lnTo>
                    <a:pt x="23" y="85"/>
                  </a:lnTo>
                  <a:lnTo>
                    <a:pt x="21" y="83"/>
                  </a:lnTo>
                  <a:lnTo>
                    <a:pt x="23" y="81"/>
                  </a:lnTo>
                  <a:lnTo>
                    <a:pt x="25" y="83"/>
                  </a:lnTo>
                  <a:lnTo>
                    <a:pt x="25" y="79"/>
                  </a:lnTo>
                  <a:lnTo>
                    <a:pt x="32" y="73"/>
                  </a:lnTo>
                  <a:lnTo>
                    <a:pt x="32" y="77"/>
                  </a:lnTo>
                  <a:lnTo>
                    <a:pt x="30" y="81"/>
                  </a:lnTo>
                  <a:lnTo>
                    <a:pt x="28" y="85"/>
                  </a:lnTo>
                  <a:lnTo>
                    <a:pt x="30" y="85"/>
                  </a:lnTo>
                  <a:lnTo>
                    <a:pt x="28" y="88"/>
                  </a:lnTo>
                  <a:lnTo>
                    <a:pt x="25" y="87"/>
                  </a:lnTo>
                  <a:lnTo>
                    <a:pt x="23" y="88"/>
                  </a:lnTo>
                  <a:lnTo>
                    <a:pt x="21" y="87"/>
                  </a:lnTo>
                  <a:lnTo>
                    <a:pt x="21" y="87"/>
                  </a:lnTo>
                  <a:lnTo>
                    <a:pt x="21" y="87"/>
                  </a:lnTo>
                  <a:lnTo>
                    <a:pt x="21" y="87"/>
                  </a:lnTo>
                  <a:close/>
                  <a:moveTo>
                    <a:pt x="21" y="90"/>
                  </a:moveTo>
                  <a:lnTo>
                    <a:pt x="23" y="94"/>
                  </a:lnTo>
                  <a:lnTo>
                    <a:pt x="25" y="90"/>
                  </a:lnTo>
                  <a:lnTo>
                    <a:pt x="25" y="88"/>
                  </a:lnTo>
                  <a:lnTo>
                    <a:pt x="23" y="90"/>
                  </a:lnTo>
                  <a:lnTo>
                    <a:pt x="21" y="90"/>
                  </a:lnTo>
                  <a:lnTo>
                    <a:pt x="21" y="90"/>
                  </a:lnTo>
                  <a:lnTo>
                    <a:pt x="21" y="90"/>
                  </a:lnTo>
                  <a:lnTo>
                    <a:pt x="21" y="90"/>
                  </a:lnTo>
                  <a:lnTo>
                    <a:pt x="21" y="90"/>
                  </a:lnTo>
                  <a:close/>
                  <a:moveTo>
                    <a:pt x="19" y="96"/>
                  </a:moveTo>
                  <a:lnTo>
                    <a:pt x="15" y="100"/>
                  </a:lnTo>
                  <a:lnTo>
                    <a:pt x="13" y="94"/>
                  </a:lnTo>
                  <a:lnTo>
                    <a:pt x="15" y="94"/>
                  </a:lnTo>
                  <a:lnTo>
                    <a:pt x="19" y="94"/>
                  </a:lnTo>
                  <a:lnTo>
                    <a:pt x="19" y="96"/>
                  </a:lnTo>
                  <a:lnTo>
                    <a:pt x="19" y="96"/>
                  </a:lnTo>
                  <a:lnTo>
                    <a:pt x="19" y="96"/>
                  </a:lnTo>
                  <a:lnTo>
                    <a:pt x="19" y="96"/>
                  </a:lnTo>
                  <a:close/>
                  <a:moveTo>
                    <a:pt x="17" y="102"/>
                  </a:moveTo>
                  <a:lnTo>
                    <a:pt x="15" y="100"/>
                  </a:lnTo>
                  <a:lnTo>
                    <a:pt x="15" y="100"/>
                  </a:lnTo>
                  <a:lnTo>
                    <a:pt x="19" y="100"/>
                  </a:lnTo>
                  <a:lnTo>
                    <a:pt x="17" y="102"/>
                  </a:lnTo>
                  <a:lnTo>
                    <a:pt x="17" y="102"/>
                  </a:lnTo>
                  <a:lnTo>
                    <a:pt x="17" y="102"/>
                  </a:lnTo>
                  <a:lnTo>
                    <a:pt x="17" y="102"/>
                  </a:lnTo>
                  <a:close/>
                  <a:moveTo>
                    <a:pt x="13" y="111"/>
                  </a:moveTo>
                  <a:lnTo>
                    <a:pt x="15" y="113"/>
                  </a:lnTo>
                  <a:lnTo>
                    <a:pt x="12" y="115"/>
                  </a:lnTo>
                  <a:lnTo>
                    <a:pt x="12" y="113"/>
                  </a:lnTo>
                  <a:lnTo>
                    <a:pt x="13" y="111"/>
                  </a:lnTo>
                  <a:lnTo>
                    <a:pt x="13" y="111"/>
                  </a:lnTo>
                  <a:lnTo>
                    <a:pt x="13" y="111"/>
                  </a:lnTo>
                  <a:lnTo>
                    <a:pt x="13" y="111"/>
                  </a:lnTo>
                  <a:close/>
                  <a:moveTo>
                    <a:pt x="17" y="109"/>
                  </a:moveTo>
                  <a:lnTo>
                    <a:pt x="17" y="105"/>
                  </a:lnTo>
                  <a:lnTo>
                    <a:pt x="17" y="103"/>
                  </a:lnTo>
                  <a:lnTo>
                    <a:pt x="17" y="102"/>
                  </a:lnTo>
                  <a:lnTo>
                    <a:pt x="15" y="102"/>
                  </a:lnTo>
                  <a:lnTo>
                    <a:pt x="15" y="103"/>
                  </a:lnTo>
                  <a:lnTo>
                    <a:pt x="13" y="105"/>
                  </a:lnTo>
                  <a:lnTo>
                    <a:pt x="15" y="109"/>
                  </a:lnTo>
                  <a:lnTo>
                    <a:pt x="17" y="109"/>
                  </a:lnTo>
                  <a:lnTo>
                    <a:pt x="17" y="109"/>
                  </a:lnTo>
                  <a:lnTo>
                    <a:pt x="17" y="109"/>
                  </a:lnTo>
                  <a:lnTo>
                    <a:pt x="17" y="109"/>
                  </a:lnTo>
                  <a:close/>
                  <a:moveTo>
                    <a:pt x="34" y="111"/>
                  </a:moveTo>
                  <a:lnTo>
                    <a:pt x="34" y="107"/>
                  </a:lnTo>
                  <a:lnTo>
                    <a:pt x="30" y="107"/>
                  </a:lnTo>
                  <a:lnTo>
                    <a:pt x="28" y="103"/>
                  </a:lnTo>
                  <a:lnTo>
                    <a:pt x="28" y="102"/>
                  </a:lnTo>
                  <a:lnTo>
                    <a:pt x="28" y="102"/>
                  </a:lnTo>
                  <a:lnTo>
                    <a:pt x="28" y="103"/>
                  </a:lnTo>
                  <a:lnTo>
                    <a:pt x="25" y="100"/>
                  </a:lnTo>
                  <a:lnTo>
                    <a:pt x="25" y="100"/>
                  </a:lnTo>
                  <a:lnTo>
                    <a:pt x="25" y="100"/>
                  </a:lnTo>
                  <a:lnTo>
                    <a:pt x="25" y="96"/>
                  </a:lnTo>
                  <a:lnTo>
                    <a:pt x="30" y="100"/>
                  </a:lnTo>
                  <a:lnTo>
                    <a:pt x="28" y="94"/>
                  </a:lnTo>
                  <a:lnTo>
                    <a:pt x="30" y="94"/>
                  </a:lnTo>
                  <a:lnTo>
                    <a:pt x="32" y="100"/>
                  </a:lnTo>
                  <a:lnTo>
                    <a:pt x="32" y="103"/>
                  </a:lnTo>
                  <a:lnTo>
                    <a:pt x="36" y="105"/>
                  </a:lnTo>
                  <a:lnTo>
                    <a:pt x="38" y="105"/>
                  </a:lnTo>
                  <a:lnTo>
                    <a:pt x="40" y="105"/>
                  </a:lnTo>
                  <a:lnTo>
                    <a:pt x="38" y="107"/>
                  </a:lnTo>
                  <a:lnTo>
                    <a:pt x="36" y="111"/>
                  </a:lnTo>
                  <a:lnTo>
                    <a:pt x="34" y="111"/>
                  </a:lnTo>
                  <a:lnTo>
                    <a:pt x="34" y="111"/>
                  </a:lnTo>
                  <a:lnTo>
                    <a:pt x="34" y="111"/>
                  </a:lnTo>
                  <a:lnTo>
                    <a:pt x="34" y="111"/>
                  </a:lnTo>
                  <a:close/>
                  <a:moveTo>
                    <a:pt x="28" y="130"/>
                  </a:moveTo>
                  <a:lnTo>
                    <a:pt x="36" y="130"/>
                  </a:lnTo>
                  <a:lnTo>
                    <a:pt x="36" y="130"/>
                  </a:lnTo>
                  <a:lnTo>
                    <a:pt x="40" y="130"/>
                  </a:lnTo>
                  <a:lnTo>
                    <a:pt x="38" y="124"/>
                  </a:lnTo>
                  <a:lnTo>
                    <a:pt x="36" y="124"/>
                  </a:lnTo>
                  <a:lnTo>
                    <a:pt x="32" y="120"/>
                  </a:lnTo>
                  <a:lnTo>
                    <a:pt x="28" y="124"/>
                  </a:lnTo>
                  <a:lnTo>
                    <a:pt x="34" y="126"/>
                  </a:lnTo>
                  <a:lnTo>
                    <a:pt x="30" y="126"/>
                  </a:lnTo>
                  <a:lnTo>
                    <a:pt x="32" y="130"/>
                  </a:lnTo>
                  <a:lnTo>
                    <a:pt x="28" y="130"/>
                  </a:lnTo>
                  <a:lnTo>
                    <a:pt x="28" y="130"/>
                  </a:lnTo>
                  <a:lnTo>
                    <a:pt x="28" y="130"/>
                  </a:lnTo>
                  <a:lnTo>
                    <a:pt x="28" y="130"/>
                  </a:lnTo>
                  <a:close/>
                  <a:moveTo>
                    <a:pt x="34" y="145"/>
                  </a:moveTo>
                  <a:lnTo>
                    <a:pt x="32" y="141"/>
                  </a:lnTo>
                  <a:lnTo>
                    <a:pt x="40" y="134"/>
                  </a:lnTo>
                  <a:lnTo>
                    <a:pt x="36" y="141"/>
                  </a:lnTo>
                  <a:lnTo>
                    <a:pt x="34" y="145"/>
                  </a:lnTo>
                  <a:lnTo>
                    <a:pt x="34" y="145"/>
                  </a:lnTo>
                  <a:lnTo>
                    <a:pt x="34" y="145"/>
                  </a:lnTo>
                  <a:lnTo>
                    <a:pt x="34" y="145"/>
                  </a:lnTo>
                  <a:close/>
                  <a:moveTo>
                    <a:pt x="28" y="149"/>
                  </a:moveTo>
                  <a:lnTo>
                    <a:pt x="32" y="147"/>
                  </a:lnTo>
                  <a:lnTo>
                    <a:pt x="32" y="141"/>
                  </a:lnTo>
                  <a:lnTo>
                    <a:pt x="28" y="143"/>
                  </a:lnTo>
                  <a:lnTo>
                    <a:pt x="28" y="149"/>
                  </a:lnTo>
                  <a:lnTo>
                    <a:pt x="30" y="145"/>
                  </a:lnTo>
                  <a:lnTo>
                    <a:pt x="28" y="149"/>
                  </a:lnTo>
                  <a:lnTo>
                    <a:pt x="28" y="149"/>
                  </a:lnTo>
                  <a:lnTo>
                    <a:pt x="28" y="149"/>
                  </a:lnTo>
                  <a:lnTo>
                    <a:pt x="28" y="149"/>
                  </a:lnTo>
                  <a:close/>
                  <a:moveTo>
                    <a:pt x="44" y="149"/>
                  </a:moveTo>
                  <a:lnTo>
                    <a:pt x="44" y="154"/>
                  </a:lnTo>
                  <a:lnTo>
                    <a:pt x="47" y="154"/>
                  </a:lnTo>
                  <a:lnTo>
                    <a:pt x="47" y="151"/>
                  </a:lnTo>
                  <a:lnTo>
                    <a:pt x="47" y="147"/>
                  </a:lnTo>
                  <a:lnTo>
                    <a:pt x="44" y="149"/>
                  </a:lnTo>
                  <a:lnTo>
                    <a:pt x="44" y="149"/>
                  </a:lnTo>
                  <a:lnTo>
                    <a:pt x="44" y="149"/>
                  </a:lnTo>
                  <a:lnTo>
                    <a:pt x="44" y="149"/>
                  </a:lnTo>
                  <a:close/>
                  <a:moveTo>
                    <a:pt x="55" y="209"/>
                  </a:moveTo>
                  <a:lnTo>
                    <a:pt x="60" y="213"/>
                  </a:lnTo>
                  <a:lnTo>
                    <a:pt x="64" y="209"/>
                  </a:lnTo>
                  <a:lnTo>
                    <a:pt x="60" y="209"/>
                  </a:lnTo>
                  <a:lnTo>
                    <a:pt x="60" y="205"/>
                  </a:lnTo>
                  <a:lnTo>
                    <a:pt x="55" y="207"/>
                  </a:lnTo>
                  <a:lnTo>
                    <a:pt x="55" y="207"/>
                  </a:lnTo>
                  <a:lnTo>
                    <a:pt x="55" y="209"/>
                  </a:lnTo>
                  <a:lnTo>
                    <a:pt x="55" y="209"/>
                  </a:lnTo>
                  <a:lnTo>
                    <a:pt x="55" y="209"/>
                  </a:lnTo>
                  <a:lnTo>
                    <a:pt x="55" y="209"/>
                  </a:lnTo>
                  <a:close/>
                  <a:moveTo>
                    <a:pt x="51" y="190"/>
                  </a:moveTo>
                  <a:lnTo>
                    <a:pt x="53" y="184"/>
                  </a:lnTo>
                  <a:lnTo>
                    <a:pt x="59" y="181"/>
                  </a:lnTo>
                  <a:lnTo>
                    <a:pt x="59" y="183"/>
                  </a:lnTo>
                  <a:lnTo>
                    <a:pt x="59" y="184"/>
                  </a:lnTo>
                  <a:lnTo>
                    <a:pt x="55" y="190"/>
                  </a:lnTo>
                  <a:lnTo>
                    <a:pt x="51" y="190"/>
                  </a:lnTo>
                  <a:lnTo>
                    <a:pt x="51" y="190"/>
                  </a:lnTo>
                  <a:lnTo>
                    <a:pt x="51" y="190"/>
                  </a:lnTo>
                  <a:lnTo>
                    <a:pt x="51" y="190"/>
                  </a:lnTo>
                  <a:close/>
                  <a:moveTo>
                    <a:pt x="44" y="297"/>
                  </a:moveTo>
                  <a:lnTo>
                    <a:pt x="47" y="294"/>
                  </a:lnTo>
                  <a:lnTo>
                    <a:pt x="47" y="294"/>
                  </a:lnTo>
                  <a:lnTo>
                    <a:pt x="47" y="290"/>
                  </a:lnTo>
                  <a:lnTo>
                    <a:pt x="47" y="290"/>
                  </a:lnTo>
                  <a:lnTo>
                    <a:pt x="49" y="288"/>
                  </a:lnTo>
                  <a:lnTo>
                    <a:pt x="51" y="288"/>
                  </a:lnTo>
                  <a:lnTo>
                    <a:pt x="53" y="284"/>
                  </a:lnTo>
                  <a:lnTo>
                    <a:pt x="57" y="288"/>
                  </a:lnTo>
                  <a:lnTo>
                    <a:pt x="59" y="284"/>
                  </a:lnTo>
                  <a:lnTo>
                    <a:pt x="62" y="284"/>
                  </a:lnTo>
                  <a:lnTo>
                    <a:pt x="62" y="284"/>
                  </a:lnTo>
                  <a:lnTo>
                    <a:pt x="64" y="288"/>
                  </a:lnTo>
                  <a:lnTo>
                    <a:pt x="66" y="288"/>
                  </a:lnTo>
                  <a:lnTo>
                    <a:pt x="68" y="288"/>
                  </a:lnTo>
                  <a:lnTo>
                    <a:pt x="72" y="288"/>
                  </a:lnTo>
                  <a:lnTo>
                    <a:pt x="72" y="288"/>
                  </a:lnTo>
                  <a:lnTo>
                    <a:pt x="72" y="288"/>
                  </a:lnTo>
                  <a:lnTo>
                    <a:pt x="74" y="284"/>
                  </a:lnTo>
                  <a:lnTo>
                    <a:pt x="72" y="282"/>
                  </a:lnTo>
                  <a:lnTo>
                    <a:pt x="76" y="281"/>
                  </a:lnTo>
                  <a:lnTo>
                    <a:pt x="77" y="279"/>
                  </a:lnTo>
                  <a:lnTo>
                    <a:pt x="77" y="279"/>
                  </a:lnTo>
                  <a:lnTo>
                    <a:pt x="85" y="277"/>
                  </a:lnTo>
                  <a:lnTo>
                    <a:pt x="87" y="277"/>
                  </a:lnTo>
                  <a:lnTo>
                    <a:pt x="91" y="281"/>
                  </a:lnTo>
                  <a:lnTo>
                    <a:pt x="92" y="279"/>
                  </a:lnTo>
                  <a:lnTo>
                    <a:pt x="96" y="279"/>
                  </a:lnTo>
                  <a:lnTo>
                    <a:pt x="98" y="281"/>
                  </a:lnTo>
                  <a:lnTo>
                    <a:pt x="100" y="277"/>
                  </a:lnTo>
                  <a:lnTo>
                    <a:pt x="104" y="275"/>
                  </a:lnTo>
                  <a:lnTo>
                    <a:pt x="108" y="277"/>
                  </a:lnTo>
                  <a:lnTo>
                    <a:pt x="111" y="273"/>
                  </a:lnTo>
                  <a:lnTo>
                    <a:pt x="115" y="273"/>
                  </a:lnTo>
                  <a:lnTo>
                    <a:pt x="115" y="273"/>
                  </a:lnTo>
                  <a:lnTo>
                    <a:pt x="115" y="273"/>
                  </a:lnTo>
                  <a:lnTo>
                    <a:pt x="117" y="273"/>
                  </a:lnTo>
                  <a:lnTo>
                    <a:pt x="119" y="275"/>
                  </a:lnTo>
                  <a:lnTo>
                    <a:pt x="123" y="273"/>
                  </a:lnTo>
                  <a:lnTo>
                    <a:pt x="128" y="273"/>
                  </a:lnTo>
                  <a:lnTo>
                    <a:pt x="130" y="273"/>
                  </a:lnTo>
                  <a:lnTo>
                    <a:pt x="136" y="273"/>
                  </a:lnTo>
                  <a:lnTo>
                    <a:pt x="136" y="273"/>
                  </a:lnTo>
                  <a:lnTo>
                    <a:pt x="140" y="271"/>
                  </a:lnTo>
                  <a:lnTo>
                    <a:pt x="141" y="271"/>
                  </a:lnTo>
                  <a:lnTo>
                    <a:pt x="145" y="267"/>
                  </a:lnTo>
                  <a:lnTo>
                    <a:pt x="147" y="267"/>
                  </a:lnTo>
                  <a:lnTo>
                    <a:pt x="149" y="269"/>
                  </a:lnTo>
                  <a:lnTo>
                    <a:pt x="149" y="265"/>
                  </a:lnTo>
                  <a:lnTo>
                    <a:pt x="153" y="264"/>
                  </a:lnTo>
                  <a:lnTo>
                    <a:pt x="155" y="264"/>
                  </a:lnTo>
                  <a:lnTo>
                    <a:pt x="155" y="260"/>
                  </a:lnTo>
                  <a:lnTo>
                    <a:pt x="155" y="258"/>
                  </a:lnTo>
                  <a:lnTo>
                    <a:pt x="155" y="258"/>
                  </a:lnTo>
                  <a:lnTo>
                    <a:pt x="151" y="258"/>
                  </a:lnTo>
                  <a:lnTo>
                    <a:pt x="147" y="258"/>
                  </a:lnTo>
                  <a:lnTo>
                    <a:pt x="145" y="258"/>
                  </a:lnTo>
                  <a:lnTo>
                    <a:pt x="141" y="258"/>
                  </a:lnTo>
                  <a:lnTo>
                    <a:pt x="141" y="258"/>
                  </a:lnTo>
                  <a:lnTo>
                    <a:pt x="141" y="254"/>
                  </a:lnTo>
                  <a:lnTo>
                    <a:pt x="143" y="254"/>
                  </a:lnTo>
                  <a:lnTo>
                    <a:pt x="143" y="254"/>
                  </a:lnTo>
                  <a:lnTo>
                    <a:pt x="140" y="254"/>
                  </a:lnTo>
                  <a:lnTo>
                    <a:pt x="140" y="254"/>
                  </a:lnTo>
                  <a:lnTo>
                    <a:pt x="141" y="252"/>
                  </a:lnTo>
                  <a:lnTo>
                    <a:pt x="143" y="254"/>
                  </a:lnTo>
                  <a:lnTo>
                    <a:pt x="147" y="252"/>
                  </a:lnTo>
                  <a:lnTo>
                    <a:pt x="145" y="249"/>
                  </a:lnTo>
                  <a:lnTo>
                    <a:pt x="143" y="249"/>
                  </a:lnTo>
                  <a:lnTo>
                    <a:pt x="145" y="245"/>
                  </a:lnTo>
                  <a:lnTo>
                    <a:pt x="147" y="245"/>
                  </a:lnTo>
                  <a:lnTo>
                    <a:pt x="149" y="245"/>
                  </a:lnTo>
                  <a:lnTo>
                    <a:pt x="151" y="245"/>
                  </a:lnTo>
                  <a:lnTo>
                    <a:pt x="153" y="243"/>
                  </a:lnTo>
                  <a:lnTo>
                    <a:pt x="151" y="243"/>
                  </a:lnTo>
                  <a:lnTo>
                    <a:pt x="153" y="243"/>
                  </a:lnTo>
                  <a:lnTo>
                    <a:pt x="149" y="241"/>
                  </a:lnTo>
                  <a:lnTo>
                    <a:pt x="151" y="239"/>
                  </a:lnTo>
                  <a:lnTo>
                    <a:pt x="153" y="239"/>
                  </a:lnTo>
                  <a:lnTo>
                    <a:pt x="153" y="241"/>
                  </a:lnTo>
                  <a:lnTo>
                    <a:pt x="155" y="239"/>
                  </a:lnTo>
                  <a:lnTo>
                    <a:pt x="155" y="237"/>
                  </a:lnTo>
                  <a:lnTo>
                    <a:pt x="158" y="233"/>
                  </a:lnTo>
                  <a:lnTo>
                    <a:pt x="158" y="228"/>
                  </a:lnTo>
                  <a:lnTo>
                    <a:pt x="158" y="224"/>
                  </a:lnTo>
                  <a:lnTo>
                    <a:pt x="155" y="220"/>
                  </a:lnTo>
                  <a:lnTo>
                    <a:pt x="151" y="215"/>
                  </a:lnTo>
                  <a:lnTo>
                    <a:pt x="141" y="215"/>
                  </a:lnTo>
                  <a:lnTo>
                    <a:pt x="136" y="215"/>
                  </a:lnTo>
                  <a:lnTo>
                    <a:pt x="136" y="220"/>
                  </a:lnTo>
                  <a:lnTo>
                    <a:pt x="136" y="220"/>
                  </a:lnTo>
                  <a:lnTo>
                    <a:pt x="130" y="220"/>
                  </a:lnTo>
                  <a:lnTo>
                    <a:pt x="128" y="218"/>
                  </a:lnTo>
                  <a:lnTo>
                    <a:pt x="136" y="213"/>
                  </a:lnTo>
                  <a:lnTo>
                    <a:pt x="136" y="209"/>
                  </a:lnTo>
                  <a:lnTo>
                    <a:pt x="130" y="203"/>
                  </a:lnTo>
                  <a:lnTo>
                    <a:pt x="128" y="203"/>
                  </a:lnTo>
                  <a:lnTo>
                    <a:pt x="124" y="200"/>
                  </a:lnTo>
                  <a:lnTo>
                    <a:pt x="123" y="196"/>
                  </a:lnTo>
                  <a:lnTo>
                    <a:pt x="121" y="198"/>
                  </a:lnTo>
                  <a:lnTo>
                    <a:pt x="119" y="198"/>
                  </a:lnTo>
                  <a:lnTo>
                    <a:pt x="117" y="196"/>
                  </a:lnTo>
                  <a:lnTo>
                    <a:pt x="115" y="196"/>
                  </a:lnTo>
                  <a:lnTo>
                    <a:pt x="119" y="196"/>
                  </a:lnTo>
                  <a:lnTo>
                    <a:pt x="121" y="196"/>
                  </a:lnTo>
                  <a:lnTo>
                    <a:pt x="123" y="196"/>
                  </a:lnTo>
                  <a:lnTo>
                    <a:pt x="124" y="196"/>
                  </a:lnTo>
                  <a:lnTo>
                    <a:pt x="126" y="198"/>
                  </a:lnTo>
                  <a:lnTo>
                    <a:pt x="128" y="198"/>
                  </a:lnTo>
                  <a:lnTo>
                    <a:pt x="130" y="198"/>
                  </a:lnTo>
                  <a:lnTo>
                    <a:pt x="124" y="194"/>
                  </a:lnTo>
                  <a:lnTo>
                    <a:pt x="123" y="190"/>
                  </a:lnTo>
                  <a:lnTo>
                    <a:pt x="124" y="188"/>
                  </a:lnTo>
                  <a:lnTo>
                    <a:pt x="126" y="188"/>
                  </a:lnTo>
                  <a:lnTo>
                    <a:pt x="123" y="184"/>
                  </a:lnTo>
                  <a:lnTo>
                    <a:pt x="123" y="184"/>
                  </a:lnTo>
                  <a:lnTo>
                    <a:pt x="121" y="184"/>
                  </a:lnTo>
                  <a:lnTo>
                    <a:pt x="117" y="179"/>
                  </a:lnTo>
                  <a:lnTo>
                    <a:pt x="115" y="175"/>
                  </a:lnTo>
                  <a:lnTo>
                    <a:pt x="108" y="175"/>
                  </a:lnTo>
                  <a:lnTo>
                    <a:pt x="108" y="171"/>
                  </a:lnTo>
                  <a:lnTo>
                    <a:pt x="106" y="171"/>
                  </a:lnTo>
                  <a:lnTo>
                    <a:pt x="104" y="164"/>
                  </a:lnTo>
                  <a:lnTo>
                    <a:pt x="102" y="160"/>
                  </a:lnTo>
                  <a:lnTo>
                    <a:pt x="100" y="151"/>
                  </a:lnTo>
                  <a:lnTo>
                    <a:pt x="98" y="149"/>
                  </a:lnTo>
                  <a:lnTo>
                    <a:pt x="96" y="149"/>
                  </a:lnTo>
                  <a:lnTo>
                    <a:pt x="91" y="141"/>
                  </a:lnTo>
                  <a:lnTo>
                    <a:pt x="91" y="141"/>
                  </a:lnTo>
                  <a:lnTo>
                    <a:pt x="87" y="139"/>
                  </a:lnTo>
                  <a:lnTo>
                    <a:pt x="83" y="137"/>
                  </a:lnTo>
                  <a:lnTo>
                    <a:pt x="81" y="137"/>
                  </a:lnTo>
                  <a:lnTo>
                    <a:pt x="77" y="141"/>
                  </a:lnTo>
                  <a:lnTo>
                    <a:pt x="74" y="139"/>
                  </a:lnTo>
                  <a:lnTo>
                    <a:pt x="72" y="139"/>
                  </a:lnTo>
                  <a:lnTo>
                    <a:pt x="68" y="137"/>
                  </a:lnTo>
                  <a:lnTo>
                    <a:pt x="68" y="135"/>
                  </a:lnTo>
                  <a:lnTo>
                    <a:pt x="68" y="137"/>
                  </a:lnTo>
                  <a:lnTo>
                    <a:pt x="74" y="137"/>
                  </a:lnTo>
                  <a:lnTo>
                    <a:pt x="77" y="135"/>
                  </a:lnTo>
                  <a:lnTo>
                    <a:pt x="77" y="134"/>
                  </a:lnTo>
                  <a:lnTo>
                    <a:pt x="81" y="134"/>
                  </a:lnTo>
                  <a:lnTo>
                    <a:pt x="85" y="134"/>
                  </a:lnTo>
                  <a:lnTo>
                    <a:pt x="81" y="130"/>
                  </a:lnTo>
                  <a:lnTo>
                    <a:pt x="81" y="130"/>
                  </a:lnTo>
                  <a:lnTo>
                    <a:pt x="79" y="126"/>
                  </a:lnTo>
                  <a:lnTo>
                    <a:pt x="76" y="130"/>
                  </a:lnTo>
                  <a:lnTo>
                    <a:pt x="74" y="130"/>
                  </a:lnTo>
                  <a:lnTo>
                    <a:pt x="77" y="124"/>
                  </a:lnTo>
                  <a:lnTo>
                    <a:pt x="83" y="126"/>
                  </a:lnTo>
                  <a:lnTo>
                    <a:pt x="85" y="124"/>
                  </a:lnTo>
                  <a:lnTo>
                    <a:pt x="85" y="120"/>
                  </a:lnTo>
                  <a:lnTo>
                    <a:pt x="87" y="120"/>
                  </a:lnTo>
                  <a:lnTo>
                    <a:pt x="91" y="117"/>
                  </a:lnTo>
                  <a:lnTo>
                    <a:pt x="91" y="115"/>
                  </a:lnTo>
                  <a:lnTo>
                    <a:pt x="91" y="113"/>
                  </a:lnTo>
                  <a:lnTo>
                    <a:pt x="91" y="109"/>
                  </a:lnTo>
                  <a:lnTo>
                    <a:pt x="91" y="107"/>
                  </a:lnTo>
                  <a:lnTo>
                    <a:pt x="92" y="103"/>
                  </a:lnTo>
                  <a:lnTo>
                    <a:pt x="96" y="100"/>
                  </a:lnTo>
                  <a:lnTo>
                    <a:pt x="96" y="100"/>
                  </a:lnTo>
                  <a:lnTo>
                    <a:pt x="91" y="94"/>
                  </a:lnTo>
                  <a:lnTo>
                    <a:pt x="91" y="94"/>
                  </a:lnTo>
                  <a:lnTo>
                    <a:pt x="83" y="94"/>
                  </a:lnTo>
                  <a:lnTo>
                    <a:pt x="79" y="94"/>
                  </a:lnTo>
                  <a:lnTo>
                    <a:pt x="77" y="94"/>
                  </a:lnTo>
                  <a:lnTo>
                    <a:pt x="76" y="94"/>
                  </a:lnTo>
                  <a:lnTo>
                    <a:pt x="72" y="94"/>
                  </a:lnTo>
                  <a:lnTo>
                    <a:pt x="72" y="94"/>
                  </a:lnTo>
                  <a:lnTo>
                    <a:pt x="72" y="94"/>
                  </a:lnTo>
                  <a:lnTo>
                    <a:pt x="68" y="96"/>
                  </a:lnTo>
                  <a:lnTo>
                    <a:pt x="66" y="100"/>
                  </a:lnTo>
                  <a:lnTo>
                    <a:pt x="64" y="100"/>
                  </a:lnTo>
                  <a:lnTo>
                    <a:pt x="62" y="100"/>
                  </a:lnTo>
                  <a:lnTo>
                    <a:pt x="62" y="100"/>
                  </a:lnTo>
                  <a:lnTo>
                    <a:pt x="64" y="94"/>
                  </a:lnTo>
                  <a:lnTo>
                    <a:pt x="68" y="90"/>
                  </a:lnTo>
                  <a:lnTo>
                    <a:pt x="66" y="90"/>
                  </a:lnTo>
                  <a:lnTo>
                    <a:pt x="62" y="90"/>
                  </a:lnTo>
                  <a:lnTo>
                    <a:pt x="64" y="90"/>
                  </a:lnTo>
                  <a:lnTo>
                    <a:pt x="64" y="88"/>
                  </a:lnTo>
                  <a:lnTo>
                    <a:pt x="72" y="83"/>
                  </a:lnTo>
                  <a:lnTo>
                    <a:pt x="74" y="79"/>
                  </a:lnTo>
                  <a:lnTo>
                    <a:pt x="76" y="79"/>
                  </a:lnTo>
                  <a:lnTo>
                    <a:pt x="77" y="75"/>
                  </a:lnTo>
                  <a:lnTo>
                    <a:pt x="76" y="73"/>
                  </a:lnTo>
                  <a:lnTo>
                    <a:pt x="77" y="71"/>
                  </a:lnTo>
                  <a:lnTo>
                    <a:pt x="77" y="70"/>
                  </a:lnTo>
                  <a:lnTo>
                    <a:pt x="74" y="70"/>
                  </a:lnTo>
                  <a:lnTo>
                    <a:pt x="72" y="71"/>
                  </a:lnTo>
                  <a:lnTo>
                    <a:pt x="68" y="70"/>
                  </a:lnTo>
                  <a:lnTo>
                    <a:pt x="66" y="71"/>
                  </a:lnTo>
                  <a:lnTo>
                    <a:pt x="64" y="71"/>
                  </a:lnTo>
                  <a:lnTo>
                    <a:pt x="60" y="73"/>
                  </a:lnTo>
                  <a:lnTo>
                    <a:pt x="59" y="73"/>
                  </a:lnTo>
                  <a:lnTo>
                    <a:pt x="57" y="75"/>
                  </a:lnTo>
                  <a:lnTo>
                    <a:pt x="57" y="73"/>
                  </a:lnTo>
                  <a:lnTo>
                    <a:pt x="57" y="71"/>
                  </a:lnTo>
                  <a:lnTo>
                    <a:pt x="53" y="75"/>
                  </a:lnTo>
                  <a:lnTo>
                    <a:pt x="53" y="71"/>
                  </a:lnTo>
                  <a:lnTo>
                    <a:pt x="49" y="70"/>
                  </a:lnTo>
                  <a:lnTo>
                    <a:pt x="49" y="73"/>
                  </a:lnTo>
                  <a:lnTo>
                    <a:pt x="47" y="73"/>
                  </a:lnTo>
                  <a:lnTo>
                    <a:pt x="47" y="77"/>
                  </a:lnTo>
                  <a:lnTo>
                    <a:pt x="47" y="77"/>
                  </a:lnTo>
                  <a:lnTo>
                    <a:pt x="47" y="79"/>
                  </a:lnTo>
                  <a:lnTo>
                    <a:pt x="44" y="81"/>
                  </a:lnTo>
                  <a:lnTo>
                    <a:pt x="47" y="83"/>
                  </a:lnTo>
                  <a:lnTo>
                    <a:pt x="44" y="87"/>
                  </a:lnTo>
                  <a:lnTo>
                    <a:pt x="44" y="87"/>
                  </a:lnTo>
                  <a:lnTo>
                    <a:pt x="47" y="88"/>
                  </a:lnTo>
                  <a:lnTo>
                    <a:pt x="47" y="90"/>
                  </a:lnTo>
                  <a:lnTo>
                    <a:pt x="44" y="90"/>
                  </a:lnTo>
                  <a:lnTo>
                    <a:pt x="44" y="90"/>
                  </a:lnTo>
                  <a:lnTo>
                    <a:pt x="42" y="88"/>
                  </a:lnTo>
                  <a:lnTo>
                    <a:pt x="42" y="90"/>
                  </a:lnTo>
                  <a:lnTo>
                    <a:pt x="42" y="90"/>
                  </a:lnTo>
                  <a:lnTo>
                    <a:pt x="42" y="94"/>
                  </a:lnTo>
                  <a:lnTo>
                    <a:pt x="40" y="90"/>
                  </a:lnTo>
                  <a:lnTo>
                    <a:pt x="38" y="94"/>
                  </a:lnTo>
                  <a:lnTo>
                    <a:pt x="40" y="94"/>
                  </a:lnTo>
                  <a:lnTo>
                    <a:pt x="38" y="96"/>
                  </a:lnTo>
                  <a:lnTo>
                    <a:pt x="40" y="100"/>
                  </a:lnTo>
                  <a:lnTo>
                    <a:pt x="44" y="100"/>
                  </a:lnTo>
                  <a:lnTo>
                    <a:pt x="40" y="100"/>
                  </a:lnTo>
                  <a:lnTo>
                    <a:pt x="38" y="100"/>
                  </a:lnTo>
                  <a:lnTo>
                    <a:pt x="38" y="102"/>
                  </a:lnTo>
                  <a:lnTo>
                    <a:pt x="38" y="103"/>
                  </a:lnTo>
                  <a:lnTo>
                    <a:pt x="44" y="102"/>
                  </a:lnTo>
                  <a:lnTo>
                    <a:pt x="40" y="103"/>
                  </a:lnTo>
                  <a:lnTo>
                    <a:pt x="40" y="105"/>
                  </a:lnTo>
                  <a:lnTo>
                    <a:pt x="40" y="105"/>
                  </a:lnTo>
                  <a:lnTo>
                    <a:pt x="44" y="103"/>
                  </a:lnTo>
                  <a:lnTo>
                    <a:pt x="44" y="105"/>
                  </a:lnTo>
                  <a:lnTo>
                    <a:pt x="44" y="107"/>
                  </a:lnTo>
                  <a:lnTo>
                    <a:pt x="42" y="105"/>
                  </a:lnTo>
                  <a:lnTo>
                    <a:pt x="42" y="105"/>
                  </a:lnTo>
                  <a:lnTo>
                    <a:pt x="40" y="109"/>
                  </a:lnTo>
                  <a:lnTo>
                    <a:pt x="42" y="109"/>
                  </a:lnTo>
                  <a:lnTo>
                    <a:pt x="40" y="109"/>
                  </a:lnTo>
                  <a:lnTo>
                    <a:pt x="38" y="111"/>
                  </a:lnTo>
                  <a:lnTo>
                    <a:pt x="40" y="113"/>
                  </a:lnTo>
                  <a:lnTo>
                    <a:pt x="42" y="113"/>
                  </a:lnTo>
                  <a:lnTo>
                    <a:pt x="38" y="113"/>
                  </a:lnTo>
                  <a:lnTo>
                    <a:pt x="36" y="115"/>
                  </a:lnTo>
                  <a:lnTo>
                    <a:pt x="38" y="117"/>
                  </a:lnTo>
                  <a:lnTo>
                    <a:pt x="38" y="117"/>
                  </a:lnTo>
                  <a:lnTo>
                    <a:pt x="36" y="119"/>
                  </a:lnTo>
                  <a:lnTo>
                    <a:pt x="32" y="119"/>
                  </a:lnTo>
                  <a:lnTo>
                    <a:pt x="30" y="120"/>
                  </a:lnTo>
                  <a:lnTo>
                    <a:pt x="32" y="120"/>
                  </a:lnTo>
                  <a:lnTo>
                    <a:pt x="36" y="120"/>
                  </a:lnTo>
                  <a:lnTo>
                    <a:pt x="38" y="120"/>
                  </a:lnTo>
                  <a:lnTo>
                    <a:pt x="36" y="120"/>
                  </a:lnTo>
                  <a:lnTo>
                    <a:pt x="34" y="120"/>
                  </a:lnTo>
                  <a:lnTo>
                    <a:pt x="38" y="124"/>
                  </a:lnTo>
                  <a:lnTo>
                    <a:pt x="38" y="124"/>
                  </a:lnTo>
                  <a:lnTo>
                    <a:pt x="40" y="124"/>
                  </a:lnTo>
                  <a:lnTo>
                    <a:pt x="47" y="119"/>
                  </a:lnTo>
                  <a:lnTo>
                    <a:pt x="47" y="120"/>
                  </a:lnTo>
                  <a:lnTo>
                    <a:pt x="47" y="120"/>
                  </a:lnTo>
                  <a:lnTo>
                    <a:pt x="44" y="120"/>
                  </a:lnTo>
                  <a:lnTo>
                    <a:pt x="44" y="124"/>
                  </a:lnTo>
                  <a:lnTo>
                    <a:pt x="44" y="126"/>
                  </a:lnTo>
                  <a:lnTo>
                    <a:pt x="42" y="134"/>
                  </a:lnTo>
                  <a:lnTo>
                    <a:pt x="42" y="134"/>
                  </a:lnTo>
                  <a:lnTo>
                    <a:pt x="40" y="137"/>
                  </a:lnTo>
                  <a:lnTo>
                    <a:pt x="42" y="141"/>
                  </a:lnTo>
                  <a:lnTo>
                    <a:pt x="40" y="143"/>
                  </a:lnTo>
                  <a:lnTo>
                    <a:pt x="40" y="145"/>
                  </a:lnTo>
                  <a:lnTo>
                    <a:pt x="42" y="145"/>
                  </a:lnTo>
                  <a:lnTo>
                    <a:pt x="40" y="149"/>
                  </a:lnTo>
                  <a:lnTo>
                    <a:pt x="40" y="154"/>
                  </a:lnTo>
                  <a:lnTo>
                    <a:pt x="38" y="154"/>
                  </a:lnTo>
                  <a:lnTo>
                    <a:pt x="38" y="154"/>
                  </a:lnTo>
                  <a:lnTo>
                    <a:pt x="42" y="154"/>
                  </a:lnTo>
                  <a:lnTo>
                    <a:pt x="40" y="154"/>
                  </a:lnTo>
                  <a:lnTo>
                    <a:pt x="42" y="151"/>
                  </a:lnTo>
                  <a:lnTo>
                    <a:pt x="42" y="147"/>
                  </a:lnTo>
                  <a:lnTo>
                    <a:pt x="44" y="145"/>
                  </a:lnTo>
                  <a:lnTo>
                    <a:pt x="44" y="137"/>
                  </a:lnTo>
                  <a:lnTo>
                    <a:pt x="44" y="137"/>
                  </a:lnTo>
                  <a:lnTo>
                    <a:pt x="47" y="134"/>
                  </a:lnTo>
                  <a:lnTo>
                    <a:pt x="44" y="137"/>
                  </a:lnTo>
                  <a:lnTo>
                    <a:pt x="44" y="141"/>
                  </a:lnTo>
                  <a:lnTo>
                    <a:pt x="47" y="143"/>
                  </a:lnTo>
                  <a:lnTo>
                    <a:pt x="47" y="139"/>
                  </a:lnTo>
                  <a:lnTo>
                    <a:pt x="47" y="137"/>
                  </a:lnTo>
                  <a:lnTo>
                    <a:pt x="49" y="141"/>
                  </a:lnTo>
                  <a:lnTo>
                    <a:pt x="51" y="137"/>
                  </a:lnTo>
                  <a:lnTo>
                    <a:pt x="51" y="134"/>
                  </a:lnTo>
                  <a:lnTo>
                    <a:pt x="51" y="134"/>
                  </a:lnTo>
                  <a:lnTo>
                    <a:pt x="51" y="137"/>
                  </a:lnTo>
                  <a:lnTo>
                    <a:pt x="55" y="141"/>
                  </a:lnTo>
                  <a:lnTo>
                    <a:pt x="51" y="139"/>
                  </a:lnTo>
                  <a:lnTo>
                    <a:pt x="51" y="145"/>
                  </a:lnTo>
                  <a:lnTo>
                    <a:pt x="51" y="149"/>
                  </a:lnTo>
                  <a:lnTo>
                    <a:pt x="53" y="149"/>
                  </a:lnTo>
                  <a:lnTo>
                    <a:pt x="55" y="151"/>
                  </a:lnTo>
                  <a:lnTo>
                    <a:pt x="51" y="154"/>
                  </a:lnTo>
                  <a:lnTo>
                    <a:pt x="49" y="164"/>
                  </a:lnTo>
                  <a:lnTo>
                    <a:pt x="49" y="166"/>
                  </a:lnTo>
                  <a:lnTo>
                    <a:pt x="47" y="164"/>
                  </a:lnTo>
                  <a:lnTo>
                    <a:pt x="47" y="169"/>
                  </a:lnTo>
                  <a:lnTo>
                    <a:pt x="51" y="173"/>
                  </a:lnTo>
                  <a:lnTo>
                    <a:pt x="49" y="169"/>
                  </a:lnTo>
                  <a:lnTo>
                    <a:pt x="51" y="168"/>
                  </a:lnTo>
                  <a:lnTo>
                    <a:pt x="59" y="173"/>
                  </a:lnTo>
                  <a:lnTo>
                    <a:pt x="59" y="169"/>
                  </a:lnTo>
                  <a:lnTo>
                    <a:pt x="57" y="168"/>
                  </a:lnTo>
                  <a:lnTo>
                    <a:pt x="59" y="166"/>
                  </a:lnTo>
                  <a:lnTo>
                    <a:pt x="62" y="169"/>
                  </a:lnTo>
                  <a:lnTo>
                    <a:pt x="68" y="169"/>
                  </a:lnTo>
                  <a:lnTo>
                    <a:pt x="68" y="168"/>
                  </a:lnTo>
                  <a:lnTo>
                    <a:pt x="68" y="168"/>
                  </a:lnTo>
                  <a:lnTo>
                    <a:pt x="72" y="164"/>
                  </a:lnTo>
                  <a:lnTo>
                    <a:pt x="79" y="166"/>
                  </a:lnTo>
                  <a:lnTo>
                    <a:pt x="74" y="166"/>
                  </a:lnTo>
                  <a:lnTo>
                    <a:pt x="72" y="177"/>
                  </a:lnTo>
                  <a:lnTo>
                    <a:pt x="74" y="184"/>
                  </a:lnTo>
                  <a:lnTo>
                    <a:pt x="76" y="184"/>
                  </a:lnTo>
                  <a:lnTo>
                    <a:pt x="76" y="190"/>
                  </a:lnTo>
                  <a:lnTo>
                    <a:pt x="79" y="184"/>
                  </a:lnTo>
                  <a:lnTo>
                    <a:pt x="83" y="184"/>
                  </a:lnTo>
                  <a:lnTo>
                    <a:pt x="81" y="190"/>
                  </a:lnTo>
                  <a:lnTo>
                    <a:pt x="83" y="190"/>
                  </a:lnTo>
                  <a:lnTo>
                    <a:pt x="79" y="194"/>
                  </a:lnTo>
                  <a:lnTo>
                    <a:pt x="81" y="198"/>
                  </a:lnTo>
                  <a:lnTo>
                    <a:pt x="79" y="203"/>
                  </a:lnTo>
                  <a:lnTo>
                    <a:pt x="81" y="205"/>
                  </a:lnTo>
                  <a:lnTo>
                    <a:pt x="83" y="207"/>
                  </a:lnTo>
                  <a:lnTo>
                    <a:pt x="87" y="207"/>
                  </a:lnTo>
                  <a:lnTo>
                    <a:pt x="85" y="209"/>
                  </a:lnTo>
                  <a:lnTo>
                    <a:pt x="81" y="209"/>
                  </a:lnTo>
                  <a:lnTo>
                    <a:pt x="79" y="205"/>
                  </a:lnTo>
                  <a:lnTo>
                    <a:pt x="77" y="207"/>
                  </a:lnTo>
                  <a:lnTo>
                    <a:pt x="79" y="211"/>
                  </a:lnTo>
                  <a:lnTo>
                    <a:pt x="81" y="211"/>
                  </a:lnTo>
                  <a:lnTo>
                    <a:pt x="77" y="211"/>
                  </a:lnTo>
                  <a:lnTo>
                    <a:pt x="76" y="209"/>
                  </a:lnTo>
                  <a:lnTo>
                    <a:pt x="72" y="211"/>
                  </a:lnTo>
                  <a:lnTo>
                    <a:pt x="68" y="209"/>
                  </a:lnTo>
                  <a:lnTo>
                    <a:pt x="62" y="213"/>
                  </a:lnTo>
                  <a:lnTo>
                    <a:pt x="59" y="218"/>
                  </a:lnTo>
                  <a:lnTo>
                    <a:pt x="55" y="220"/>
                  </a:lnTo>
                  <a:lnTo>
                    <a:pt x="51" y="224"/>
                  </a:lnTo>
                  <a:lnTo>
                    <a:pt x="55" y="220"/>
                  </a:lnTo>
                  <a:lnTo>
                    <a:pt x="57" y="224"/>
                  </a:lnTo>
                  <a:lnTo>
                    <a:pt x="57" y="220"/>
                  </a:lnTo>
                  <a:lnTo>
                    <a:pt x="64" y="220"/>
                  </a:lnTo>
                  <a:lnTo>
                    <a:pt x="62" y="224"/>
                  </a:lnTo>
                  <a:lnTo>
                    <a:pt x="66" y="224"/>
                  </a:lnTo>
                  <a:lnTo>
                    <a:pt x="62" y="228"/>
                  </a:lnTo>
                  <a:lnTo>
                    <a:pt x="64" y="228"/>
                  </a:lnTo>
                  <a:lnTo>
                    <a:pt x="66" y="230"/>
                  </a:lnTo>
                  <a:lnTo>
                    <a:pt x="60" y="237"/>
                  </a:lnTo>
                  <a:lnTo>
                    <a:pt x="59" y="237"/>
                  </a:lnTo>
                  <a:lnTo>
                    <a:pt x="55" y="241"/>
                  </a:lnTo>
                  <a:lnTo>
                    <a:pt x="53" y="241"/>
                  </a:lnTo>
                  <a:lnTo>
                    <a:pt x="49" y="243"/>
                  </a:lnTo>
                  <a:lnTo>
                    <a:pt x="47" y="243"/>
                  </a:lnTo>
                  <a:lnTo>
                    <a:pt x="44" y="245"/>
                  </a:lnTo>
                  <a:lnTo>
                    <a:pt x="47" y="245"/>
                  </a:lnTo>
                  <a:lnTo>
                    <a:pt x="47" y="249"/>
                  </a:lnTo>
                  <a:lnTo>
                    <a:pt x="44" y="250"/>
                  </a:lnTo>
                  <a:lnTo>
                    <a:pt x="47" y="252"/>
                  </a:lnTo>
                  <a:lnTo>
                    <a:pt x="47" y="252"/>
                  </a:lnTo>
                  <a:lnTo>
                    <a:pt x="49" y="254"/>
                  </a:lnTo>
                  <a:lnTo>
                    <a:pt x="51" y="252"/>
                  </a:lnTo>
                  <a:lnTo>
                    <a:pt x="55" y="250"/>
                  </a:lnTo>
                  <a:lnTo>
                    <a:pt x="60" y="249"/>
                  </a:lnTo>
                  <a:lnTo>
                    <a:pt x="60" y="252"/>
                  </a:lnTo>
                  <a:lnTo>
                    <a:pt x="64" y="252"/>
                  </a:lnTo>
                  <a:lnTo>
                    <a:pt x="60" y="254"/>
                  </a:lnTo>
                  <a:lnTo>
                    <a:pt x="60" y="254"/>
                  </a:lnTo>
                  <a:lnTo>
                    <a:pt x="66" y="254"/>
                  </a:lnTo>
                  <a:lnTo>
                    <a:pt x="66" y="254"/>
                  </a:lnTo>
                  <a:lnTo>
                    <a:pt x="68" y="254"/>
                  </a:lnTo>
                  <a:lnTo>
                    <a:pt x="72" y="254"/>
                  </a:lnTo>
                  <a:lnTo>
                    <a:pt x="72" y="258"/>
                  </a:lnTo>
                  <a:lnTo>
                    <a:pt x="79" y="258"/>
                  </a:lnTo>
                  <a:lnTo>
                    <a:pt x="79" y="258"/>
                  </a:lnTo>
                  <a:lnTo>
                    <a:pt x="83" y="254"/>
                  </a:lnTo>
                  <a:lnTo>
                    <a:pt x="87" y="254"/>
                  </a:lnTo>
                  <a:lnTo>
                    <a:pt x="87" y="252"/>
                  </a:lnTo>
                  <a:lnTo>
                    <a:pt x="91" y="250"/>
                  </a:lnTo>
                  <a:lnTo>
                    <a:pt x="87" y="254"/>
                  </a:lnTo>
                  <a:lnTo>
                    <a:pt x="83" y="258"/>
                  </a:lnTo>
                  <a:lnTo>
                    <a:pt x="83" y="264"/>
                  </a:lnTo>
                  <a:lnTo>
                    <a:pt x="79" y="264"/>
                  </a:lnTo>
                  <a:lnTo>
                    <a:pt x="77" y="265"/>
                  </a:lnTo>
                  <a:lnTo>
                    <a:pt x="74" y="264"/>
                  </a:lnTo>
                  <a:lnTo>
                    <a:pt x="68" y="264"/>
                  </a:lnTo>
                  <a:lnTo>
                    <a:pt x="62" y="264"/>
                  </a:lnTo>
                  <a:lnTo>
                    <a:pt x="62" y="267"/>
                  </a:lnTo>
                  <a:lnTo>
                    <a:pt x="59" y="269"/>
                  </a:lnTo>
                  <a:lnTo>
                    <a:pt x="57" y="269"/>
                  </a:lnTo>
                  <a:lnTo>
                    <a:pt x="55" y="277"/>
                  </a:lnTo>
                  <a:lnTo>
                    <a:pt x="53" y="279"/>
                  </a:lnTo>
                  <a:lnTo>
                    <a:pt x="51" y="281"/>
                  </a:lnTo>
                  <a:lnTo>
                    <a:pt x="47" y="282"/>
                  </a:lnTo>
                  <a:lnTo>
                    <a:pt x="47" y="284"/>
                  </a:lnTo>
                  <a:lnTo>
                    <a:pt x="47" y="284"/>
                  </a:lnTo>
                  <a:lnTo>
                    <a:pt x="44" y="288"/>
                  </a:lnTo>
                  <a:lnTo>
                    <a:pt x="42" y="288"/>
                  </a:lnTo>
                  <a:lnTo>
                    <a:pt x="40" y="288"/>
                  </a:lnTo>
                  <a:lnTo>
                    <a:pt x="36" y="290"/>
                  </a:lnTo>
                  <a:lnTo>
                    <a:pt x="36" y="294"/>
                  </a:lnTo>
                  <a:lnTo>
                    <a:pt x="40" y="294"/>
                  </a:lnTo>
                  <a:lnTo>
                    <a:pt x="40" y="294"/>
                  </a:lnTo>
                  <a:lnTo>
                    <a:pt x="44" y="294"/>
                  </a:lnTo>
                  <a:lnTo>
                    <a:pt x="44" y="297"/>
                  </a:lnTo>
                  <a:lnTo>
                    <a:pt x="44" y="297"/>
                  </a:lnTo>
                  <a:lnTo>
                    <a:pt x="44" y="297"/>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24">
              <a:extLst>
                <a:ext uri="{FF2B5EF4-FFF2-40B4-BE49-F238E27FC236}">
                  <a16:creationId xmlns:a16="http://schemas.microsoft.com/office/drawing/2014/main" id="{E240F4F8-11EA-5C4C-B7C9-9A59BC3DE34C}"/>
                </a:ext>
              </a:extLst>
            </p:cNvPr>
            <p:cNvSpPr>
              <a:spLocks noEditPoints="1"/>
            </p:cNvSpPr>
            <p:nvPr/>
          </p:nvSpPr>
          <p:spPr bwMode="auto">
            <a:xfrm>
              <a:off x="6057864" y="2190549"/>
              <a:ext cx="207361" cy="171044"/>
            </a:xfrm>
            <a:custGeom>
              <a:avLst/>
              <a:gdLst/>
              <a:ahLst/>
              <a:cxnLst>
                <a:cxn ang="0">
                  <a:pos x="190" y="110"/>
                </a:cxn>
                <a:cxn ang="0">
                  <a:pos x="175" y="115"/>
                </a:cxn>
                <a:cxn ang="0">
                  <a:pos x="181" y="104"/>
                </a:cxn>
                <a:cxn ang="0">
                  <a:pos x="194" y="85"/>
                </a:cxn>
                <a:cxn ang="0">
                  <a:pos x="203" y="83"/>
                </a:cxn>
                <a:cxn ang="0">
                  <a:pos x="203" y="63"/>
                </a:cxn>
                <a:cxn ang="0">
                  <a:pos x="209" y="46"/>
                </a:cxn>
                <a:cxn ang="0">
                  <a:pos x="194" y="44"/>
                </a:cxn>
                <a:cxn ang="0">
                  <a:pos x="181" y="38"/>
                </a:cxn>
                <a:cxn ang="0">
                  <a:pos x="164" y="34"/>
                </a:cxn>
                <a:cxn ang="0">
                  <a:pos x="151" y="25"/>
                </a:cxn>
                <a:cxn ang="0">
                  <a:pos x="139" y="17"/>
                </a:cxn>
                <a:cxn ang="0">
                  <a:pos x="128" y="2"/>
                </a:cxn>
                <a:cxn ang="0">
                  <a:pos x="109" y="6"/>
                </a:cxn>
                <a:cxn ang="0">
                  <a:pos x="103" y="27"/>
                </a:cxn>
                <a:cxn ang="0">
                  <a:pos x="83" y="34"/>
                </a:cxn>
                <a:cxn ang="0">
                  <a:pos x="70" y="42"/>
                </a:cxn>
                <a:cxn ang="0">
                  <a:pos x="60" y="34"/>
                </a:cxn>
                <a:cxn ang="0">
                  <a:pos x="51" y="38"/>
                </a:cxn>
                <a:cxn ang="0">
                  <a:pos x="55" y="51"/>
                </a:cxn>
                <a:cxn ang="0">
                  <a:pos x="45" y="57"/>
                </a:cxn>
                <a:cxn ang="0">
                  <a:pos x="26" y="51"/>
                </a:cxn>
                <a:cxn ang="0">
                  <a:pos x="15" y="57"/>
                </a:cxn>
                <a:cxn ang="0">
                  <a:pos x="2" y="63"/>
                </a:cxn>
                <a:cxn ang="0">
                  <a:pos x="2" y="66"/>
                </a:cxn>
                <a:cxn ang="0">
                  <a:pos x="6" y="70"/>
                </a:cxn>
                <a:cxn ang="0">
                  <a:pos x="9" y="78"/>
                </a:cxn>
                <a:cxn ang="0">
                  <a:pos x="24" y="81"/>
                </a:cxn>
                <a:cxn ang="0">
                  <a:pos x="34" y="83"/>
                </a:cxn>
                <a:cxn ang="0">
                  <a:pos x="39" y="91"/>
                </a:cxn>
                <a:cxn ang="0">
                  <a:pos x="49" y="91"/>
                </a:cxn>
                <a:cxn ang="0">
                  <a:pos x="45" y="100"/>
                </a:cxn>
                <a:cxn ang="0">
                  <a:pos x="60" y="112"/>
                </a:cxn>
                <a:cxn ang="0">
                  <a:pos x="60" y="125"/>
                </a:cxn>
                <a:cxn ang="0">
                  <a:pos x="66" y="132"/>
                </a:cxn>
                <a:cxn ang="0">
                  <a:pos x="64" y="149"/>
                </a:cxn>
                <a:cxn ang="0">
                  <a:pos x="56" y="178"/>
                </a:cxn>
                <a:cxn ang="0">
                  <a:pos x="64" y="187"/>
                </a:cxn>
                <a:cxn ang="0">
                  <a:pos x="88" y="194"/>
                </a:cxn>
                <a:cxn ang="0">
                  <a:pos x="109" y="194"/>
                </a:cxn>
                <a:cxn ang="0">
                  <a:pos x="134" y="198"/>
                </a:cxn>
                <a:cxn ang="0">
                  <a:pos x="143" y="174"/>
                </a:cxn>
                <a:cxn ang="0">
                  <a:pos x="160" y="178"/>
                </a:cxn>
                <a:cxn ang="0">
                  <a:pos x="188" y="185"/>
                </a:cxn>
                <a:cxn ang="0">
                  <a:pos x="205" y="170"/>
                </a:cxn>
                <a:cxn ang="0">
                  <a:pos x="194" y="145"/>
                </a:cxn>
                <a:cxn ang="0">
                  <a:pos x="194" y="127"/>
                </a:cxn>
                <a:cxn ang="0">
                  <a:pos x="198" y="121"/>
                </a:cxn>
                <a:cxn ang="0">
                  <a:pos x="230" y="217"/>
                </a:cxn>
                <a:cxn ang="0">
                  <a:pos x="228" y="211"/>
                </a:cxn>
                <a:cxn ang="0">
                  <a:pos x="224" y="202"/>
                </a:cxn>
                <a:cxn ang="0">
                  <a:pos x="233" y="194"/>
                </a:cxn>
                <a:cxn ang="0">
                  <a:pos x="237" y="187"/>
                </a:cxn>
                <a:cxn ang="0">
                  <a:pos x="243" y="202"/>
                </a:cxn>
                <a:cxn ang="0">
                  <a:pos x="235" y="223"/>
                </a:cxn>
              </a:cxnLst>
              <a:rect l="0" t="0" r="r" b="b"/>
              <a:pathLst>
                <a:path w="243" h="223">
                  <a:moveTo>
                    <a:pt x="198" y="121"/>
                  </a:moveTo>
                  <a:lnTo>
                    <a:pt x="198" y="117"/>
                  </a:lnTo>
                  <a:lnTo>
                    <a:pt x="194" y="115"/>
                  </a:lnTo>
                  <a:lnTo>
                    <a:pt x="194" y="112"/>
                  </a:lnTo>
                  <a:lnTo>
                    <a:pt x="190" y="110"/>
                  </a:lnTo>
                  <a:lnTo>
                    <a:pt x="184" y="108"/>
                  </a:lnTo>
                  <a:lnTo>
                    <a:pt x="183" y="112"/>
                  </a:lnTo>
                  <a:lnTo>
                    <a:pt x="184" y="115"/>
                  </a:lnTo>
                  <a:lnTo>
                    <a:pt x="179" y="115"/>
                  </a:lnTo>
                  <a:lnTo>
                    <a:pt x="175" y="115"/>
                  </a:lnTo>
                  <a:lnTo>
                    <a:pt x="175" y="112"/>
                  </a:lnTo>
                  <a:lnTo>
                    <a:pt x="177" y="112"/>
                  </a:lnTo>
                  <a:lnTo>
                    <a:pt x="179" y="112"/>
                  </a:lnTo>
                  <a:lnTo>
                    <a:pt x="179" y="110"/>
                  </a:lnTo>
                  <a:lnTo>
                    <a:pt x="181" y="104"/>
                  </a:lnTo>
                  <a:lnTo>
                    <a:pt x="186" y="97"/>
                  </a:lnTo>
                  <a:lnTo>
                    <a:pt x="188" y="97"/>
                  </a:lnTo>
                  <a:lnTo>
                    <a:pt x="190" y="91"/>
                  </a:lnTo>
                  <a:lnTo>
                    <a:pt x="194" y="87"/>
                  </a:lnTo>
                  <a:lnTo>
                    <a:pt x="194" y="85"/>
                  </a:lnTo>
                  <a:lnTo>
                    <a:pt x="190" y="83"/>
                  </a:lnTo>
                  <a:lnTo>
                    <a:pt x="194" y="81"/>
                  </a:lnTo>
                  <a:lnTo>
                    <a:pt x="198" y="80"/>
                  </a:lnTo>
                  <a:lnTo>
                    <a:pt x="199" y="83"/>
                  </a:lnTo>
                  <a:lnTo>
                    <a:pt x="203" y="83"/>
                  </a:lnTo>
                  <a:lnTo>
                    <a:pt x="207" y="81"/>
                  </a:lnTo>
                  <a:lnTo>
                    <a:pt x="205" y="78"/>
                  </a:lnTo>
                  <a:lnTo>
                    <a:pt x="203" y="76"/>
                  </a:lnTo>
                  <a:lnTo>
                    <a:pt x="203" y="70"/>
                  </a:lnTo>
                  <a:lnTo>
                    <a:pt x="203" y="63"/>
                  </a:lnTo>
                  <a:lnTo>
                    <a:pt x="207" y="63"/>
                  </a:lnTo>
                  <a:lnTo>
                    <a:pt x="207" y="59"/>
                  </a:lnTo>
                  <a:lnTo>
                    <a:pt x="209" y="53"/>
                  </a:lnTo>
                  <a:lnTo>
                    <a:pt x="213" y="49"/>
                  </a:lnTo>
                  <a:lnTo>
                    <a:pt x="209" y="46"/>
                  </a:lnTo>
                  <a:lnTo>
                    <a:pt x="205" y="46"/>
                  </a:lnTo>
                  <a:lnTo>
                    <a:pt x="203" y="44"/>
                  </a:lnTo>
                  <a:lnTo>
                    <a:pt x="199" y="46"/>
                  </a:lnTo>
                  <a:lnTo>
                    <a:pt x="194" y="44"/>
                  </a:lnTo>
                  <a:lnTo>
                    <a:pt x="194" y="44"/>
                  </a:lnTo>
                  <a:lnTo>
                    <a:pt x="190" y="46"/>
                  </a:lnTo>
                  <a:lnTo>
                    <a:pt x="186" y="42"/>
                  </a:lnTo>
                  <a:lnTo>
                    <a:pt x="186" y="42"/>
                  </a:lnTo>
                  <a:lnTo>
                    <a:pt x="183" y="38"/>
                  </a:lnTo>
                  <a:lnTo>
                    <a:pt x="181" y="38"/>
                  </a:lnTo>
                  <a:lnTo>
                    <a:pt x="175" y="38"/>
                  </a:lnTo>
                  <a:lnTo>
                    <a:pt x="173" y="34"/>
                  </a:lnTo>
                  <a:lnTo>
                    <a:pt x="169" y="34"/>
                  </a:lnTo>
                  <a:lnTo>
                    <a:pt x="169" y="36"/>
                  </a:lnTo>
                  <a:lnTo>
                    <a:pt x="164" y="34"/>
                  </a:lnTo>
                  <a:lnTo>
                    <a:pt x="160" y="34"/>
                  </a:lnTo>
                  <a:lnTo>
                    <a:pt x="158" y="29"/>
                  </a:lnTo>
                  <a:lnTo>
                    <a:pt x="154" y="27"/>
                  </a:lnTo>
                  <a:lnTo>
                    <a:pt x="154" y="25"/>
                  </a:lnTo>
                  <a:lnTo>
                    <a:pt x="151" y="25"/>
                  </a:lnTo>
                  <a:lnTo>
                    <a:pt x="149" y="27"/>
                  </a:lnTo>
                  <a:lnTo>
                    <a:pt x="145" y="25"/>
                  </a:lnTo>
                  <a:lnTo>
                    <a:pt x="145" y="19"/>
                  </a:lnTo>
                  <a:lnTo>
                    <a:pt x="141" y="17"/>
                  </a:lnTo>
                  <a:lnTo>
                    <a:pt x="139" y="17"/>
                  </a:lnTo>
                  <a:lnTo>
                    <a:pt x="137" y="17"/>
                  </a:lnTo>
                  <a:lnTo>
                    <a:pt x="134" y="14"/>
                  </a:lnTo>
                  <a:lnTo>
                    <a:pt x="130" y="10"/>
                  </a:lnTo>
                  <a:lnTo>
                    <a:pt x="128" y="8"/>
                  </a:lnTo>
                  <a:lnTo>
                    <a:pt x="128" y="2"/>
                  </a:lnTo>
                  <a:lnTo>
                    <a:pt x="124" y="0"/>
                  </a:lnTo>
                  <a:lnTo>
                    <a:pt x="124" y="0"/>
                  </a:lnTo>
                  <a:lnTo>
                    <a:pt x="117" y="4"/>
                  </a:lnTo>
                  <a:lnTo>
                    <a:pt x="115" y="2"/>
                  </a:lnTo>
                  <a:lnTo>
                    <a:pt x="109" y="6"/>
                  </a:lnTo>
                  <a:lnTo>
                    <a:pt x="109" y="10"/>
                  </a:lnTo>
                  <a:lnTo>
                    <a:pt x="109" y="14"/>
                  </a:lnTo>
                  <a:lnTo>
                    <a:pt x="109" y="19"/>
                  </a:lnTo>
                  <a:lnTo>
                    <a:pt x="103" y="25"/>
                  </a:lnTo>
                  <a:lnTo>
                    <a:pt x="103" y="27"/>
                  </a:lnTo>
                  <a:lnTo>
                    <a:pt x="96" y="29"/>
                  </a:lnTo>
                  <a:lnTo>
                    <a:pt x="96" y="29"/>
                  </a:lnTo>
                  <a:lnTo>
                    <a:pt x="90" y="29"/>
                  </a:lnTo>
                  <a:lnTo>
                    <a:pt x="85" y="32"/>
                  </a:lnTo>
                  <a:lnTo>
                    <a:pt x="83" y="34"/>
                  </a:lnTo>
                  <a:lnTo>
                    <a:pt x="83" y="38"/>
                  </a:lnTo>
                  <a:lnTo>
                    <a:pt x="87" y="38"/>
                  </a:lnTo>
                  <a:lnTo>
                    <a:pt x="83" y="42"/>
                  </a:lnTo>
                  <a:lnTo>
                    <a:pt x="77" y="42"/>
                  </a:lnTo>
                  <a:lnTo>
                    <a:pt x="70" y="42"/>
                  </a:lnTo>
                  <a:lnTo>
                    <a:pt x="66" y="38"/>
                  </a:lnTo>
                  <a:lnTo>
                    <a:pt x="64" y="42"/>
                  </a:lnTo>
                  <a:lnTo>
                    <a:pt x="64" y="38"/>
                  </a:lnTo>
                  <a:lnTo>
                    <a:pt x="60" y="38"/>
                  </a:lnTo>
                  <a:lnTo>
                    <a:pt x="60" y="34"/>
                  </a:lnTo>
                  <a:lnTo>
                    <a:pt x="58" y="32"/>
                  </a:lnTo>
                  <a:lnTo>
                    <a:pt x="56" y="34"/>
                  </a:lnTo>
                  <a:lnTo>
                    <a:pt x="51" y="34"/>
                  </a:lnTo>
                  <a:lnTo>
                    <a:pt x="49" y="32"/>
                  </a:lnTo>
                  <a:lnTo>
                    <a:pt x="51" y="38"/>
                  </a:lnTo>
                  <a:lnTo>
                    <a:pt x="49" y="38"/>
                  </a:lnTo>
                  <a:lnTo>
                    <a:pt x="56" y="44"/>
                  </a:lnTo>
                  <a:lnTo>
                    <a:pt x="55" y="46"/>
                  </a:lnTo>
                  <a:lnTo>
                    <a:pt x="56" y="49"/>
                  </a:lnTo>
                  <a:lnTo>
                    <a:pt x="55" y="51"/>
                  </a:lnTo>
                  <a:lnTo>
                    <a:pt x="56" y="55"/>
                  </a:lnTo>
                  <a:lnTo>
                    <a:pt x="58" y="57"/>
                  </a:lnTo>
                  <a:lnTo>
                    <a:pt x="51" y="57"/>
                  </a:lnTo>
                  <a:lnTo>
                    <a:pt x="47" y="57"/>
                  </a:lnTo>
                  <a:lnTo>
                    <a:pt x="45" y="57"/>
                  </a:lnTo>
                  <a:lnTo>
                    <a:pt x="41" y="59"/>
                  </a:lnTo>
                  <a:lnTo>
                    <a:pt x="39" y="57"/>
                  </a:lnTo>
                  <a:lnTo>
                    <a:pt x="36" y="61"/>
                  </a:lnTo>
                  <a:lnTo>
                    <a:pt x="30" y="53"/>
                  </a:lnTo>
                  <a:lnTo>
                    <a:pt x="26" y="51"/>
                  </a:lnTo>
                  <a:lnTo>
                    <a:pt x="24" y="53"/>
                  </a:lnTo>
                  <a:lnTo>
                    <a:pt x="21" y="57"/>
                  </a:lnTo>
                  <a:lnTo>
                    <a:pt x="19" y="55"/>
                  </a:lnTo>
                  <a:lnTo>
                    <a:pt x="17" y="57"/>
                  </a:lnTo>
                  <a:lnTo>
                    <a:pt x="15" y="57"/>
                  </a:lnTo>
                  <a:lnTo>
                    <a:pt x="11" y="57"/>
                  </a:lnTo>
                  <a:lnTo>
                    <a:pt x="9" y="59"/>
                  </a:lnTo>
                  <a:lnTo>
                    <a:pt x="2" y="59"/>
                  </a:lnTo>
                  <a:lnTo>
                    <a:pt x="0" y="63"/>
                  </a:lnTo>
                  <a:lnTo>
                    <a:pt x="2" y="63"/>
                  </a:lnTo>
                  <a:lnTo>
                    <a:pt x="4" y="63"/>
                  </a:lnTo>
                  <a:lnTo>
                    <a:pt x="9" y="63"/>
                  </a:lnTo>
                  <a:lnTo>
                    <a:pt x="9" y="66"/>
                  </a:lnTo>
                  <a:lnTo>
                    <a:pt x="6" y="66"/>
                  </a:lnTo>
                  <a:lnTo>
                    <a:pt x="2" y="66"/>
                  </a:lnTo>
                  <a:lnTo>
                    <a:pt x="4" y="68"/>
                  </a:lnTo>
                  <a:lnTo>
                    <a:pt x="6" y="66"/>
                  </a:lnTo>
                  <a:lnTo>
                    <a:pt x="9" y="66"/>
                  </a:lnTo>
                  <a:lnTo>
                    <a:pt x="9" y="68"/>
                  </a:lnTo>
                  <a:lnTo>
                    <a:pt x="6" y="70"/>
                  </a:lnTo>
                  <a:lnTo>
                    <a:pt x="2" y="70"/>
                  </a:lnTo>
                  <a:lnTo>
                    <a:pt x="2" y="72"/>
                  </a:lnTo>
                  <a:lnTo>
                    <a:pt x="6" y="72"/>
                  </a:lnTo>
                  <a:lnTo>
                    <a:pt x="9" y="76"/>
                  </a:lnTo>
                  <a:lnTo>
                    <a:pt x="9" y="78"/>
                  </a:lnTo>
                  <a:lnTo>
                    <a:pt x="11" y="76"/>
                  </a:lnTo>
                  <a:lnTo>
                    <a:pt x="13" y="76"/>
                  </a:lnTo>
                  <a:lnTo>
                    <a:pt x="17" y="76"/>
                  </a:lnTo>
                  <a:lnTo>
                    <a:pt x="23" y="78"/>
                  </a:lnTo>
                  <a:lnTo>
                    <a:pt x="24" y="81"/>
                  </a:lnTo>
                  <a:lnTo>
                    <a:pt x="26" y="81"/>
                  </a:lnTo>
                  <a:lnTo>
                    <a:pt x="30" y="83"/>
                  </a:lnTo>
                  <a:lnTo>
                    <a:pt x="34" y="81"/>
                  </a:lnTo>
                  <a:lnTo>
                    <a:pt x="34" y="81"/>
                  </a:lnTo>
                  <a:lnTo>
                    <a:pt x="34" y="83"/>
                  </a:lnTo>
                  <a:lnTo>
                    <a:pt x="34" y="85"/>
                  </a:lnTo>
                  <a:lnTo>
                    <a:pt x="39" y="83"/>
                  </a:lnTo>
                  <a:lnTo>
                    <a:pt x="39" y="85"/>
                  </a:lnTo>
                  <a:lnTo>
                    <a:pt x="39" y="87"/>
                  </a:lnTo>
                  <a:lnTo>
                    <a:pt x="39" y="91"/>
                  </a:lnTo>
                  <a:lnTo>
                    <a:pt x="41" y="91"/>
                  </a:lnTo>
                  <a:lnTo>
                    <a:pt x="45" y="87"/>
                  </a:lnTo>
                  <a:lnTo>
                    <a:pt x="51" y="87"/>
                  </a:lnTo>
                  <a:lnTo>
                    <a:pt x="53" y="91"/>
                  </a:lnTo>
                  <a:lnTo>
                    <a:pt x="49" y="91"/>
                  </a:lnTo>
                  <a:lnTo>
                    <a:pt x="45" y="91"/>
                  </a:lnTo>
                  <a:lnTo>
                    <a:pt x="43" y="93"/>
                  </a:lnTo>
                  <a:lnTo>
                    <a:pt x="45" y="93"/>
                  </a:lnTo>
                  <a:lnTo>
                    <a:pt x="47" y="97"/>
                  </a:lnTo>
                  <a:lnTo>
                    <a:pt x="45" y="100"/>
                  </a:lnTo>
                  <a:lnTo>
                    <a:pt x="45" y="104"/>
                  </a:lnTo>
                  <a:lnTo>
                    <a:pt x="49" y="104"/>
                  </a:lnTo>
                  <a:lnTo>
                    <a:pt x="53" y="110"/>
                  </a:lnTo>
                  <a:lnTo>
                    <a:pt x="58" y="110"/>
                  </a:lnTo>
                  <a:lnTo>
                    <a:pt x="60" y="112"/>
                  </a:lnTo>
                  <a:lnTo>
                    <a:pt x="60" y="115"/>
                  </a:lnTo>
                  <a:lnTo>
                    <a:pt x="64" y="117"/>
                  </a:lnTo>
                  <a:lnTo>
                    <a:pt x="60" y="121"/>
                  </a:lnTo>
                  <a:lnTo>
                    <a:pt x="60" y="121"/>
                  </a:lnTo>
                  <a:lnTo>
                    <a:pt x="60" y="125"/>
                  </a:lnTo>
                  <a:lnTo>
                    <a:pt x="64" y="127"/>
                  </a:lnTo>
                  <a:lnTo>
                    <a:pt x="70" y="130"/>
                  </a:lnTo>
                  <a:lnTo>
                    <a:pt x="73" y="142"/>
                  </a:lnTo>
                  <a:lnTo>
                    <a:pt x="70" y="136"/>
                  </a:lnTo>
                  <a:lnTo>
                    <a:pt x="66" y="132"/>
                  </a:lnTo>
                  <a:lnTo>
                    <a:pt x="64" y="130"/>
                  </a:lnTo>
                  <a:lnTo>
                    <a:pt x="60" y="132"/>
                  </a:lnTo>
                  <a:lnTo>
                    <a:pt x="60" y="142"/>
                  </a:lnTo>
                  <a:lnTo>
                    <a:pt x="60" y="149"/>
                  </a:lnTo>
                  <a:lnTo>
                    <a:pt x="64" y="149"/>
                  </a:lnTo>
                  <a:lnTo>
                    <a:pt x="60" y="151"/>
                  </a:lnTo>
                  <a:lnTo>
                    <a:pt x="60" y="164"/>
                  </a:lnTo>
                  <a:lnTo>
                    <a:pt x="56" y="174"/>
                  </a:lnTo>
                  <a:lnTo>
                    <a:pt x="53" y="176"/>
                  </a:lnTo>
                  <a:lnTo>
                    <a:pt x="56" y="178"/>
                  </a:lnTo>
                  <a:lnTo>
                    <a:pt x="56" y="179"/>
                  </a:lnTo>
                  <a:lnTo>
                    <a:pt x="58" y="179"/>
                  </a:lnTo>
                  <a:lnTo>
                    <a:pt x="58" y="183"/>
                  </a:lnTo>
                  <a:lnTo>
                    <a:pt x="58" y="187"/>
                  </a:lnTo>
                  <a:lnTo>
                    <a:pt x="64" y="187"/>
                  </a:lnTo>
                  <a:lnTo>
                    <a:pt x="70" y="189"/>
                  </a:lnTo>
                  <a:lnTo>
                    <a:pt x="73" y="193"/>
                  </a:lnTo>
                  <a:lnTo>
                    <a:pt x="79" y="191"/>
                  </a:lnTo>
                  <a:lnTo>
                    <a:pt x="83" y="194"/>
                  </a:lnTo>
                  <a:lnTo>
                    <a:pt x="88" y="194"/>
                  </a:lnTo>
                  <a:lnTo>
                    <a:pt x="90" y="198"/>
                  </a:lnTo>
                  <a:lnTo>
                    <a:pt x="94" y="194"/>
                  </a:lnTo>
                  <a:lnTo>
                    <a:pt x="103" y="193"/>
                  </a:lnTo>
                  <a:lnTo>
                    <a:pt x="105" y="194"/>
                  </a:lnTo>
                  <a:lnTo>
                    <a:pt x="109" y="194"/>
                  </a:lnTo>
                  <a:lnTo>
                    <a:pt x="115" y="198"/>
                  </a:lnTo>
                  <a:lnTo>
                    <a:pt x="124" y="194"/>
                  </a:lnTo>
                  <a:lnTo>
                    <a:pt x="130" y="198"/>
                  </a:lnTo>
                  <a:lnTo>
                    <a:pt x="134" y="200"/>
                  </a:lnTo>
                  <a:lnTo>
                    <a:pt x="134" y="198"/>
                  </a:lnTo>
                  <a:lnTo>
                    <a:pt x="130" y="194"/>
                  </a:lnTo>
                  <a:lnTo>
                    <a:pt x="134" y="187"/>
                  </a:lnTo>
                  <a:lnTo>
                    <a:pt x="134" y="185"/>
                  </a:lnTo>
                  <a:lnTo>
                    <a:pt x="137" y="179"/>
                  </a:lnTo>
                  <a:lnTo>
                    <a:pt x="143" y="174"/>
                  </a:lnTo>
                  <a:lnTo>
                    <a:pt x="145" y="174"/>
                  </a:lnTo>
                  <a:lnTo>
                    <a:pt x="149" y="174"/>
                  </a:lnTo>
                  <a:lnTo>
                    <a:pt x="152" y="176"/>
                  </a:lnTo>
                  <a:lnTo>
                    <a:pt x="158" y="178"/>
                  </a:lnTo>
                  <a:lnTo>
                    <a:pt x="160" y="178"/>
                  </a:lnTo>
                  <a:lnTo>
                    <a:pt x="164" y="176"/>
                  </a:lnTo>
                  <a:lnTo>
                    <a:pt x="164" y="176"/>
                  </a:lnTo>
                  <a:lnTo>
                    <a:pt x="177" y="183"/>
                  </a:lnTo>
                  <a:lnTo>
                    <a:pt x="179" y="185"/>
                  </a:lnTo>
                  <a:lnTo>
                    <a:pt x="188" y="185"/>
                  </a:lnTo>
                  <a:lnTo>
                    <a:pt x="190" y="183"/>
                  </a:lnTo>
                  <a:lnTo>
                    <a:pt x="190" y="181"/>
                  </a:lnTo>
                  <a:lnTo>
                    <a:pt x="194" y="176"/>
                  </a:lnTo>
                  <a:lnTo>
                    <a:pt x="205" y="170"/>
                  </a:lnTo>
                  <a:lnTo>
                    <a:pt x="205" y="170"/>
                  </a:lnTo>
                  <a:lnTo>
                    <a:pt x="205" y="164"/>
                  </a:lnTo>
                  <a:lnTo>
                    <a:pt x="207" y="159"/>
                  </a:lnTo>
                  <a:lnTo>
                    <a:pt x="203" y="159"/>
                  </a:lnTo>
                  <a:lnTo>
                    <a:pt x="198" y="155"/>
                  </a:lnTo>
                  <a:lnTo>
                    <a:pt x="194" y="145"/>
                  </a:lnTo>
                  <a:lnTo>
                    <a:pt x="190" y="142"/>
                  </a:lnTo>
                  <a:lnTo>
                    <a:pt x="194" y="136"/>
                  </a:lnTo>
                  <a:lnTo>
                    <a:pt x="198" y="136"/>
                  </a:lnTo>
                  <a:lnTo>
                    <a:pt x="199" y="130"/>
                  </a:lnTo>
                  <a:lnTo>
                    <a:pt x="194" y="127"/>
                  </a:lnTo>
                  <a:lnTo>
                    <a:pt x="194" y="125"/>
                  </a:lnTo>
                  <a:lnTo>
                    <a:pt x="198" y="121"/>
                  </a:lnTo>
                  <a:lnTo>
                    <a:pt x="198" y="121"/>
                  </a:lnTo>
                  <a:lnTo>
                    <a:pt x="198" y="121"/>
                  </a:lnTo>
                  <a:lnTo>
                    <a:pt x="198" y="121"/>
                  </a:lnTo>
                  <a:lnTo>
                    <a:pt x="198" y="121"/>
                  </a:lnTo>
                  <a:close/>
                  <a:moveTo>
                    <a:pt x="235" y="223"/>
                  </a:moveTo>
                  <a:lnTo>
                    <a:pt x="230" y="219"/>
                  </a:lnTo>
                  <a:lnTo>
                    <a:pt x="230" y="219"/>
                  </a:lnTo>
                  <a:lnTo>
                    <a:pt x="230" y="217"/>
                  </a:lnTo>
                  <a:lnTo>
                    <a:pt x="233" y="217"/>
                  </a:lnTo>
                  <a:lnTo>
                    <a:pt x="230" y="215"/>
                  </a:lnTo>
                  <a:lnTo>
                    <a:pt x="230" y="215"/>
                  </a:lnTo>
                  <a:lnTo>
                    <a:pt x="230" y="213"/>
                  </a:lnTo>
                  <a:lnTo>
                    <a:pt x="228" y="211"/>
                  </a:lnTo>
                  <a:lnTo>
                    <a:pt x="224" y="210"/>
                  </a:lnTo>
                  <a:lnTo>
                    <a:pt x="228" y="208"/>
                  </a:lnTo>
                  <a:lnTo>
                    <a:pt x="228" y="208"/>
                  </a:lnTo>
                  <a:lnTo>
                    <a:pt x="224" y="206"/>
                  </a:lnTo>
                  <a:lnTo>
                    <a:pt x="224" y="202"/>
                  </a:lnTo>
                  <a:lnTo>
                    <a:pt x="224" y="202"/>
                  </a:lnTo>
                  <a:lnTo>
                    <a:pt x="228" y="200"/>
                  </a:lnTo>
                  <a:lnTo>
                    <a:pt x="224" y="198"/>
                  </a:lnTo>
                  <a:lnTo>
                    <a:pt x="228" y="194"/>
                  </a:lnTo>
                  <a:lnTo>
                    <a:pt x="233" y="194"/>
                  </a:lnTo>
                  <a:lnTo>
                    <a:pt x="233" y="191"/>
                  </a:lnTo>
                  <a:lnTo>
                    <a:pt x="237" y="194"/>
                  </a:lnTo>
                  <a:lnTo>
                    <a:pt x="239" y="194"/>
                  </a:lnTo>
                  <a:lnTo>
                    <a:pt x="239" y="191"/>
                  </a:lnTo>
                  <a:lnTo>
                    <a:pt x="237" y="187"/>
                  </a:lnTo>
                  <a:lnTo>
                    <a:pt x="239" y="185"/>
                  </a:lnTo>
                  <a:lnTo>
                    <a:pt x="243" y="185"/>
                  </a:lnTo>
                  <a:lnTo>
                    <a:pt x="243" y="191"/>
                  </a:lnTo>
                  <a:lnTo>
                    <a:pt x="243" y="194"/>
                  </a:lnTo>
                  <a:lnTo>
                    <a:pt x="243" y="202"/>
                  </a:lnTo>
                  <a:lnTo>
                    <a:pt x="243" y="210"/>
                  </a:lnTo>
                  <a:lnTo>
                    <a:pt x="243" y="215"/>
                  </a:lnTo>
                  <a:lnTo>
                    <a:pt x="239" y="219"/>
                  </a:lnTo>
                  <a:lnTo>
                    <a:pt x="235" y="223"/>
                  </a:lnTo>
                  <a:lnTo>
                    <a:pt x="235" y="223"/>
                  </a:lnTo>
                  <a:lnTo>
                    <a:pt x="235" y="223"/>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25">
              <a:extLst>
                <a:ext uri="{FF2B5EF4-FFF2-40B4-BE49-F238E27FC236}">
                  <a16:creationId xmlns:a16="http://schemas.microsoft.com/office/drawing/2014/main" id="{3A855A7E-8B57-A847-ADB6-31D3B82CA679}"/>
                </a:ext>
              </a:extLst>
            </p:cNvPr>
            <p:cNvSpPr>
              <a:spLocks noEditPoints="1"/>
            </p:cNvSpPr>
            <p:nvPr/>
          </p:nvSpPr>
          <p:spPr bwMode="auto">
            <a:xfrm>
              <a:off x="6219997" y="2260347"/>
              <a:ext cx="180054" cy="181782"/>
            </a:xfrm>
            <a:custGeom>
              <a:avLst/>
              <a:gdLst/>
              <a:ahLst/>
              <a:cxnLst>
                <a:cxn ang="0">
                  <a:pos x="8" y="62"/>
                </a:cxn>
                <a:cxn ang="0">
                  <a:pos x="8" y="38"/>
                </a:cxn>
                <a:cxn ang="0">
                  <a:pos x="17" y="24"/>
                </a:cxn>
                <a:cxn ang="0">
                  <a:pos x="38" y="24"/>
                </a:cxn>
                <a:cxn ang="0">
                  <a:pos x="57" y="17"/>
                </a:cxn>
                <a:cxn ang="0">
                  <a:pos x="68" y="2"/>
                </a:cxn>
                <a:cxn ang="0">
                  <a:pos x="94" y="4"/>
                </a:cxn>
                <a:cxn ang="0">
                  <a:pos x="119" y="19"/>
                </a:cxn>
                <a:cxn ang="0">
                  <a:pos x="113" y="32"/>
                </a:cxn>
                <a:cxn ang="0">
                  <a:pos x="96" y="41"/>
                </a:cxn>
                <a:cxn ang="0">
                  <a:pos x="98" y="58"/>
                </a:cxn>
                <a:cxn ang="0">
                  <a:pos x="117" y="77"/>
                </a:cxn>
                <a:cxn ang="0">
                  <a:pos x="132" y="102"/>
                </a:cxn>
                <a:cxn ang="0">
                  <a:pos x="151" y="115"/>
                </a:cxn>
                <a:cxn ang="0">
                  <a:pos x="169" y="119"/>
                </a:cxn>
                <a:cxn ang="0">
                  <a:pos x="169" y="130"/>
                </a:cxn>
                <a:cxn ang="0">
                  <a:pos x="205" y="149"/>
                </a:cxn>
                <a:cxn ang="0">
                  <a:pos x="211" y="162"/>
                </a:cxn>
                <a:cxn ang="0">
                  <a:pos x="201" y="158"/>
                </a:cxn>
                <a:cxn ang="0">
                  <a:pos x="188" y="151"/>
                </a:cxn>
                <a:cxn ang="0">
                  <a:pos x="181" y="160"/>
                </a:cxn>
                <a:cxn ang="0">
                  <a:pos x="181" y="169"/>
                </a:cxn>
                <a:cxn ang="0">
                  <a:pos x="186" y="186"/>
                </a:cxn>
                <a:cxn ang="0">
                  <a:pos x="175" y="207"/>
                </a:cxn>
                <a:cxn ang="0">
                  <a:pos x="164" y="201"/>
                </a:cxn>
                <a:cxn ang="0">
                  <a:pos x="169" y="192"/>
                </a:cxn>
                <a:cxn ang="0">
                  <a:pos x="169" y="175"/>
                </a:cxn>
                <a:cxn ang="0">
                  <a:pos x="160" y="162"/>
                </a:cxn>
                <a:cxn ang="0">
                  <a:pos x="151" y="152"/>
                </a:cxn>
                <a:cxn ang="0">
                  <a:pos x="141" y="143"/>
                </a:cxn>
                <a:cxn ang="0">
                  <a:pos x="126" y="135"/>
                </a:cxn>
                <a:cxn ang="0">
                  <a:pos x="113" y="130"/>
                </a:cxn>
                <a:cxn ang="0">
                  <a:pos x="92" y="111"/>
                </a:cxn>
                <a:cxn ang="0">
                  <a:pos x="73" y="92"/>
                </a:cxn>
                <a:cxn ang="0">
                  <a:pos x="62" y="75"/>
                </a:cxn>
                <a:cxn ang="0">
                  <a:pos x="51" y="64"/>
                </a:cxn>
                <a:cxn ang="0">
                  <a:pos x="15" y="75"/>
                </a:cxn>
                <a:cxn ang="0">
                  <a:pos x="32" y="137"/>
                </a:cxn>
                <a:cxn ang="0">
                  <a:pos x="28" y="135"/>
                </a:cxn>
                <a:cxn ang="0">
                  <a:pos x="77" y="107"/>
                </a:cxn>
                <a:cxn ang="0">
                  <a:pos x="77" y="107"/>
                </a:cxn>
                <a:cxn ang="0">
                  <a:pos x="66" y="98"/>
                </a:cxn>
                <a:cxn ang="0">
                  <a:pos x="62" y="98"/>
                </a:cxn>
                <a:cxn ang="0">
                  <a:pos x="40" y="186"/>
                </a:cxn>
                <a:cxn ang="0">
                  <a:pos x="51" y="181"/>
                </a:cxn>
                <a:cxn ang="0">
                  <a:pos x="57" y="169"/>
                </a:cxn>
                <a:cxn ang="0">
                  <a:pos x="57" y="147"/>
                </a:cxn>
                <a:cxn ang="0">
                  <a:pos x="45" y="135"/>
                </a:cxn>
                <a:cxn ang="0">
                  <a:pos x="28" y="143"/>
                </a:cxn>
                <a:cxn ang="0">
                  <a:pos x="34" y="160"/>
                </a:cxn>
                <a:cxn ang="0">
                  <a:pos x="34" y="168"/>
                </a:cxn>
                <a:cxn ang="0">
                  <a:pos x="40" y="186"/>
                </a:cxn>
                <a:cxn ang="0">
                  <a:pos x="158" y="230"/>
                </a:cxn>
                <a:cxn ang="0">
                  <a:pos x="162" y="205"/>
                </a:cxn>
                <a:cxn ang="0">
                  <a:pos x="145" y="207"/>
                </a:cxn>
                <a:cxn ang="0">
                  <a:pos x="117" y="205"/>
                </a:cxn>
                <a:cxn ang="0">
                  <a:pos x="113" y="218"/>
                </a:cxn>
                <a:cxn ang="0">
                  <a:pos x="139" y="230"/>
                </a:cxn>
                <a:cxn ang="0">
                  <a:pos x="156" y="237"/>
                </a:cxn>
              </a:cxnLst>
              <a:rect l="0" t="0" r="r" b="b"/>
              <a:pathLst>
                <a:path w="211" h="237">
                  <a:moveTo>
                    <a:pt x="15" y="75"/>
                  </a:moveTo>
                  <a:lnTo>
                    <a:pt x="15" y="71"/>
                  </a:lnTo>
                  <a:lnTo>
                    <a:pt x="17" y="66"/>
                  </a:lnTo>
                  <a:lnTo>
                    <a:pt x="11" y="66"/>
                  </a:lnTo>
                  <a:lnTo>
                    <a:pt x="8" y="62"/>
                  </a:lnTo>
                  <a:lnTo>
                    <a:pt x="4" y="51"/>
                  </a:lnTo>
                  <a:lnTo>
                    <a:pt x="0" y="47"/>
                  </a:lnTo>
                  <a:lnTo>
                    <a:pt x="4" y="43"/>
                  </a:lnTo>
                  <a:lnTo>
                    <a:pt x="8" y="43"/>
                  </a:lnTo>
                  <a:lnTo>
                    <a:pt x="8" y="38"/>
                  </a:lnTo>
                  <a:lnTo>
                    <a:pt x="4" y="34"/>
                  </a:lnTo>
                  <a:lnTo>
                    <a:pt x="4" y="30"/>
                  </a:lnTo>
                  <a:lnTo>
                    <a:pt x="8" y="28"/>
                  </a:lnTo>
                  <a:lnTo>
                    <a:pt x="9" y="30"/>
                  </a:lnTo>
                  <a:lnTo>
                    <a:pt x="17" y="24"/>
                  </a:lnTo>
                  <a:lnTo>
                    <a:pt x="23" y="26"/>
                  </a:lnTo>
                  <a:lnTo>
                    <a:pt x="28" y="13"/>
                  </a:lnTo>
                  <a:lnTo>
                    <a:pt x="32" y="17"/>
                  </a:lnTo>
                  <a:lnTo>
                    <a:pt x="32" y="21"/>
                  </a:lnTo>
                  <a:lnTo>
                    <a:pt x="38" y="24"/>
                  </a:lnTo>
                  <a:lnTo>
                    <a:pt x="40" y="28"/>
                  </a:lnTo>
                  <a:lnTo>
                    <a:pt x="43" y="21"/>
                  </a:lnTo>
                  <a:lnTo>
                    <a:pt x="43" y="17"/>
                  </a:lnTo>
                  <a:lnTo>
                    <a:pt x="53" y="19"/>
                  </a:lnTo>
                  <a:lnTo>
                    <a:pt x="57" y="17"/>
                  </a:lnTo>
                  <a:lnTo>
                    <a:pt x="58" y="21"/>
                  </a:lnTo>
                  <a:lnTo>
                    <a:pt x="58" y="13"/>
                  </a:lnTo>
                  <a:lnTo>
                    <a:pt x="66" y="11"/>
                  </a:lnTo>
                  <a:lnTo>
                    <a:pt x="64" y="7"/>
                  </a:lnTo>
                  <a:lnTo>
                    <a:pt x="68" y="2"/>
                  </a:lnTo>
                  <a:lnTo>
                    <a:pt x="75" y="6"/>
                  </a:lnTo>
                  <a:lnTo>
                    <a:pt x="83" y="0"/>
                  </a:lnTo>
                  <a:lnTo>
                    <a:pt x="89" y="0"/>
                  </a:lnTo>
                  <a:lnTo>
                    <a:pt x="94" y="0"/>
                  </a:lnTo>
                  <a:lnTo>
                    <a:pt x="94" y="4"/>
                  </a:lnTo>
                  <a:lnTo>
                    <a:pt x="104" y="7"/>
                  </a:lnTo>
                  <a:lnTo>
                    <a:pt x="113" y="11"/>
                  </a:lnTo>
                  <a:lnTo>
                    <a:pt x="122" y="11"/>
                  </a:lnTo>
                  <a:lnTo>
                    <a:pt x="122" y="11"/>
                  </a:lnTo>
                  <a:lnTo>
                    <a:pt x="119" y="19"/>
                  </a:lnTo>
                  <a:lnTo>
                    <a:pt x="119" y="21"/>
                  </a:lnTo>
                  <a:lnTo>
                    <a:pt x="117" y="26"/>
                  </a:lnTo>
                  <a:lnTo>
                    <a:pt x="119" y="32"/>
                  </a:lnTo>
                  <a:lnTo>
                    <a:pt x="113" y="32"/>
                  </a:lnTo>
                  <a:lnTo>
                    <a:pt x="113" y="32"/>
                  </a:lnTo>
                  <a:lnTo>
                    <a:pt x="109" y="36"/>
                  </a:lnTo>
                  <a:lnTo>
                    <a:pt x="105" y="36"/>
                  </a:lnTo>
                  <a:lnTo>
                    <a:pt x="102" y="38"/>
                  </a:lnTo>
                  <a:lnTo>
                    <a:pt x="98" y="38"/>
                  </a:lnTo>
                  <a:lnTo>
                    <a:pt x="96" y="41"/>
                  </a:lnTo>
                  <a:lnTo>
                    <a:pt x="98" y="47"/>
                  </a:lnTo>
                  <a:lnTo>
                    <a:pt x="100" y="49"/>
                  </a:lnTo>
                  <a:lnTo>
                    <a:pt x="98" y="53"/>
                  </a:lnTo>
                  <a:lnTo>
                    <a:pt x="96" y="54"/>
                  </a:lnTo>
                  <a:lnTo>
                    <a:pt x="98" y="58"/>
                  </a:lnTo>
                  <a:lnTo>
                    <a:pt x="98" y="64"/>
                  </a:lnTo>
                  <a:lnTo>
                    <a:pt x="100" y="68"/>
                  </a:lnTo>
                  <a:lnTo>
                    <a:pt x="109" y="71"/>
                  </a:lnTo>
                  <a:lnTo>
                    <a:pt x="113" y="73"/>
                  </a:lnTo>
                  <a:lnTo>
                    <a:pt x="117" y="77"/>
                  </a:lnTo>
                  <a:lnTo>
                    <a:pt x="128" y="88"/>
                  </a:lnTo>
                  <a:lnTo>
                    <a:pt x="128" y="92"/>
                  </a:lnTo>
                  <a:lnTo>
                    <a:pt x="130" y="92"/>
                  </a:lnTo>
                  <a:lnTo>
                    <a:pt x="130" y="98"/>
                  </a:lnTo>
                  <a:lnTo>
                    <a:pt x="132" y="102"/>
                  </a:lnTo>
                  <a:lnTo>
                    <a:pt x="136" y="105"/>
                  </a:lnTo>
                  <a:lnTo>
                    <a:pt x="137" y="107"/>
                  </a:lnTo>
                  <a:lnTo>
                    <a:pt x="145" y="113"/>
                  </a:lnTo>
                  <a:lnTo>
                    <a:pt x="147" y="115"/>
                  </a:lnTo>
                  <a:lnTo>
                    <a:pt x="151" y="115"/>
                  </a:lnTo>
                  <a:lnTo>
                    <a:pt x="151" y="117"/>
                  </a:lnTo>
                  <a:lnTo>
                    <a:pt x="158" y="117"/>
                  </a:lnTo>
                  <a:lnTo>
                    <a:pt x="162" y="119"/>
                  </a:lnTo>
                  <a:lnTo>
                    <a:pt x="166" y="117"/>
                  </a:lnTo>
                  <a:lnTo>
                    <a:pt x="169" y="119"/>
                  </a:lnTo>
                  <a:lnTo>
                    <a:pt x="169" y="122"/>
                  </a:lnTo>
                  <a:lnTo>
                    <a:pt x="164" y="126"/>
                  </a:lnTo>
                  <a:lnTo>
                    <a:pt x="164" y="126"/>
                  </a:lnTo>
                  <a:lnTo>
                    <a:pt x="166" y="130"/>
                  </a:lnTo>
                  <a:lnTo>
                    <a:pt x="169" y="130"/>
                  </a:lnTo>
                  <a:lnTo>
                    <a:pt x="177" y="132"/>
                  </a:lnTo>
                  <a:lnTo>
                    <a:pt x="192" y="139"/>
                  </a:lnTo>
                  <a:lnTo>
                    <a:pt x="198" y="143"/>
                  </a:lnTo>
                  <a:lnTo>
                    <a:pt x="201" y="147"/>
                  </a:lnTo>
                  <a:lnTo>
                    <a:pt x="205" y="149"/>
                  </a:lnTo>
                  <a:lnTo>
                    <a:pt x="211" y="151"/>
                  </a:lnTo>
                  <a:lnTo>
                    <a:pt x="211" y="154"/>
                  </a:lnTo>
                  <a:lnTo>
                    <a:pt x="211" y="158"/>
                  </a:lnTo>
                  <a:lnTo>
                    <a:pt x="211" y="162"/>
                  </a:lnTo>
                  <a:lnTo>
                    <a:pt x="211" y="162"/>
                  </a:lnTo>
                  <a:lnTo>
                    <a:pt x="207" y="166"/>
                  </a:lnTo>
                  <a:lnTo>
                    <a:pt x="207" y="166"/>
                  </a:lnTo>
                  <a:lnTo>
                    <a:pt x="205" y="166"/>
                  </a:lnTo>
                  <a:lnTo>
                    <a:pt x="201" y="162"/>
                  </a:lnTo>
                  <a:lnTo>
                    <a:pt x="201" y="158"/>
                  </a:lnTo>
                  <a:lnTo>
                    <a:pt x="201" y="154"/>
                  </a:lnTo>
                  <a:lnTo>
                    <a:pt x="200" y="154"/>
                  </a:lnTo>
                  <a:lnTo>
                    <a:pt x="194" y="154"/>
                  </a:lnTo>
                  <a:lnTo>
                    <a:pt x="192" y="152"/>
                  </a:lnTo>
                  <a:lnTo>
                    <a:pt x="188" y="151"/>
                  </a:lnTo>
                  <a:lnTo>
                    <a:pt x="186" y="151"/>
                  </a:lnTo>
                  <a:lnTo>
                    <a:pt x="185" y="151"/>
                  </a:lnTo>
                  <a:lnTo>
                    <a:pt x="183" y="156"/>
                  </a:lnTo>
                  <a:lnTo>
                    <a:pt x="181" y="158"/>
                  </a:lnTo>
                  <a:lnTo>
                    <a:pt x="181" y="160"/>
                  </a:lnTo>
                  <a:lnTo>
                    <a:pt x="181" y="162"/>
                  </a:lnTo>
                  <a:lnTo>
                    <a:pt x="177" y="166"/>
                  </a:lnTo>
                  <a:lnTo>
                    <a:pt x="177" y="168"/>
                  </a:lnTo>
                  <a:lnTo>
                    <a:pt x="181" y="169"/>
                  </a:lnTo>
                  <a:lnTo>
                    <a:pt x="181" y="169"/>
                  </a:lnTo>
                  <a:lnTo>
                    <a:pt x="186" y="175"/>
                  </a:lnTo>
                  <a:lnTo>
                    <a:pt x="188" y="177"/>
                  </a:lnTo>
                  <a:lnTo>
                    <a:pt x="188" y="183"/>
                  </a:lnTo>
                  <a:lnTo>
                    <a:pt x="188" y="184"/>
                  </a:lnTo>
                  <a:lnTo>
                    <a:pt x="186" y="186"/>
                  </a:lnTo>
                  <a:lnTo>
                    <a:pt x="185" y="186"/>
                  </a:lnTo>
                  <a:lnTo>
                    <a:pt x="181" y="190"/>
                  </a:lnTo>
                  <a:lnTo>
                    <a:pt x="181" y="200"/>
                  </a:lnTo>
                  <a:lnTo>
                    <a:pt x="177" y="201"/>
                  </a:lnTo>
                  <a:lnTo>
                    <a:pt x="175" y="207"/>
                  </a:lnTo>
                  <a:lnTo>
                    <a:pt x="171" y="211"/>
                  </a:lnTo>
                  <a:lnTo>
                    <a:pt x="168" y="211"/>
                  </a:lnTo>
                  <a:lnTo>
                    <a:pt x="164" y="207"/>
                  </a:lnTo>
                  <a:lnTo>
                    <a:pt x="164" y="205"/>
                  </a:lnTo>
                  <a:lnTo>
                    <a:pt x="164" y="201"/>
                  </a:lnTo>
                  <a:lnTo>
                    <a:pt x="166" y="201"/>
                  </a:lnTo>
                  <a:lnTo>
                    <a:pt x="169" y="200"/>
                  </a:lnTo>
                  <a:lnTo>
                    <a:pt x="169" y="196"/>
                  </a:lnTo>
                  <a:lnTo>
                    <a:pt x="169" y="192"/>
                  </a:lnTo>
                  <a:lnTo>
                    <a:pt x="169" y="192"/>
                  </a:lnTo>
                  <a:lnTo>
                    <a:pt x="171" y="192"/>
                  </a:lnTo>
                  <a:lnTo>
                    <a:pt x="171" y="186"/>
                  </a:lnTo>
                  <a:lnTo>
                    <a:pt x="171" y="184"/>
                  </a:lnTo>
                  <a:lnTo>
                    <a:pt x="171" y="183"/>
                  </a:lnTo>
                  <a:lnTo>
                    <a:pt x="169" y="175"/>
                  </a:lnTo>
                  <a:lnTo>
                    <a:pt x="168" y="175"/>
                  </a:lnTo>
                  <a:lnTo>
                    <a:pt x="168" y="166"/>
                  </a:lnTo>
                  <a:lnTo>
                    <a:pt x="166" y="162"/>
                  </a:lnTo>
                  <a:lnTo>
                    <a:pt x="162" y="160"/>
                  </a:lnTo>
                  <a:lnTo>
                    <a:pt x="160" y="162"/>
                  </a:lnTo>
                  <a:lnTo>
                    <a:pt x="156" y="160"/>
                  </a:lnTo>
                  <a:lnTo>
                    <a:pt x="153" y="156"/>
                  </a:lnTo>
                  <a:lnTo>
                    <a:pt x="151" y="156"/>
                  </a:lnTo>
                  <a:lnTo>
                    <a:pt x="147" y="154"/>
                  </a:lnTo>
                  <a:lnTo>
                    <a:pt x="151" y="152"/>
                  </a:lnTo>
                  <a:lnTo>
                    <a:pt x="151" y="149"/>
                  </a:lnTo>
                  <a:lnTo>
                    <a:pt x="147" y="147"/>
                  </a:lnTo>
                  <a:lnTo>
                    <a:pt x="145" y="145"/>
                  </a:lnTo>
                  <a:lnTo>
                    <a:pt x="141" y="147"/>
                  </a:lnTo>
                  <a:lnTo>
                    <a:pt x="141" y="143"/>
                  </a:lnTo>
                  <a:lnTo>
                    <a:pt x="137" y="141"/>
                  </a:lnTo>
                  <a:lnTo>
                    <a:pt x="136" y="143"/>
                  </a:lnTo>
                  <a:lnTo>
                    <a:pt x="134" y="141"/>
                  </a:lnTo>
                  <a:lnTo>
                    <a:pt x="128" y="135"/>
                  </a:lnTo>
                  <a:lnTo>
                    <a:pt x="126" y="135"/>
                  </a:lnTo>
                  <a:lnTo>
                    <a:pt x="122" y="132"/>
                  </a:lnTo>
                  <a:lnTo>
                    <a:pt x="119" y="135"/>
                  </a:lnTo>
                  <a:lnTo>
                    <a:pt x="117" y="135"/>
                  </a:lnTo>
                  <a:lnTo>
                    <a:pt x="117" y="132"/>
                  </a:lnTo>
                  <a:lnTo>
                    <a:pt x="113" y="130"/>
                  </a:lnTo>
                  <a:lnTo>
                    <a:pt x="109" y="130"/>
                  </a:lnTo>
                  <a:lnTo>
                    <a:pt x="102" y="124"/>
                  </a:lnTo>
                  <a:lnTo>
                    <a:pt x="94" y="113"/>
                  </a:lnTo>
                  <a:lnTo>
                    <a:pt x="92" y="113"/>
                  </a:lnTo>
                  <a:lnTo>
                    <a:pt x="92" y="111"/>
                  </a:lnTo>
                  <a:lnTo>
                    <a:pt x="89" y="105"/>
                  </a:lnTo>
                  <a:lnTo>
                    <a:pt x="83" y="105"/>
                  </a:lnTo>
                  <a:lnTo>
                    <a:pt x="83" y="102"/>
                  </a:lnTo>
                  <a:lnTo>
                    <a:pt x="77" y="98"/>
                  </a:lnTo>
                  <a:lnTo>
                    <a:pt x="73" y="92"/>
                  </a:lnTo>
                  <a:lnTo>
                    <a:pt x="70" y="92"/>
                  </a:lnTo>
                  <a:lnTo>
                    <a:pt x="70" y="87"/>
                  </a:lnTo>
                  <a:lnTo>
                    <a:pt x="66" y="85"/>
                  </a:lnTo>
                  <a:lnTo>
                    <a:pt x="66" y="81"/>
                  </a:lnTo>
                  <a:lnTo>
                    <a:pt x="62" y="75"/>
                  </a:lnTo>
                  <a:lnTo>
                    <a:pt x="62" y="71"/>
                  </a:lnTo>
                  <a:lnTo>
                    <a:pt x="62" y="71"/>
                  </a:lnTo>
                  <a:lnTo>
                    <a:pt x="58" y="68"/>
                  </a:lnTo>
                  <a:lnTo>
                    <a:pt x="55" y="68"/>
                  </a:lnTo>
                  <a:lnTo>
                    <a:pt x="51" y="64"/>
                  </a:lnTo>
                  <a:lnTo>
                    <a:pt x="38" y="62"/>
                  </a:lnTo>
                  <a:lnTo>
                    <a:pt x="28" y="68"/>
                  </a:lnTo>
                  <a:lnTo>
                    <a:pt x="28" y="68"/>
                  </a:lnTo>
                  <a:lnTo>
                    <a:pt x="25" y="73"/>
                  </a:lnTo>
                  <a:lnTo>
                    <a:pt x="15" y="75"/>
                  </a:lnTo>
                  <a:lnTo>
                    <a:pt x="15" y="75"/>
                  </a:lnTo>
                  <a:lnTo>
                    <a:pt x="15" y="75"/>
                  </a:lnTo>
                  <a:lnTo>
                    <a:pt x="15" y="75"/>
                  </a:lnTo>
                  <a:close/>
                  <a:moveTo>
                    <a:pt x="28" y="137"/>
                  </a:moveTo>
                  <a:lnTo>
                    <a:pt x="32" y="137"/>
                  </a:lnTo>
                  <a:lnTo>
                    <a:pt x="32" y="135"/>
                  </a:lnTo>
                  <a:lnTo>
                    <a:pt x="32" y="135"/>
                  </a:lnTo>
                  <a:lnTo>
                    <a:pt x="32" y="132"/>
                  </a:lnTo>
                  <a:lnTo>
                    <a:pt x="32" y="135"/>
                  </a:lnTo>
                  <a:lnTo>
                    <a:pt x="28" y="135"/>
                  </a:lnTo>
                  <a:lnTo>
                    <a:pt x="28" y="137"/>
                  </a:lnTo>
                  <a:lnTo>
                    <a:pt x="28" y="137"/>
                  </a:lnTo>
                  <a:lnTo>
                    <a:pt x="28" y="137"/>
                  </a:lnTo>
                  <a:lnTo>
                    <a:pt x="28" y="137"/>
                  </a:lnTo>
                  <a:close/>
                  <a:moveTo>
                    <a:pt x="77" y="107"/>
                  </a:moveTo>
                  <a:lnTo>
                    <a:pt x="79" y="107"/>
                  </a:lnTo>
                  <a:lnTo>
                    <a:pt x="79" y="105"/>
                  </a:lnTo>
                  <a:lnTo>
                    <a:pt x="77" y="107"/>
                  </a:lnTo>
                  <a:lnTo>
                    <a:pt x="77" y="107"/>
                  </a:lnTo>
                  <a:lnTo>
                    <a:pt x="77" y="107"/>
                  </a:lnTo>
                  <a:lnTo>
                    <a:pt x="77" y="107"/>
                  </a:lnTo>
                  <a:close/>
                  <a:moveTo>
                    <a:pt x="62" y="98"/>
                  </a:moveTo>
                  <a:lnTo>
                    <a:pt x="62" y="100"/>
                  </a:lnTo>
                  <a:lnTo>
                    <a:pt x="62" y="100"/>
                  </a:lnTo>
                  <a:lnTo>
                    <a:pt x="66" y="98"/>
                  </a:lnTo>
                  <a:lnTo>
                    <a:pt x="68" y="98"/>
                  </a:lnTo>
                  <a:lnTo>
                    <a:pt x="68" y="96"/>
                  </a:lnTo>
                  <a:lnTo>
                    <a:pt x="66" y="92"/>
                  </a:lnTo>
                  <a:lnTo>
                    <a:pt x="66" y="96"/>
                  </a:lnTo>
                  <a:lnTo>
                    <a:pt x="62" y="98"/>
                  </a:lnTo>
                  <a:lnTo>
                    <a:pt x="62" y="98"/>
                  </a:lnTo>
                  <a:lnTo>
                    <a:pt x="62" y="98"/>
                  </a:lnTo>
                  <a:lnTo>
                    <a:pt x="62" y="98"/>
                  </a:lnTo>
                  <a:close/>
                  <a:moveTo>
                    <a:pt x="40" y="186"/>
                  </a:moveTo>
                  <a:lnTo>
                    <a:pt x="40" y="186"/>
                  </a:lnTo>
                  <a:lnTo>
                    <a:pt x="41" y="186"/>
                  </a:lnTo>
                  <a:lnTo>
                    <a:pt x="45" y="186"/>
                  </a:lnTo>
                  <a:lnTo>
                    <a:pt x="45" y="183"/>
                  </a:lnTo>
                  <a:lnTo>
                    <a:pt x="47" y="181"/>
                  </a:lnTo>
                  <a:lnTo>
                    <a:pt x="51" y="181"/>
                  </a:lnTo>
                  <a:lnTo>
                    <a:pt x="53" y="183"/>
                  </a:lnTo>
                  <a:lnTo>
                    <a:pt x="55" y="183"/>
                  </a:lnTo>
                  <a:lnTo>
                    <a:pt x="57" y="179"/>
                  </a:lnTo>
                  <a:lnTo>
                    <a:pt x="57" y="175"/>
                  </a:lnTo>
                  <a:lnTo>
                    <a:pt x="57" y="169"/>
                  </a:lnTo>
                  <a:lnTo>
                    <a:pt x="57" y="162"/>
                  </a:lnTo>
                  <a:lnTo>
                    <a:pt x="58" y="156"/>
                  </a:lnTo>
                  <a:lnTo>
                    <a:pt x="53" y="152"/>
                  </a:lnTo>
                  <a:lnTo>
                    <a:pt x="57" y="151"/>
                  </a:lnTo>
                  <a:lnTo>
                    <a:pt x="57" y="147"/>
                  </a:lnTo>
                  <a:lnTo>
                    <a:pt x="57" y="143"/>
                  </a:lnTo>
                  <a:lnTo>
                    <a:pt x="55" y="139"/>
                  </a:lnTo>
                  <a:lnTo>
                    <a:pt x="51" y="135"/>
                  </a:lnTo>
                  <a:lnTo>
                    <a:pt x="49" y="135"/>
                  </a:lnTo>
                  <a:lnTo>
                    <a:pt x="45" y="135"/>
                  </a:lnTo>
                  <a:lnTo>
                    <a:pt x="43" y="135"/>
                  </a:lnTo>
                  <a:lnTo>
                    <a:pt x="38" y="141"/>
                  </a:lnTo>
                  <a:lnTo>
                    <a:pt x="32" y="141"/>
                  </a:lnTo>
                  <a:lnTo>
                    <a:pt x="28" y="139"/>
                  </a:lnTo>
                  <a:lnTo>
                    <a:pt x="28" y="143"/>
                  </a:lnTo>
                  <a:lnTo>
                    <a:pt x="28" y="147"/>
                  </a:lnTo>
                  <a:lnTo>
                    <a:pt x="32" y="149"/>
                  </a:lnTo>
                  <a:lnTo>
                    <a:pt x="32" y="152"/>
                  </a:lnTo>
                  <a:lnTo>
                    <a:pt x="34" y="154"/>
                  </a:lnTo>
                  <a:lnTo>
                    <a:pt x="34" y="160"/>
                  </a:lnTo>
                  <a:lnTo>
                    <a:pt x="32" y="162"/>
                  </a:lnTo>
                  <a:lnTo>
                    <a:pt x="32" y="166"/>
                  </a:lnTo>
                  <a:lnTo>
                    <a:pt x="38" y="166"/>
                  </a:lnTo>
                  <a:lnTo>
                    <a:pt x="38" y="166"/>
                  </a:lnTo>
                  <a:lnTo>
                    <a:pt x="34" y="168"/>
                  </a:lnTo>
                  <a:lnTo>
                    <a:pt x="32" y="175"/>
                  </a:lnTo>
                  <a:lnTo>
                    <a:pt x="34" y="177"/>
                  </a:lnTo>
                  <a:lnTo>
                    <a:pt x="38" y="184"/>
                  </a:lnTo>
                  <a:lnTo>
                    <a:pt x="40" y="186"/>
                  </a:lnTo>
                  <a:lnTo>
                    <a:pt x="40" y="186"/>
                  </a:lnTo>
                  <a:lnTo>
                    <a:pt x="40" y="186"/>
                  </a:lnTo>
                  <a:lnTo>
                    <a:pt x="40" y="186"/>
                  </a:lnTo>
                  <a:close/>
                  <a:moveTo>
                    <a:pt x="156" y="237"/>
                  </a:moveTo>
                  <a:lnTo>
                    <a:pt x="156" y="232"/>
                  </a:lnTo>
                  <a:lnTo>
                    <a:pt x="158" y="230"/>
                  </a:lnTo>
                  <a:lnTo>
                    <a:pt x="156" y="226"/>
                  </a:lnTo>
                  <a:lnTo>
                    <a:pt x="153" y="222"/>
                  </a:lnTo>
                  <a:lnTo>
                    <a:pt x="156" y="213"/>
                  </a:lnTo>
                  <a:lnTo>
                    <a:pt x="160" y="209"/>
                  </a:lnTo>
                  <a:lnTo>
                    <a:pt x="162" y="205"/>
                  </a:lnTo>
                  <a:lnTo>
                    <a:pt x="158" y="200"/>
                  </a:lnTo>
                  <a:lnTo>
                    <a:pt x="153" y="205"/>
                  </a:lnTo>
                  <a:lnTo>
                    <a:pt x="151" y="205"/>
                  </a:lnTo>
                  <a:lnTo>
                    <a:pt x="147" y="201"/>
                  </a:lnTo>
                  <a:lnTo>
                    <a:pt x="145" y="207"/>
                  </a:lnTo>
                  <a:lnTo>
                    <a:pt x="136" y="205"/>
                  </a:lnTo>
                  <a:lnTo>
                    <a:pt x="128" y="209"/>
                  </a:lnTo>
                  <a:lnTo>
                    <a:pt x="122" y="207"/>
                  </a:lnTo>
                  <a:lnTo>
                    <a:pt x="122" y="205"/>
                  </a:lnTo>
                  <a:lnTo>
                    <a:pt x="117" y="205"/>
                  </a:lnTo>
                  <a:lnTo>
                    <a:pt x="113" y="207"/>
                  </a:lnTo>
                  <a:lnTo>
                    <a:pt x="113" y="205"/>
                  </a:lnTo>
                  <a:lnTo>
                    <a:pt x="109" y="207"/>
                  </a:lnTo>
                  <a:lnTo>
                    <a:pt x="107" y="215"/>
                  </a:lnTo>
                  <a:lnTo>
                    <a:pt x="113" y="218"/>
                  </a:lnTo>
                  <a:lnTo>
                    <a:pt x="117" y="216"/>
                  </a:lnTo>
                  <a:lnTo>
                    <a:pt x="122" y="222"/>
                  </a:lnTo>
                  <a:lnTo>
                    <a:pt x="126" y="224"/>
                  </a:lnTo>
                  <a:lnTo>
                    <a:pt x="130" y="226"/>
                  </a:lnTo>
                  <a:lnTo>
                    <a:pt x="139" y="230"/>
                  </a:lnTo>
                  <a:lnTo>
                    <a:pt x="141" y="230"/>
                  </a:lnTo>
                  <a:lnTo>
                    <a:pt x="145" y="230"/>
                  </a:lnTo>
                  <a:lnTo>
                    <a:pt x="145" y="233"/>
                  </a:lnTo>
                  <a:lnTo>
                    <a:pt x="153" y="237"/>
                  </a:lnTo>
                  <a:lnTo>
                    <a:pt x="156" y="237"/>
                  </a:lnTo>
                  <a:lnTo>
                    <a:pt x="156" y="237"/>
                  </a:lnTo>
                  <a:lnTo>
                    <a:pt x="156" y="237"/>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26">
              <a:extLst>
                <a:ext uri="{FF2B5EF4-FFF2-40B4-BE49-F238E27FC236}">
                  <a16:creationId xmlns:a16="http://schemas.microsoft.com/office/drawing/2014/main" id="{A887EFDE-7AC6-0749-AB37-E576912C344A}"/>
                </a:ext>
              </a:extLst>
            </p:cNvPr>
            <p:cNvSpPr>
              <a:spLocks noEditPoints="1"/>
            </p:cNvSpPr>
            <p:nvPr/>
          </p:nvSpPr>
          <p:spPr bwMode="auto">
            <a:xfrm>
              <a:off x="5990449" y="2320941"/>
              <a:ext cx="198827" cy="128858"/>
            </a:xfrm>
            <a:custGeom>
              <a:avLst/>
              <a:gdLst/>
              <a:ahLst/>
              <a:cxnLst>
                <a:cxn ang="0">
                  <a:pos x="135" y="9"/>
                </a:cxn>
                <a:cxn ang="0">
                  <a:pos x="137" y="15"/>
                </a:cxn>
                <a:cxn ang="0">
                  <a:pos x="154" y="23"/>
                </a:cxn>
                <a:cxn ang="0">
                  <a:pos x="167" y="24"/>
                </a:cxn>
                <a:cxn ang="0">
                  <a:pos x="182" y="23"/>
                </a:cxn>
                <a:cxn ang="0">
                  <a:pos x="194" y="28"/>
                </a:cxn>
                <a:cxn ang="0">
                  <a:pos x="213" y="30"/>
                </a:cxn>
                <a:cxn ang="0">
                  <a:pos x="211" y="40"/>
                </a:cxn>
                <a:cxn ang="0">
                  <a:pos x="201" y="53"/>
                </a:cxn>
                <a:cxn ang="0">
                  <a:pos x="198" y="56"/>
                </a:cxn>
                <a:cxn ang="0">
                  <a:pos x="181" y="62"/>
                </a:cxn>
                <a:cxn ang="0">
                  <a:pos x="177" y="68"/>
                </a:cxn>
                <a:cxn ang="0">
                  <a:pos x="175" y="72"/>
                </a:cxn>
                <a:cxn ang="0">
                  <a:pos x="164" y="79"/>
                </a:cxn>
                <a:cxn ang="0">
                  <a:pos x="158" y="100"/>
                </a:cxn>
                <a:cxn ang="0">
                  <a:pos x="166" y="111"/>
                </a:cxn>
                <a:cxn ang="0">
                  <a:pos x="156" y="121"/>
                </a:cxn>
                <a:cxn ang="0">
                  <a:pos x="150" y="136"/>
                </a:cxn>
                <a:cxn ang="0">
                  <a:pos x="132" y="145"/>
                </a:cxn>
                <a:cxn ang="0">
                  <a:pos x="124" y="153"/>
                </a:cxn>
                <a:cxn ang="0">
                  <a:pos x="115" y="154"/>
                </a:cxn>
                <a:cxn ang="0">
                  <a:pos x="107" y="154"/>
                </a:cxn>
                <a:cxn ang="0">
                  <a:pos x="90" y="153"/>
                </a:cxn>
                <a:cxn ang="0">
                  <a:pos x="71" y="160"/>
                </a:cxn>
                <a:cxn ang="0">
                  <a:pos x="64" y="168"/>
                </a:cxn>
                <a:cxn ang="0">
                  <a:pos x="49" y="153"/>
                </a:cxn>
                <a:cxn ang="0">
                  <a:pos x="36" y="145"/>
                </a:cxn>
                <a:cxn ang="0">
                  <a:pos x="30" y="136"/>
                </a:cxn>
                <a:cxn ang="0">
                  <a:pos x="39" y="121"/>
                </a:cxn>
                <a:cxn ang="0">
                  <a:pos x="38" y="107"/>
                </a:cxn>
                <a:cxn ang="0">
                  <a:pos x="30" y="89"/>
                </a:cxn>
                <a:cxn ang="0">
                  <a:pos x="41" y="83"/>
                </a:cxn>
                <a:cxn ang="0">
                  <a:pos x="43" y="64"/>
                </a:cxn>
                <a:cxn ang="0">
                  <a:pos x="51" y="53"/>
                </a:cxn>
                <a:cxn ang="0">
                  <a:pos x="49" y="40"/>
                </a:cxn>
                <a:cxn ang="0">
                  <a:pos x="26" y="40"/>
                </a:cxn>
                <a:cxn ang="0">
                  <a:pos x="19" y="36"/>
                </a:cxn>
                <a:cxn ang="0">
                  <a:pos x="7" y="36"/>
                </a:cxn>
                <a:cxn ang="0">
                  <a:pos x="11" y="28"/>
                </a:cxn>
                <a:cxn ang="0">
                  <a:pos x="7" y="28"/>
                </a:cxn>
                <a:cxn ang="0">
                  <a:pos x="6" y="21"/>
                </a:cxn>
                <a:cxn ang="0">
                  <a:pos x="0" y="15"/>
                </a:cxn>
                <a:cxn ang="0">
                  <a:pos x="13" y="9"/>
                </a:cxn>
                <a:cxn ang="0">
                  <a:pos x="21" y="6"/>
                </a:cxn>
                <a:cxn ang="0">
                  <a:pos x="26" y="0"/>
                </a:cxn>
                <a:cxn ang="0">
                  <a:pos x="38" y="4"/>
                </a:cxn>
                <a:cxn ang="0">
                  <a:pos x="51" y="4"/>
                </a:cxn>
                <a:cxn ang="0">
                  <a:pos x="60" y="0"/>
                </a:cxn>
                <a:cxn ang="0">
                  <a:pos x="86" y="8"/>
                </a:cxn>
                <a:cxn ang="0">
                  <a:pos x="102" y="8"/>
                </a:cxn>
                <a:cxn ang="0">
                  <a:pos x="117" y="4"/>
                </a:cxn>
                <a:cxn ang="0">
                  <a:pos x="130" y="8"/>
                </a:cxn>
                <a:cxn ang="0">
                  <a:pos x="132" y="6"/>
                </a:cxn>
                <a:cxn ang="0">
                  <a:pos x="230" y="89"/>
                </a:cxn>
                <a:cxn ang="0">
                  <a:pos x="230" y="83"/>
                </a:cxn>
                <a:cxn ang="0">
                  <a:pos x="220" y="87"/>
                </a:cxn>
                <a:cxn ang="0">
                  <a:pos x="211" y="98"/>
                </a:cxn>
                <a:cxn ang="0">
                  <a:pos x="213" y="89"/>
                </a:cxn>
                <a:cxn ang="0">
                  <a:pos x="205" y="96"/>
                </a:cxn>
                <a:cxn ang="0">
                  <a:pos x="211" y="98"/>
                </a:cxn>
                <a:cxn ang="0">
                  <a:pos x="190" y="111"/>
                </a:cxn>
                <a:cxn ang="0">
                  <a:pos x="190" y="104"/>
                </a:cxn>
                <a:cxn ang="0">
                  <a:pos x="190" y="111"/>
                </a:cxn>
              </a:cxnLst>
              <a:rect l="0" t="0" r="r" b="b"/>
              <a:pathLst>
                <a:path w="233" h="168">
                  <a:moveTo>
                    <a:pt x="132" y="6"/>
                  </a:moveTo>
                  <a:lnTo>
                    <a:pt x="135" y="8"/>
                  </a:lnTo>
                  <a:lnTo>
                    <a:pt x="135" y="9"/>
                  </a:lnTo>
                  <a:lnTo>
                    <a:pt x="137" y="9"/>
                  </a:lnTo>
                  <a:lnTo>
                    <a:pt x="137" y="13"/>
                  </a:lnTo>
                  <a:lnTo>
                    <a:pt x="137" y="15"/>
                  </a:lnTo>
                  <a:lnTo>
                    <a:pt x="143" y="15"/>
                  </a:lnTo>
                  <a:lnTo>
                    <a:pt x="150" y="19"/>
                  </a:lnTo>
                  <a:lnTo>
                    <a:pt x="154" y="23"/>
                  </a:lnTo>
                  <a:lnTo>
                    <a:pt x="160" y="21"/>
                  </a:lnTo>
                  <a:lnTo>
                    <a:pt x="164" y="24"/>
                  </a:lnTo>
                  <a:lnTo>
                    <a:pt x="167" y="24"/>
                  </a:lnTo>
                  <a:lnTo>
                    <a:pt x="169" y="28"/>
                  </a:lnTo>
                  <a:lnTo>
                    <a:pt x="173" y="24"/>
                  </a:lnTo>
                  <a:lnTo>
                    <a:pt x="182" y="23"/>
                  </a:lnTo>
                  <a:lnTo>
                    <a:pt x="186" y="24"/>
                  </a:lnTo>
                  <a:lnTo>
                    <a:pt x="190" y="24"/>
                  </a:lnTo>
                  <a:lnTo>
                    <a:pt x="194" y="28"/>
                  </a:lnTo>
                  <a:lnTo>
                    <a:pt x="203" y="24"/>
                  </a:lnTo>
                  <a:lnTo>
                    <a:pt x="211" y="28"/>
                  </a:lnTo>
                  <a:lnTo>
                    <a:pt x="213" y="30"/>
                  </a:lnTo>
                  <a:lnTo>
                    <a:pt x="213" y="32"/>
                  </a:lnTo>
                  <a:lnTo>
                    <a:pt x="211" y="34"/>
                  </a:lnTo>
                  <a:lnTo>
                    <a:pt x="211" y="40"/>
                  </a:lnTo>
                  <a:lnTo>
                    <a:pt x="211" y="43"/>
                  </a:lnTo>
                  <a:lnTo>
                    <a:pt x="209" y="47"/>
                  </a:lnTo>
                  <a:lnTo>
                    <a:pt x="201" y="53"/>
                  </a:lnTo>
                  <a:lnTo>
                    <a:pt x="201" y="53"/>
                  </a:lnTo>
                  <a:lnTo>
                    <a:pt x="198" y="56"/>
                  </a:lnTo>
                  <a:lnTo>
                    <a:pt x="198" y="56"/>
                  </a:lnTo>
                  <a:lnTo>
                    <a:pt x="194" y="58"/>
                  </a:lnTo>
                  <a:lnTo>
                    <a:pt x="186" y="58"/>
                  </a:lnTo>
                  <a:lnTo>
                    <a:pt x="181" y="62"/>
                  </a:lnTo>
                  <a:lnTo>
                    <a:pt x="177" y="64"/>
                  </a:lnTo>
                  <a:lnTo>
                    <a:pt x="179" y="64"/>
                  </a:lnTo>
                  <a:lnTo>
                    <a:pt x="177" y="68"/>
                  </a:lnTo>
                  <a:lnTo>
                    <a:pt x="175" y="72"/>
                  </a:lnTo>
                  <a:lnTo>
                    <a:pt x="175" y="72"/>
                  </a:lnTo>
                  <a:lnTo>
                    <a:pt x="175" y="72"/>
                  </a:lnTo>
                  <a:lnTo>
                    <a:pt x="173" y="68"/>
                  </a:lnTo>
                  <a:lnTo>
                    <a:pt x="167" y="77"/>
                  </a:lnTo>
                  <a:lnTo>
                    <a:pt x="164" y="79"/>
                  </a:lnTo>
                  <a:lnTo>
                    <a:pt x="158" y="92"/>
                  </a:lnTo>
                  <a:lnTo>
                    <a:pt x="156" y="96"/>
                  </a:lnTo>
                  <a:lnTo>
                    <a:pt x="158" y="100"/>
                  </a:lnTo>
                  <a:lnTo>
                    <a:pt x="160" y="104"/>
                  </a:lnTo>
                  <a:lnTo>
                    <a:pt x="160" y="105"/>
                  </a:lnTo>
                  <a:lnTo>
                    <a:pt x="166" y="111"/>
                  </a:lnTo>
                  <a:lnTo>
                    <a:pt x="164" y="115"/>
                  </a:lnTo>
                  <a:lnTo>
                    <a:pt x="156" y="117"/>
                  </a:lnTo>
                  <a:lnTo>
                    <a:pt x="156" y="121"/>
                  </a:lnTo>
                  <a:lnTo>
                    <a:pt x="150" y="128"/>
                  </a:lnTo>
                  <a:lnTo>
                    <a:pt x="150" y="132"/>
                  </a:lnTo>
                  <a:lnTo>
                    <a:pt x="150" y="136"/>
                  </a:lnTo>
                  <a:lnTo>
                    <a:pt x="150" y="139"/>
                  </a:lnTo>
                  <a:lnTo>
                    <a:pt x="143" y="139"/>
                  </a:lnTo>
                  <a:lnTo>
                    <a:pt x="132" y="145"/>
                  </a:lnTo>
                  <a:lnTo>
                    <a:pt x="132" y="147"/>
                  </a:lnTo>
                  <a:lnTo>
                    <a:pt x="126" y="154"/>
                  </a:lnTo>
                  <a:lnTo>
                    <a:pt x="124" y="153"/>
                  </a:lnTo>
                  <a:lnTo>
                    <a:pt x="120" y="149"/>
                  </a:lnTo>
                  <a:lnTo>
                    <a:pt x="118" y="153"/>
                  </a:lnTo>
                  <a:lnTo>
                    <a:pt x="115" y="154"/>
                  </a:lnTo>
                  <a:lnTo>
                    <a:pt x="113" y="153"/>
                  </a:lnTo>
                  <a:lnTo>
                    <a:pt x="109" y="153"/>
                  </a:lnTo>
                  <a:lnTo>
                    <a:pt x="107" y="154"/>
                  </a:lnTo>
                  <a:lnTo>
                    <a:pt x="102" y="154"/>
                  </a:lnTo>
                  <a:lnTo>
                    <a:pt x="94" y="151"/>
                  </a:lnTo>
                  <a:lnTo>
                    <a:pt x="90" y="153"/>
                  </a:lnTo>
                  <a:lnTo>
                    <a:pt x="85" y="154"/>
                  </a:lnTo>
                  <a:lnTo>
                    <a:pt x="79" y="160"/>
                  </a:lnTo>
                  <a:lnTo>
                    <a:pt x="71" y="160"/>
                  </a:lnTo>
                  <a:lnTo>
                    <a:pt x="70" y="164"/>
                  </a:lnTo>
                  <a:lnTo>
                    <a:pt x="70" y="166"/>
                  </a:lnTo>
                  <a:lnTo>
                    <a:pt x="64" y="168"/>
                  </a:lnTo>
                  <a:lnTo>
                    <a:pt x="56" y="168"/>
                  </a:lnTo>
                  <a:lnTo>
                    <a:pt x="51" y="160"/>
                  </a:lnTo>
                  <a:lnTo>
                    <a:pt x="49" y="153"/>
                  </a:lnTo>
                  <a:lnTo>
                    <a:pt x="49" y="153"/>
                  </a:lnTo>
                  <a:lnTo>
                    <a:pt x="41" y="145"/>
                  </a:lnTo>
                  <a:lnTo>
                    <a:pt x="36" y="145"/>
                  </a:lnTo>
                  <a:lnTo>
                    <a:pt x="32" y="145"/>
                  </a:lnTo>
                  <a:lnTo>
                    <a:pt x="32" y="139"/>
                  </a:lnTo>
                  <a:lnTo>
                    <a:pt x="30" y="136"/>
                  </a:lnTo>
                  <a:lnTo>
                    <a:pt x="34" y="126"/>
                  </a:lnTo>
                  <a:lnTo>
                    <a:pt x="39" y="122"/>
                  </a:lnTo>
                  <a:lnTo>
                    <a:pt x="39" y="121"/>
                  </a:lnTo>
                  <a:lnTo>
                    <a:pt x="36" y="121"/>
                  </a:lnTo>
                  <a:lnTo>
                    <a:pt x="32" y="115"/>
                  </a:lnTo>
                  <a:lnTo>
                    <a:pt x="38" y="107"/>
                  </a:lnTo>
                  <a:lnTo>
                    <a:pt x="38" y="102"/>
                  </a:lnTo>
                  <a:lnTo>
                    <a:pt x="34" y="98"/>
                  </a:lnTo>
                  <a:lnTo>
                    <a:pt x="30" y="89"/>
                  </a:lnTo>
                  <a:lnTo>
                    <a:pt x="34" y="89"/>
                  </a:lnTo>
                  <a:lnTo>
                    <a:pt x="36" y="89"/>
                  </a:lnTo>
                  <a:lnTo>
                    <a:pt x="41" y="83"/>
                  </a:lnTo>
                  <a:lnTo>
                    <a:pt x="38" y="79"/>
                  </a:lnTo>
                  <a:lnTo>
                    <a:pt x="43" y="75"/>
                  </a:lnTo>
                  <a:lnTo>
                    <a:pt x="43" y="64"/>
                  </a:lnTo>
                  <a:lnTo>
                    <a:pt x="41" y="58"/>
                  </a:lnTo>
                  <a:lnTo>
                    <a:pt x="49" y="53"/>
                  </a:lnTo>
                  <a:lnTo>
                    <a:pt x="51" y="53"/>
                  </a:lnTo>
                  <a:lnTo>
                    <a:pt x="54" y="49"/>
                  </a:lnTo>
                  <a:lnTo>
                    <a:pt x="49" y="43"/>
                  </a:lnTo>
                  <a:lnTo>
                    <a:pt x="49" y="40"/>
                  </a:lnTo>
                  <a:lnTo>
                    <a:pt x="39" y="38"/>
                  </a:lnTo>
                  <a:lnTo>
                    <a:pt x="36" y="40"/>
                  </a:lnTo>
                  <a:lnTo>
                    <a:pt x="26" y="40"/>
                  </a:lnTo>
                  <a:lnTo>
                    <a:pt x="21" y="43"/>
                  </a:lnTo>
                  <a:lnTo>
                    <a:pt x="19" y="40"/>
                  </a:lnTo>
                  <a:lnTo>
                    <a:pt x="19" y="36"/>
                  </a:lnTo>
                  <a:lnTo>
                    <a:pt x="17" y="36"/>
                  </a:lnTo>
                  <a:lnTo>
                    <a:pt x="7" y="36"/>
                  </a:lnTo>
                  <a:lnTo>
                    <a:pt x="7" y="36"/>
                  </a:lnTo>
                  <a:lnTo>
                    <a:pt x="11" y="32"/>
                  </a:lnTo>
                  <a:lnTo>
                    <a:pt x="9" y="30"/>
                  </a:lnTo>
                  <a:lnTo>
                    <a:pt x="11" y="28"/>
                  </a:lnTo>
                  <a:lnTo>
                    <a:pt x="9" y="28"/>
                  </a:lnTo>
                  <a:lnTo>
                    <a:pt x="9" y="24"/>
                  </a:lnTo>
                  <a:lnTo>
                    <a:pt x="7" y="28"/>
                  </a:lnTo>
                  <a:lnTo>
                    <a:pt x="6" y="24"/>
                  </a:lnTo>
                  <a:lnTo>
                    <a:pt x="7" y="21"/>
                  </a:lnTo>
                  <a:lnTo>
                    <a:pt x="6" y="21"/>
                  </a:lnTo>
                  <a:lnTo>
                    <a:pt x="6" y="19"/>
                  </a:lnTo>
                  <a:lnTo>
                    <a:pt x="2" y="19"/>
                  </a:lnTo>
                  <a:lnTo>
                    <a:pt x="0" y="15"/>
                  </a:lnTo>
                  <a:lnTo>
                    <a:pt x="4" y="11"/>
                  </a:lnTo>
                  <a:lnTo>
                    <a:pt x="11" y="8"/>
                  </a:lnTo>
                  <a:lnTo>
                    <a:pt x="13" y="9"/>
                  </a:lnTo>
                  <a:lnTo>
                    <a:pt x="19" y="9"/>
                  </a:lnTo>
                  <a:lnTo>
                    <a:pt x="21" y="6"/>
                  </a:lnTo>
                  <a:lnTo>
                    <a:pt x="21" y="6"/>
                  </a:lnTo>
                  <a:lnTo>
                    <a:pt x="19" y="4"/>
                  </a:lnTo>
                  <a:lnTo>
                    <a:pt x="26" y="0"/>
                  </a:lnTo>
                  <a:lnTo>
                    <a:pt x="26" y="0"/>
                  </a:lnTo>
                  <a:lnTo>
                    <a:pt x="30" y="0"/>
                  </a:lnTo>
                  <a:lnTo>
                    <a:pt x="34" y="0"/>
                  </a:lnTo>
                  <a:lnTo>
                    <a:pt x="38" y="4"/>
                  </a:lnTo>
                  <a:lnTo>
                    <a:pt x="41" y="0"/>
                  </a:lnTo>
                  <a:lnTo>
                    <a:pt x="45" y="0"/>
                  </a:lnTo>
                  <a:lnTo>
                    <a:pt x="51" y="4"/>
                  </a:lnTo>
                  <a:lnTo>
                    <a:pt x="54" y="0"/>
                  </a:lnTo>
                  <a:lnTo>
                    <a:pt x="60" y="0"/>
                  </a:lnTo>
                  <a:lnTo>
                    <a:pt x="60" y="0"/>
                  </a:lnTo>
                  <a:lnTo>
                    <a:pt x="66" y="4"/>
                  </a:lnTo>
                  <a:lnTo>
                    <a:pt x="79" y="6"/>
                  </a:lnTo>
                  <a:lnTo>
                    <a:pt x="86" y="8"/>
                  </a:lnTo>
                  <a:lnTo>
                    <a:pt x="94" y="4"/>
                  </a:lnTo>
                  <a:lnTo>
                    <a:pt x="102" y="4"/>
                  </a:lnTo>
                  <a:lnTo>
                    <a:pt x="102" y="8"/>
                  </a:lnTo>
                  <a:lnTo>
                    <a:pt x="109" y="8"/>
                  </a:lnTo>
                  <a:lnTo>
                    <a:pt x="113" y="4"/>
                  </a:lnTo>
                  <a:lnTo>
                    <a:pt x="117" y="4"/>
                  </a:lnTo>
                  <a:lnTo>
                    <a:pt x="124" y="11"/>
                  </a:lnTo>
                  <a:lnTo>
                    <a:pt x="126" y="8"/>
                  </a:lnTo>
                  <a:lnTo>
                    <a:pt x="130" y="8"/>
                  </a:lnTo>
                  <a:lnTo>
                    <a:pt x="132" y="6"/>
                  </a:lnTo>
                  <a:lnTo>
                    <a:pt x="132" y="6"/>
                  </a:lnTo>
                  <a:lnTo>
                    <a:pt x="132" y="6"/>
                  </a:lnTo>
                  <a:lnTo>
                    <a:pt x="132" y="6"/>
                  </a:lnTo>
                  <a:close/>
                  <a:moveTo>
                    <a:pt x="220" y="87"/>
                  </a:moveTo>
                  <a:lnTo>
                    <a:pt x="230" y="89"/>
                  </a:lnTo>
                  <a:lnTo>
                    <a:pt x="230" y="89"/>
                  </a:lnTo>
                  <a:lnTo>
                    <a:pt x="233" y="87"/>
                  </a:lnTo>
                  <a:lnTo>
                    <a:pt x="230" y="83"/>
                  </a:lnTo>
                  <a:lnTo>
                    <a:pt x="224" y="85"/>
                  </a:lnTo>
                  <a:lnTo>
                    <a:pt x="220" y="87"/>
                  </a:lnTo>
                  <a:lnTo>
                    <a:pt x="220" y="87"/>
                  </a:lnTo>
                  <a:lnTo>
                    <a:pt x="220" y="87"/>
                  </a:lnTo>
                  <a:lnTo>
                    <a:pt x="220" y="87"/>
                  </a:lnTo>
                  <a:close/>
                  <a:moveTo>
                    <a:pt x="211" y="98"/>
                  </a:moveTo>
                  <a:lnTo>
                    <a:pt x="213" y="96"/>
                  </a:lnTo>
                  <a:lnTo>
                    <a:pt x="218" y="89"/>
                  </a:lnTo>
                  <a:lnTo>
                    <a:pt x="213" y="89"/>
                  </a:lnTo>
                  <a:lnTo>
                    <a:pt x="209" y="89"/>
                  </a:lnTo>
                  <a:lnTo>
                    <a:pt x="205" y="92"/>
                  </a:lnTo>
                  <a:lnTo>
                    <a:pt x="205" y="96"/>
                  </a:lnTo>
                  <a:lnTo>
                    <a:pt x="209" y="96"/>
                  </a:lnTo>
                  <a:lnTo>
                    <a:pt x="211" y="98"/>
                  </a:lnTo>
                  <a:lnTo>
                    <a:pt x="211" y="98"/>
                  </a:lnTo>
                  <a:lnTo>
                    <a:pt x="211" y="98"/>
                  </a:lnTo>
                  <a:lnTo>
                    <a:pt x="211" y="98"/>
                  </a:lnTo>
                  <a:close/>
                  <a:moveTo>
                    <a:pt x="190" y="111"/>
                  </a:moveTo>
                  <a:lnTo>
                    <a:pt x="190" y="107"/>
                  </a:lnTo>
                  <a:lnTo>
                    <a:pt x="194" y="105"/>
                  </a:lnTo>
                  <a:lnTo>
                    <a:pt x="190" y="104"/>
                  </a:lnTo>
                  <a:lnTo>
                    <a:pt x="186" y="105"/>
                  </a:lnTo>
                  <a:lnTo>
                    <a:pt x="186" y="107"/>
                  </a:lnTo>
                  <a:lnTo>
                    <a:pt x="190" y="111"/>
                  </a:lnTo>
                  <a:lnTo>
                    <a:pt x="190" y="111"/>
                  </a:lnTo>
                  <a:lnTo>
                    <a:pt x="190" y="111"/>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27">
              <a:extLst>
                <a:ext uri="{FF2B5EF4-FFF2-40B4-BE49-F238E27FC236}">
                  <a16:creationId xmlns:a16="http://schemas.microsoft.com/office/drawing/2014/main" id="{C61EE581-F255-6E4C-9EB0-B87730BFE0CB}"/>
                </a:ext>
              </a:extLst>
            </p:cNvPr>
            <p:cNvSpPr>
              <a:spLocks/>
            </p:cNvSpPr>
            <p:nvPr/>
          </p:nvSpPr>
          <p:spPr bwMode="auto">
            <a:xfrm>
              <a:off x="5987035" y="2348553"/>
              <a:ext cx="48640" cy="89740"/>
            </a:xfrm>
            <a:custGeom>
              <a:avLst/>
              <a:gdLst/>
              <a:ahLst/>
              <a:cxnLst>
                <a:cxn ang="0">
                  <a:pos x="36" y="107"/>
                </a:cxn>
                <a:cxn ang="0">
                  <a:pos x="38" y="94"/>
                </a:cxn>
                <a:cxn ang="0">
                  <a:pos x="43" y="86"/>
                </a:cxn>
                <a:cxn ang="0">
                  <a:pos x="36" y="81"/>
                </a:cxn>
                <a:cxn ang="0">
                  <a:pos x="40" y="68"/>
                </a:cxn>
                <a:cxn ang="0">
                  <a:pos x="32" y="54"/>
                </a:cxn>
                <a:cxn ang="0">
                  <a:pos x="40" y="54"/>
                </a:cxn>
                <a:cxn ang="0">
                  <a:pos x="40" y="45"/>
                </a:cxn>
                <a:cxn ang="0">
                  <a:pos x="47" y="30"/>
                </a:cxn>
                <a:cxn ang="0">
                  <a:pos x="53" y="19"/>
                </a:cxn>
                <a:cxn ang="0">
                  <a:pos x="57" y="15"/>
                </a:cxn>
                <a:cxn ang="0">
                  <a:pos x="53" y="4"/>
                </a:cxn>
                <a:cxn ang="0">
                  <a:pos x="40" y="5"/>
                </a:cxn>
                <a:cxn ang="0">
                  <a:pos x="25" y="7"/>
                </a:cxn>
                <a:cxn ang="0">
                  <a:pos x="23" y="0"/>
                </a:cxn>
                <a:cxn ang="0">
                  <a:pos x="11" y="0"/>
                </a:cxn>
                <a:cxn ang="0">
                  <a:pos x="15" y="13"/>
                </a:cxn>
                <a:cxn ang="0">
                  <a:pos x="13" y="24"/>
                </a:cxn>
                <a:cxn ang="0">
                  <a:pos x="15" y="34"/>
                </a:cxn>
                <a:cxn ang="0">
                  <a:pos x="11" y="41"/>
                </a:cxn>
                <a:cxn ang="0">
                  <a:pos x="6" y="53"/>
                </a:cxn>
                <a:cxn ang="0">
                  <a:pos x="0" y="64"/>
                </a:cxn>
                <a:cxn ang="0">
                  <a:pos x="0" y="77"/>
                </a:cxn>
                <a:cxn ang="0">
                  <a:pos x="4" y="73"/>
                </a:cxn>
                <a:cxn ang="0">
                  <a:pos x="8" y="73"/>
                </a:cxn>
                <a:cxn ang="0">
                  <a:pos x="4" y="79"/>
                </a:cxn>
                <a:cxn ang="0">
                  <a:pos x="4" y="85"/>
                </a:cxn>
                <a:cxn ang="0">
                  <a:pos x="13" y="83"/>
                </a:cxn>
                <a:cxn ang="0">
                  <a:pos x="11" y="88"/>
                </a:cxn>
                <a:cxn ang="0">
                  <a:pos x="10" y="103"/>
                </a:cxn>
                <a:cxn ang="0">
                  <a:pos x="6" y="113"/>
                </a:cxn>
                <a:cxn ang="0">
                  <a:pos x="13" y="111"/>
                </a:cxn>
                <a:cxn ang="0">
                  <a:pos x="25" y="117"/>
                </a:cxn>
                <a:cxn ang="0">
                  <a:pos x="36" y="113"/>
                </a:cxn>
                <a:cxn ang="0">
                  <a:pos x="36" y="111"/>
                </a:cxn>
                <a:cxn ang="0">
                  <a:pos x="36" y="111"/>
                </a:cxn>
              </a:cxnLst>
              <a:rect l="0" t="0" r="r" b="b"/>
              <a:pathLst>
                <a:path w="57" h="117">
                  <a:moveTo>
                    <a:pt x="36" y="111"/>
                  </a:moveTo>
                  <a:lnTo>
                    <a:pt x="36" y="107"/>
                  </a:lnTo>
                  <a:lnTo>
                    <a:pt x="34" y="101"/>
                  </a:lnTo>
                  <a:lnTo>
                    <a:pt x="38" y="94"/>
                  </a:lnTo>
                  <a:lnTo>
                    <a:pt x="43" y="88"/>
                  </a:lnTo>
                  <a:lnTo>
                    <a:pt x="43" y="86"/>
                  </a:lnTo>
                  <a:lnTo>
                    <a:pt x="40" y="86"/>
                  </a:lnTo>
                  <a:lnTo>
                    <a:pt x="36" y="81"/>
                  </a:lnTo>
                  <a:lnTo>
                    <a:pt x="40" y="75"/>
                  </a:lnTo>
                  <a:lnTo>
                    <a:pt x="40" y="68"/>
                  </a:lnTo>
                  <a:lnTo>
                    <a:pt x="38" y="64"/>
                  </a:lnTo>
                  <a:lnTo>
                    <a:pt x="32" y="54"/>
                  </a:lnTo>
                  <a:lnTo>
                    <a:pt x="38" y="54"/>
                  </a:lnTo>
                  <a:lnTo>
                    <a:pt x="40" y="54"/>
                  </a:lnTo>
                  <a:lnTo>
                    <a:pt x="45" y="49"/>
                  </a:lnTo>
                  <a:lnTo>
                    <a:pt x="40" y="45"/>
                  </a:lnTo>
                  <a:lnTo>
                    <a:pt x="47" y="41"/>
                  </a:lnTo>
                  <a:lnTo>
                    <a:pt x="47" y="30"/>
                  </a:lnTo>
                  <a:lnTo>
                    <a:pt x="45" y="24"/>
                  </a:lnTo>
                  <a:lnTo>
                    <a:pt x="53" y="19"/>
                  </a:lnTo>
                  <a:lnTo>
                    <a:pt x="55" y="19"/>
                  </a:lnTo>
                  <a:lnTo>
                    <a:pt x="57" y="15"/>
                  </a:lnTo>
                  <a:lnTo>
                    <a:pt x="53" y="7"/>
                  </a:lnTo>
                  <a:lnTo>
                    <a:pt x="53" y="4"/>
                  </a:lnTo>
                  <a:lnTo>
                    <a:pt x="43" y="4"/>
                  </a:lnTo>
                  <a:lnTo>
                    <a:pt x="40" y="5"/>
                  </a:lnTo>
                  <a:lnTo>
                    <a:pt x="28" y="4"/>
                  </a:lnTo>
                  <a:lnTo>
                    <a:pt x="25" y="7"/>
                  </a:lnTo>
                  <a:lnTo>
                    <a:pt x="23" y="4"/>
                  </a:lnTo>
                  <a:lnTo>
                    <a:pt x="23" y="0"/>
                  </a:lnTo>
                  <a:lnTo>
                    <a:pt x="19" y="0"/>
                  </a:lnTo>
                  <a:lnTo>
                    <a:pt x="11" y="0"/>
                  </a:lnTo>
                  <a:lnTo>
                    <a:pt x="11" y="5"/>
                  </a:lnTo>
                  <a:lnTo>
                    <a:pt x="15" y="13"/>
                  </a:lnTo>
                  <a:lnTo>
                    <a:pt x="13" y="24"/>
                  </a:lnTo>
                  <a:lnTo>
                    <a:pt x="13" y="24"/>
                  </a:lnTo>
                  <a:lnTo>
                    <a:pt x="13" y="30"/>
                  </a:lnTo>
                  <a:lnTo>
                    <a:pt x="15" y="34"/>
                  </a:lnTo>
                  <a:lnTo>
                    <a:pt x="13" y="37"/>
                  </a:lnTo>
                  <a:lnTo>
                    <a:pt x="11" y="41"/>
                  </a:lnTo>
                  <a:lnTo>
                    <a:pt x="11" y="47"/>
                  </a:lnTo>
                  <a:lnTo>
                    <a:pt x="6" y="53"/>
                  </a:lnTo>
                  <a:lnTo>
                    <a:pt x="6" y="54"/>
                  </a:lnTo>
                  <a:lnTo>
                    <a:pt x="0" y="64"/>
                  </a:lnTo>
                  <a:lnTo>
                    <a:pt x="0" y="73"/>
                  </a:lnTo>
                  <a:lnTo>
                    <a:pt x="0" y="77"/>
                  </a:lnTo>
                  <a:lnTo>
                    <a:pt x="4" y="77"/>
                  </a:lnTo>
                  <a:lnTo>
                    <a:pt x="4" y="73"/>
                  </a:lnTo>
                  <a:lnTo>
                    <a:pt x="8" y="71"/>
                  </a:lnTo>
                  <a:lnTo>
                    <a:pt x="8" y="73"/>
                  </a:lnTo>
                  <a:lnTo>
                    <a:pt x="10" y="77"/>
                  </a:lnTo>
                  <a:lnTo>
                    <a:pt x="4" y="79"/>
                  </a:lnTo>
                  <a:lnTo>
                    <a:pt x="4" y="83"/>
                  </a:lnTo>
                  <a:lnTo>
                    <a:pt x="4" y="85"/>
                  </a:lnTo>
                  <a:lnTo>
                    <a:pt x="8" y="83"/>
                  </a:lnTo>
                  <a:lnTo>
                    <a:pt x="13" y="83"/>
                  </a:lnTo>
                  <a:lnTo>
                    <a:pt x="10" y="85"/>
                  </a:lnTo>
                  <a:lnTo>
                    <a:pt x="11" y="88"/>
                  </a:lnTo>
                  <a:lnTo>
                    <a:pt x="10" y="94"/>
                  </a:lnTo>
                  <a:lnTo>
                    <a:pt x="10" y="103"/>
                  </a:lnTo>
                  <a:lnTo>
                    <a:pt x="8" y="111"/>
                  </a:lnTo>
                  <a:lnTo>
                    <a:pt x="6" y="113"/>
                  </a:lnTo>
                  <a:lnTo>
                    <a:pt x="8" y="115"/>
                  </a:lnTo>
                  <a:lnTo>
                    <a:pt x="13" y="111"/>
                  </a:lnTo>
                  <a:lnTo>
                    <a:pt x="23" y="113"/>
                  </a:lnTo>
                  <a:lnTo>
                    <a:pt x="25" y="117"/>
                  </a:lnTo>
                  <a:lnTo>
                    <a:pt x="30" y="113"/>
                  </a:lnTo>
                  <a:lnTo>
                    <a:pt x="36" y="113"/>
                  </a:lnTo>
                  <a:lnTo>
                    <a:pt x="36" y="111"/>
                  </a:lnTo>
                  <a:lnTo>
                    <a:pt x="36" y="111"/>
                  </a:lnTo>
                  <a:lnTo>
                    <a:pt x="36" y="111"/>
                  </a:lnTo>
                  <a:lnTo>
                    <a:pt x="36" y="111"/>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28">
              <a:extLst>
                <a:ext uri="{FF2B5EF4-FFF2-40B4-BE49-F238E27FC236}">
                  <a16:creationId xmlns:a16="http://schemas.microsoft.com/office/drawing/2014/main" id="{95409F47-57BA-664B-AD58-8A46EA536CDF}"/>
                </a:ext>
              </a:extLst>
            </p:cNvPr>
            <p:cNvSpPr>
              <a:spLocks/>
            </p:cNvSpPr>
            <p:nvPr/>
          </p:nvSpPr>
          <p:spPr bwMode="auto">
            <a:xfrm>
              <a:off x="6926559" y="2603969"/>
              <a:ext cx="77654" cy="53691"/>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rgbClr val="ED771A"/>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29">
              <a:extLst>
                <a:ext uri="{FF2B5EF4-FFF2-40B4-BE49-F238E27FC236}">
                  <a16:creationId xmlns:a16="http://schemas.microsoft.com/office/drawing/2014/main" id="{FEF45C9A-B093-A94B-863F-374BF9D52D44}"/>
                </a:ext>
              </a:extLst>
            </p:cNvPr>
            <p:cNvSpPr>
              <a:spLocks/>
            </p:cNvSpPr>
            <p:nvPr/>
          </p:nvSpPr>
          <p:spPr bwMode="auto">
            <a:xfrm>
              <a:off x="6926559" y="2603969"/>
              <a:ext cx="77654" cy="53691"/>
            </a:xfrm>
            <a:custGeom>
              <a:avLst/>
              <a:gdLst/>
              <a:ahLst/>
              <a:cxnLst>
                <a:cxn ang="0">
                  <a:pos x="0" y="36"/>
                </a:cxn>
                <a:cxn ang="0">
                  <a:pos x="0" y="44"/>
                </a:cxn>
                <a:cxn ang="0">
                  <a:pos x="4" y="49"/>
                </a:cxn>
                <a:cxn ang="0">
                  <a:pos x="6" y="62"/>
                </a:cxn>
                <a:cxn ang="0">
                  <a:pos x="64" y="70"/>
                </a:cxn>
                <a:cxn ang="0">
                  <a:pos x="70" y="64"/>
                </a:cxn>
                <a:cxn ang="0">
                  <a:pos x="85" y="15"/>
                </a:cxn>
                <a:cxn ang="0">
                  <a:pos x="91" y="15"/>
                </a:cxn>
                <a:cxn ang="0">
                  <a:pos x="89" y="11"/>
                </a:cxn>
                <a:cxn ang="0">
                  <a:pos x="89" y="8"/>
                </a:cxn>
                <a:cxn ang="0">
                  <a:pos x="85" y="10"/>
                </a:cxn>
                <a:cxn ang="0">
                  <a:pos x="85" y="8"/>
                </a:cxn>
                <a:cxn ang="0">
                  <a:pos x="85" y="8"/>
                </a:cxn>
                <a:cxn ang="0">
                  <a:pos x="85" y="8"/>
                </a:cxn>
                <a:cxn ang="0">
                  <a:pos x="83" y="0"/>
                </a:cxn>
                <a:cxn ang="0">
                  <a:pos x="81" y="0"/>
                </a:cxn>
                <a:cxn ang="0">
                  <a:pos x="81" y="4"/>
                </a:cxn>
                <a:cxn ang="0">
                  <a:pos x="79" y="4"/>
                </a:cxn>
                <a:cxn ang="0">
                  <a:pos x="68" y="11"/>
                </a:cxn>
                <a:cxn ang="0">
                  <a:pos x="68" y="15"/>
                </a:cxn>
                <a:cxn ang="0">
                  <a:pos x="57" y="25"/>
                </a:cxn>
                <a:cxn ang="0">
                  <a:pos x="55" y="28"/>
                </a:cxn>
                <a:cxn ang="0">
                  <a:pos x="57" y="28"/>
                </a:cxn>
                <a:cxn ang="0">
                  <a:pos x="57" y="30"/>
                </a:cxn>
                <a:cxn ang="0">
                  <a:pos x="55" y="36"/>
                </a:cxn>
                <a:cxn ang="0">
                  <a:pos x="51" y="34"/>
                </a:cxn>
                <a:cxn ang="0">
                  <a:pos x="51" y="34"/>
                </a:cxn>
                <a:cxn ang="0">
                  <a:pos x="45" y="34"/>
                </a:cxn>
                <a:cxn ang="0">
                  <a:pos x="49" y="38"/>
                </a:cxn>
                <a:cxn ang="0">
                  <a:pos x="45" y="38"/>
                </a:cxn>
                <a:cxn ang="0">
                  <a:pos x="45" y="40"/>
                </a:cxn>
                <a:cxn ang="0">
                  <a:pos x="40" y="42"/>
                </a:cxn>
                <a:cxn ang="0">
                  <a:pos x="36" y="42"/>
                </a:cxn>
                <a:cxn ang="0">
                  <a:pos x="34" y="40"/>
                </a:cxn>
                <a:cxn ang="0">
                  <a:pos x="30" y="40"/>
                </a:cxn>
                <a:cxn ang="0">
                  <a:pos x="29" y="38"/>
                </a:cxn>
                <a:cxn ang="0">
                  <a:pos x="27" y="40"/>
                </a:cxn>
                <a:cxn ang="0">
                  <a:pos x="19" y="38"/>
                </a:cxn>
                <a:cxn ang="0">
                  <a:pos x="13" y="44"/>
                </a:cxn>
                <a:cxn ang="0">
                  <a:pos x="10" y="44"/>
                </a:cxn>
                <a:cxn ang="0">
                  <a:pos x="6" y="44"/>
                </a:cxn>
                <a:cxn ang="0">
                  <a:pos x="4" y="44"/>
                </a:cxn>
                <a:cxn ang="0">
                  <a:pos x="2" y="36"/>
                </a:cxn>
                <a:cxn ang="0">
                  <a:pos x="2" y="36"/>
                </a:cxn>
                <a:cxn ang="0">
                  <a:pos x="0" y="36"/>
                </a:cxn>
                <a:cxn ang="0">
                  <a:pos x="0" y="36"/>
                </a:cxn>
                <a:cxn ang="0">
                  <a:pos x="0" y="36"/>
                </a:cxn>
              </a:cxnLst>
              <a:rect l="0" t="0" r="r" b="b"/>
              <a:pathLst>
                <a:path w="91" h="70">
                  <a:moveTo>
                    <a:pt x="0" y="36"/>
                  </a:moveTo>
                  <a:lnTo>
                    <a:pt x="0" y="44"/>
                  </a:lnTo>
                  <a:lnTo>
                    <a:pt x="4" y="49"/>
                  </a:lnTo>
                  <a:lnTo>
                    <a:pt x="6" y="62"/>
                  </a:lnTo>
                  <a:lnTo>
                    <a:pt x="64" y="70"/>
                  </a:lnTo>
                  <a:lnTo>
                    <a:pt x="70" y="64"/>
                  </a:lnTo>
                  <a:lnTo>
                    <a:pt x="85" y="15"/>
                  </a:lnTo>
                  <a:lnTo>
                    <a:pt x="91" y="15"/>
                  </a:lnTo>
                  <a:lnTo>
                    <a:pt x="89" y="11"/>
                  </a:lnTo>
                  <a:lnTo>
                    <a:pt x="89" y="8"/>
                  </a:lnTo>
                  <a:lnTo>
                    <a:pt x="85" y="10"/>
                  </a:lnTo>
                  <a:lnTo>
                    <a:pt x="85" y="8"/>
                  </a:lnTo>
                  <a:lnTo>
                    <a:pt x="85" y="8"/>
                  </a:lnTo>
                  <a:lnTo>
                    <a:pt x="85" y="8"/>
                  </a:lnTo>
                  <a:lnTo>
                    <a:pt x="83" y="0"/>
                  </a:lnTo>
                  <a:lnTo>
                    <a:pt x="81" y="0"/>
                  </a:lnTo>
                  <a:lnTo>
                    <a:pt x="81" y="4"/>
                  </a:lnTo>
                  <a:lnTo>
                    <a:pt x="79" y="4"/>
                  </a:lnTo>
                  <a:lnTo>
                    <a:pt x="68" y="11"/>
                  </a:lnTo>
                  <a:lnTo>
                    <a:pt x="68" y="15"/>
                  </a:lnTo>
                  <a:lnTo>
                    <a:pt x="57" y="25"/>
                  </a:lnTo>
                  <a:lnTo>
                    <a:pt x="55" y="28"/>
                  </a:lnTo>
                  <a:lnTo>
                    <a:pt x="57" y="28"/>
                  </a:lnTo>
                  <a:lnTo>
                    <a:pt x="57" y="30"/>
                  </a:lnTo>
                  <a:lnTo>
                    <a:pt x="55" y="36"/>
                  </a:lnTo>
                  <a:lnTo>
                    <a:pt x="51" y="34"/>
                  </a:lnTo>
                  <a:lnTo>
                    <a:pt x="51" y="34"/>
                  </a:lnTo>
                  <a:lnTo>
                    <a:pt x="45" y="34"/>
                  </a:lnTo>
                  <a:lnTo>
                    <a:pt x="49" y="38"/>
                  </a:lnTo>
                  <a:lnTo>
                    <a:pt x="45" y="38"/>
                  </a:lnTo>
                  <a:lnTo>
                    <a:pt x="45" y="40"/>
                  </a:lnTo>
                  <a:lnTo>
                    <a:pt x="40" y="42"/>
                  </a:lnTo>
                  <a:lnTo>
                    <a:pt x="36" y="42"/>
                  </a:lnTo>
                  <a:lnTo>
                    <a:pt x="34" y="40"/>
                  </a:lnTo>
                  <a:lnTo>
                    <a:pt x="30" y="40"/>
                  </a:lnTo>
                  <a:lnTo>
                    <a:pt x="29" y="38"/>
                  </a:lnTo>
                  <a:lnTo>
                    <a:pt x="27" y="40"/>
                  </a:lnTo>
                  <a:lnTo>
                    <a:pt x="19" y="38"/>
                  </a:lnTo>
                  <a:lnTo>
                    <a:pt x="13" y="44"/>
                  </a:lnTo>
                  <a:lnTo>
                    <a:pt x="10" y="44"/>
                  </a:lnTo>
                  <a:lnTo>
                    <a:pt x="6" y="44"/>
                  </a:lnTo>
                  <a:lnTo>
                    <a:pt x="4" y="44"/>
                  </a:lnTo>
                  <a:lnTo>
                    <a:pt x="2" y="36"/>
                  </a:lnTo>
                  <a:lnTo>
                    <a:pt x="2" y="36"/>
                  </a:lnTo>
                  <a:lnTo>
                    <a:pt x="0" y="36"/>
                  </a:lnTo>
                  <a:lnTo>
                    <a:pt x="0" y="36"/>
                  </a:lnTo>
                  <a:lnTo>
                    <a:pt x="0" y="36"/>
                  </a:lnTo>
                  <a:close/>
                </a:path>
              </a:pathLst>
            </a:custGeom>
            <a:solidFill>
              <a:srgbClr val="0A9A9C"/>
            </a:solidFill>
            <a:ln w="3175" cap="flat">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30">
              <a:extLst>
                <a:ext uri="{FF2B5EF4-FFF2-40B4-BE49-F238E27FC236}">
                  <a16:creationId xmlns:a16="http://schemas.microsoft.com/office/drawing/2014/main" id="{8EE1261E-3E24-5640-A8E1-8CD47191B82E}"/>
                </a:ext>
              </a:extLst>
            </p:cNvPr>
            <p:cNvSpPr>
              <a:spLocks/>
            </p:cNvSpPr>
            <p:nvPr/>
          </p:nvSpPr>
          <p:spPr bwMode="auto">
            <a:xfrm>
              <a:off x="5937543" y="2453635"/>
              <a:ext cx="174934" cy="135761"/>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lnTo>
                    <a:pt x="68" y="177"/>
                  </a:lnTo>
                  <a:close/>
                </a:path>
              </a:pathLst>
            </a:custGeom>
            <a:solidFill>
              <a:schemeClr val="accent5"/>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31">
              <a:extLst>
                <a:ext uri="{FF2B5EF4-FFF2-40B4-BE49-F238E27FC236}">
                  <a16:creationId xmlns:a16="http://schemas.microsoft.com/office/drawing/2014/main" id="{30DE7219-9CFB-C541-9781-0F352C3B46F7}"/>
                </a:ext>
              </a:extLst>
            </p:cNvPr>
            <p:cNvSpPr>
              <a:spLocks/>
            </p:cNvSpPr>
            <p:nvPr/>
          </p:nvSpPr>
          <p:spPr bwMode="auto">
            <a:xfrm>
              <a:off x="5937543" y="2453635"/>
              <a:ext cx="174934" cy="135761"/>
            </a:xfrm>
            <a:custGeom>
              <a:avLst/>
              <a:gdLst/>
              <a:ahLst/>
              <a:cxnLst>
                <a:cxn ang="0">
                  <a:pos x="68" y="168"/>
                </a:cxn>
                <a:cxn ang="0">
                  <a:pos x="68" y="168"/>
                </a:cxn>
                <a:cxn ang="0">
                  <a:pos x="77" y="147"/>
                </a:cxn>
                <a:cxn ang="0">
                  <a:pos x="86" y="140"/>
                </a:cxn>
                <a:cxn ang="0">
                  <a:pos x="100" y="136"/>
                </a:cxn>
                <a:cxn ang="0">
                  <a:pos x="111" y="136"/>
                </a:cxn>
                <a:cxn ang="0">
                  <a:pos x="132" y="126"/>
                </a:cxn>
                <a:cxn ang="0">
                  <a:pos x="164" y="106"/>
                </a:cxn>
                <a:cxn ang="0">
                  <a:pos x="165" y="96"/>
                </a:cxn>
                <a:cxn ang="0">
                  <a:pos x="171" y="91"/>
                </a:cxn>
                <a:cxn ang="0">
                  <a:pos x="179" y="81"/>
                </a:cxn>
                <a:cxn ang="0">
                  <a:pos x="203" y="78"/>
                </a:cxn>
                <a:cxn ang="0">
                  <a:pos x="205" y="72"/>
                </a:cxn>
                <a:cxn ang="0">
                  <a:pos x="203" y="72"/>
                </a:cxn>
                <a:cxn ang="0">
                  <a:pos x="197" y="68"/>
                </a:cxn>
                <a:cxn ang="0">
                  <a:pos x="194" y="59"/>
                </a:cxn>
                <a:cxn ang="0">
                  <a:pos x="192" y="44"/>
                </a:cxn>
                <a:cxn ang="0">
                  <a:pos x="192" y="29"/>
                </a:cxn>
                <a:cxn ang="0">
                  <a:pos x="190" y="25"/>
                </a:cxn>
                <a:cxn ang="0">
                  <a:pos x="188" y="19"/>
                </a:cxn>
                <a:cxn ang="0">
                  <a:pos x="182" y="19"/>
                </a:cxn>
                <a:cxn ang="0">
                  <a:pos x="171" y="15"/>
                </a:cxn>
                <a:cxn ang="0">
                  <a:pos x="169" y="12"/>
                </a:cxn>
                <a:cxn ang="0">
                  <a:pos x="165" y="15"/>
                </a:cxn>
                <a:cxn ang="0">
                  <a:pos x="154" y="15"/>
                </a:cxn>
                <a:cxn ang="0">
                  <a:pos x="147" y="17"/>
                </a:cxn>
                <a:cxn ang="0">
                  <a:pos x="137" y="17"/>
                </a:cxn>
                <a:cxn ang="0">
                  <a:pos x="132" y="10"/>
                </a:cxn>
                <a:cxn ang="0">
                  <a:pos x="130" y="4"/>
                </a:cxn>
                <a:cxn ang="0">
                  <a:pos x="130" y="0"/>
                </a:cxn>
                <a:cxn ang="0">
                  <a:pos x="124" y="4"/>
                </a:cxn>
                <a:cxn ang="0">
                  <a:pos x="116" y="8"/>
                </a:cxn>
                <a:cxn ang="0">
                  <a:pos x="113" y="25"/>
                </a:cxn>
                <a:cxn ang="0">
                  <a:pos x="111" y="36"/>
                </a:cxn>
                <a:cxn ang="0">
                  <a:pos x="100" y="44"/>
                </a:cxn>
                <a:cxn ang="0">
                  <a:pos x="88" y="47"/>
                </a:cxn>
                <a:cxn ang="0">
                  <a:pos x="83" y="53"/>
                </a:cxn>
                <a:cxn ang="0">
                  <a:pos x="69" y="61"/>
                </a:cxn>
                <a:cxn ang="0">
                  <a:pos x="60" y="68"/>
                </a:cxn>
                <a:cxn ang="0">
                  <a:pos x="62" y="81"/>
                </a:cxn>
                <a:cxn ang="0">
                  <a:pos x="49" y="96"/>
                </a:cxn>
                <a:cxn ang="0">
                  <a:pos x="52" y="108"/>
                </a:cxn>
                <a:cxn ang="0">
                  <a:pos x="52" y="117"/>
                </a:cxn>
                <a:cxn ang="0">
                  <a:pos x="52" y="123"/>
                </a:cxn>
                <a:cxn ang="0">
                  <a:pos x="39" y="140"/>
                </a:cxn>
                <a:cxn ang="0">
                  <a:pos x="28" y="147"/>
                </a:cxn>
                <a:cxn ang="0">
                  <a:pos x="0" y="168"/>
                </a:cxn>
              </a:cxnLst>
              <a:rect l="0" t="0" r="r" b="b"/>
              <a:pathLst>
                <a:path w="205" h="177">
                  <a:moveTo>
                    <a:pt x="68" y="177"/>
                  </a:moveTo>
                  <a:lnTo>
                    <a:pt x="68" y="168"/>
                  </a:lnTo>
                  <a:lnTo>
                    <a:pt x="68" y="168"/>
                  </a:lnTo>
                  <a:lnTo>
                    <a:pt x="68" y="168"/>
                  </a:lnTo>
                  <a:lnTo>
                    <a:pt x="68" y="155"/>
                  </a:lnTo>
                  <a:lnTo>
                    <a:pt x="77" y="147"/>
                  </a:lnTo>
                  <a:lnTo>
                    <a:pt x="81" y="142"/>
                  </a:lnTo>
                  <a:lnTo>
                    <a:pt x="86" y="140"/>
                  </a:lnTo>
                  <a:lnTo>
                    <a:pt x="94" y="136"/>
                  </a:lnTo>
                  <a:lnTo>
                    <a:pt x="100" y="136"/>
                  </a:lnTo>
                  <a:lnTo>
                    <a:pt x="103" y="136"/>
                  </a:lnTo>
                  <a:lnTo>
                    <a:pt x="111" y="136"/>
                  </a:lnTo>
                  <a:lnTo>
                    <a:pt x="116" y="136"/>
                  </a:lnTo>
                  <a:lnTo>
                    <a:pt x="132" y="126"/>
                  </a:lnTo>
                  <a:lnTo>
                    <a:pt x="150" y="115"/>
                  </a:lnTo>
                  <a:lnTo>
                    <a:pt x="164" y="106"/>
                  </a:lnTo>
                  <a:lnTo>
                    <a:pt x="165" y="102"/>
                  </a:lnTo>
                  <a:lnTo>
                    <a:pt x="165" y="96"/>
                  </a:lnTo>
                  <a:lnTo>
                    <a:pt x="167" y="93"/>
                  </a:lnTo>
                  <a:lnTo>
                    <a:pt x="171" y="91"/>
                  </a:lnTo>
                  <a:lnTo>
                    <a:pt x="175" y="83"/>
                  </a:lnTo>
                  <a:lnTo>
                    <a:pt x="179" y="81"/>
                  </a:lnTo>
                  <a:lnTo>
                    <a:pt x="203" y="81"/>
                  </a:lnTo>
                  <a:lnTo>
                    <a:pt x="203" y="78"/>
                  </a:lnTo>
                  <a:lnTo>
                    <a:pt x="203" y="76"/>
                  </a:lnTo>
                  <a:lnTo>
                    <a:pt x="205" y="72"/>
                  </a:lnTo>
                  <a:lnTo>
                    <a:pt x="203" y="72"/>
                  </a:lnTo>
                  <a:lnTo>
                    <a:pt x="203" y="72"/>
                  </a:lnTo>
                  <a:lnTo>
                    <a:pt x="199" y="68"/>
                  </a:lnTo>
                  <a:lnTo>
                    <a:pt x="197" y="68"/>
                  </a:lnTo>
                  <a:lnTo>
                    <a:pt x="197" y="64"/>
                  </a:lnTo>
                  <a:lnTo>
                    <a:pt x="194" y="59"/>
                  </a:lnTo>
                  <a:lnTo>
                    <a:pt x="192" y="44"/>
                  </a:lnTo>
                  <a:lnTo>
                    <a:pt x="192" y="44"/>
                  </a:lnTo>
                  <a:lnTo>
                    <a:pt x="192" y="36"/>
                  </a:lnTo>
                  <a:lnTo>
                    <a:pt x="192" y="29"/>
                  </a:lnTo>
                  <a:lnTo>
                    <a:pt x="192" y="29"/>
                  </a:lnTo>
                  <a:lnTo>
                    <a:pt x="190" y="25"/>
                  </a:lnTo>
                  <a:lnTo>
                    <a:pt x="188" y="23"/>
                  </a:lnTo>
                  <a:lnTo>
                    <a:pt x="188" y="19"/>
                  </a:lnTo>
                  <a:lnTo>
                    <a:pt x="186" y="19"/>
                  </a:lnTo>
                  <a:lnTo>
                    <a:pt x="182" y="19"/>
                  </a:lnTo>
                  <a:lnTo>
                    <a:pt x="173" y="17"/>
                  </a:lnTo>
                  <a:lnTo>
                    <a:pt x="171" y="15"/>
                  </a:lnTo>
                  <a:lnTo>
                    <a:pt x="171" y="12"/>
                  </a:lnTo>
                  <a:lnTo>
                    <a:pt x="169" y="12"/>
                  </a:lnTo>
                  <a:lnTo>
                    <a:pt x="169" y="12"/>
                  </a:lnTo>
                  <a:lnTo>
                    <a:pt x="165" y="15"/>
                  </a:lnTo>
                  <a:lnTo>
                    <a:pt x="160" y="15"/>
                  </a:lnTo>
                  <a:lnTo>
                    <a:pt x="154" y="15"/>
                  </a:lnTo>
                  <a:lnTo>
                    <a:pt x="150" y="13"/>
                  </a:lnTo>
                  <a:lnTo>
                    <a:pt x="147" y="17"/>
                  </a:lnTo>
                  <a:lnTo>
                    <a:pt x="141" y="17"/>
                  </a:lnTo>
                  <a:lnTo>
                    <a:pt x="137" y="17"/>
                  </a:lnTo>
                  <a:lnTo>
                    <a:pt x="132" y="12"/>
                  </a:lnTo>
                  <a:lnTo>
                    <a:pt x="132" y="10"/>
                  </a:lnTo>
                  <a:lnTo>
                    <a:pt x="130" y="6"/>
                  </a:lnTo>
                  <a:lnTo>
                    <a:pt x="130" y="4"/>
                  </a:lnTo>
                  <a:lnTo>
                    <a:pt x="132" y="4"/>
                  </a:lnTo>
                  <a:lnTo>
                    <a:pt x="130" y="0"/>
                  </a:lnTo>
                  <a:lnTo>
                    <a:pt x="126" y="4"/>
                  </a:lnTo>
                  <a:lnTo>
                    <a:pt x="124" y="4"/>
                  </a:lnTo>
                  <a:lnTo>
                    <a:pt x="120" y="4"/>
                  </a:lnTo>
                  <a:lnTo>
                    <a:pt x="116" y="8"/>
                  </a:lnTo>
                  <a:lnTo>
                    <a:pt x="116" y="19"/>
                  </a:lnTo>
                  <a:lnTo>
                    <a:pt x="113" y="25"/>
                  </a:lnTo>
                  <a:lnTo>
                    <a:pt x="111" y="30"/>
                  </a:lnTo>
                  <a:lnTo>
                    <a:pt x="111" y="36"/>
                  </a:lnTo>
                  <a:lnTo>
                    <a:pt x="101" y="44"/>
                  </a:lnTo>
                  <a:lnTo>
                    <a:pt x="100" y="44"/>
                  </a:lnTo>
                  <a:lnTo>
                    <a:pt x="96" y="47"/>
                  </a:lnTo>
                  <a:lnTo>
                    <a:pt x="88" y="47"/>
                  </a:lnTo>
                  <a:lnTo>
                    <a:pt x="83" y="53"/>
                  </a:lnTo>
                  <a:lnTo>
                    <a:pt x="83" y="53"/>
                  </a:lnTo>
                  <a:lnTo>
                    <a:pt x="75" y="59"/>
                  </a:lnTo>
                  <a:lnTo>
                    <a:pt x="69" y="61"/>
                  </a:lnTo>
                  <a:lnTo>
                    <a:pt x="68" y="64"/>
                  </a:lnTo>
                  <a:lnTo>
                    <a:pt x="60" y="68"/>
                  </a:lnTo>
                  <a:lnTo>
                    <a:pt x="64" y="76"/>
                  </a:lnTo>
                  <a:lnTo>
                    <a:pt x="62" y="81"/>
                  </a:lnTo>
                  <a:lnTo>
                    <a:pt x="54" y="87"/>
                  </a:lnTo>
                  <a:lnTo>
                    <a:pt x="49" y="96"/>
                  </a:lnTo>
                  <a:lnTo>
                    <a:pt x="49" y="100"/>
                  </a:lnTo>
                  <a:lnTo>
                    <a:pt x="52" y="108"/>
                  </a:lnTo>
                  <a:lnTo>
                    <a:pt x="51" y="115"/>
                  </a:lnTo>
                  <a:lnTo>
                    <a:pt x="52" y="117"/>
                  </a:lnTo>
                  <a:lnTo>
                    <a:pt x="54" y="117"/>
                  </a:lnTo>
                  <a:lnTo>
                    <a:pt x="52" y="123"/>
                  </a:lnTo>
                  <a:lnTo>
                    <a:pt x="39" y="136"/>
                  </a:lnTo>
                  <a:lnTo>
                    <a:pt x="39" y="140"/>
                  </a:lnTo>
                  <a:lnTo>
                    <a:pt x="36" y="147"/>
                  </a:lnTo>
                  <a:lnTo>
                    <a:pt x="28" y="147"/>
                  </a:lnTo>
                  <a:lnTo>
                    <a:pt x="15" y="160"/>
                  </a:lnTo>
                  <a:lnTo>
                    <a:pt x="0" y="168"/>
                  </a:lnTo>
                </a:path>
              </a:pathLst>
            </a:custGeom>
            <a:solidFill>
              <a:srgbClr val="0A9A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Line 32">
              <a:extLst>
                <a:ext uri="{FF2B5EF4-FFF2-40B4-BE49-F238E27FC236}">
                  <a16:creationId xmlns:a16="http://schemas.microsoft.com/office/drawing/2014/main" id="{11E2510E-B53D-0949-B1AB-20BD48543B4B}"/>
                </a:ext>
              </a:extLst>
            </p:cNvPr>
            <p:cNvSpPr>
              <a:spLocks noChangeShapeType="1"/>
            </p:cNvSpPr>
            <p:nvPr/>
          </p:nvSpPr>
          <p:spPr bwMode="auto">
            <a:xfrm>
              <a:off x="5995570" y="2587862"/>
              <a:ext cx="854" cy="767"/>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Line 33">
              <a:extLst>
                <a:ext uri="{FF2B5EF4-FFF2-40B4-BE49-F238E27FC236}">
                  <a16:creationId xmlns:a16="http://schemas.microsoft.com/office/drawing/2014/main" id="{102F9747-78B7-BA42-9388-01679C4F835C}"/>
                </a:ext>
              </a:extLst>
            </p:cNvPr>
            <p:cNvSpPr>
              <a:spLocks noChangeShapeType="1"/>
            </p:cNvSpPr>
            <p:nvPr/>
          </p:nvSpPr>
          <p:spPr bwMode="auto">
            <a:xfrm>
              <a:off x="5995570" y="2587862"/>
              <a:ext cx="854" cy="767"/>
            </a:xfrm>
            <a:prstGeom prst="line">
              <a:avLst/>
            </a:prstGeom>
            <a:no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34">
              <a:extLst>
                <a:ext uri="{FF2B5EF4-FFF2-40B4-BE49-F238E27FC236}">
                  <a16:creationId xmlns:a16="http://schemas.microsoft.com/office/drawing/2014/main" id="{B198A54A-9A74-FD41-85B2-49EC927B0A2B}"/>
                </a:ext>
              </a:extLst>
            </p:cNvPr>
            <p:cNvSpPr>
              <a:spLocks/>
            </p:cNvSpPr>
            <p:nvPr/>
          </p:nvSpPr>
          <p:spPr bwMode="auto">
            <a:xfrm>
              <a:off x="5865008" y="2577890"/>
              <a:ext cx="130560" cy="104314"/>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 ang="0">
                  <a:pos x="85" y="0"/>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lnTo>
                    <a:pt x="85" y="0"/>
                  </a:lnTo>
                  <a:close/>
                </a:path>
              </a:pathLst>
            </a:custGeom>
            <a:solidFill>
              <a:schemeClr val="accent5"/>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35">
              <a:extLst>
                <a:ext uri="{FF2B5EF4-FFF2-40B4-BE49-F238E27FC236}">
                  <a16:creationId xmlns:a16="http://schemas.microsoft.com/office/drawing/2014/main" id="{A863B6F6-C620-1442-A00A-303A5D2EA35D}"/>
                </a:ext>
              </a:extLst>
            </p:cNvPr>
            <p:cNvSpPr>
              <a:spLocks/>
            </p:cNvSpPr>
            <p:nvPr/>
          </p:nvSpPr>
          <p:spPr bwMode="auto">
            <a:xfrm>
              <a:off x="5865008" y="2577890"/>
              <a:ext cx="130560" cy="104314"/>
            </a:xfrm>
            <a:custGeom>
              <a:avLst/>
              <a:gdLst/>
              <a:ahLst/>
              <a:cxnLst>
                <a:cxn ang="0">
                  <a:pos x="85" y="0"/>
                </a:cxn>
                <a:cxn ang="0">
                  <a:pos x="70" y="19"/>
                </a:cxn>
                <a:cxn ang="0">
                  <a:pos x="70" y="25"/>
                </a:cxn>
                <a:cxn ang="0">
                  <a:pos x="66" y="25"/>
                </a:cxn>
                <a:cxn ang="0">
                  <a:pos x="53" y="34"/>
                </a:cxn>
                <a:cxn ang="0">
                  <a:pos x="53" y="38"/>
                </a:cxn>
                <a:cxn ang="0">
                  <a:pos x="49" y="38"/>
                </a:cxn>
                <a:cxn ang="0">
                  <a:pos x="49" y="44"/>
                </a:cxn>
                <a:cxn ang="0">
                  <a:pos x="38" y="61"/>
                </a:cxn>
                <a:cxn ang="0">
                  <a:pos x="38" y="66"/>
                </a:cxn>
                <a:cxn ang="0">
                  <a:pos x="28" y="76"/>
                </a:cxn>
                <a:cxn ang="0">
                  <a:pos x="25" y="76"/>
                </a:cxn>
                <a:cxn ang="0">
                  <a:pos x="23" y="85"/>
                </a:cxn>
                <a:cxn ang="0">
                  <a:pos x="23" y="89"/>
                </a:cxn>
                <a:cxn ang="0">
                  <a:pos x="15" y="100"/>
                </a:cxn>
                <a:cxn ang="0">
                  <a:pos x="15" y="102"/>
                </a:cxn>
                <a:cxn ang="0">
                  <a:pos x="15" y="104"/>
                </a:cxn>
                <a:cxn ang="0">
                  <a:pos x="13" y="104"/>
                </a:cxn>
                <a:cxn ang="0">
                  <a:pos x="8" y="115"/>
                </a:cxn>
                <a:cxn ang="0">
                  <a:pos x="4" y="117"/>
                </a:cxn>
                <a:cxn ang="0">
                  <a:pos x="2" y="119"/>
                </a:cxn>
                <a:cxn ang="0">
                  <a:pos x="2" y="125"/>
                </a:cxn>
                <a:cxn ang="0">
                  <a:pos x="0" y="126"/>
                </a:cxn>
                <a:cxn ang="0">
                  <a:pos x="0" y="136"/>
                </a:cxn>
                <a:cxn ang="0">
                  <a:pos x="73" y="134"/>
                </a:cxn>
                <a:cxn ang="0">
                  <a:pos x="73" y="98"/>
                </a:cxn>
                <a:cxn ang="0">
                  <a:pos x="77" y="94"/>
                </a:cxn>
                <a:cxn ang="0">
                  <a:pos x="79" y="91"/>
                </a:cxn>
                <a:cxn ang="0">
                  <a:pos x="85" y="89"/>
                </a:cxn>
                <a:cxn ang="0">
                  <a:pos x="92" y="89"/>
                </a:cxn>
                <a:cxn ang="0">
                  <a:pos x="92" y="40"/>
                </a:cxn>
                <a:cxn ang="0">
                  <a:pos x="151" y="40"/>
                </a:cxn>
                <a:cxn ang="0">
                  <a:pos x="153" y="15"/>
                </a:cxn>
              </a:cxnLst>
              <a:rect l="0" t="0" r="r" b="b"/>
              <a:pathLst>
                <a:path w="153" h="136">
                  <a:moveTo>
                    <a:pt x="85" y="0"/>
                  </a:moveTo>
                  <a:lnTo>
                    <a:pt x="70" y="19"/>
                  </a:lnTo>
                  <a:lnTo>
                    <a:pt x="70" y="25"/>
                  </a:lnTo>
                  <a:lnTo>
                    <a:pt x="66" y="25"/>
                  </a:lnTo>
                  <a:lnTo>
                    <a:pt x="53" y="34"/>
                  </a:lnTo>
                  <a:lnTo>
                    <a:pt x="53" y="38"/>
                  </a:lnTo>
                  <a:lnTo>
                    <a:pt x="49" y="38"/>
                  </a:lnTo>
                  <a:lnTo>
                    <a:pt x="49" y="44"/>
                  </a:lnTo>
                  <a:lnTo>
                    <a:pt x="38" y="61"/>
                  </a:lnTo>
                  <a:lnTo>
                    <a:pt x="38" y="66"/>
                  </a:lnTo>
                  <a:lnTo>
                    <a:pt x="28" y="76"/>
                  </a:lnTo>
                  <a:lnTo>
                    <a:pt x="25" y="76"/>
                  </a:lnTo>
                  <a:lnTo>
                    <a:pt x="23" y="85"/>
                  </a:lnTo>
                  <a:lnTo>
                    <a:pt x="23" y="89"/>
                  </a:lnTo>
                  <a:lnTo>
                    <a:pt x="15" y="100"/>
                  </a:lnTo>
                  <a:lnTo>
                    <a:pt x="15" y="102"/>
                  </a:lnTo>
                  <a:lnTo>
                    <a:pt x="15" y="104"/>
                  </a:lnTo>
                  <a:lnTo>
                    <a:pt x="13" y="104"/>
                  </a:lnTo>
                  <a:lnTo>
                    <a:pt x="8" y="115"/>
                  </a:lnTo>
                  <a:lnTo>
                    <a:pt x="4" y="117"/>
                  </a:lnTo>
                  <a:lnTo>
                    <a:pt x="2" y="119"/>
                  </a:lnTo>
                  <a:lnTo>
                    <a:pt x="2" y="125"/>
                  </a:lnTo>
                  <a:lnTo>
                    <a:pt x="0" y="126"/>
                  </a:lnTo>
                  <a:lnTo>
                    <a:pt x="0" y="136"/>
                  </a:lnTo>
                  <a:lnTo>
                    <a:pt x="73" y="134"/>
                  </a:lnTo>
                  <a:lnTo>
                    <a:pt x="73" y="98"/>
                  </a:lnTo>
                  <a:lnTo>
                    <a:pt x="77" y="94"/>
                  </a:lnTo>
                  <a:lnTo>
                    <a:pt x="79" y="91"/>
                  </a:lnTo>
                  <a:lnTo>
                    <a:pt x="85" y="89"/>
                  </a:lnTo>
                  <a:lnTo>
                    <a:pt x="92" y="89"/>
                  </a:lnTo>
                  <a:lnTo>
                    <a:pt x="92" y="40"/>
                  </a:lnTo>
                  <a:lnTo>
                    <a:pt x="151" y="40"/>
                  </a:lnTo>
                  <a:lnTo>
                    <a:pt x="153" y="15"/>
                  </a:lnTo>
                </a:path>
              </a:pathLst>
            </a:custGeom>
            <a:solidFill>
              <a:srgbClr val="0A9A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36">
              <a:extLst>
                <a:ext uri="{FF2B5EF4-FFF2-40B4-BE49-F238E27FC236}">
                  <a16:creationId xmlns:a16="http://schemas.microsoft.com/office/drawing/2014/main" id="{4FB78E92-A9C6-894B-A040-B187B21B408D}"/>
                </a:ext>
              </a:extLst>
            </p:cNvPr>
            <p:cNvSpPr>
              <a:spLocks/>
            </p:cNvSpPr>
            <p:nvPr/>
          </p:nvSpPr>
          <p:spPr bwMode="auto">
            <a:xfrm>
              <a:off x="6662025" y="2511927"/>
              <a:ext cx="327681" cy="246978"/>
            </a:xfrm>
            <a:custGeom>
              <a:avLst/>
              <a:gdLst/>
              <a:ahLst/>
              <a:cxnLst>
                <a:cxn ang="0">
                  <a:pos x="233" y="67"/>
                </a:cxn>
                <a:cxn ang="0">
                  <a:pos x="92" y="3"/>
                </a:cxn>
                <a:cxn ang="0">
                  <a:pos x="41" y="15"/>
                </a:cxn>
                <a:cxn ang="0">
                  <a:pos x="54" y="52"/>
                </a:cxn>
                <a:cxn ang="0">
                  <a:pos x="7" y="62"/>
                </a:cxn>
                <a:cxn ang="0">
                  <a:pos x="0" y="77"/>
                </a:cxn>
                <a:cxn ang="0">
                  <a:pos x="2" y="83"/>
                </a:cxn>
                <a:cxn ang="0">
                  <a:pos x="9" y="84"/>
                </a:cxn>
                <a:cxn ang="0">
                  <a:pos x="17" y="98"/>
                </a:cxn>
                <a:cxn ang="0">
                  <a:pos x="24" y="105"/>
                </a:cxn>
                <a:cxn ang="0">
                  <a:pos x="32" y="118"/>
                </a:cxn>
                <a:cxn ang="0">
                  <a:pos x="35" y="126"/>
                </a:cxn>
                <a:cxn ang="0">
                  <a:pos x="47" y="139"/>
                </a:cxn>
                <a:cxn ang="0">
                  <a:pos x="49" y="150"/>
                </a:cxn>
                <a:cxn ang="0">
                  <a:pos x="54" y="160"/>
                </a:cxn>
                <a:cxn ang="0">
                  <a:pos x="62" y="160"/>
                </a:cxn>
                <a:cxn ang="0">
                  <a:pos x="75" y="171"/>
                </a:cxn>
                <a:cxn ang="0">
                  <a:pos x="79" y="179"/>
                </a:cxn>
                <a:cxn ang="0">
                  <a:pos x="84" y="194"/>
                </a:cxn>
                <a:cxn ang="0">
                  <a:pos x="81" y="203"/>
                </a:cxn>
                <a:cxn ang="0">
                  <a:pos x="86" y="220"/>
                </a:cxn>
                <a:cxn ang="0">
                  <a:pos x="99" y="235"/>
                </a:cxn>
                <a:cxn ang="0">
                  <a:pos x="109" y="241"/>
                </a:cxn>
                <a:cxn ang="0">
                  <a:pos x="118" y="248"/>
                </a:cxn>
                <a:cxn ang="0">
                  <a:pos x="122" y="252"/>
                </a:cxn>
                <a:cxn ang="0">
                  <a:pos x="130" y="275"/>
                </a:cxn>
                <a:cxn ang="0">
                  <a:pos x="148" y="297"/>
                </a:cxn>
                <a:cxn ang="0">
                  <a:pos x="162" y="307"/>
                </a:cxn>
                <a:cxn ang="0">
                  <a:pos x="169" y="303"/>
                </a:cxn>
                <a:cxn ang="0">
                  <a:pos x="175" y="286"/>
                </a:cxn>
                <a:cxn ang="0">
                  <a:pos x="207" y="297"/>
                </a:cxn>
                <a:cxn ang="0">
                  <a:pos x="258" y="277"/>
                </a:cxn>
                <a:cxn ang="0">
                  <a:pos x="380" y="184"/>
                </a:cxn>
                <a:cxn ang="0">
                  <a:pos x="318" y="184"/>
                </a:cxn>
                <a:cxn ang="0">
                  <a:pos x="310" y="156"/>
                </a:cxn>
                <a:cxn ang="0">
                  <a:pos x="307" y="154"/>
                </a:cxn>
                <a:cxn ang="0">
                  <a:pos x="307" y="150"/>
                </a:cxn>
                <a:cxn ang="0">
                  <a:pos x="297" y="147"/>
                </a:cxn>
                <a:cxn ang="0">
                  <a:pos x="291" y="141"/>
                </a:cxn>
                <a:cxn ang="0">
                  <a:pos x="280" y="120"/>
                </a:cxn>
                <a:cxn ang="0">
                  <a:pos x="278" y="111"/>
                </a:cxn>
                <a:cxn ang="0">
                  <a:pos x="273" y="105"/>
                </a:cxn>
                <a:cxn ang="0">
                  <a:pos x="263" y="92"/>
                </a:cxn>
                <a:cxn ang="0">
                  <a:pos x="267" y="92"/>
                </a:cxn>
                <a:cxn ang="0">
                  <a:pos x="256" y="88"/>
                </a:cxn>
                <a:cxn ang="0">
                  <a:pos x="248" y="73"/>
                </a:cxn>
                <a:cxn ang="0">
                  <a:pos x="246" y="69"/>
                </a:cxn>
              </a:cxnLst>
              <a:rect l="0" t="0" r="r" b="b"/>
              <a:pathLst>
                <a:path w="384" h="322">
                  <a:moveTo>
                    <a:pt x="246" y="69"/>
                  </a:moveTo>
                  <a:lnTo>
                    <a:pt x="233" y="73"/>
                  </a:lnTo>
                  <a:lnTo>
                    <a:pt x="233" y="67"/>
                  </a:lnTo>
                  <a:lnTo>
                    <a:pt x="216" y="62"/>
                  </a:lnTo>
                  <a:lnTo>
                    <a:pt x="179" y="60"/>
                  </a:lnTo>
                  <a:lnTo>
                    <a:pt x="92" y="3"/>
                  </a:lnTo>
                  <a:lnTo>
                    <a:pt x="75" y="0"/>
                  </a:lnTo>
                  <a:lnTo>
                    <a:pt x="67" y="5"/>
                  </a:lnTo>
                  <a:lnTo>
                    <a:pt x="41" y="15"/>
                  </a:lnTo>
                  <a:lnTo>
                    <a:pt x="62" y="37"/>
                  </a:lnTo>
                  <a:lnTo>
                    <a:pt x="54" y="47"/>
                  </a:lnTo>
                  <a:lnTo>
                    <a:pt x="54" y="52"/>
                  </a:lnTo>
                  <a:lnTo>
                    <a:pt x="39" y="52"/>
                  </a:lnTo>
                  <a:lnTo>
                    <a:pt x="26" y="67"/>
                  </a:lnTo>
                  <a:lnTo>
                    <a:pt x="7" y="62"/>
                  </a:lnTo>
                  <a:lnTo>
                    <a:pt x="0" y="62"/>
                  </a:lnTo>
                  <a:lnTo>
                    <a:pt x="0" y="69"/>
                  </a:lnTo>
                  <a:lnTo>
                    <a:pt x="0" y="77"/>
                  </a:lnTo>
                  <a:lnTo>
                    <a:pt x="0" y="81"/>
                  </a:lnTo>
                  <a:lnTo>
                    <a:pt x="0" y="83"/>
                  </a:lnTo>
                  <a:lnTo>
                    <a:pt x="2" y="83"/>
                  </a:lnTo>
                  <a:lnTo>
                    <a:pt x="2" y="84"/>
                  </a:lnTo>
                  <a:lnTo>
                    <a:pt x="5" y="83"/>
                  </a:lnTo>
                  <a:lnTo>
                    <a:pt x="9" y="84"/>
                  </a:lnTo>
                  <a:lnTo>
                    <a:pt x="9" y="84"/>
                  </a:lnTo>
                  <a:lnTo>
                    <a:pt x="17" y="96"/>
                  </a:lnTo>
                  <a:lnTo>
                    <a:pt x="17" y="98"/>
                  </a:lnTo>
                  <a:lnTo>
                    <a:pt x="20" y="98"/>
                  </a:lnTo>
                  <a:lnTo>
                    <a:pt x="20" y="101"/>
                  </a:lnTo>
                  <a:lnTo>
                    <a:pt x="24" y="105"/>
                  </a:lnTo>
                  <a:lnTo>
                    <a:pt x="26" y="105"/>
                  </a:lnTo>
                  <a:lnTo>
                    <a:pt x="30" y="116"/>
                  </a:lnTo>
                  <a:lnTo>
                    <a:pt x="32" y="118"/>
                  </a:lnTo>
                  <a:lnTo>
                    <a:pt x="32" y="122"/>
                  </a:lnTo>
                  <a:lnTo>
                    <a:pt x="35" y="122"/>
                  </a:lnTo>
                  <a:lnTo>
                    <a:pt x="35" y="126"/>
                  </a:lnTo>
                  <a:lnTo>
                    <a:pt x="39" y="130"/>
                  </a:lnTo>
                  <a:lnTo>
                    <a:pt x="43" y="130"/>
                  </a:lnTo>
                  <a:lnTo>
                    <a:pt x="47" y="139"/>
                  </a:lnTo>
                  <a:lnTo>
                    <a:pt x="49" y="143"/>
                  </a:lnTo>
                  <a:lnTo>
                    <a:pt x="51" y="148"/>
                  </a:lnTo>
                  <a:lnTo>
                    <a:pt x="49" y="150"/>
                  </a:lnTo>
                  <a:lnTo>
                    <a:pt x="49" y="154"/>
                  </a:lnTo>
                  <a:lnTo>
                    <a:pt x="51" y="154"/>
                  </a:lnTo>
                  <a:lnTo>
                    <a:pt x="54" y="160"/>
                  </a:lnTo>
                  <a:lnTo>
                    <a:pt x="54" y="160"/>
                  </a:lnTo>
                  <a:lnTo>
                    <a:pt x="58" y="156"/>
                  </a:lnTo>
                  <a:lnTo>
                    <a:pt x="62" y="160"/>
                  </a:lnTo>
                  <a:lnTo>
                    <a:pt x="67" y="162"/>
                  </a:lnTo>
                  <a:lnTo>
                    <a:pt x="73" y="167"/>
                  </a:lnTo>
                  <a:lnTo>
                    <a:pt x="75" y="171"/>
                  </a:lnTo>
                  <a:lnTo>
                    <a:pt x="75" y="173"/>
                  </a:lnTo>
                  <a:lnTo>
                    <a:pt x="75" y="175"/>
                  </a:lnTo>
                  <a:lnTo>
                    <a:pt x="79" y="179"/>
                  </a:lnTo>
                  <a:lnTo>
                    <a:pt x="81" y="184"/>
                  </a:lnTo>
                  <a:lnTo>
                    <a:pt x="84" y="186"/>
                  </a:lnTo>
                  <a:lnTo>
                    <a:pt x="84" y="194"/>
                  </a:lnTo>
                  <a:lnTo>
                    <a:pt x="84" y="196"/>
                  </a:lnTo>
                  <a:lnTo>
                    <a:pt x="84" y="203"/>
                  </a:lnTo>
                  <a:lnTo>
                    <a:pt x="81" y="203"/>
                  </a:lnTo>
                  <a:lnTo>
                    <a:pt x="84" y="205"/>
                  </a:lnTo>
                  <a:lnTo>
                    <a:pt x="84" y="212"/>
                  </a:lnTo>
                  <a:lnTo>
                    <a:pt x="86" y="220"/>
                  </a:lnTo>
                  <a:lnTo>
                    <a:pt x="88" y="224"/>
                  </a:lnTo>
                  <a:lnTo>
                    <a:pt x="90" y="224"/>
                  </a:lnTo>
                  <a:lnTo>
                    <a:pt x="99" y="235"/>
                  </a:lnTo>
                  <a:lnTo>
                    <a:pt x="103" y="235"/>
                  </a:lnTo>
                  <a:lnTo>
                    <a:pt x="105" y="237"/>
                  </a:lnTo>
                  <a:lnTo>
                    <a:pt x="109" y="241"/>
                  </a:lnTo>
                  <a:lnTo>
                    <a:pt x="109" y="241"/>
                  </a:lnTo>
                  <a:lnTo>
                    <a:pt x="118" y="244"/>
                  </a:lnTo>
                  <a:lnTo>
                    <a:pt x="118" y="248"/>
                  </a:lnTo>
                  <a:lnTo>
                    <a:pt x="120" y="248"/>
                  </a:lnTo>
                  <a:lnTo>
                    <a:pt x="120" y="252"/>
                  </a:lnTo>
                  <a:lnTo>
                    <a:pt x="122" y="252"/>
                  </a:lnTo>
                  <a:lnTo>
                    <a:pt x="128" y="267"/>
                  </a:lnTo>
                  <a:lnTo>
                    <a:pt x="130" y="271"/>
                  </a:lnTo>
                  <a:lnTo>
                    <a:pt x="130" y="275"/>
                  </a:lnTo>
                  <a:lnTo>
                    <a:pt x="145" y="288"/>
                  </a:lnTo>
                  <a:lnTo>
                    <a:pt x="147" y="288"/>
                  </a:lnTo>
                  <a:lnTo>
                    <a:pt x="148" y="297"/>
                  </a:lnTo>
                  <a:lnTo>
                    <a:pt x="154" y="299"/>
                  </a:lnTo>
                  <a:lnTo>
                    <a:pt x="158" y="307"/>
                  </a:lnTo>
                  <a:lnTo>
                    <a:pt x="162" y="307"/>
                  </a:lnTo>
                  <a:lnTo>
                    <a:pt x="163" y="310"/>
                  </a:lnTo>
                  <a:lnTo>
                    <a:pt x="167" y="307"/>
                  </a:lnTo>
                  <a:lnTo>
                    <a:pt x="169" y="303"/>
                  </a:lnTo>
                  <a:lnTo>
                    <a:pt x="169" y="297"/>
                  </a:lnTo>
                  <a:lnTo>
                    <a:pt x="169" y="288"/>
                  </a:lnTo>
                  <a:lnTo>
                    <a:pt x="175" y="286"/>
                  </a:lnTo>
                  <a:lnTo>
                    <a:pt x="180" y="290"/>
                  </a:lnTo>
                  <a:lnTo>
                    <a:pt x="192" y="290"/>
                  </a:lnTo>
                  <a:lnTo>
                    <a:pt x="207" y="297"/>
                  </a:lnTo>
                  <a:lnTo>
                    <a:pt x="224" y="303"/>
                  </a:lnTo>
                  <a:lnTo>
                    <a:pt x="224" y="322"/>
                  </a:lnTo>
                  <a:lnTo>
                    <a:pt x="258" y="277"/>
                  </a:lnTo>
                  <a:lnTo>
                    <a:pt x="382" y="239"/>
                  </a:lnTo>
                  <a:lnTo>
                    <a:pt x="384" y="199"/>
                  </a:lnTo>
                  <a:lnTo>
                    <a:pt x="380" y="184"/>
                  </a:lnTo>
                  <a:lnTo>
                    <a:pt x="380" y="184"/>
                  </a:lnTo>
                  <a:lnTo>
                    <a:pt x="374" y="190"/>
                  </a:lnTo>
                  <a:lnTo>
                    <a:pt x="318" y="184"/>
                  </a:lnTo>
                  <a:lnTo>
                    <a:pt x="316" y="169"/>
                  </a:lnTo>
                  <a:lnTo>
                    <a:pt x="310" y="164"/>
                  </a:lnTo>
                  <a:lnTo>
                    <a:pt x="310" y="156"/>
                  </a:lnTo>
                  <a:lnTo>
                    <a:pt x="310" y="156"/>
                  </a:lnTo>
                  <a:lnTo>
                    <a:pt x="310" y="156"/>
                  </a:lnTo>
                  <a:lnTo>
                    <a:pt x="307" y="154"/>
                  </a:lnTo>
                  <a:lnTo>
                    <a:pt x="307" y="150"/>
                  </a:lnTo>
                  <a:lnTo>
                    <a:pt x="310" y="150"/>
                  </a:lnTo>
                  <a:lnTo>
                    <a:pt x="307" y="150"/>
                  </a:lnTo>
                  <a:lnTo>
                    <a:pt x="307" y="150"/>
                  </a:lnTo>
                  <a:lnTo>
                    <a:pt x="303" y="150"/>
                  </a:lnTo>
                  <a:lnTo>
                    <a:pt x="297" y="147"/>
                  </a:lnTo>
                  <a:lnTo>
                    <a:pt x="297" y="145"/>
                  </a:lnTo>
                  <a:lnTo>
                    <a:pt x="295" y="145"/>
                  </a:lnTo>
                  <a:lnTo>
                    <a:pt x="291" y="141"/>
                  </a:lnTo>
                  <a:lnTo>
                    <a:pt x="291" y="135"/>
                  </a:lnTo>
                  <a:lnTo>
                    <a:pt x="282" y="126"/>
                  </a:lnTo>
                  <a:lnTo>
                    <a:pt x="280" y="120"/>
                  </a:lnTo>
                  <a:lnTo>
                    <a:pt x="282" y="120"/>
                  </a:lnTo>
                  <a:lnTo>
                    <a:pt x="282" y="118"/>
                  </a:lnTo>
                  <a:lnTo>
                    <a:pt x="278" y="111"/>
                  </a:lnTo>
                  <a:lnTo>
                    <a:pt x="278" y="107"/>
                  </a:lnTo>
                  <a:lnTo>
                    <a:pt x="276" y="105"/>
                  </a:lnTo>
                  <a:lnTo>
                    <a:pt x="273" y="105"/>
                  </a:lnTo>
                  <a:lnTo>
                    <a:pt x="269" y="96"/>
                  </a:lnTo>
                  <a:lnTo>
                    <a:pt x="267" y="96"/>
                  </a:lnTo>
                  <a:lnTo>
                    <a:pt x="263" y="92"/>
                  </a:lnTo>
                  <a:lnTo>
                    <a:pt x="263" y="92"/>
                  </a:lnTo>
                  <a:lnTo>
                    <a:pt x="265" y="90"/>
                  </a:lnTo>
                  <a:lnTo>
                    <a:pt x="267" y="92"/>
                  </a:lnTo>
                  <a:lnTo>
                    <a:pt x="265" y="90"/>
                  </a:lnTo>
                  <a:lnTo>
                    <a:pt x="261" y="88"/>
                  </a:lnTo>
                  <a:lnTo>
                    <a:pt x="256" y="88"/>
                  </a:lnTo>
                  <a:lnTo>
                    <a:pt x="252" y="77"/>
                  </a:lnTo>
                  <a:lnTo>
                    <a:pt x="248" y="73"/>
                  </a:lnTo>
                  <a:lnTo>
                    <a:pt x="248" y="73"/>
                  </a:lnTo>
                  <a:lnTo>
                    <a:pt x="248" y="69"/>
                  </a:lnTo>
                  <a:lnTo>
                    <a:pt x="246" y="71"/>
                  </a:lnTo>
                  <a:lnTo>
                    <a:pt x="246" y="69"/>
                  </a:lnTo>
                  <a:lnTo>
                    <a:pt x="246" y="69"/>
                  </a:lnTo>
                  <a:lnTo>
                    <a:pt x="246" y="69"/>
                  </a:lnTo>
                  <a:close/>
                </a:path>
              </a:pathLst>
            </a:custGeom>
            <a:solidFill>
              <a:srgbClr val="0A9A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37">
              <a:extLst>
                <a:ext uri="{FF2B5EF4-FFF2-40B4-BE49-F238E27FC236}">
                  <a16:creationId xmlns:a16="http://schemas.microsoft.com/office/drawing/2014/main" id="{05E00157-3283-154F-AA5C-159C8CAD9453}"/>
                </a:ext>
              </a:extLst>
            </p:cNvPr>
            <p:cNvSpPr>
              <a:spLocks noEditPoints="1"/>
            </p:cNvSpPr>
            <p:nvPr/>
          </p:nvSpPr>
          <p:spPr bwMode="auto">
            <a:xfrm>
              <a:off x="6372745" y="3310386"/>
              <a:ext cx="256855" cy="194054"/>
            </a:xfrm>
            <a:custGeom>
              <a:avLst/>
              <a:gdLst/>
              <a:ahLst/>
              <a:cxnLst>
                <a:cxn ang="0">
                  <a:pos x="7" y="121"/>
                </a:cxn>
                <a:cxn ang="0">
                  <a:pos x="17" y="123"/>
                </a:cxn>
                <a:cxn ang="0">
                  <a:pos x="36" y="132"/>
                </a:cxn>
                <a:cxn ang="0">
                  <a:pos x="47" y="134"/>
                </a:cxn>
                <a:cxn ang="0">
                  <a:pos x="54" y="123"/>
                </a:cxn>
                <a:cxn ang="0">
                  <a:pos x="77" y="59"/>
                </a:cxn>
                <a:cxn ang="0">
                  <a:pos x="81" y="91"/>
                </a:cxn>
                <a:cxn ang="0">
                  <a:pos x="100" y="87"/>
                </a:cxn>
                <a:cxn ang="0">
                  <a:pos x="118" y="76"/>
                </a:cxn>
                <a:cxn ang="0">
                  <a:pos x="139" y="66"/>
                </a:cxn>
                <a:cxn ang="0">
                  <a:pos x="158" y="72"/>
                </a:cxn>
                <a:cxn ang="0">
                  <a:pos x="173" y="68"/>
                </a:cxn>
                <a:cxn ang="0">
                  <a:pos x="173" y="57"/>
                </a:cxn>
                <a:cxn ang="0">
                  <a:pos x="186" y="47"/>
                </a:cxn>
                <a:cxn ang="0">
                  <a:pos x="194" y="42"/>
                </a:cxn>
                <a:cxn ang="0">
                  <a:pos x="201" y="25"/>
                </a:cxn>
                <a:cxn ang="0">
                  <a:pos x="211" y="19"/>
                </a:cxn>
                <a:cxn ang="0">
                  <a:pos x="224" y="13"/>
                </a:cxn>
                <a:cxn ang="0">
                  <a:pos x="233" y="4"/>
                </a:cxn>
                <a:cxn ang="0">
                  <a:pos x="250" y="0"/>
                </a:cxn>
                <a:cxn ang="0">
                  <a:pos x="262" y="4"/>
                </a:cxn>
                <a:cxn ang="0">
                  <a:pos x="282" y="13"/>
                </a:cxn>
                <a:cxn ang="0">
                  <a:pos x="286" y="34"/>
                </a:cxn>
                <a:cxn ang="0">
                  <a:pos x="286" y="68"/>
                </a:cxn>
                <a:cxn ang="0">
                  <a:pos x="271" y="72"/>
                </a:cxn>
                <a:cxn ang="0">
                  <a:pos x="267" y="93"/>
                </a:cxn>
                <a:cxn ang="0">
                  <a:pos x="286" y="93"/>
                </a:cxn>
                <a:cxn ang="0">
                  <a:pos x="301" y="91"/>
                </a:cxn>
                <a:cxn ang="0">
                  <a:pos x="297" y="108"/>
                </a:cxn>
                <a:cxn ang="0">
                  <a:pos x="286" y="132"/>
                </a:cxn>
                <a:cxn ang="0">
                  <a:pos x="271" y="142"/>
                </a:cxn>
                <a:cxn ang="0">
                  <a:pos x="262" y="155"/>
                </a:cxn>
                <a:cxn ang="0">
                  <a:pos x="239" y="185"/>
                </a:cxn>
                <a:cxn ang="0">
                  <a:pos x="211" y="209"/>
                </a:cxn>
                <a:cxn ang="0">
                  <a:pos x="190" y="228"/>
                </a:cxn>
                <a:cxn ang="0">
                  <a:pos x="173" y="230"/>
                </a:cxn>
                <a:cxn ang="0">
                  <a:pos x="162" y="240"/>
                </a:cxn>
                <a:cxn ang="0">
                  <a:pos x="149" y="243"/>
                </a:cxn>
                <a:cxn ang="0">
                  <a:pos x="120" y="240"/>
                </a:cxn>
                <a:cxn ang="0">
                  <a:pos x="100" y="240"/>
                </a:cxn>
                <a:cxn ang="0">
                  <a:pos x="94" y="245"/>
                </a:cxn>
                <a:cxn ang="0">
                  <a:pos x="73" y="245"/>
                </a:cxn>
                <a:cxn ang="0">
                  <a:pos x="60" y="253"/>
                </a:cxn>
                <a:cxn ang="0">
                  <a:pos x="43" y="245"/>
                </a:cxn>
                <a:cxn ang="0">
                  <a:pos x="34" y="240"/>
                </a:cxn>
                <a:cxn ang="0">
                  <a:pos x="30" y="238"/>
                </a:cxn>
                <a:cxn ang="0">
                  <a:pos x="21" y="215"/>
                </a:cxn>
                <a:cxn ang="0">
                  <a:pos x="30" y="207"/>
                </a:cxn>
                <a:cxn ang="0">
                  <a:pos x="24" y="179"/>
                </a:cxn>
                <a:cxn ang="0">
                  <a:pos x="9" y="136"/>
                </a:cxn>
                <a:cxn ang="0">
                  <a:pos x="0" y="125"/>
                </a:cxn>
                <a:cxn ang="0">
                  <a:pos x="207" y="170"/>
                </a:cxn>
                <a:cxn ang="0">
                  <a:pos x="218" y="159"/>
                </a:cxn>
                <a:cxn ang="0">
                  <a:pos x="231" y="153"/>
                </a:cxn>
                <a:cxn ang="0">
                  <a:pos x="237" y="140"/>
                </a:cxn>
                <a:cxn ang="0">
                  <a:pos x="222" y="130"/>
                </a:cxn>
                <a:cxn ang="0">
                  <a:pos x="213" y="132"/>
                </a:cxn>
                <a:cxn ang="0">
                  <a:pos x="194" y="147"/>
                </a:cxn>
                <a:cxn ang="0">
                  <a:pos x="198" y="162"/>
                </a:cxn>
              </a:cxnLst>
              <a:rect l="0" t="0" r="r" b="b"/>
              <a:pathLst>
                <a:path w="301" h="253">
                  <a:moveTo>
                    <a:pt x="0" y="125"/>
                  </a:moveTo>
                  <a:lnTo>
                    <a:pt x="6" y="125"/>
                  </a:lnTo>
                  <a:lnTo>
                    <a:pt x="7" y="123"/>
                  </a:lnTo>
                  <a:lnTo>
                    <a:pt x="7" y="121"/>
                  </a:lnTo>
                  <a:lnTo>
                    <a:pt x="7" y="121"/>
                  </a:lnTo>
                  <a:lnTo>
                    <a:pt x="9" y="117"/>
                  </a:lnTo>
                  <a:lnTo>
                    <a:pt x="13" y="115"/>
                  </a:lnTo>
                  <a:lnTo>
                    <a:pt x="15" y="121"/>
                  </a:lnTo>
                  <a:lnTo>
                    <a:pt x="19" y="121"/>
                  </a:lnTo>
                  <a:lnTo>
                    <a:pt x="17" y="123"/>
                  </a:lnTo>
                  <a:lnTo>
                    <a:pt x="21" y="128"/>
                  </a:lnTo>
                  <a:lnTo>
                    <a:pt x="26" y="130"/>
                  </a:lnTo>
                  <a:lnTo>
                    <a:pt x="30" y="132"/>
                  </a:lnTo>
                  <a:lnTo>
                    <a:pt x="32" y="132"/>
                  </a:lnTo>
                  <a:lnTo>
                    <a:pt x="36" y="132"/>
                  </a:lnTo>
                  <a:lnTo>
                    <a:pt x="38" y="132"/>
                  </a:lnTo>
                  <a:lnTo>
                    <a:pt x="39" y="130"/>
                  </a:lnTo>
                  <a:lnTo>
                    <a:pt x="43" y="130"/>
                  </a:lnTo>
                  <a:lnTo>
                    <a:pt x="45" y="134"/>
                  </a:lnTo>
                  <a:lnTo>
                    <a:pt x="47" y="134"/>
                  </a:lnTo>
                  <a:lnTo>
                    <a:pt x="49" y="134"/>
                  </a:lnTo>
                  <a:lnTo>
                    <a:pt x="49" y="130"/>
                  </a:lnTo>
                  <a:lnTo>
                    <a:pt x="51" y="128"/>
                  </a:lnTo>
                  <a:lnTo>
                    <a:pt x="54" y="126"/>
                  </a:lnTo>
                  <a:lnTo>
                    <a:pt x="54" y="123"/>
                  </a:lnTo>
                  <a:lnTo>
                    <a:pt x="60" y="121"/>
                  </a:lnTo>
                  <a:lnTo>
                    <a:pt x="66" y="121"/>
                  </a:lnTo>
                  <a:lnTo>
                    <a:pt x="68" y="121"/>
                  </a:lnTo>
                  <a:lnTo>
                    <a:pt x="70" y="55"/>
                  </a:lnTo>
                  <a:lnTo>
                    <a:pt x="77" y="59"/>
                  </a:lnTo>
                  <a:lnTo>
                    <a:pt x="79" y="66"/>
                  </a:lnTo>
                  <a:lnTo>
                    <a:pt x="83" y="76"/>
                  </a:lnTo>
                  <a:lnTo>
                    <a:pt x="83" y="79"/>
                  </a:lnTo>
                  <a:lnTo>
                    <a:pt x="81" y="87"/>
                  </a:lnTo>
                  <a:lnTo>
                    <a:pt x="81" y="91"/>
                  </a:lnTo>
                  <a:lnTo>
                    <a:pt x="85" y="87"/>
                  </a:lnTo>
                  <a:lnTo>
                    <a:pt x="88" y="91"/>
                  </a:lnTo>
                  <a:lnTo>
                    <a:pt x="94" y="87"/>
                  </a:lnTo>
                  <a:lnTo>
                    <a:pt x="96" y="91"/>
                  </a:lnTo>
                  <a:lnTo>
                    <a:pt x="100" y="87"/>
                  </a:lnTo>
                  <a:lnTo>
                    <a:pt x="103" y="87"/>
                  </a:lnTo>
                  <a:lnTo>
                    <a:pt x="107" y="83"/>
                  </a:lnTo>
                  <a:lnTo>
                    <a:pt x="109" y="81"/>
                  </a:lnTo>
                  <a:lnTo>
                    <a:pt x="115" y="79"/>
                  </a:lnTo>
                  <a:lnTo>
                    <a:pt x="118" y="76"/>
                  </a:lnTo>
                  <a:lnTo>
                    <a:pt x="120" y="66"/>
                  </a:lnTo>
                  <a:lnTo>
                    <a:pt x="126" y="62"/>
                  </a:lnTo>
                  <a:lnTo>
                    <a:pt x="130" y="62"/>
                  </a:lnTo>
                  <a:lnTo>
                    <a:pt x="137" y="62"/>
                  </a:lnTo>
                  <a:lnTo>
                    <a:pt x="139" y="66"/>
                  </a:lnTo>
                  <a:lnTo>
                    <a:pt x="139" y="66"/>
                  </a:lnTo>
                  <a:lnTo>
                    <a:pt x="149" y="72"/>
                  </a:lnTo>
                  <a:lnTo>
                    <a:pt x="152" y="72"/>
                  </a:lnTo>
                  <a:lnTo>
                    <a:pt x="154" y="72"/>
                  </a:lnTo>
                  <a:lnTo>
                    <a:pt x="158" y="72"/>
                  </a:lnTo>
                  <a:lnTo>
                    <a:pt x="162" y="72"/>
                  </a:lnTo>
                  <a:lnTo>
                    <a:pt x="166" y="68"/>
                  </a:lnTo>
                  <a:lnTo>
                    <a:pt x="167" y="72"/>
                  </a:lnTo>
                  <a:lnTo>
                    <a:pt x="169" y="72"/>
                  </a:lnTo>
                  <a:lnTo>
                    <a:pt x="173" y="68"/>
                  </a:lnTo>
                  <a:lnTo>
                    <a:pt x="173" y="68"/>
                  </a:lnTo>
                  <a:lnTo>
                    <a:pt x="173" y="66"/>
                  </a:lnTo>
                  <a:lnTo>
                    <a:pt x="173" y="62"/>
                  </a:lnTo>
                  <a:lnTo>
                    <a:pt x="173" y="59"/>
                  </a:lnTo>
                  <a:lnTo>
                    <a:pt x="173" y="57"/>
                  </a:lnTo>
                  <a:lnTo>
                    <a:pt x="177" y="53"/>
                  </a:lnTo>
                  <a:lnTo>
                    <a:pt x="179" y="51"/>
                  </a:lnTo>
                  <a:lnTo>
                    <a:pt x="182" y="51"/>
                  </a:lnTo>
                  <a:lnTo>
                    <a:pt x="184" y="49"/>
                  </a:lnTo>
                  <a:lnTo>
                    <a:pt x="186" y="47"/>
                  </a:lnTo>
                  <a:lnTo>
                    <a:pt x="186" y="47"/>
                  </a:lnTo>
                  <a:lnTo>
                    <a:pt x="188" y="45"/>
                  </a:lnTo>
                  <a:lnTo>
                    <a:pt x="190" y="42"/>
                  </a:lnTo>
                  <a:lnTo>
                    <a:pt x="194" y="42"/>
                  </a:lnTo>
                  <a:lnTo>
                    <a:pt x="194" y="42"/>
                  </a:lnTo>
                  <a:lnTo>
                    <a:pt x="198" y="42"/>
                  </a:lnTo>
                  <a:lnTo>
                    <a:pt x="198" y="38"/>
                  </a:lnTo>
                  <a:lnTo>
                    <a:pt x="194" y="34"/>
                  </a:lnTo>
                  <a:lnTo>
                    <a:pt x="198" y="32"/>
                  </a:lnTo>
                  <a:lnTo>
                    <a:pt x="201" y="25"/>
                  </a:lnTo>
                  <a:lnTo>
                    <a:pt x="203" y="23"/>
                  </a:lnTo>
                  <a:lnTo>
                    <a:pt x="207" y="23"/>
                  </a:lnTo>
                  <a:lnTo>
                    <a:pt x="207" y="21"/>
                  </a:lnTo>
                  <a:lnTo>
                    <a:pt x="209" y="21"/>
                  </a:lnTo>
                  <a:lnTo>
                    <a:pt x="211" y="19"/>
                  </a:lnTo>
                  <a:lnTo>
                    <a:pt x="213" y="17"/>
                  </a:lnTo>
                  <a:lnTo>
                    <a:pt x="214" y="15"/>
                  </a:lnTo>
                  <a:lnTo>
                    <a:pt x="218" y="13"/>
                  </a:lnTo>
                  <a:lnTo>
                    <a:pt x="222" y="13"/>
                  </a:lnTo>
                  <a:lnTo>
                    <a:pt x="224" y="13"/>
                  </a:lnTo>
                  <a:lnTo>
                    <a:pt x="226" y="13"/>
                  </a:lnTo>
                  <a:lnTo>
                    <a:pt x="228" y="13"/>
                  </a:lnTo>
                  <a:lnTo>
                    <a:pt x="231" y="10"/>
                  </a:lnTo>
                  <a:lnTo>
                    <a:pt x="233" y="10"/>
                  </a:lnTo>
                  <a:lnTo>
                    <a:pt x="233" y="4"/>
                  </a:lnTo>
                  <a:lnTo>
                    <a:pt x="233" y="4"/>
                  </a:lnTo>
                  <a:lnTo>
                    <a:pt x="237" y="2"/>
                  </a:lnTo>
                  <a:lnTo>
                    <a:pt x="239" y="2"/>
                  </a:lnTo>
                  <a:lnTo>
                    <a:pt x="241" y="2"/>
                  </a:lnTo>
                  <a:lnTo>
                    <a:pt x="250" y="0"/>
                  </a:lnTo>
                  <a:lnTo>
                    <a:pt x="254" y="0"/>
                  </a:lnTo>
                  <a:lnTo>
                    <a:pt x="256" y="4"/>
                  </a:lnTo>
                  <a:lnTo>
                    <a:pt x="258" y="4"/>
                  </a:lnTo>
                  <a:lnTo>
                    <a:pt x="262" y="4"/>
                  </a:lnTo>
                  <a:lnTo>
                    <a:pt x="262" y="4"/>
                  </a:lnTo>
                  <a:lnTo>
                    <a:pt x="265" y="4"/>
                  </a:lnTo>
                  <a:lnTo>
                    <a:pt x="271" y="4"/>
                  </a:lnTo>
                  <a:lnTo>
                    <a:pt x="277" y="4"/>
                  </a:lnTo>
                  <a:lnTo>
                    <a:pt x="280" y="10"/>
                  </a:lnTo>
                  <a:lnTo>
                    <a:pt x="282" y="13"/>
                  </a:lnTo>
                  <a:lnTo>
                    <a:pt x="282" y="17"/>
                  </a:lnTo>
                  <a:lnTo>
                    <a:pt x="286" y="23"/>
                  </a:lnTo>
                  <a:lnTo>
                    <a:pt x="286" y="32"/>
                  </a:lnTo>
                  <a:lnTo>
                    <a:pt x="286" y="32"/>
                  </a:lnTo>
                  <a:lnTo>
                    <a:pt x="286" y="34"/>
                  </a:lnTo>
                  <a:lnTo>
                    <a:pt x="286" y="38"/>
                  </a:lnTo>
                  <a:lnTo>
                    <a:pt x="286" y="44"/>
                  </a:lnTo>
                  <a:lnTo>
                    <a:pt x="286" y="59"/>
                  </a:lnTo>
                  <a:lnTo>
                    <a:pt x="286" y="62"/>
                  </a:lnTo>
                  <a:lnTo>
                    <a:pt x="286" y="68"/>
                  </a:lnTo>
                  <a:lnTo>
                    <a:pt x="286" y="76"/>
                  </a:lnTo>
                  <a:lnTo>
                    <a:pt x="282" y="74"/>
                  </a:lnTo>
                  <a:lnTo>
                    <a:pt x="280" y="72"/>
                  </a:lnTo>
                  <a:lnTo>
                    <a:pt x="275" y="68"/>
                  </a:lnTo>
                  <a:lnTo>
                    <a:pt x="271" y="72"/>
                  </a:lnTo>
                  <a:lnTo>
                    <a:pt x="271" y="74"/>
                  </a:lnTo>
                  <a:lnTo>
                    <a:pt x="265" y="83"/>
                  </a:lnTo>
                  <a:lnTo>
                    <a:pt x="263" y="87"/>
                  </a:lnTo>
                  <a:lnTo>
                    <a:pt x="265" y="87"/>
                  </a:lnTo>
                  <a:lnTo>
                    <a:pt x="267" y="93"/>
                  </a:lnTo>
                  <a:lnTo>
                    <a:pt x="271" y="96"/>
                  </a:lnTo>
                  <a:lnTo>
                    <a:pt x="277" y="98"/>
                  </a:lnTo>
                  <a:lnTo>
                    <a:pt x="282" y="98"/>
                  </a:lnTo>
                  <a:lnTo>
                    <a:pt x="286" y="96"/>
                  </a:lnTo>
                  <a:lnTo>
                    <a:pt x="286" y="93"/>
                  </a:lnTo>
                  <a:lnTo>
                    <a:pt x="286" y="93"/>
                  </a:lnTo>
                  <a:lnTo>
                    <a:pt x="288" y="91"/>
                  </a:lnTo>
                  <a:lnTo>
                    <a:pt x="292" y="91"/>
                  </a:lnTo>
                  <a:lnTo>
                    <a:pt x="297" y="91"/>
                  </a:lnTo>
                  <a:lnTo>
                    <a:pt x="301" y="91"/>
                  </a:lnTo>
                  <a:lnTo>
                    <a:pt x="301" y="93"/>
                  </a:lnTo>
                  <a:lnTo>
                    <a:pt x="299" y="96"/>
                  </a:lnTo>
                  <a:lnTo>
                    <a:pt x="301" y="96"/>
                  </a:lnTo>
                  <a:lnTo>
                    <a:pt x="297" y="102"/>
                  </a:lnTo>
                  <a:lnTo>
                    <a:pt x="297" y="108"/>
                  </a:lnTo>
                  <a:lnTo>
                    <a:pt x="295" y="113"/>
                  </a:lnTo>
                  <a:lnTo>
                    <a:pt x="292" y="121"/>
                  </a:lnTo>
                  <a:lnTo>
                    <a:pt x="292" y="123"/>
                  </a:lnTo>
                  <a:lnTo>
                    <a:pt x="288" y="126"/>
                  </a:lnTo>
                  <a:lnTo>
                    <a:pt x="286" y="132"/>
                  </a:lnTo>
                  <a:lnTo>
                    <a:pt x="282" y="132"/>
                  </a:lnTo>
                  <a:lnTo>
                    <a:pt x="282" y="134"/>
                  </a:lnTo>
                  <a:lnTo>
                    <a:pt x="278" y="136"/>
                  </a:lnTo>
                  <a:lnTo>
                    <a:pt x="277" y="138"/>
                  </a:lnTo>
                  <a:lnTo>
                    <a:pt x="271" y="142"/>
                  </a:lnTo>
                  <a:lnTo>
                    <a:pt x="271" y="145"/>
                  </a:lnTo>
                  <a:lnTo>
                    <a:pt x="265" y="149"/>
                  </a:lnTo>
                  <a:lnTo>
                    <a:pt x="265" y="151"/>
                  </a:lnTo>
                  <a:lnTo>
                    <a:pt x="263" y="155"/>
                  </a:lnTo>
                  <a:lnTo>
                    <a:pt x="262" y="155"/>
                  </a:lnTo>
                  <a:lnTo>
                    <a:pt x="258" y="160"/>
                  </a:lnTo>
                  <a:lnTo>
                    <a:pt x="250" y="172"/>
                  </a:lnTo>
                  <a:lnTo>
                    <a:pt x="245" y="179"/>
                  </a:lnTo>
                  <a:lnTo>
                    <a:pt x="243" y="183"/>
                  </a:lnTo>
                  <a:lnTo>
                    <a:pt x="239" y="185"/>
                  </a:lnTo>
                  <a:lnTo>
                    <a:pt x="237" y="191"/>
                  </a:lnTo>
                  <a:lnTo>
                    <a:pt x="233" y="191"/>
                  </a:lnTo>
                  <a:lnTo>
                    <a:pt x="233" y="191"/>
                  </a:lnTo>
                  <a:lnTo>
                    <a:pt x="214" y="209"/>
                  </a:lnTo>
                  <a:lnTo>
                    <a:pt x="211" y="209"/>
                  </a:lnTo>
                  <a:lnTo>
                    <a:pt x="213" y="211"/>
                  </a:lnTo>
                  <a:lnTo>
                    <a:pt x="209" y="215"/>
                  </a:lnTo>
                  <a:lnTo>
                    <a:pt x="198" y="224"/>
                  </a:lnTo>
                  <a:lnTo>
                    <a:pt x="194" y="224"/>
                  </a:lnTo>
                  <a:lnTo>
                    <a:pt x="190" y="228"/>
                  </a:lnTo>
                  <a:lnTo>
                    <a:pt x="190" y="228"/>
                  </a:lnTo>
                  <a:lnTo>
                    <a:pt x="182" y="230"/>
                  </a:lnTo>
                  <a:lnTo>
                    <a:pt x="177" y="232"/>
                  </a:lnTo>
                  <a:lnTo>
                    <a:pt x="173" y="232"/>
                  </a:lnTo>
                  <a:lnTo>
                    <a:pt x="173" y="230"/>
                  </a:lnTo>
                  <a:lnTo>
                    <a:pt x="167" y="232"/>
                  </a:lnTo>
                  <a:lnTo>
                    <a:pt x="162" y="232"/>
                  </a:lnTo>
                  <a:lnTo>
                    <a:pt x="160" y="236"/>
                  </a:lnTo>
                  <a:lnTo>
                    <a:pt x="162" y="240"/>
                  </a:lnTo>
                  <a:lnTo>
                    <a:pt x="162" y="240"/>
                  </a:lnTo>
                  <a:lnTo>
                    <a:pt x="156" y="240"/>
                  </a:lnTo>
                  <a:lnTo>
                    <a:pt x="152" y="238"/>
                  </a:lnTo>
                  <a:lnTo>
                    <a:pt x="149" y="238"/>
                  </a:lnTo>
                  <a:lnTo>
                    <a:pt x="145" y="241"/>
                  </a:lnTo>
                  <a:lnTo>
                    <a:pt x="149" y="243"/>
                  </a:lnTo>
                  <a:lnTo>
                    <a:pt x="145" y="243"/>
                  </a:lnTo>
                  <a:lnTo>
                    <a:pt x="137" y="241"/>
                  </a:lnTo>
                  <a:lnTo>
                    <a:pt x="135" y="240"/>
                  </a:lnTo>
                  <a:lnTo>
                    <a:pt x="126" y="238"/>
                  </a:lnTo>
                  <a:lnTo>
                    <a:pt x="120" y="240"/>
                  </a:lnTo>
                  <a:lnTo>
                    <a:pt x="120" y="240"/>
                  </a:lnTo>
                  <a:lnTo>
                    <a:pt x="118" y="241"/>
                  </a:lnTo>
                  <a:lnTo>
                    <a:pt x="115" y="240"/>
                  </a:lnTo>
                  <a:lnTo>
                    <a:pt x="103" y="240"/>
                  </a:lnTo>
                  <a:lnTo>
                    <a:pt x="100" y="240"/>
                  </a:lnTo>
                  <a:lnTo>
                    <a:pt x="100" y="243"/>
                  </a:lnTo>
                  <a:lnTo>
                    <a:pt x="98" y="243"/>
                  </a:lnTo>
                  <a:lnTo>
                    <a:pt x="94" y="243"/>
                  </a:lnTo>
                  <a:lnTo>
                    <a:pt x="94" y="245"/>
                  </a:lnTo>
                  <a:lnTo>
                    <a:pt x="94" y="245"/>
                  </a:lnTo>
                  <a:lnTo>
                    <a:pt x="88" y="245"/>
                  </a:lnTo>
                  <a:lnTo>
                    <a:pt x="85" y="249"/>
                  </a:lnTo>
                  <a:lnTo>
                    <a:pt x="79" y="245"/>
                  </a:lnTo>
                  <a:lnTo>
                    <a:pt x="75" y="245"/>
                  </a:lnTo>
                  <a:lnTo>
                    <a:pt x="73" y="245"/>
                  </a:lnTo>
                  <a:lnTo>
                    <a:pt x="70" y="245"/>
                  </a:lnTo>
                  <a:lnTo>
                    <a:pt x="66" y="253"/>
                  </a:lnTo>
                  <a:lnTo>
                    <a:pt x="64" y="253"/>
                  </a:lnTo>
                  <a:lnTo>
                    <a:pt x="60" y="253"/>
                  </a:lnTo>
                  <a:lnTo>
                    <a:pt x="60" y="253"/>
                  </a:lnTo>
                  <a:lnTo>
                    <a:pt x="58" y="253"/>
                  </a:lnTo>
                  <a:lnTo>
                    <a:pt x="49" y="249"/>
                  </a:lnTo>
                  <a:lnTo>
                    <a:pt x="47" y="253"/>
                  </a:lnTo>
                  <a:lnTo>
                    <a:pt x="47" y="245"/>
                  </a:lnTo>
                  <a:lnTo>
                    <a:pt x="43" y="245"/>
                  </a:lnTo>
                  <a:lnTo>
                    <a:pt x="39" y="245"/>
                  </a:lnTo>
                  <a:lnTo>
                    <a:pt x="38" y="245"/>
                  </a:lnTo>
                  <a:lnTo>
                    <a:pt x="39" y="245"/>
                  </a:lnTo>
                  <a:lnTo>
                    <a:pt x="38" y="241"/>
                  </a:lnTo>
                  <a:lnTo>
                    <a:pt x="34" y="240"/>
                  </a:lnTo>
                  <a:lnTo>
                    <a:pt x="30" y="243"/>
                  </a:lnTo>
                  <a:lnTo>
                    <a:pt x="30" y="245"/>
                  </a:lnTo>
                  <a:lnTo>
                    <a:pt x="30" y="245"/>
                  </a:lnTo>
                  <a:lnTo>
                    <a:pt x="30" y="240"/>
                  </a:lnTo>
                  <a:lnTo>
                    <a:pt x="30" y="238"/>
                  </a:lnTo>
                  <a:lnTo>
                    <a:pt x="30" y="232"/>
                  </a:lnTo>
                  <a:lnTo>
                    <a:pt x="32" y="228"/>
                  </a:lnTo>
                  <a:lnTo>
                    <a:pt x="30" y="221"/>
                  </a:lnTo>
                  <a:lnTo>
                    <a:pt x="26" y="221"/>
                  </a:lnTo>
                  <a:lnTo>
                    <a:pt x="21" y="215"/>
                  </a:lnTo>
                  <a:lnTo>
                    <a:pt x="21" y="209"/>
                  </a:lnTo>
                  <a:lnTo>
                    <a:pt x="24" y="207"/>
                  </a:lnTo>
                  <a:lnTo>
                    <a:pt x="26" y="209"/>
                  </a:lnTo>
                  <a:lnTo>
                    <a:pt x="26" y="209"/>
                  </a:lnTo>
                  <a:lnTo>
                    <a:pt x="30" y="207"/>
                  </a:lnTo>
                  <a:lnTo>
                    <a:pt x="30" y="202"/>
                  </a:lnTo>
                  <a:lnTo>
                    <a:pt x="30" y="196"/>
                  </a:lnTo>
                  <a:lnTo>
                    <a:pt x="30" y="194"/>
                  </a:lnTo>
                  <a:lnTo>
                    <a:pt x="24" y="185"/>
                  </a:lnTo>
                  <a:lnTo>
                    <a:pt x="24" y="179"/>
                  </a:lnTo>
                  <a:lnTo>
                    <a:pt x="19" y="175"/>
                  </a:lnTo>
                  <a:lnTo>
                    <a:pt x="17" y="162"/>
                  </a:lnTo>
                  <a:lnTo>
                    <a:pt x="13" y="153"/>
                  </a:lnTo>
                  <a:lnTo>
                    <a:pt x="13" y="147"/>
                  </a:lnTo>
                  <a:lnTo>
                    <a:pt x="9" y="136"/>
                  </a:lnTo>
                  <a:lnTo>
                    <a:pt x="2" y="132"/>
                  </a:lnTo>
                  <a:lnTo>
                    <a:pt x="2" y="125"/>
                  </a:lnTo>
                  <a:lnTo>
                    <a:pt x="0" y="125"/>
                  </a:lnTo>
                  <a:lnTo>
                    <a:pt x="0" y="125"/>
                  </a:lnTo>
                  <a:lnTo>
                    <a:pt x="0" y="125"/>
                  </a:lnTo>
                  <a:lnTo>
                    <a:pt x="0" y="125"/>
                  </a:lnTo>
                  <a:close/>
                  <a:moveTo>
                    <a:pt x="198" y="162"/>
                  </a:moveTo>
                  <a:lnTo>
                    <a:pt x="203" y="164"/>
                  </a:lnTo>
                  <a:lnTo>
                    <a:pt x="203" y="166"/>
                  </a:lnTo>
                  <a:lnTo>
                    <a:pt x="207" y="170"/>
                  </a:lnTo>
                  <a:lnTo>
                    <a:pt x="211" y="166"/>
                  </a:lnTo>
                  <a:lnTo>
                    <a:pt x="213" y="166"/>
                  </a:lnTo>
                  <a:lnTo>
                    <a:pt x="213" y="164"/>
                  </a:lnTo>
                  <a:lnTo>
                    <a:pt x="214" y="160"/>
                  </a:lnTo>
                  <a:lnTo>
                    <a:pt x="218" y="159"/>
                  </a:lnTo>
                  <a:lnTo>
                    <a:pt x="222" y="159"/>
                  </a:lnTo>
                  <a:lnTo>
                    <a:pt x="224" y="157"/>
                  </a:lnTo>
                  <a:lnTo>
                    <a:pt x="228" y="159"/>
                  </a:lnTo>
                  <a:lnTo>
                    <a:pt x="231" y="155"/>
                  </a:lnTo>
                  <a:lnTo>
                    <a:pt x="231" y="153"/>
                  </a:lnTo>
                  <a:lnTo>
                    <a:pt x="228" y="151"/>
                  </a:lnTo>
                  <a:lnTo>
                    <a:pt x="228" y="149"/>
                  </a:lnTo>
                  <a:lnTo>
                    <a:pt x="231" y="147"/>
                  </a:lnTo>
                  <a:lnTo>
                    <a:pt x="237" y="145"/>
                  </a:lnTo>
                  <a:lnTo>
                    <a:pt x="237" y="140"/>
                  </a:lnTo>
                  <a:lnTo>
                    <a:pt x="231" y="132"/>
                  </a:lnTo>
                  <a:lnTo>
                    <a:pt x="228" y="130"/>
                  </a:lnTo>
                  <a:lnTo>
                    <a:pt x="226" y="130"/>
                  </a:lnTo>
                  <a:lnTo>
                    <a:pt x="224" y="128"/>
                  </a:lnTo>
                  <a:lnTo>
                    <a:pt x="222" y="130"/>
                  </a:lnTo>
                  <a:lnTo>
                    <a:pt x="220" y="128"/>
                  </a:lnTo>
                  <a:lnTo>
                    <a:pt x="216" y="128"/>
                  </a:lnTo>
                  <a:lnTo>
                    <a:pt x="216" y="130"/>
                  </a:lnTo>
                  <a:lnTo>
                    <a:pt x="214" y="130"/>
                  </a:lnTo>
                  <a:lnTo>
                    <a:pt x="213" y="132"/>
                  </a:lnTo>
                  <a:lnTo>
                    <a:pt x="207" y="134"/>
                  </a:lnTo>
                  <a:lnTo>
                    <a:pt x="203" y="138"/>
                  </a:lnTo>
                  <a:lnTo>
                    <a:pt x="201" y="142"/>
                  </a:lnTo>
                  <a:lnTo>
                    <a:pt x="194" y="145"/>
                  </a:lnTo>
                  <a:lnTo>
                    <a:pt x="194" y="147"/>
                  </a:lnTo>
                  <a:lnTo>
                    <a:pt x="194" y="151"/>
                  </a:lnTo>
                  <a:lnTo>
                    <a:pt x="198" y="153"/>
                  </a:lnTo>
                  <a:lnTo>
                    <a:pt x="198" y="155"/>
                  </a:lnTo>
                  <a:lnTo>
                    <a:pt x="198" y="159"/>
                  </a:lnTo>
                  <a:lnTo>
                    <a:pt x="198" y="162"/>
                  </a:lnTo>
                  <a:lnTo>
                    <a:pt x="198" y="162"/>
                  </a:lnTo>
                  <a:lnTo>
                    <a:pt x="198" y="16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38">
              <a:extLst>
                <a:ext uri="{FF2B5EF4-FFF2-40B4-BE49-F238E27FC236}">
                  <a16:creationId xmlns:a16="http://schemas.microsoft.com/office/drawing/2014/main" id="{9E6D5E64-3824-6546-B09E-A6A8E4026D7C}"/>
                </a:ext>
              </a:extLst>
            </p:cNvPr>
            <p:cNvSpPr>
              <a:spLocks noEditPoints="1"/>
            </p:cNvSpPr>
            <p:nvPr/>
          </p:nvSpPr>
          <p:spPr bwMode="auto">
            <a:xfrm>
              <a:off x="4195882" y="1181162"/>
              <a:ext cx="1367045" cy="1146682"/>
            </a:xfrm>
            <a:custGeom>
              <a:avLst/>
              <a:gdLst/>
              <a:ahLst/>
              <a:cxnLst>
                <a:cxn ang="0">
                  <a:pos x="1156" y="107"/>
                </a:cxn>
                <a:cxn ang="0">
                  <a:pos x="1222" y="218"/>
                </a:cxn>
                <a:cxn ang="0">
                  <a:pos x="1184" y="292"/>
                </a:cxn>
                <a:cxn ang="0">
                  <a:pos x="1284" y="158"/>
                </a:cxn>
                <a:cxn ang="0">
                  <a:pos x="1267" y="98"/>
                </a:cxn>
                <a:cxn ang="0">
                  <a:pos x="1391" y="4"/>
                </a:cxn>
                <a:cxn ang="0">
                  <a:pos x="1544" y="132"/>
                </a:cxn>
                <a:cxn ang="0">
                  <a:pos x="1363" y="256"/>
                </a:cxn>
                <a:cxn ang="0">
                  <a:pos x="1216" y="378"/>
                </a:cxn>
                <a:cxn ang="0">
                  <a:pos x="1222" y="399"/>
                </a:cxn>
                <a:cxn ang="0">
                  <a:pos x="1054" y="262"/>
                </a:cxn>
                <a:cxn ang="0">
                  <a:pos x="990" y="205"/>
                </a:cxn>
                <a:cxn ang="0">
                  <a:pos x="1169" y="458"/>
                </a:cxn>
                <a:cxn ang="0">
                  <a:pos x="1066" y="318"/>
                </a:cxn>
                <a:cxn ang="0">
                  <a:pos x="1017" y="307"/>
                </a:cxn>
                <a:cxn ang="0">
                  <a:pos x="680" y="250"/>
                </a:cxn>
                <a:cxn ang="0">
                  <a:pos x="996" y="369"/>
                </a:cxn>
                <a:cxn ang="0">
                  <a:pos x="962" y="346"/>
                </a:cxn>
                <a:cxn ang="0">
                  <a:pos x="704" y="277"/>
                </a:cxn>
                <a:cxn ang="0">
                  <a:pos x="828" y="316"/>
                </a:cxn>
                <a:cxn ang="0">
                  <a:pos x="584" y="324"/>
                </a:cxn>
                <a:cxn ang="0">
                  <a:pos x="849" y="459"/>
                </a:cxn>
                <a:cxn ang="0">
                  <a:pos x="926" y="482"/>
                </a:cxn>
                <a:cxn ang="0">
                  <a:pos x="940" y="533"/>
                </a:cxn>
                <a:cxn ang="0">
                  <a:pos x="1103" y="717"/>
                </a:cxn>
                <a:cxn ang="0">
                  <a:pos x="1160" y="744"/>
                </a:cxn>
                <a:cxn ang="0">
                  <a:pos x="821" y="578"/>
                </a:cxn>
                <a:cxn ang="0">
                  <a:pos x="740" y="476"/>
                </a:cxn>
                <a:cxn ang="0">
                  <a:pos x="599" y="518"/>
                </a:cxn>
                <a:cxn ang="0">
                  <a:pos x="742" y="633"/>
                </a:cxn>
                <a:cxn ang="0">
                  <a:pos x="830" y="631"/>
                </a:cxn>
                <a:cxn ang="0">
                  <a:pos x="1105" y="840"/>
                </a:cxn>
                <a:cxn ang="0">
                  <a:pos x="1126" y="659"/>
                </a:cxn>
                <a:cxn ang="0">
                  <a:pos x="1075" y="506"/>
                </a:cxn>
                <a:cxn ang="0">
                  <a:pos x="1135" y="569"/>
                </a:cxn>
                <a:cxn ang="0">
                  <a:pos x="1252" y="621"/>
                </a:cxn>
                <a:cxn ang="0">
                  <a:pos x="1286" y="717"/>
                </a:cxn>
                <a:cxn ang="0">
                  <a:pos x="1322" y="808"/>
                </a:cxn>
                <a:cxn ang="0">
                  <a:pos x="1284" y="830"/>
                </a:cxn>
                <a:cxn ang="0">
                  <a:pos x="1252" y="949"/>
                </a:cxn>
                <a:cxn ang="0">
                  <a:pos x="1005" y="862"/>
                </a:cxn>
                <a:cxn ang="0">
                  <a:pos x="1148" y="1045"/>
                </a:cxn>
                <a:cxn ang="0">
                  <a:pos x="956" y="1117"/>
                </a:cxn>
                <a:cxn ang="0">
                  <a:pos x="1301" y="1300"/>
                </a:cxn>
                <a:cxn ang="0">
                  <a:pos x="1337" y="1397"/>
                </a:cxn>
                <a:cxn ang="0">
                  <a:pos x="1325" y="1320"/>
                </a:cxn>
                <a:cxn ang="0">
                  <a:pos x="1235" y="1418"/>
                </a:cxn>
                <a:cxn ang="0">
                  <a:pos x="102" y="1151"/>
                </a:cxn>
                <a:cxn ang="0">
                  <a:pos x="45" y="1113"/>
                </a:cxn>
                <a:cxn ang="0">
                  <a:pos x="147" y="1194"/>
                </a:cxn>
                <a:cxn ang="0">
                  <a:pos x="121" y="1041"/>
                </a:cxn>
                <a:cxn ang="0">
                  <a:pos x="326" y="510"/>
                </a:cxn>
                <a:cxn ang="0">
                  <a:pos x="593" y="653"/>
                </a:cxn>
                <a:cxn ang="0">
                  <a:pos x="772" y="687"/>
                </a:cxn>
                <a:cxn ang="0">
                  <a:pos x="876" y="625"/>
                </a:cxn>
                <a:cxn ang="0">
                  <a:pos x="973" y="731"/>
                </a:cxn>
                <a:cxn ang="0">
                  <a:pos x="956" y="780"/>
                </a:cxn>
                <a:cxn ang="0">
                  <a:pos x="763" y="957"/>
                </a:cxn>
                <a:cxn ang="0">
                  <a:pos x="998" y="1139"/>
                </a:cxn>
                <a:cxn ang="0">
                  <a:pos x="1184" y="1073"/>
                </a:cxn>
                <a:cxn ang="0">
                  <a:pos x="1286" y="1181"/>
                </a:cxn>
                <a:cxn ang="0">
                  <a:pos x="1164" y="1300"/>
                </a:cxn>
                <a:cxn ang="0">
                  <a:pos x="1154" y="1422"/>
                </a:cxn>
              </a:cxnLst>
              <a:rect l="0" t="0" r="r" b="b"/>
              <a:pathLst>
                <a:path w="1602" h="1495">
                  <a:moveTo>
                    <a:pt x="1160" y="262"/>
                  </a:moveTo>
                  <a:lnTo>
                    <a:pt x="1160" y="260"/>
                  </a:lnTo>
                  <a:lnTo>
                    <a:pt x="1164" y="256"/>
                  </a:lnTo>
                  <a:lnTo>
                    <a:pt x="1169" y="250"/>
                  </a:lnTo>
                  <a:lnTo>
                    <a:pt x="1173" y="241"/>
                  </a:lnTo>
                  <a:lnTo>
                    <a:pt x="1175" y="237"/>
                  </a:lnTo>
                  <a:lnTo>
                    <a:pt x="1175" y="243"/>
                  </a:lnTo>
                  <a:lnTo>
                    <a:pt x="1173" y="247"/>
                  </a:lnTo>
                  <a:lnTo>
                    <a:pt x="1173" y="250"/>
                  </a:lnTo>
                  <a:lnTo>
                    <a:pt x="1177" y="250"/>
                  </a:lnTo>
                  <a:lnTo>
                    <a:pt x="1180" y="247"/>
                  </a:lnTo>
                  <a:lnTo>
                    <a:pt x="1184" y="243"/>
                  </a:lnTo>
                  <a:lnTo>
                    <a:pt x="1182" y="241"/>
                  </a:lnTo>
                  <a:lnTo>
                    <a:pt x="1179" y="237"/>
                  </a:lnTo>
                  <a:lnTo>
                    <a:pt x="1179" y="237"/>
                  </a:lnTo>
                  <a:lnTo>
                    <a:pt x="1184" y="237"/>
                  </a:lnTo>
                  <a:lnTo>
                    <a:pt x="1184" y="231"/>
                  </a:lnTo>
                  <a:lnTo>
                    <a:pt x="1182" y="230"/>
                  </a:lnTo>
                  <a:lnTo>
                    <a:pt x="1182" y="226"/>
                  </a:lnTo>
                  <a:lnTo>
                    <a:pt x="1188" y="222"/>
                  </a:lnTo>
                  <a:lnTo>
                    <a:pt x="1188" y="216"/>
                  </a:lnTo>
                  <a:lnTo>
                    <a:pt x="1194" y="216"/>
                  </a:lnTo>
                  <a:lnTo>
                    <a:pt x="1194" y="213"/>
                  </a:lnTo>
                  <a:lnTo>
                    <a:pt x="1194" y="216"/>
                  </a:lnTo>
                  <a:lnTo>
                    <a:pt x="1194" y="216"/>
                  </a:lnTo>
                  <a:lnTo>
                    <a:pt x="1192" y="216"/>
                  </a:lnTo>
                  <a:lnTo>
                    <a:pt x="1188" y="226"/>
                  </a:lnTo>
                  <a:lnTo>
                    <a:pt x="1184" y="228"/>
                  </a:lnTo>
                  <a:lnTo>
                    <a:pt x="1184" y="233"/>
                  </a:lnTo>
                  <a:lnTo>
                    <a:pt x="1188" y="237"/>
                  </a:lnTo>
                  <a:lnTo>
                    <a:pt x="1188" y="241"/>
                  </a:lnTo>
                  <a:lnTo>
                    <a:pt x="1188" y="237"/>
                  </a:lnTo>
                  <a:lnTo>
                    <a:pt x="1194" y="233"/>
                  </a:lnTo>
                  <a:lnTo>
                    <a:pt x="1199" y="228"/>
                  </a:lnTo>
                  <a:lnTo>
                    <a:pt x="1201" y="222"/>
                  </a:lnTo>
                  <a:lnTo>
                    <a:pt x="1201" y="218"/>
                  </a:lnTo>
                  <a:lnTo>
                    <a:pt x="1205" y="213"/>
                  </a:lnTo>
                  <a:lnTo>
                    <a:pt x="1207" y="213"/>
                  </a:lnTo>
                  <a:lnTo>
                    <a:pt x="1207" y="216"/>
                  </a:lnTo>
                  <a:lnTo>
                    <a:pt x="1207" y="216"/>
                  </a:lnTo>
                  <a:lnTo>
                    <a:pt x="1207" y="220"/>
                  </a:lnTo>
                  <a:lnTo>
                    <a:pt x="1209" y="220"/>
                  </a:lnTo>
                  <a:lnTo>
                    <a:pt x="1212" y="216"/>
                  </a:lnTo>
                  <a:lnTo>
                    <a:pt x="1216" y="216"/>
                  </a:lnTo>
                  <a:lnTo>
                    <a:pt x="1222" y="216"/>
                  </a:lnTo>
                  <a:lnTo>
                    <a:pt x="1228" y="213"/>
                  </a:lnTo>
                  <a:lnTo>
                    <a:pt x="1231" y="213"/>
                  </a:lnTo>
                  <a:lnTo>
                    <a:pt x="1233" y="211"/>
                  </a:lnTo>
                  <a:lnTo>
                    <a:pt x="1237" y="211"/>
                  </a:lnTo>
                  <a:lnTo>
                    <a:pt x="1239" y="207"/>
                  </a:lnTo>
                  <a:lnTo>
                    <a:pt x="1239" y="203"/>
                  </a:lnTo>
                  <a:lnTo>
                    <a:pt x="1239" y="201"/>
                  </a:lnTo>
                  <a:lnTo>
                    <a:pt x="1237" y="198"/>
                  </a:lnTo>
                  <a:lnTo>
                    <a:pt x="1239" y="194"/>
                  </a:lnTo>
                  <a:lnTo>
                    <a:pt x="1239" y="186"/>
                  </a:lnTo>
                  <a:lnTo>
                    <a:pt x="1237" y="186"/>
                  </a:lnTo>
                  <a:lnTo>
                    <a:pt x="1235" y="192"/>
                  </a:lnTo>
                  <a:lnTo>
                    <a:pt x="1229" y="196"/>
                  </a:lnTo>
                  <a:lnTo>
                    <a:pt x="1228" y="196"/>
                  </a:lnTo>
                  <a:lnTo>
                    <a:pt x="1228" y="192"/>
                  </a:lnTo>
                  <a:lnTo>
                    <a:pt x="1231" y="188"/>
                  </a:lnTo>
                  <a:lnTo>
                    <a:pt x="1235" y="186"/>
                  </a:lnTo>
                  <a:lnTo>
                    <a:pt x="1235" y="183"/>
                  </a:lnTo>
                  <a:lnTo>
                    <a:pt x="1231" y="181"/>
                  </a:lnTo>
                  <a:lnTo>
                    <a:pt x="1229" y="179"/>
                  </a:lnTo>
                  <a:lnTo>
                    <a:pt x="1228" y="179"/>
                  </a:lnTo>
                  <a:lnTo>
                    <a:pt x="1226" y="179"/>
                  </a:lnTo>
                  <a:lnTo>
                    <a:pt x="1226" y="183"/>
                  </a:lnTo>
                  <a:lnTo>
                    <a:pt x="1222" y="181"/>
                  </a:lnTo>
                  <a:lnTo>
                    <a:pt x="1218" y="181"/>
                  </a:lnTo>
                  <a:lnTo>
                    <a:pt x="1218" y="183"/>
                  </a:lnTo>
                  <a:lnTo>
                    <a:pt x="1214" y="183"/>
                  </a:lnTo>
                  <a:lnTo>
                    <a:pt x="1216" y="181"/>
                  </a:lnTo>
                  <a:lnTo>
                    <a:pt x="1224" y="177"/>
                  </a:lnTo>
                  <a:lnTo>
                    <a:pt x="1228" y="173"/>
                  </a:lnTo>
                  <a:lnTo>
                    <a:pt x="1233" y="167"/>
                  </a:lnTo>
                  <a:lnTo>
                    <a:pt x="1235" y="167"/>
                  </a:lnTo>
                  <a:lnTo>
                    <a:pt x="1241" y="158"/>
                  </a:lnTo>
                  <a:lnTo>
                    <a:pt x="1243" y="152"/>
                  </a:lnTo>
                  <a:lnTo>
                    <a:pt x="1241" y="152"/>
                  </a:lnTo>
                  <a:lnTo>
                    <a:pt x="1237" y="152"/>
                  </a:lnTo>
                  <a:lnTo>
                    <a:pt x="1235" y="156"/>
                  </a:lnTo>
                  <a:lnTo>
                    <a:pt x="1233" y="152"/>
                  </a:lnTo>
                  <a:lnTo>
                    <a:pt x="1235" y="149"/>
                  </a:lnTo>
                  <a:lnTo>
                    <a:pt x="1237" y="149"/>
                  </a:lnTo>
                  <a:lnTo>
                    <a:pt x="1241" y="149"/>
                  </a:lnTo>
                  <a:lnTo>
                    <a:pt x="1243" y="149"/>
                  </a:lnTo>
                  <a:lnTo>
                    <a:pt x="1243" y="143"/>
                  </a:lnTo>
                  <a:lnTo>
                    <a:pt x="1246" y="139"/>
                  </a:lnTo>
                  <a:lnTo>
                    <a:pt x="1246" y="135"/>
                  </a:lnTo>
                  <a:lnTo>
                    <a:pt x="1243" y="134"/>
                  </a:lnTo>
                  <a:lnTo>
                    <a:pt x="1243" y="132"/>
                  </a:lnTo>
                  <a:lnTo>
                    <a:pt x="1241" y="132"/>
                  </a:lnTo>
                  <a:lnTo>
                    <a:pt x="1237" y="132"/>
                  </a:lnTo>
                  <a:lnTo>
                    <a:pt x="1233" y="139"/>
                  </a:lnTo>
                  <a:lnTo>
                    <a:pt x="1233" y="145"/>
                  </a:lnTo>
                  <a:lnTo>
                    <a:pt x="1235" y="147"/>
                  </a:lnTo>
                  <a:lnTo>
                    <a:pt x="1231" y="149"/>
                  </a:lnTo>
                  <a:lnTo>
                    <a:pt x="1229" y="149"/>
                  </a:lnTo>
                  <a:lnTo>
                    <a:pt x="1229" y="149"/>
                  </a:lnTo>
                  <a:lnTo>
                    <a:pt x="1229" y="149"/>
                  </a:lnTo>
                  <a:lnTo>
                    <a:pt x="1228" y="147"/>
                  </a:lnTo>
                  <a:lnTo>
                    <a:pt x="1228" y="143"/>
                  </a:lnTo>
                  <a:lnTo>
                    <a:pt x="1231" y="137"/>
                  </a:lnTo>
                  <a:lnTo>
                    <a:pt x="1229" y="134"/>
                  </a:lnTo>
                  <a:lnTo>
                    <a:pt x="1231" y="132"/>
                  </a:lnTo>
                  <a:lnTo>
                    <a:pt x="1233" y="132"/>
                  </a:lnTo>
                  <a:lnTo>
                    <a:pt x="1235" y="132"/>
                  </a:lnTo>
                  <a:lnTo>
                    <a:pt x="1233" y="128"/>
                  </a:lnTo>
                  <a:lnTo>
                    <a:pt x="1231" y="122"/>
                  </a:lnTo>
                  <a:lnTo>
                    <a:pt x="1228" y="122"/>
                  </a:lnTo>
                  <a:lnTo>
                    <a:pt x="1224" y="122"/>
                  </a:lnTo>
                  <a:lnTo>
                    <a:pt x="1222" y="128"/>
                  </a:lnTo>
                  <a:lnTo>
                    <a:pt x="1222" y="124"/>
                  </a:lnTo>
                  <a:lnTo>
                    <a:pt x="1222" y="122"/>
                  </a:lnTo>
                  <a:lnTo>
                    <a:pt x="1222" y="118"/>
                  </a:lnTo>
                  <a:lnTo>
                    <a:pt x="1218" y="115"/>
                  </a:lnTo>
                  <a:lnTo>
                    <a:pt x="1218" y="105"/>
                  </a:lnTo>
                  <a:lnTo>
                    <a:pt x="1218" y="100"/>
                  </a:lnTo>
                  <a:lnTo>
                    <a:pt x="1222" y="94"/>
                  </a:lnTo>
                  <a:lnTo>
                    <a:pt x="1222" y="88"/>
                  </a:lnTo>
                  <a:lnTo>
                    <a:pt x="1222" y="86"/>
                  </a:lnTo>
                  <a:lnTo>
                    <a:pt x="1224" y="79"/>
                  </a:lnTo>
                  <a:lnTo>
                    <a:pt x="1224" y="73"/>
                  </a:lnTo>
                  <a:lnTo>
                    <a:pt x="1222" y="69"/>
                  </a:lnTo>
                  <a:lnTo>
                    <a:pt x="1222" y="68"/>
                  </a:lnTo>
                  <a:lnTo>
                    <a:pt x="1216" y="64"/>
                  </a:lnTo>
                  <a:lnTo>
                    <a:pt x="1214" y="60"/>
                  </a:lnTo>
                  <a:lnTo>
                    <a:pt x="1209" y="58"/>
                  </a:lnTo>
                  <a:lnTo>
                    <a:pt x="1207" y="58"/>
                  </a:lnTo>
                  <a:lnTo>
                    <a:pt x="1207" y="62"/>
                  </a:lnTo>
                  <a:lnTo>
                    <a:pt x="1207" y="62"/>
                  </a:lnTo>
                  <a:lnTo>
                    <a:pt x="1201" y="58"/>
                  </a:lnTo>
                  <a:lnTo>
                    <a:pt x="1197" y="58"/>
                  </a:lnTo>
                  <a:lnTo>
                    <a:pt x="1197" y="62"/>
                  </a:lnTo>
                  <a:lnTo>
                    <a:pt x="1194" y="68"/>
                  </a:lnTo>
                  <a:lnTo>
                    <a:pt x="1197" y="68"/>
                  </a:lnTo>
                  <a:lnTo>
                    <a:pt x="1201" y="68"/>
                  </a:lnTo>
                  <a:lnTo>
                    <a:pt x="1203" y="68"/>
                  </a:lnTo>
                  <a:lnTo>
                    <a:pt x="1209" y="69"/>
                  </a:lnTo>
                  <a:lnTo>
                    <a:pt x="1211" y="71"/>
                  </a:lnTo>
                  <a:lnTo>
                    <a:pt x="1212" y="73"/>
                  </a:lnTo>
                  <a:lnTo>
                    <a:pt x="1212" y="75"/>
                  </a:lnTo>
                  <a:lnTo>
                    <a:pt x="1207" y="81"/>
                  </a:lnTo>
                  <a:lnTo>
                    <a:pt x="1205" y="81"/>
                  </a:lnTo>
                  <a:lnTo>
                    <a:pt x="1201" y="79"/>
                  </a:lnTo>
                  <a:lnTo>
                    <a:pt x="1197" y="79"/>
                  </a:lnTo>
                  <a:lnTo>
                    <a:pt x="1194" y="77"/>
                  </a:lnTo>
                  <a:lnTo>
                    <a:pt x="1197" y="81"/>
                  </a:lnTo>
                  <a:lnTo>
                    <a:pt x="1197" y="81"/>
                  </a:lnTo>
                  <a:lnTo>
                    <a:pt x="1194" y="85"/>
                  </a:lnTo>
                  <a:lnTo>
                    <a:pt x="1194" y="86"/>
                  </a:lnTo>
                  <a:lnTo>
                    <a:pt x="1188" y="81"/>
                  </a:lnTo>
                  <a:lnTo>
                    <a:pt x="1182" y="83"/>
                  </a:lnTo>
                  <a:lnTo>
                    <a:pt x="1180" y="88"/>
                  </a:lnTo>
                  <a:lnTo>
                    <a:pt x="1177" y="88"/>
                  </a:lnTo>
                  <a:lnTo>
                    <a:pt x="1179" y="94"/>
                  </a:lnTo>
                  <a:lnTo>
                    <a:pt x="1180" y="94"/>
                  </a:lnTo>
                  <a:lnTo>
                    <a:pt x="1182" y="98"/>
                  </a:lnTo>
                  <a:lnTo>
                    <a:pt x="1184" y="100"/>
                  </a:lnTo>
                  <a:lnTo>
                    <a:pt x="1184" y="102"/>
                  </a:lnTo>
                  <a:lnTo>
                    <a:pt x="1184" y="102"/>
                  </a:lnTo>
                  <a:lnTo>
                    <a:pt x="1182" y="103"/>
                  </a:lnTo>
                  <a:lnTo>
                    <a:pt x="1184" y="107"/>
                  </a:lnTo>
                  <a:lnTo>
                    <a:pt x="1184" y="109"/>
                  </a:lnTo>
                  <a:lnTo>
                    <a:pt x="1182" y="109"/>
                  </a:lnTo>
                  <a:lnTo>
                    <a:pt x="1179" y="107"/>
                  </a:lnTo>
                  <a:lnTo>
                    <a:pt x="1175" y="105"/>
                  </a:lnTo>
                  <a:lnTo>
                    <a:pt x="1173" y="103"/>
                  </a:lnTo>
                  <a:lnTo>
                    <a:pt x="1169" y="103"/>
                  </a:lnTo>
                  <a:lnTo>
                    <a:pt x="1167" y="105"/>
                  </a:lnTo>
                  <a:lnTo>
                    <a:pt x="1167" y="107"/>
                  </a:lnTo>
                  <a:lnTo>
                    <a:pt x="1167" y="111"/>
                  </a:lnTo>
                  <a:lnTo>
                    <a:pt x="1167" y="115"/>
                  </a:lnTo>
                  <a:lnTo>
                    <a:pt x="1164" y="113"/>
                  </a:lnTo>
                  <a:lnTo>
                    <a:pt x="1164" y="111"/>
                  </a:lnTo>
                  <a:lnTo>
                    <a:pt x="1160" y="109"/>
                  </a:lnTo>
                  <a:lnTo>
                    <a:pt x="1158" y="107"/>
                  </a:lnTo>
                  <a:lnTo>
                    <a:pt x="1156" y="107"/>
                  </a:lnTo>
                  <a:lnTo>
                    <a:pt x="1154" y="105"/>
                  </a:lnTo>
                  <a:lnTo>
                    <a:pt x="1152" y="103"/>
                  </a:lnTo>
                  <a:lnTo>
                    <a:pt x="1150" y="107"/>
                  </a:lnTo>
                  <a:lnTo>
                    <a:pt x="1152" y="111"/>
                  </a:lnTo>
                  <a:lnTo>
                    <a:pt x="1152" y="115"/>
                  </a:lnTo>
                  <a:lnTo>
                    <a:pt x="1154" y="118"/>
                  </a:lnTo>
                  <a:lnTo>
                    <a:pt x="1156" y="122"/>
                  </a:lnTo>
                  <a:lnTo>
                    <a:pt x="1160" y="122"/>
                  </a:lnTo>
                  <a:lnTo>
                    <a:pt x="1164" y="124"/>
                  </a:lnTo>
                  <a:lnTo>
                    <a:pt x="1160" y="124"/>
                  </a:lnTo>
                  <a:lnTo>
                    <a:pt x="1158" y="124"/>
                  </a:lnTo>
                  <a:lnTo>
                    <a:pt x="1160" y="128"/>
                  </a:lnTo>
                  <a:lnTo>
                    <a:pt x="1164" y="132"/>
                  </a:lnTo>
                  <a:lnTo>
                    <a:pt x="1167" y="134"/>
                  </a:lnTo>
                  <a:lnTo>
                    <a:pt x="1173" y="132"/>
                  </a:lnTo>
                  <a:lnTo>
                    <a:pt x="1173" y="132"/>
                  </a:lnTo>
                  <a:lnTo>
                    <a:pt x="1175" y="132"/>
                  </a:lnTo>
                  <a:lnTo>
                    <a:pt x="1175" y="134"/>
                  </a:lnTo>
                  <a:lnTo>
                    <a:pt x="1173" y="135"/>
                  </a:lnTo>
                  <a:lnTo>
                    <a:pt x="1169" y="141"/>
                  </a:lnTo>
                  <a:lnTo>
                    <a:pt x="1167" y="141"/>
                  </a:lnTo>
                  <a:lnTo>
                    <a:pt x="1164" y="137"/>
                  </a:lnTo>
                  <a:lnTo>
                    <a:pt x="1154" y="135"/>
                  </a:lnTo>
                  <a:lnTo>
                    <a:pt x="1150" y="132"/>
                  </a:lnTo>
                  <a:lnTo>
                    <a:pt x="1147" y="128"/>
                  </a:lnTo>
                  <a:lnTo>
                    <a:pt x="1147" y="128"/>
                  </a:lnTo>
                  <a:lnTo>
                    <a:pt x="1145" y="128"/>
                  </a:lnTo>
                  <a:lnTo>
                    <a:pt x="1143" y="132"/>
                  </a:lnTo>
                  <a:lnTo>
                    <a:pt x="1143" y="134"/>
                  </a:lnTo>
                  <a:lnTo>
                    <a:pt x="1143" y="135"/>
                  </a:lnTo>
                  <a:lnTo>
                    <a:pt x="1143" y="141"/>
                  </a:lnTo>
                  <a:lnTo>
                    <a:pt x="1143" y="143"/>
                  </a:lnTo>
                  <a:lnTo>
                    <a:pt x="1139" y="141"/>
                  </a:lnTo>
                  <a:lnTo>
                    <a:pt x="1139" y="147"/>
                  </a:lnTo>
                  <a:lnTo>
                    <a:pt x="1135" y="149"/>
                  </a:lnTo>
                  <a:lnTo>
                    <a:pt x="1135" y="156"/>
                  </a:lnTo>
                  <a:lnTo>
                    <a:pt x="1139" y="156"/>
                  </a:lnTo>
                  <a:lnTo>
                    <a:pt x="1145" y="156"/>
                  </a:lnTo>
                  <a:lnTo>
                    <a:pt x="1148" y="158"/>
                  </a:lnTo>
                  <a:lnTo>
                    <a:pt x="1152" y="158"/>
                  </a:lnTo>
                  <a:lnTo>
                    <a:pt x="1152" y="162"/>
                  </a:lnTo>
                  <a:lnTo>
                    <a:pt x="1148" y="162"/>
                  </a:lnTo>
                  <a:lnTo>
                    <a:pt x="1145" y="162"/>
                  </a:lnTo>
                  <a:lnTo>
                    <a:pt x="1139" y="162"/>
                  </a:lnTo>
                  <a:lnTo>
                    <a:pt x="1139" y="158"/>
                  </a:lnTo>
                  <a:lnTo>
                    <a:pt x="1135" y="162"/>
                  </a:lnTo>
                  <a:lnTo>
                    <a:pt x="1130" y="166"/>
                  </a:lnTo>
                  <a:lnTo>
                    <a:pt x="1130" y="169"/>
                  </a:lnTo>
                  <a:lnTo>
                    <a:pt x="1130" y="171"/>
                  </a:lnTo>
                  <a:lnTo>
                    <a:pt x="1130" y="173"/>
                  </a:lnTo>
                  <a:lnTo>
                    <a:pt x="1128" y="173"/>
                  </a:lnTo>
                  <a:lnTo>
                    <a:pt x="1128" y="177"/>
                  </a:lnTo>
                  <a:lnTo>
                    <a:pt x="1130" y="181"/>
                  </a:lnTo>
                  <a:lnTo>
                    <a:pt x="1133" y="179"/>
                  </a:lnTo>
                  <a:lnTo>
                    <a:pt x="1135" y="179"/>
                  </a:lnTo>
                  <a:lnTo>
                    <a:pt x="1139" y="173"/>
                  </a:lnTo>
                  <a:lnTo>
                    <a:pt x="1143" y="177"/>
                  </a:lnTo>
                  <a:lnTo>
                    <a:pt x="1143" y="181"/>
                  </a:lnTo>
                  <a:lnTo>
                    <a:pt x="1139" y="181"/>
                  </a:lnTo>
                  <a:lnTo>
                    <a:pt x="1135" y="183"/>
                  </a:lnTo>
                  <a:lnTo>
                    <a:pt x="1135" y="186"/>
                  </a:lnTo>
                  <a:lnTo>
                    <a:pt x="1139" y="186"/>
                  </a:lnTo>
                  <a:lnTo>
                    <a:pt x="1143" y="183"/>
                  </a:lnTo>
                  <a:lnTo>
                    <a:pt x="1145" y="183"/>
                  </a:lnTo>
                  <a:lnTo>
                    <a:pt x="1148" y="181"/>
                  </a:lnTo>
                  <a:lnTo>
                    <a:pt x="1148" y="183"/>
                  </a:lnTo>
                  <a:lnTo>
                    <a:pt x="1147" y="183"/>
                  </a:lnTo>
                  <a:lnTo>
                    <a:pt x="1148" y="186"/>
                  </a:lnTo>
                  <a:lnTo>
                    <a:pt x="1154" y="186"/>
                  </a:lnTo>
                  <a:lnTo>
                    <a:pt x="1156" y="186"/>
                  </a:lnTo>
                  <a:lnTo>
                    <a:pt x="1152" y="186"/>
                  </a:lnTo>
                  <a:lnTo>
                    <a:pt x="1152" y="192"/>
                  </a:lnTo>
                  <a:lnTo>
                    <a:pt x="1156" y="192"/>
                  </a:lnTo>
                  <a:lnTo>
                    <a:pt x="1160" y="192"/>
                  </a:lnTo>
                  <a:lnTo>
                    <a:pt x="1164" y="192"/>
                  </a:lnTo>
                  <a:lnTo>
                    <a:pt x="1173" y="196"/>
                  </a:lnTo>
                  <a:lnTo>
                    <a:pt x="1173" y="196"/>
                  </a:lnTo>
                  <a:lnTo>
                    <a:pt x="1164" y="196"/>
                  </a:lnTo>
                  <a:lnTo>
                    <a:pt x="1160" y="198"/>
                  </a:lnTo>
                  <a:lnTo>
                    <a:pt x="1158" y="194"/>
                  </a:lnTo>
                  <a:lnTo>
                    <a:pt x="1152" y="196"/>
                  </a:lnTo>
                  <a:lnTo>
                    <a:pt x="1152" y="198"/>
                  </a:lnTo>
                  <a:lnTo>
                    <a:pt x="1158" y="199"/>
                  </a:lnTo>
                  <a:lnTo>
                    <a:pt x="1164" y="201"/>
                  </a:lnTo>
                  <a:lnTo>
                    <a:pt x="1173" y="201"/>
                  </a:lnTo>
                  <a:lnTo>
                    <a:pt x="1173" y="203"/>
                  </a:lnTo>
                  <a:lnTo>
                    <a:pt x="1167" y="203"/>
                  </a:lnTo>
                  <a:lnTo>
                    <a:pt x="1164" y="203"/>
                  </a:lnTo>
                  <a:lnTo>
                    <a:pt x="1156" y="201"/>
                  </a:lnTo>
                  <a:lnTo>
                    <a:pt x="1152" y="201"/>
                  </a:lnTo>
                  <a:lnTo>
                    <a:pt x="1148" y="199"/>
                  </a:lnTo>
                  <a:lnTo>
                    <a:pt x="1145" y="198"/>
                  </a:lnTo>
                  <a:lnTo>
                    <a:pt x="1139" y="192"/>
                  </a:lnTo>
                  <a:lnTo>
                    <a:pt x="1139" y="194"/>
                  </a:lnTo>
                  <a:lnTo>
                    <a:pt x="1135" y="198"/>
                  </a:lnTo>
                  <a:lnTo>
                    <a:pt x="1130" y="198"/>
                  </a:lnTo>
                  <a:lnTo>
                    <a:pt x="1128" y="199"/>
                  </a:lnTo>
                  <a:lnTo>
                    <a:pt x="1128" y="207"/>
                  </a:lnTo>
                  <a:lnTo>
                    <a:pt x="1130" y="211"/>
                  </a:lnTo>
                  <a:lnTo>
                    <a:pt x="1130" y="213"/>
                  </a:lnTo>
                  <a:lnTo>
                    <a:pt x="1130" y="216"/>
                  </a:lnTo>
                  <a:lnTo>
                    <a:pt x="1128" y="211"/>
                  </a:lnTo>
                  <a:lnTo>
                    <a:pt x="1126" y="211"/>
                  </a:lnTo>
                  <a:lnTo>
                    <a:pt x="1122" y="216"/>
                  </a:lnTo>
                  <a:lnTo>
                    <a:pt x="1124" y="222"/>
                  </a:lnTo>
                  <a:lnTo>
                    <a:pt x="1126" y="222"/>
                  </a:lnTo>
                  <a:lnTo>
                    <a:pt x="1128" y="222"/>
                  </a:lnTo>
                  <a:lnTo>
                    <a:pt x="1130" y="222"/>
                  </a:lnTo>
                  <a:lnTo>
                    <a:pt x="1130" y="226"/>
                  </a:lnTo>
                  <a:lnTo>
                    <a:pt x="1135" y="228"/>
                  </a:lnTo>
                  <a:lnTo>
                    <a:pt x="1130" y="228"/>
                  </a:lnTo>
                  <a:lnTo>
                    <a:pt x="1130" y="230"/>
                  </a:lnTo>
                  <a:lnTo>
                    <a:pt x="1126" y="226"/>
                  </a:lnTo>
                  <a:lnTo>
                    <a:pt x="1122" y="226"/>
                  </a:lnTo>
                  <a:lnTo>
                    <a:pt x="1120" y="233"/>
                  </a:lnTo>
                  <a:lnTo>
                    <a:pt x="1122" y="235"/>
                  </a:lnTo>
                  <a:lnTo>
                    <a:pt x="1126" y="233"/>
                  </a:lnTo>
                  <a:lnTo>
                    <a:pt x="1124" y="237"/>
                  </a:lnTo>
                  <a:lnTo>
                    <a:pt x="1124" y="247"/>
                  </a:lnTo>
                  <a:lnTo>
                    <a:pt x="1126" y="243"/>
                  </a:lnTo>
                  <a:lnTo>
                    <a:pt x="1130" y="243"/>
                  </a:lnTo>
                  <a:lnTo>
                    <a:pt x="1130" y="250"/>
                  </a:lnTo>
                  <a:lnTo>
                    <a:pt x="1135" y="250"/>
                  </a:lnTo>
                  <a:lnTo>
                    <a:pt x="1143" y="256"/>
                  </a:lnTo>
                  <a:lnTo>
                    <a:pt x="1145" y="254"/>
                  </a:lnTo>
                  <a:lnTo>
                    <a:pt x="1145" y="250"/>
                  </a:lnTo>
                  <a:lnTo>
                    <a:pt x="1145" y="247"/>
                  </a:lnTo>
                  <a:lnTo>
                    <a:pt x="1150" y="250"/>
                  </a:lnTo>
                  <a:lnTo>
                    <a:pt x="1150" y="250"/>
                  </a:lnTo>
                  <a:lnTo>
                    <a:pt x="1150" y="254"/>
                  </a:lnTo>
                  <a:lnTo>
                    <a:pt x="1150" y="258"/>
                  </a:lnTo>
                  <a:lnTo>
                    <a:pt x="1152" y="258"/>
                  </a:lnTo>
                  <a:lnTo>
                    <a:pt x="1156" y="250"/>
                  </a:lnTo>
                  <a:lnTo>
                    <a:pt x="1156" y="243"/>
                  </a:lnTo>
                  <a:lnTo>
                    <a:pt x="1158" y="237"/>
                  </a:lnTo>
                  <a:lnTo>
                    <a:pt x="1160" y="231"/>
                  </a:lnTo>
                  <a:lnTo>
                    <a:pt x="1164" y="228"/>
                  </a:lnTo>
                  <a:lnTo>
                    <a:pt x="1164" y="233"/>
                  </a:lnTo>
                  <a:lnTo>
                    <a:pt x="1158" y="241"/>
                  </a:lnTo>
                  <a:lnTo>
                    <a:pt x="1158" y="247"/>
                  </a:lnTo>
                  <a:lnTo>
                    <a:pt x="1160" y="247"/>
                  </a:lnTo>
                  <a:lnTo>
                    <a:pt x="1158" y="254"/>
                  </a:lnTo>
                  <a:lnTo>
                    <a:pt x="1160" y="258"/>
                  </a:lnTo>
                  <a:lnTo>
                    <a:pt x="1158" y="262"/>
                  </a:lnTo>
                  <a:lnTo>
                    <a:pt x="1160" y="262"/>
                  </a:lnTo>
                  <a:lnTo>
                    <a:pt x="1160" y="262"/>
                  </a:lnTo>
                  <a:lnTo>
                    <a:pt x="1160" y="262"/>
                  </a:lnTo>
                  <a:lnTo>
                    <a:pt x="1160" y="262"/>
                  </a:lnTo>
                  <a:close/>
                  <a:moveTo>
                    <a:pt x="1167" y="98"/>
                  </a:moveTo>
                  <a:lnTo>
                    <a:pt x="1169" y="98"/>
                  </a:lnTo>
                  <a:lnTo>
                    <a:pt x="1173" y="98"/>
                  </a:lnTo>
                  <a:lnTo>
                    <a:pt x="1173" y="98"/>
                  </a:lnTo>
                  <a:lnTo>
                    <a:pt x="1177" y="98"/>
                  </a:lnTo>
                  <a:lnTo>
                    <a:pt x="1177" y="102"/>
                  </a:lnTo>
                  <a:lnTo>
                    <a:pt x="1175" y="102"/>
                  </a:lnTo>
                  <a:lnTo>
                    <a:pt x="1173" y="100"/>
                  </a:lnTo>
                  <a:lnTo>
                    <a:pt x="1169" y="100"/>
                  </a:lnTo>
                  <a:lnTo>
                    <a:pt x="1167" y="98"/>
                  </a:lnTo>
                  <a:lnTo>
                    <a:pt x="1167" y="98"/>
                  </a:lnTo>
                  <a:lnTo>
                    <a:pt x="1167" y="98"/>
                  </a:lnTo>
                  <a:lnTo>
                    <a:pt x="1167" y="98"/>
                  </a:lnTo>
                  <a:close/>
                  <a:moveTo>
                    <a:pt x="1173" y="260"/>
                  </a:moveTo>
                  <a:lnTo>
                    <a:pt x="1173" y="258"/>
                  </a:lnTo>
                  <a:lnTo>
                    <a:pt x="1173" y="254"/>
                  </a:lnTo>
                  <a:lnTo>
                    <a:pt x="1173" y="252"/>
                  </a:lnTo>
                  <a:lnTo>
                    <a:pt x="1177" y="250"/>
                  </a:lnTo>
                  <a:lnTo>
                    <a:pt x="1177" y="252"/>
                  </a:lnTo>
                  <a:lnTo>
                    <a:pt x="1177" y="254"/>
                  </a:lnTo>
                  <a:lnTo>
                    <a:pt x="1175" y="256"/>
                  </a:lnTo>
                  <a:lnTo>
                    <a:pt x="1173" y="260"/>
                  </a:lnTo>
                  <a:lnTo>
                    <a:pt x="1173" y="260"/>
                  </a:lnTo>
                  <a:lnTo>
                    <a:pt x="1173" y="260"/>
                  </a:lnTo>
                  <a:lnTo>
                    <a:pt x="1173" y="260"/>
                  </a:lnTo>
                  <a:lnTo>
                    <a:pt x="1173" y="260"/>
                  </a:lnTo>
                  <a:close/>
                  <a:moveTo>
                    <a:pt x="1209" y="226"/>
                  </a:moveTo>
                  <a:lnTo>
                    <a:pt x="1214" y="218"/>
                  </a:lnTo>
                  <a:lnTo>
                    <a:pt x="1216" y="218"/>
                  </a:lnTo>
                  <a:lnTo>
                    <a:pt x="1218" y="216"/>
                  </a:lnTo>
                  <a:lnTo>
                    <a:pt x="1222" y="218"/>
                  </a:lnTo>
                  <a:lnTo>
                    <a:pt x="1226" y="222"/>
                  </a:lnTo>
                  <a:lnTo>
                    <a:pt x="1224" y="226"/>
                  </a:lnTo>
                  <a:lnTo>
                    <a:pt x="1222" y="226"/>
                  </a:lnTo>
                  <a:lnTo>
                    <a:pt x="1218" y="228"/>
                  </a:lnTo>
                  <a:lnTo>
                    <a:pt x="1212" y="228"/>
                  </a:lnTo>
                  <a:lnTo>
                    <a:pt x="1211" y="228"/>
                  </a:lnTo>
                  <a:lnTo>
                    <a:pt x="1209" y="226"/>
                  </a:lnTo>
                  <a:lnTo>
                    <a:pt x="1209" y="226"/>
                  </a:lnTo>
                  <a:lnTo>
                    <a:pt x="1209" y="226"/>
                  </a:lnTo>
                  <a:lnTo>
                    <a:pt x="1209" y="226"/>
                  </a:lnTo>
                  <a:close/>
                  <a:moveTo>
                    <a:pt x="1487" y="5"/>
                  </a:moveTo>
                  <a:lnTo>
                    <a:pt x="1489" y="4"/>
                  </a:lnTo>
                  <a:lnTo>
                    <a:pt x="1491" y="4"/>
                  </a:lnTo>
                  <a:lnTo>
                    <a:pt x="1493" y="5"/>
                  </a:lnTo>
                  <a:lnTo>
                    <a:pt x="1489" y="9"/>
                  </a:lnTo>
                  <a:lnTo>
                    <a:pt x="1487" y="5"/>
                  </a:lnTo>
                  <a:lnTo>
                    <a:pt x="1487" y="5"/>
                  </a:lnTo>
                  <a:lnTo>
                    <a:pt x="1487" y="5"/>
                  </a:lnTo>
                  <a:lnTo>
                    <a:pt x="1487" y="5"/>
                  </a:lnTo>
                  <a:close/>
                  <a:moveTo>
                    <a:pt x="1354" y="269"/>
                  </a:moveTo>
                  <a:lnTo>
                    <a:pt x="1352" y="271"/>
                  </a:lnTo>
                  <a:lnTo>
                    <a:pt x="1354" y="271"/>
                  </a:lnTo>
                  <a:lnTo>
                    <a:pt x="1356" y="271"/>
                  </a:lnTo>
                  <a:lnTo>
                    <a:pt x="1356" y="271"/>
                  </a:lnTo>
                  <a:lnTo>
                    <a:pt x="1356" y="269"/>
                  </a:lnTo>
                  <a:lnTo>
                    <a:pt x="1356" y="269"/>
                  </a:lnTo>
                  <a:lnTo>
                    <a:pt x="1354" y="269"/>
                  </a:lnTo>
                  <a:lnTo>
                    <a:pt x="1354" y="269"/>
                  </a:lnTo>
                  <a:lnTo>
                    <a:pt x="1354" y="269"/>
                  </a:lnTo>
                  <a:lnTo>
                    <a:pt x="1354" y="269"/>
                  </a:lnTo>
                  <a:close/>
                  <a:moveTo>
                    <a:pt x="1286" y="311"/>
                  </a:moveTo>
                  <a:lnTo>
                    <a:pt x="1288" y="311"/>
                  </a:lnTo>
                  <a:lnTo>
                    <a:pt x="1292" y="311"/>
                  </a:lnTo>
                  <a:lnTo>
                    <a:pt x="1290" y="311"/>
                  </a:lnTo>
                  <a:lnTo>
                    <a:pt x="1286" y="311"/>
                  </a:lnTo>
                  <a:lnTo>
                    <a:pt x="1286" y="311"/>
                  </a:lnTo>
                  <a:lnTo>
                    <a:pt x="1286" y="311"/>
                  </a:lnTo>
                  <a:lnTo>
                    <a:pt x="1286" y="311"/>
                  </a:lnTo>
                  <a:close/>
                  <a:moveTo>
                    <a:pt x="1194" y="307"/>
                  </a:moveTo>
                  <a:lnTo>
                    <a:pt x="1192" y="305"/>
                  </a:lnTo>
                  <a:lnTo>
                    <a:pt x="1192" y="301"/>
                  </a:lnTo>
                  <a:lnTo>
                    <a:pt x="1194" y="301"/>
                  </a:lnTo>
                  <a:lnTo>
                    <a:pt x="1197" y="301"/>
                  </a:lnTo>
                  <a:lnTo>
                    <a:pt x="1197" y="305"/>
                  </a:lnTo>
                  <a:lnTo>
                    <a:pt x="1194" y="307"/>
                  </a:lnTo>
                  <a:lnTo>
                    <a:pt x="1194" y="307"/>
                  </a:lnTo>
                  <a:lnTo>
                    <a:pt x="1194" y="307"/>
                  </a:lnTo>
                  <a:lnTo>
                    <a:pt x="1194" y="307"/>
                  </a:lnTo>
                  <a:lnTo>
                    <a:pt x="1194" y="307"/>
                  </a:lnTo>
                  <a:close/>
                  <a:moveTo>
                    <a:pt x="1167" y="365"/>
                  </a:moveTo>
                  <a:lnTo>
                    <a:pt x="1167" y="363"/>
                  </a:lnTo>
                  <a:lnTo>
                    <a:pt x="1167" y="360"/>
                  </a:lnTo>
                  <a:lnTo>
                    <a:pt x="1164" y="354"/>
                  </a:lnTo>
                  <a:lnTo>
                    <a:pt x="1164" y="354"/>
                  </a:lnTo>
                  <a:lnTo>
                    <a:pt x="1164" y="354"/>
                  </a:lnTo>
                  <a:lnTo>
                    <a:pt x="1160" y="360"/>
                  </a:lnTo>
                  <a:lnTo>
                    <a:pt x="1164" y="365"/>
                  </a:lnTo>
                  <a:lnTo>
                    <a:pt x="1164" y="369"/>
                  </a:lnTo>
                  <a:lnTo>
                    <a:pt x="1164" y="371"/>
                  </a:lnTo>
                  <a:lnTo>
                    <a:pt x="1164" y="371"/>
                  </a:lnTo>
                  <a:lnTo>
                    <a:pt x="1160" y="369"/>
                  </a:lnTo>
                  <a:lnTo>
                    <a:pt x="1152" y="369"/>
                  </a:lnTo>
                  <a:lnTo>
                    <a:pt x="1152" y="369"/>
                  </a:lnTo>
                  <a:lnTo>
                    <a:pt x="1150" y="365"/>
                  </a:lnTo>
                  <a:lnTo>
                    <a:pt x="1145" y="363"/>
                  </a:lnTo>
                  <a:lnTo>
                    <a:pt x="1143" y="365"/>
                  </a:lnTo>
                  <a:lnTo>
                    <a:pt x="1143" y="363"/>
                  </a:lnTo>
                  <a:lnTo>
                    <a:pt x="1143" y="361"/>
                  </a:lnTo>
                  <a:lnTo>
                    <a:pt x="1139" y="361"/>
                  </a:lnTo>
                  <a:lnTo>
                    <a:pt x="1139" y="360"/>
                  </a:lnTo>
                  <a:lnTo>
                    <a:pt x="1139" y="356"/>
                  </a:lnTo>
                  <a:lnTo>
                    <a:pt x="1143" y="356"/>
                  </a:lnTo>
                  <a:lnTo>
                    <a:pt x="1143" y="354"/>
                  </a:lnTo>
                  <a:lnTo>
                    <a:pt x="1143" y="350"/>
                  </a:lnTo>
                  <a:lnTo>
                    <a:pt x="1143" y="344"/>
                  </a:lnTo>
                  <a:lnTo>
                    <a:pt x="1139" y="344"/>
                  </a:lnTo>
                  <a:lnTo>
                    <a:pt x="1139" y="346"/>
                  </a:lnTo>
                  <a:lnTo>
                    <a:pt x="1143" y="348"/>
                  </a:lnTo>
                  <a:lnTo>
                    <a:pt x="1143" y="352"/>
                  </a:lnTo>
                  <a:lnTo>
                    <a:pt x="1139" y="354"/>
                  </a:lnTo>
                  <a:lnTo>
                    <a:pt x="1139" y="354"/>
                  </a:lnTo>
                  <a:lnTo>
                    <a:pt x="1135" y="354"/>
                  </a:lnTo>
                  <a:lnTo>
                    <a:pt x="1135" y="356"/>
                  </a:lnTo>
                  <a:lnTo>
                    <a:pt x="1139" y="356"/>
                  </a:lnTo>
                  <a:lnTo>
                    <a:pt x="1135" y="361"/>
                  </a:lnTo>
                  <a:lnTo>
                    <a:pt x="1133" y="360"/>
                  </a:lnTo>
                  <a:lnTo>
                    <a:pt x="1130" y="356"/>
                  </a:lnTo>
                  <a:lnTo>
                    <a:pt x="1130" y="354"/>
                  </a:lnTo>
                  <a:lnTo>
                    <a:pt x="1130" y="352"/>
                  </a:lnTo>
                  <a:lnTo>
                    <a:pt x="1133" y="346"/>
                  </a:lnTo>
                  <a:lnTo>
                    <a:pt x="1130" y="344"/>
                  </a:lnTo>
                  <a:lnTo>
                    <a:pt x="1133" y="344"/>
                  </a:lnTo>
                  <a:lnTo>
                    <a:pt x="1130" y="344"/>
                  </a:lnTo>
                  <a:lnTo>
                    <a:pt x="1130" y="348"/>
                  </a:lnTo>
                  <a:lnTo>
                    <a:pt x="1128" y="350"/>
                  </a:lnTo>
                  <a:lnTo>
                    <a:pt x="1128" y="352"/>
                  </a:lnTo>
                  <a:lnTo>
                    <a:pt x="1128" y="356"/>
                  </a:lnTo>
                  <a:lnTo>
                    <a:pt x="1124" y="356"/>
                  </a:lnTo>
                  <a:lnTo>
                    <a:pt x="1122" y="354"/>
                  </a:lnTo>
                  <a:lnTo>
                    <a:pt x="1120" y="354"/>
                  </a:lnTo>
                  <a:lnTo>
                    <a:pt x="1118" y="352"/>
                  </a:lnTo>
                  <a:lnTo>
                    <a:pt x="1120" y="348"/>
                  </a:lnTo>
                  <a:lnTo>
                    <a:pt x="1120" y="344"/>
                  </a:lnTo>
                  <a:lnTo>
                    <a:pt x="1122" y="344"/>
                  </a:lnTo>
                  <a:lnTo>
                    <a:pt x="1122" y="339"/>
                  </a:lnTo>
                  <a:lnTo>
                    <a:pt x="1126" y="331"/>
                  </a:lnTo>
                  <a:lnTo>
                    <a:pt x="1124" y="335"/>
                  </a:lnTo>
                  <a:lnTo>
                    <a:pt x="1120" y="335"/>
                  </a:lnTo>
                  <a:lnTo>
                    <a:pt x="1118" y="341"/>
                  </a:lnTo>
                  <a:lnTo>
                    <a:pt x="1118" y="346"/>
                  </a:lnTo>
                  <a:lnTo>
                    <a:pt x="1118" y="350"/>
                  </a:lnTo>
                  <a:lnTo>
                    <a:pt x="1115" y="348"/>
                  </a:lnTo>
                  <a:lnTo>
                    <a:pt x="1118" y="344"/>
                  </a:lnTo>
                  <a:lnTo>
                    <a:pt x="1118" y="344"/>
                  </a:lnTo>
                  <a:lnTo>
                    <a:pt x="1118" y="344"/>
                  </a:lnTo>
                  <a:lnTo>
                    <a:pt x="1115" y="348"/>
                  </a:lnTo>
                  <a:lnTo>
                    <a:pt x="1109" y="348"/>
                  </a:lnTo>
                  <a:lnTo>
                    <a:pt x="1109" y="346"/>
                  </a:lnTo>
                  <a:lnTo>
                    <a:pt x="1109" y="341"/>
                  </a:lnTo>
                  <a:lnTo>
                    <a:pt x="1109" y="339"/>
                  </a:lnTo>
                  <a:lnTo>
                    <a:pt x="1109" y="337"/>
                  </a:lnTo>
                  <a:lnTo>
                    <a:pt x="1115" y="335"/>
                  </a:lnTo>
                  <a:lnTo>
                    <a:pt x="1115" y="331"/>
                  </a:lnTo>
                  <a:lnTo>
                    <a:pt x="1115" y="331"/>
                  </a:lnTo>
                  <a:lnTo>
                    <a:pt x="1115" y="328"/>
                  </a:lnTo>
                  <a:lnTo>
                    <a:pt x="1118" y="326"/>
                  </a:lnTo>
                  <a:lnTo>
                    <a:pt x="1120" y="324"/>
                  </a:lnTo>
                  <a:lnTo>
                    <a:pt x="1122" y="324"/>
                  </a:lnTo>
                  <a:lnTo>
                    <a:pt x="1128" y="322"/>
                  </a:lnTo>
                  <a:lnTo>
                    <a:pt x="1130" y="320"/>
                  </a:lnTo>
                  <a:lnTo>
                    <a:pt x="1130" y="318"/>
                  </a:lnTo>
                  <a:lnTo>
                    <a:pt x="1135" y="318"/>
                  </a:lnTo>
                  <a:lnTo>
                    <a:pt x="1135" y="316"/>
                  </a:lnTo>
                  <a:lnTo>
                    <a:pt x="1135" y="314"/>
                  </a:lnTo>
                  <a:lnTo>
                    <a:pt x="1139" y="314"/>
                  </a:lnTo>
                  <a:lnTo>
                    <a:pt x="1143" y="316"/>
                  </a:lnTo>
                  <a:lnTo>
                    <a:pt x="1150" y="316"/>
                  </a:lnTo>
                  <a:lnTo>
                    <a:pt x="1152" y="314"/>
                  </a:lnTo>
                  <a:lnTo>
                    <a:pt x="1156" y="316"/>
                  </a:lnTo>
                  <a:lnTo>
                    <a:pt x="1156" y="320"/>
                  </a:lnTo>
                  <a:lnTo>
                    <a:pt x="1160" y="320"/>
                  </a:lnTo>
                  <a:lnTo>
                    <a:pt x="1160" y="316"/>
                  </a:lnTo>
                  <a:lnTo>
                    <a:pt x="1160" y="316"/>
                  </a:lnTo>
                  <a:lnTo>
                    <a:pt x="1164" y="320"/>
                  </a:lnTo>
                  <a:lnTo>
                    <a:pt x="1167" y="318"/>
                  </a:lnTo>
                  <a:lnTo>
                    <a:pt x="1169" y="320"/>
                  </a:lnTo>
                  <a:lnTo>
                    <a:pt x="1173" y="318"/>
                  </a:lnTo>
                  <a:lnTo>
                    <a:pt x="1169" y="316"/>
                  </a:lnTo>
                  <a:lnTo>
                    <a:pt x="1167" y="316"/>
                  </a:lnTo>
                  <a:lnTo>
                    <a:pt x="1164" y="314"/>
                  </a:lnTo>
                  <a:lnTo>
                    <a:pt x="1164" y="314"/>
                  </a:lnTo>
                  <a:lnTo>
                    <a:pt x="1164" y="312"/>
                  </a:lnTo>
                  <a:lnTo>
                    <a:pt x="1167" y="311"/>
                  </a:lnTo>
                  <a:lnTo>
                    <a:pt x="1167" y="311"/>
                  </a:lnTo>
                  <a:lnTo>
                    <a:pt x="1164" y="307"/>
                  </a:lnTo>
                  <a:lnTo>
                    <a:pt x="1164" y="307"/>
                  </a:lnTo>
                  <a:lnTo>
                    <a:pt x="1167" y="307"/>
                  </a:lnTo>
                  <a:lnTo>
                    <a:pt x="1167" y="305"/>
                  </a:lnTo>
                  <a:lnTo>
                    <a:pt x="1164" y="305"/>
                  </a:lnTo>
                  <a:lnTo>
                    <a:pt x="1164" y="305"/>
                  </a:lnTo>
                  <a:lnTo>
                    <a:pt x="1160" y="305"/>
                  </a:lnTo>
                  <a:lnTo>
                    <a:pt x="1160" y="305"/>
                  </a:lnTo>
                  <a:lnTo>
                    <a:pt x="1160" y="301"/>
                  </a:lnTo>
                  <a:lnTo>
                    <a:pt x="1164" y="299"/>
                  </a:lnTo>
                  <a:lnTo>
                    <a:pt x="1164" y="297"/>
                  </a:lnTo>
                  <a:lnTo>
                    <a:pt x="1160" y="297"/>
                  </a:lnTo>
                  <a:lnTo>
                    <a:pt x="1160" y="294"/>
                  </a:lnTo>
                  <a:lnTo>
                    <a:pt x="1160" y="288"/>
                  </a:lnTo>
                  <a:lnTo>
                    <a:pt x="1160" y="286"/>
                  </a:lnTo>
                  <a:lnTo>
                    <a:pt x="1160" y="282"/>
                  </a:lnTo>
                  <a:lnTo>
                    <a:pt x="1160" y="280"/>
                  </a:lnTo>
                  <a:lnTo>
                    <a:pt x="1164" y="280"/>
                  </a:lnTo>
                  <a:lnTo>
                    <a:pt x="1167" y="280"/>
                  </a:lnTo>
                  <a:lnTo>
                    <a:pt x="1169" y="280"/>
                  </a:lnTo>
                  <a:lnTo>
                    <a:pt x="1173" y="277"/>
                  </a:lnTo>
                  <a:lnTo>
                    <a:pt x="1177" y="280"/>
                  </a:lnTo>
                  <a:lnTo>
                    <a:pt x="1180" y="280"/>
                  </a:lnTo>
                  <a:lnTo>
                    <a:pt x="1184" y="284"/>
                  </a:lnTo>
                  <a:lnTo>
                    <a:pt x="1184" y="292"/>
                  </a:lnTo>
                  <a:lnTo>
                    <a:pt x="1184" y="301"/>
                  </a:lnTo>
                  <a:lnTo>
                    <a:pt x="1184" y="307"/>
                  </a:lnTo>
                  <a:lnTo>
                    <a:pt x="1184" y="307"/>
                  </a:lnTo>
                  <a:lnTo>
                    <a:pt x="1188" y="307"/>
                  </a:lnTo>
                  <a:lnTo>
                    <a:pt x="1194" y="311"/>
                  </a:lnTo>
                  <a:lnTo>
                    <a:pt x="1197" y="314"/>
                  </a:lnTo>
                  <a:lnTo>
                    <a:pt x="1199" y="316"/>
                  </a:lnTo>
                  <a:lnTo>
                    <a:pt x="1199" y="312"/>
                  </a:lnTo>
                  <a:lnTo>
                    <a:pt x="1207" y="312"/>
                  </a:lnTo>
                  <a:lnTo>
                    <a:pt x="1212" y="318"/>
                  </a:lnTo>
                  <a:lnTo>
                    <a:pt x="1214" y="316"/>
                  </a:lnTo>
                  <a:lnTo>
                    <a:pt x="1211" y="314"/>
                  </a:lnTo>
                  <a:lnTo>
                    <a:pt x="1214" y="311"/>
                  </a:lnTo>
                  <a:lnTo>
                    <a:pt x="1218" y="311"/>
                  </a:lnTo>
                  <a:lnTo>
                    <a:pt x="1222" y="305"/>
                  </a:lnTo>
                  <a:lnTo>
                    <a:pt x="1229" y="299"/>
                  </a:lnTo>
                  <a:lnTo>
                    <a:pt x="1237" y="294"/>
                  </a:lnTo>
                  <a:lnTo>
                    <a:pt x="1237" y="290"/>
                  </a:lnTo>
                  <a:lnTo>
                    <a:pt x="1239" y="288"/>
                  </a:lnTo>
                  <a:lnTo>
                    <a:pt x="1237" y="288"/>
                  </a:lnTo>
                  <a:lnTo>
                    <a:pt x="1233" y="290"/>
                  </a:lnTo>
                  <a:lnTo>
                    <a:pt x="1233" y="292"/>
                  </a:lnTo>
                  <a:lnTo>
                    <a:pt x="1228" y="299"/>
                  </a:lnTo>
                  <a:lnTo>
                    <a:pt x="1222" y="301"/>
                  </a:lnTo>
                  <a:lnTo>
                    <a:pt x="1222" y="301"/>
                  </a:lnTo>
                  <a:lnTo>
                    <a:pt x="1218" y="307"/>
                  </a:lnTo>
                  <a:lnTo>
                    <a:pt x="1212" y="311"/>
                  </a:lnTo>
                  <a:lnTo>
                    <a:pt x="1211" y="307"/>
                  </a:lnTo>
                  <a:lnTo>
                    <a:pt x="1209" y="307"/>
                  </a:lnTo>
                  <a:lnTo>
                    <a:pt x="1207" y="311"/>
                  </a:lnTo>
                  <a:lnTo>
                    <a:pt x="1203" y="311"/>
                  </a:lnTo>
                  <a:lnTo>
                    <a:pt x="1197" y="305"/>
                  </a:lnTo>
                  <a:lnTo>
                    <a:pt x="1197" y="305"/>
                  </a:lnTo>
                  <a:lnTo>
                    <a:pt x="1201" y="301"/>
                  </a:lnTo>
                  <a:lnTo>
                    <a:pt x="1205" y="299"/>
                  </a:lnTo>
                  <a:lnTo>
                    <a:pt x="1205" y="296"/>
                  </a:lnTo>
                  <a:lnTo>
                    <a:pt x="1201" y="299"/>
                  </a:lnTo>
                  <a:lnTo>
                    <a:pt x="1199" y="301"/>
                  </a:lnTo>
                  <a:lnTo>
                    <a:pt x="1197" y="301"/>
                  </a:lnTo>
                  <a:lnTo>
                    <a:pt x="1194" y="297"/>
                  </a:lnTo>
                  <a:lnTo>
                    <a:pt x="1194" y="296"/>
                  </a:lnTo>
                  <a:lnTo>
                    <a:pt x="1197" y="296"/>
                  </a:lnTo>
                  <a:lnTo>
                    <a:pt x="1199" y="294"/>
                  </a:lnTo>
                  <a:lnTo>
                    <a:pt x="1199" y="292"/>
                  </a:lnTo>
                  <a:lnTo>
                    <a:pt x="1197" y="292"/>
                  </a:lnTo>
                  <a:lnTo>
                    <a:pt x="1197" y="290"/>
                  </a:lnTo>
                  <a:lnTo>
                    <a:pt x="1199" y="288"/>
                  </a:lnTo>
                  <a:lnTo>
                    <a:pt x="1201" y="290"/>
                  </a:lnTo>
                  <a:lnTo>
                    <a:pt x="1205" y="290"/>
                  </a:lnTo>
                  <a:lnTo>
                    <a:pt x="1205" y="288"/>
                  </a:lnTo>
                  <a:lnTo>
                    <a:pt x="1201" y="288"/>
                  </a:lnTo>
                  <a:lnTo>
                    <a:pt x="1199" y="286"/>
                  </a:lnTo>
                  <a:lnTo>
                    <a:pt x="1197" y="288"/>
                  </a:lnTo>
                  <a:lnTo>
                    <a:pt x="1194" y="288"/>
                  </a:lnTo>
                  <a:lnTo>
                    <a:pt x="1194" y="284"/>
                  </a:lnTo>
                  <a:lnTo>
                    <a:pt x="1194" y="282"/>
                  </a:lnTo>
                  <a:lnTo>
                    <a:pt x="1197" y="282"/>
                  </a:lnTo>
                  <a:lnTo>
                    <a:pt x="1199" y="280"/>
                  </a:lnTo>
                  <a:lnTo>
                    <a:pt x="1205" y="280"/>
                  </a:lnTo>
                  <a:lnTo>
                    <a:pt x="1209" y="282"/>
                  </a:lnTo>
                  <a:lnTo>
                    <a:pt x="1211" y="280"/>
                  </a:lnTo>
                  <a:lnTo>
                    <a:pt x="1207" y="280"/>
                  </a:lnTo>
                  <a:lnTo>
                    <a:pt x="1205" y="280"/>
                  </a:lnTo>
                  <a:lnTo>
                    <a:pt x="1209" y="277"/>
                  </a:lnTo>
                  <a:lnTo>
                    <a:pt x="1212" y="277"/>
                  </a:lnTo>
                  <a:lnTo>
                    <a:pt x="1212" y="275"/>
                  </a:lnTo>
                  <a:lnTo>
                    <a:pt x="1211" y="275"/>
                  </a:lnTo>
                  <a:lnTo>
                    <a:pt x="1211" y="271"/>
                  </a:lnTo>
                  <a:lnTo>
                    <a:pt x="1212" y="269"/>
                  </a:lnTo>
                  <a:lnTo>
                    <a:pt x="1216" y="267"/>
                  </a:lnTo>
                  <a:lnTo>
                    <a:pt x="1214" y="265"/>
                  </a:lnTo>
                  <a:lnTo>
                    <a:pt x="1218" y="258"/>
                  </a:lnTo>
                  <a:lnTo>
                    <a:pt x="1222" y="256"/>
                  </a:lnTo>
                  <a:lnTo>
                    <a:pt x="1222" y="252"/>
                  </a:lnTo>
                  <a:lnTo>
                    <a:pt x="1218" y="254"/>
                  </a:lnTo>
                  <a:lnTo>
                    <a:pt x="1214" y="260"/>
                  </a:lnTo>
                  <a:lnTo>
                    <a:pt x="1211" y="269"/>
                  </a:lnTo>
                  <a:lnTo>
                    <a:pt x="1205" y="271"/>
                  </a:lnTo>
                  <a:lnTo>
                    <a:pt x="1199" y="277"/>
                  </a:lnTo>
                  <a:lnTo>
                    <a:pt x="1197" y="277"/>
                  </a:lnTo>
                  <a:lnTo>
                    <a:pt x="1194" y="277"/>
                  </a:lnTo>
                  <a:lnTo>
                    <a:pt x="1194" y="275"/>
                  </a:lnTo>
                  <a:lnTo>
                    <a:pt x="1194" y="271"/>
                  </a:lnTo>
                  <a:lnTo>
                    <a:pt x="1197" y="269"/>
                  </a:lnTo>
                  <a:lnTo>
                    <a:pt x="1197" y="265"/>
                  </a:lnTo>
                  <a:lnTo>
                    <a:pt x="1194" y="269"/>
                  </a:lnTo>
                  <a:lnTo>
                    <a:pt x="1188" y="269"/>
                  </a:lnTo>
                  <a:lnTo>
                    <a:pt x="1188" y="271"/>
                  </a:lnTo>
                  <a:lnTo>
                    <a:pt x="1184" y="271"/>
                  </a:lnTo>
                  <a:lnTo>
                    <a:pt x="1180" y="271"/>
                  </a:lnTo>
                  <a:lnTo>
                    <a:pt x="1175" y="269"/>
                  </a:lnTo>
                  <a:lnTo>
                    <a:pt x="1179" y="267"/>
                  </a:lnTo>
                  <a:lnTo>
                    <a:pt x="1182" y="265"/>
                  </a:lnTo>
                  <a:lnTo>
                    <a:pt x="1180" y="263"/>
                  </a:lnTo>
                  <a:lnTo>
                    <a:pt x="1179" y="263"/>
                  </a:lnTo>
                  <a:lnTo>
                    <a:pt x="1179" y="260"/>
                  </a:lnTo>
                  <a:lnTo>
                    <a:pt x="1184" y="256"/>
                  </a:lnTo>
                  <a:lnTo>
                    <a:pt x="1184" y="252"/>
                  </a:lnTo>
                  <a:lnTo>
                    <a:pt x="1188" y="250"/>
                  </a:lnTo>
                  <a:lnTo>
                    <a:pt x="1192" y="250"/>
                  </a:lnTo>
                  <a:lnTo>
                    <a:pt x="1194" y="250"/>
                  </a:lnTo>
                  <a:lnTo>
                    <a:pt x="1194" y="243"/>
                  </a:lnTo>
                  <a:lnTo>
                    <a:pt x="1197" y="241"/>
                  </a:lnTo>
                  <a:lnTo>
                    <a:pt x="1203" y="233"/>
                  </a:lnTo>
                  <a:lnTo>
                    <a:pt x="1205" y="235"/>
                  </a:lnTo>
                  <a:lnTo>
                    <a:pt x="1212" y="233"/>
                  </a:lnTo>
                  <a:lnTo>
                    <a:pt x="1218" y="235"/>
                  </a:lnTo>
                  <a:lnTo>
                    <a:pt x="1222" y="233"/>
                  </a:lnTo>
                  <a:lnTo>
                    <a:pt x="1224" y="233"/>
                  </a:lnTo>
                  <a:lnTo>
                    <a:pt x="1228" y="230"/>
                  </a:lnTo>
                  <a:lnTo>
                    <a:pt x="1229" y="230"/>
                  </a:lnTo>
                  <a:lnTo>
                    <a:pt x="1231" y="231"/>
                  </a:lnTo>
                  <a:lnTo>
                    <a:pt x="1235" y="235"/>
                  </a:lnTo>
                  <a:lnTo>
                    <a:pt x="1239" y="237"/>
                  </a:lnTo>
                  <a:lnTo>
                    <a:pt x="1246" y="243"/>
                  </a:lnTo>
                  <a:lnTo>
                    <a:pt x="1246" y="243"/>
                  </a:lnTo>
                  <a:lnTo>
                    <a:pt x="1248" y="247"/>
                  </a:lnTo>
                  <a:lnTo>
                    <a:pt x="1252" y="247"/>
                  </a:lnTo>
                  <a:lnTo>
                    <a:pt x="1256" y="254"/>
                  </a:lnTo>
                  <a:lnTo>
                    <a:pt x="1256" y="250"/>
                  </a:lnTo>
                  <a:lnTo>
                    <a:pt x="1260" y="250"/>
                  </a:lnTo>
                  <a:lnTo>
                    <a:pt x="1260" y="247"/>
                  </a:lnTo>
                  <a:lnTo>
                    <a:pt x="1254" y="247"/>
                  </a:lnTo>
                  <a:lnTo>
                    <a:pt x="1252" y="247"/>
                  </a:lnTo>
                  <a:lnTo>
                    <a:pt x="1252" y="243"/>
                  </a:lnTo>
                  <a:lnTo>
                    <a:pt x="1256" y="243"/>
                  </a:lnTo>
                  <a:lnTo>
                    <a:pt x="1263" y="243"/>
                  </a:lnTo>
                  <a:lnTo>
                    <a:pt x="1267" y="243"/>
                  </a:lnTo>
                  <a:lnTo>
                    <a:pt x="1267" y="243"/>
                  </a:lnTo>
                  <a:lnTo>
                    <a:pt x="1267" y="237"/>
                  </a:lnTo>
                  <a:lnTo>
                    <a:pt x="1271" y="233"/>
                  </a:lnTo>
                  <a:lnTo>
                    <a:pt x="1271" y="231"/>
                  </a:lnTo>
                  <a:lnTo>
                    <a:pt x="1267" y="233"/>
                  </a:lnTo>
                  <a:lnTo>
                    <a:pt x="1267" y="235"/>
                  </a:lnTo>
                  <a:lnTo>
                    <a:pt x="1265" y="237"/>
                  </a:lnTo>
                  <a:lnTo>
                    <a:pt x="1261" y="241"/>
                  </a:lnTo>
                  <a:lnTo>
                    <a:pt x="1254" y="237"/>
                  </a:lnTo>
                  <a:lnTo>
                    <a:pt x="1248" y="237"/>
                  </a:lnTo>
                  <a:lnTo>
                    <a:pt x="1246" y="235"/>
                  </a:lnTo>
                  <a:lnTo>
                    <a:pt x="1243" y="233"/>
                  </a:lnTo>
                  <a:lnTo>
                    <a:pt x="1239" y="233"/>
                  </a:lnTo>
                  <a:lnTo>
                    <a:pt x="1235" y="226"/>
                  </a:lnTo>
                  <a:lnTo>
                    <a:pt x="1235" y="218"/>
                  </a:lnTo>
                  <a:lnTo>
                    <a:pt x="1237" y="216"/>
                  </a:lnTo>
                  <a:lnTo>
                    <a:pt x="1241" y="218"/>
                  </a:lnTo>
                  <a:lnTo>
                    <a:pt x="1241" y="222"/>
                  </a:lnTo>
                  <a:lnTo>
                    <a:pt x="1243" y="226"/>
                  </a:lnTo>
                  <a:lnTo>
                    <a:pt x="1246" y="220"/>
                  </a:lnTo>
                  <a:lnTo>
                    <a:pt x="1246" y="216"/>
                  </a:lnTo>
                  <a:lnTo>
                    <a:pt x="1243" y="216"/>
                  </a:lnTo>
                  <a:lnTo>
                    <a:pt x="1243" y="216"/>
                  </a:lnTo>
                  <a:lnTo>
                    <a:pt x="1243" y="213"/>
                  </a:lnTo>
                  <a:lnTo>
                    <a:pt x="1246" y="207"/>
                  </a:lnTo>
                  <a:lnTo>
                    <a:pt x="1246" y="201"/>
                  </a:lnTo>
                  <a:lnTo>
                    <a:pt x="1246" y="196"/>
                  </a:lnTo>
                  <a:lnTo>
                    <a:pt x="1246" y="186"/>
                  </a:lnTo>
                  <a:lnTo>
                    <a:pt x="1243" y="181"/>
                  </a:lnTo>
                  <a:lnTo>
                    <a:pt x="1243" y="179"/>
                  </a:lnTo>
                  <a:lnTo>
                    <a:pt x="1241" y="173"/>
                  </a:lnTo>
                  <a:lnTo>
                    <a:pt x="1243" y="173"/>
                  </a:lnTo>
                  <a:lnTo>
                    <a:pt x="1243" y="171"/>
                  </a:lnTo>
                  <a:lnTo>
                    <a:pt x="1246" y="171"/>
                  </a:lnTo>
                  <a:lnTo>
                    <a:pt x="1246" y="173"/>
                  </a:lnTo>
                  <a:lnTo>
                    <a:pt x="1252" y="173"/>
                  </a:lnTo>
                  <a:lnTo>
                    <a:pt x="1252" y="179"/>
                  </a:lnTo>
                  <a:lnTo>
                    <a:pt x="1254" y="177"/>
                  </a:lnTo>
                  <a:lnTo>
                    <a:pt x="1254" y="173"/>
                  </a:lnTo>
                  <a:lnTo>
                    <a:pt x="1252" y="169"/>
                  </a:lnTo>
                  <a:lnTo>
                    <a:pt x="1248" y="169"/>
                  </a:lnTo>
                  <a:lnTo>
                    <a:pt x="1246" y="166"/>
                  </a:lnTo>
                  <a:lnTo>
                    <a:pt x="1246" y="164"/>
                  </a:lnTo>
                  <a:lnTo>
                    <a:pt x="1246" y="158"/>
                  </a:lnTo>
                  <a:lnTo>
                    <a:pt x="1258" y="147"/>
                  </a:lnTo>
                  <a:lnTo>
                    <a:pt x="1263" y="145"/>
                  </a:lnTo>
                  <a:lnTo>
                    <a:pt x="1267" y="147"/>
                  </a:lnTo>
                  <a:lnTo>
                    <a:pt x="1267" y="149"/>
                  </a:lnTo>
                  <a:lnTo>
                    <a:pt x="1273" y="152"/>
                  </a:lnTo>
                  <a:lnTo>
                    <a:pt x="1276" y="152"/>
                  </a:lnTo>
                  <a:lnTo>
                    <a:pt x="1284" y="158"/>
                  </a:lnTo>
                  <a:lnTo>
                    <a:pt x="1284" y="162"/>
                  </a:lnTo>
                  <a:lnTo>
                    <a:pt x="1288" y="167"/>
                  </a:lnTo>
                  <a:lnTo>
                    <a:pt x="1290" y="177"/>
                  </a:lnTo>
                  <a:lnTo>
                    <a:pt x="1290" y="183"/>
                  </a:lnTo>
                  <a:lnTo>
                    <a:pt x="1292" y="188"/>
                  </a:lnTo>
                  <a:lnTo>
                    <a:pt x="1293" y="192"/>
                  </a:lnTo>
                  <a:lnTo>
                    <a:pt x="1295" y="192"/>
                  </a:lnTo>
                  <a:lnTo>
                    <a:pt x="1297" y="192"/>
                  </a:lnTo>
                  <a:lnTo>
                    <a:pt x="1301" y="194"/>
                  </a:lnTo>
                  <a:lnTo>
                    <a:pt x="1301" y="198"/>
                  </a:lnTo>
                  <a:lnTo>
                    <a:pt x="1301" y="196"/>
                  </a:lnTo>
                  <a:lnTo>
                    <a:pt x="1305" y="194"/>
                  </a:lnTo>
                  <a:lnTo>
                    <a:pt x="1307" y="194"/>
                  </a:lnTo>
                  <a:lnTo>
                    <a:pt x="1305" y="192"/>
                  </a:lnTo>
                  <a:lnTo>
                    <a:pt x="1301" y="192"/>
                  </a:lnTo>
                  <a:lnTo>
                    <a:pt x="1297" y="188"/>
                  </a:lnTo>
                  <a:lnTo>
                    <a:pt x="1295" y="186"/>
                  </a:lnTo>
                  <a:lnTo>
                    <a:pt x="1295" y="183"/>
                  </a:lnTo>
                  <a:lnTo>
                    <a:pt x="1297" y="181"/>
                  </a:lnTo>
                  <a:lnTo>
                    <a:pt x="1297" y="179"/>
                  </a:lnTo>
                  <a:lnTo>
                    <a:pt x="1297" y="164"/>
                  </a:lnTo>
                  <a:lnTo>
                    <a:pt x="1297" y="162"/>
                  </a:lnTo>
                  <a:lnTo>
                    <a:pt x="1297" y="156"/>
                  </a:lnTo>
                  <a:lnTo>
                    <a:pt x="1305" y="156"/>
                  </a:lnTo>
                  <a:lnTo>
                    <a:pt x="1307" y="158"/>
                  </a:lnTo>
                  <a:lnTo>
                    <a:pt x="1312" y="162"/>
                  </a:lnTo>
                  <a:lnTo>
                    <a:pt x="1318" y="162"/>
                  </a:lnTo>
                  <a:lnTo>
                    <a:pt x="1322" y="162"/>
                  </a:lnTo>
                  <a:lnTo>
                    <a:pt x="1331" y="162"/>
                  </a:lnTo>
                  <a:lnTo>
                    <a:pt x="1335" y="158"/>
                  </a:lnTo>
                  <a:lnTo>
                    <a:pt x="1339" y="162"/>
                  </a:lnTo>
                  <a:lnTo>
                    <a:pt x="1342" y="162"/>
                  </a:lnTo>
                  <a:lnTo>
                    <a:pt x="1350" y="164"/>
                  </a:lnTo>
                  <a:lnTo>
                    <a:pt x="1354" y="166"/>
                  </a:lnTo>
                  <a:lnTo>
                    <a:pt x="1356" y="164"/>
                  </a:lnTo>
                  <a:lnTo>
                    <a:pt x="1356" y="162"/>
                  </a:lnTo>
                  <a:lnTo>
                    <a:pt x="1354" y="162"/>
                  </a:lnTo>
                  <a:lnTo>
                    <a:pt x="1350" y="162"/>
                  </a:lnTo>
                  <a:lnTo>
                    <a:pt x="1342" y="158"/>
                  </a:lnTo>
                  <a:lnTo>
                    <a:pt x="1342" y="156"/>
                  </a:lnTo>
                  <a:lnTo>
                    <a:pt x="1342" y="156"/>
                  </a:lnTo>
                  <a:lnTo>
                    <a:pt x="1344" y="156"/>
                  </a:lnTo>
                  <a:lnTo>
                    <a:pt x="1350" y="152"/>
                  </a:lnTo>
                  <a:lnTo>
                    <a:pt x="1363" y="152"/>
                  </a:lnTo>
                  <a:lnTo>
                    <a:pt x="1371" y="152"/>
                  </a:lnTo>
                  <a:lnTo>
                    <a:pt x="1378" y="152"/>
                  </a:lnTo>
                  <a:lnTo>
                    <a:pt x="1384" y="156"/>
                  </a:lnTo>
                  <a:lnTo>
                    <a:pt x="1386" y="156"/>
                  </a:lnTo>
                  <a:lnTo>
                    <a:pt x="1389" y="156"/>
                  </a:lnTo>
                  <a:lnTo>
                    <a:pt x="1389" y="152"/>
                  </a:lnTo>
                  <a:lnTo>
                    <a:pt x="1386" y="152"/>
                  </a:lnTo>
                  <a:lnTo>
                    <a:pt x="1384" y="152"/>
                  </a:lnTo>
                  <a:lnTo>
                    <a:pt x="1384" y="149"/>
                  </a:lnTo>
                  <a:lnTo>
                    <a:pt x="1380" y="149"/>
                  </a:lnTo>
                  <a:lnTo>
                    <a:pt x="1374" y="149"/>
                  </a:lnTo>
                  <a:lnTo>
                    <a:pt x="1372" y="147"/>
                  </a:lnTo>
                  <a:lnTo>
                    <a:pt x="1361" y="147"/>
                  </a:lnTo>
                  <a:lnTo>
                    <a:pt x="1361" y="145"/>
                  </a:lnTo>
                  <a:lnTo>
                    <a:pt x="1363" y="143"/>
                  </a:lnTo>
                  <a:lnTo>
                    <a:pt x="1367" y="139"/>
                  </a:lnTo>
                  <a:lnTo>
                    <a:pt x="1371" y="137"/>
                  </a:lnTo>
                  <a:lnTo>
                    <a:pt x="1374" y="134"/>
                  </a:lnTo>
                  <a:lnTo>
                    <a:pt x="1376" y="132"/>
                  </a:lnTo>
                  <a:lnTo>
                    <a:pt x="1386" y="122"/>
                  </a:lnTo>
                  <a:lnTo>
                    <a:pt x="1391" y="122"/>
                  </a:lnTo>
                  <a:lnTo>
                    <a:pt x="1401" y="118"/>
                  </a:lnTo>
                  <a:lnTo>
                    <a:pt x="1401" y="117"/>
                  </a:lnTo>
                  <a:lnTo>
                    <a:pt x="1389" y="122"/>
                  </a:lnTo>
                  <a:lnTo>
                    <a:pt x="1384" y="122"/>
                  </a:lnTo>
                  <a:lnTo>
                    <a:pt x="1372" y="128"/>
                  </a:lnTo>
                  <a:lnTo>
                    <a:pt x="1372" y="134"/>
                  </a:lnTo>
                  <a:lnTo>
                    <a:pt x="1371" y="134"/>
                  </a:lnTo>
                  <a:lnTo>
                    <a:pt x="1371" y="128"/>
                  </a:lnTo>
                  <a:lnTo>
                    <a:pt x="1369" y="128"/>
                  </a:lnTo>
                  <a:lnTo>
                    <a:pt x="1365" y="132"/>
                  </a:lnTo>
                  <a:lnTo>
                    <a:pt x="1361" y="134"/>
                  </a:lnTo>
                  <a:lnTo>
                    <a:pt x="1359" y="139"/>
                  </a:lnTo>
                  <a:lnTo>
                    <a:pt x="1359" y="139"/>
                  </a:lnTo>
                  <a:lnTo>
                    <a:pt x="1359" y="141"/>
                  </a:lnTo>
                  <a:lnTo>
                    <a:pt x="1356" y="147"/>
                  </a:lnTo>
                  <a:lnTo>
                    <a:pt x="1350" y="147"/>
                  </a:lnTo>
                  <a:lnTo>
                    <a:pt x="1337" y="152"/>
                  </a:lnTo>
                  <a:lnTo>
                    <a:pt x="1335" y="152"/>
                  </a:lnTo>
                  <a:lnTo>
                    <a:pt x="1331" y="152"/>
                  </a:lnTo>
                  <a:lnTo>
                    <a:pt x="1320" y="152"/>
                  </a:lnTo>
                  <a:lnTo>
                    <a:pt x="1314" y="149"/>
                  </a:lnTo>
                  <a:lnTo>
                    <a:pt x="1310" y="149"/>
                  </a:lnTo>
                  <a:lnTo>
                    <a:pt x="1305" y="149"/>
                  </a:lnTo>
                  <a:lnTo>
                    <a:pt x="1305" y="145"/>
                  </a:lnTo>
                  <a:lnTo>
                    <a:pt x="1310" y="139"/>
                  </a:lnTo>
                  <a:lnTo>
                    <a:pt x="1314" y="139"/>
                  </a:lnTo>
                  <a:lnTo>
                    <a:pt x="1318" y="139"/>
                  </a:lnTo>
                  <a:lnTo>
                    <a:pt x="1325" y="137"/>
                  </a:lnTo>
                  <a:lnTo>
                    <a:pt x="1329" y="134"/>
                  </a:lnTo>
                  <a:lnTo>
                    <a:pt x="1325" y="134"/>
                  </a:lnTo>
                  <a:lnTo>
                    <a:pt x="1322" y="135"/>
                  </a:lnTo>
                  <a:lnTo>
                    <a:pt x="1316" y="135"/>
                  </a:lnTo>
                  <a:lnTo>
                    <a:pt x="1312" y="137"/>
                  </a:lnTo>
                  <a:lnTo>
                    <a:pt x="1310" y="135"/>
                  </a:lnTo>
                  <a:lnTo>
                    <a:pt x="1310" y="134"/>
                  </a:lnTo>
                  <a:lnTo>
                    <a:pt x="1312" y="132"/>
                  </a:lnTo>
                  <a:lnTo>
                    <a:pt x="1310" y="132"/>
                  </a:lnTo>
                  <a:lnTo>
                    <a:pt x="1305" y="132"/>
                  </a:lnTo>
                  <a:lnTo>
                    <a:pt x="1305" y="137"/>
                  </a:lnTo>
                  <a:lnTo>
                    <a:pt x="1297" y="143"/>
                  </a:lnTo>
                  <a:lnTo>
                    <a:pt x="1293" y="143"/>
                  </a:lnTo>
                  <a:lnTo>
                    <a:pt x="1284" y="141"/>
                  </a:lnTo>
                  <a:lnTo>
                    <a:pt x="1276" y="141"/>
                  </a:lnTo>
                  <a:lnTo>
                    <a:pt x="1273" y="137"/>
                  </a:lnTo>
                  <a:lnTo>
                    <a:pt x="1273" y="134"/>
                  </a:lnTo>
                  <a:lnTo>
                    <a:pt x="1271" y="134"/>
                  </a:lnTo>
                  <a:lnTo>
                    <a:pt x="1267" y="132"/>
                  </a:lnTo>
                  <a:lnTo>
                    <a:pt x="1267" y="128"/>
                  </a:lnTo>
                  <a:lnTo>
                    <a:pt x="1267" y="128"/>
                  </a:lnTo>
                  <a:lnTo>
                    <a:pt x="1273" y="122"/>
                  </a:lnTo>
                  <a:lnTo>
                    <a:pt x="1276" y="118"/>
                  </a:lnTo>
                  <a:lnTo>
                    <a:pt x="1280" y="115"/>
                  </a:lnTo>
                  <a:lnTo>
                    <a:pt x="1286" y="113"/>
                  </a:lnTo>
                  <a:lnTo>
                    <a:pt x="1288" y="109"/>
                  </a:lnTo>
                  <a:lnTo>
                    <a:pt x="1292" y="111"/>
                  </a:lnTo>
                  <a:lnTo>
                    <a:pt x="1297" y="111"/>
                  </a:lnTo>
                  <a:lnTo>
                    <a:pt x="1301" y="109"/>
                  </a:lnTo>
                  <a:lnTo>
                    <a:pt x="1305" y="111"/>
                  </a:lnTo>
                  <a:lnTo>
                    <a:pt x="1312" y="115"/>
                  </a:lnTo>
                  <a:lnTo>
                    <a:pt x="1318" y="115"/>
                  </a:lnTo>
                  <a:lnTo>
                    <a:pt x="1322" y="117"/>
                  </a:lnTo>
                  <a:lnTo>
                    <a:pt x="1325" y="115"/>
                  </a:lnTo>
                  <a:lnTo>
                    <a:pt x="1329" y="113"/>
                  </a:lnTo>
                  <a:lnTo>
                    <a:pt x="1325" y="111"/>
                  </a:lnTo>
                  <a:lnTo>
                    <a:pt x="1318" y="113"/>
                  </a:lnTo>
                  <a:lnTo>
                    <a:pt x="1310" y="111"/>
                  </a:lnTo>
                  <a:lnTo>
                    <a:pt x="1305" y="107"/>
                  </a:lnTo>
                  <a:lnTo>
                    <a:pt x="1301" y="107"/>
                  </a:lnTo>
                  <a:lnTo>
                    <a:pt x="1293" y="109"/>
                  </a:lnTo>
                  <a:lnTo>
                    <a:pt x="1286" y="107"/>
                  </a:lnTo>
                  <a:lnTo>
                    <a:pt x="1284" y="107"/>
                  </a:lnTo>
                  <a:lnTo>
                    <a:pt x="1282" y="109"/>
                  </a:lnTo>
                  <a:lnTo>
                    <a:pt x="1280" y="113"/>
                  </a:lnTo>
                  <a:lnTo>
                    <a:pt x="1273" y="118"/>
                  </a:lnTo>
                  <a:lnTo>
                    <a:pt x="1265" y="118"/>
                  </a:lnTo>
                  <a:lnTo>
                    <a:pt x="1261" y="128"/>
                  </a:lnTo>
                  <a:lnTo>
                    <a:pt x="1260" y="128"/>
                  </a:lnTo>
                  <a:lnTo>
                    <a:pt x="1256" y="124"/>
                  </a:lnTo>
                  <a:lnTo>
                    <a:pt x="1252" y="118"/>
                  </a:lnTo>
                  <a:lnTo>
                    <a:pt x="1248" y="118"/>
                  </a:lnTo>
                  <a:lnTo>
                    <a:pt x="1246" y="117"/>
                  </a:lnTo>
                  <a:lnTo>
                    <a:pt x="1246" y="111"/>
                  </a:lnTo>
                  <a:lnTo>
                    <a:pt x="1246" y="105"/>
                  </a:lnTo>
                  <a:lnTo>
                    <a:pt x="1243" y="103"/>
                  </a:lnTo>
                  <a:lnTo>
                    <a:pt x="1243" y="100"/>
                  </a:lnTo>
                  <a:lnTo>
                    <a:pt x="1246" y="98"/>
                  </a:lnTo>
                  <a:lnTo>
                    <a:pt x="1248" y="98"/>
                  </a:lnTo>
                  <a:lnTo>
                    <a:pt x="1252" y="98"/>
                  </a:lnTo>
                  <a:lnTo>
                    <a:pt x="1254" y="100"/>
                  </a:lnTo>
                  <a:lnTo>
                    <a:pt x="1265" y="98"/>
                  </a:lnTo>
                  <a:lnTo>
                    <a:pt x="1271" y="103"/>
                  </a:lnTo>
                  <a:lnTo>
                    <a:pt x="1273" y="103"/>
                  </a:lnTo>
                  <a:lnTo>
                    <a:pt x="1276" y="103"/>
                  </a:lnTo>
                  <a:lnTo>
                    <a:pt x="1280" y="103"/>
                  </a:lnTo>
                  <a:lnTo>
                    <a:pt x="1284" y="102"/>
                  </a:lnTo>
                  <a:lnTo>
                    <a:pt x="1288" y="103"/>
                  </a:lnTo>
                  <a:lnTo>
                    <a:pt x="1290" y="102"/>
                  </a:lnTo>
                  <a:lnTo>
                    <a:pt x="1293" y="102"/>
                  </a:lnTo>
                  <a:lnTo>
                    <a:pt x="1295" y="100"/>
                  </a:lnTo>
                  <a:lnTo>
                    <a:pt x="1301" y="98"/>
                  </a:lnTo>
                  <a:lnTo>
                    <a:pt x="1310" y="98"/>
                  </a:lnTo>
                  <a:lnTo>
                    <a:pt x="1310" y="94"/>
                  </a:lnTo>
                  <a:lnTo>
                    <a:pt x="1310" y="94"/>
                  </a:lnTo>
                  <a:lnTo>
                    <a:pt x="1307" y="94"/>
                  </a:lnTo>
                  <a:lnTo>
                    <a:pt x="1305" y="94"/>
                  </a:lnTo>
                  <a:lnTo>
                    <a:pt x="1305" y="98"/>
                  </a:lnTo>
                  <a:lnTo>
                    <a:pt x="1297" y="98"/>
                  </a:lnTo>
                  <a:lnTo>
                    <a:pt x="1292" y="98"/>
                  </a:lnTo>
                  <a:lnTo>
                    <a:pt x="1286" y="100"/>
                  </a:lnTo>
                  <a:lnTo>
                    <a:pt x="1282" y="100"/>
                  </a:lnTo>
                  <a:lnTo>
                    <a:pt x="1276" y="100"/>
                  </a:lnTo>
                  <a:lnTo>
                    <a:pt x="1276" y="100"/>
                  </a:lnTo>
                  <a:lnTo>
                    <a:pt x="1273" y="100"/>
                  </a:lnTo>
                  <a:lnTo>
                    <a:pt x="1267" y="98"/>
                  </a:lnTo>
                  <a:lnTo>
                    <a:pt x="1267" y="98"/>
                  </a:lnTo>
                  <a:lnTo>
                    <a:pt x="1265" y="94"/>
                  </a:lnTo>
                  <a:lnTo>
                    <a:pt x="1260" y="94"/>
                  </a:lnTo>
                  <a:lnTo>
                    <a:pt x="1254" y="94"/>
                  </a:lnTo>
                  <a:lnTo>
                    <a:pt x="1252" y="94"/>
                  </a:lnTo>
                  <a:lnTo>
                    <a:pt x="1246" y="94"/>
                  </a:lnTo>
                  <a:lnTo>
                    <a:pt x="1246" y="88"/>
                  </a:lnTo>
                  <a:lnTo>
                    <a:pt x="1246" y="88"/>
                  </a:lnTo>
                  <a:lnTo>
                    <a:pt x="1246" y="83"/>
                  </a:lnTo>
                  <a:lnTo>
                    <a:pt x="1248" y="81"/>
                  </a:lnTo>
                  <a:lnTo>
                    <a:pt x="1252" y="81"/>
                  </a:lnTo>
                  <a:lnTo>
                    <a:pt x="1254" y="85"/>
                  </a:lnTo>
                  <a:lnTo>
                    <a:pt x="1260" y="85"/>
                  </a:lnTo>
                  <a:lnTo>
                    <a:pt x="1261" y="83"/>
                  </a:lnTo>
                  <a:lnTo>
                    <a:pt x="1260" y="81"/>
                  </a:lnTo>
                  <a:lnTo>
                    <a:pt x="1256" y="81"/>
                  </a:lnTo>
                  <a:lnTo>
                    <a:pt x="1252" y="77"/>
                  </a:lnTo>
                  <a:lnTo>
                    <a:pt x="1254" y="75"/>
                  </a:lnTo>
                  <a:lnTo>
                    <a:pt x="1260" y="75"/>
                  </a:lnTo>
                  <a:lnTo>
                    <a:pt x="1265" y="71"/>
                  </a:lnTo>
                  <a:lnTo>
                    <a:pt x="1271" y="71"/>
                  </a:lnTo>
                  <a:lnTo>
                    <a:pt x="1273" y="69"/>
                  </a:lnTo>
                  <a:lnTo>
                    <a:pt x="1276" y="69"/>
                  </a:lnTo>
                  <a:lnTo>
                    <a:pt x="1280" y="69"/>
                  </a:lnTo>
                  <a:lnTo>
                    <a:pt x="1282" y="69"/>
                  </a:lnTo>
                  <a:lnTo>
                    <a:pt x="1282" y="68"/>
                  </a:lnTo>
                  <a:lnTo>
                    <a:pt x="1280" y="68"/>
                  </a:lnTo>
                  <a:lnTo>
                    <a:pt x="1273" y="68"/>
                  </a:lnTo>
                  <a:lnTo>
                    <a:pt x="1267" y="68"/>
                  </a:lnTo>
                  <a:lnTo>
                    <a:pt x="1261" y="69"/>
                  </a:lnTo>
                  <a:lnTo>
                    <a:pt x="1258" y="69"/>
                  </a:lnTo>
                  <a:lnTo>
                    <a:pt x="1256" y="71"/>
                  </a:lnTo>
                  <a:lnTo>
                    <a:pt x="1252" y="71"/>
                  </a:lnTo>
                  <a:lnTo>
                    <a:pt x="1252" y="69"/>
                  </a:lnTo>
                  <a:lnTo>
                    <a:pt x="1252" y="68"/>
                  </a:lnTo>
                  <a:lnTo>
                    <a:pt x="1256" y="64"/>
                  </a:lnTo>
                  <a:lnTo>
                    <a:pt x="1261" y="62"/>
                  </a:lnTo>
                  <a:lnTo>
                    <a:pt x="1267" y="60"/>
                  </a:lnTo>
                  <a:lnTo>
                    <a:pt x="1271" y="58"/>
                  </a:lnTo>
                  <a:lnTo>
                    <a:pt x="1265" y="58"/>
                  </a:lnTo>
                  <a:lnTo>
                    <a:pt x="1265" y="54"/>
                  </a:lnTo>
                  <a:lnTo>
                    <a:pt x="1265" y="51"/>
                  </a:lnTo>
                  <a:lnTo>
                    <a:pt x="1263" y="53"/>
                  </a:lnTo>
                  <a:lnTo>
                    <a:pt x="1261" y="54"/>
                  </a:lnTo>
                  <a:lnTo>
                    <a:pt x="1260" y="58"/>
                  </a:lnTo>
                  <a:lnTo>
                    <a:pt x="1260" y="54"/>
                  </a:lnTo>
                  <a:lnTo>
                    <a:pt x="1258" y="54"/>
                  </a:lnTo>
                  <a:lnTo>
                    <a:pt x="1256" y="54"/>
                  </a:lnTo>
                  <a:lnTo>
                    <a:pt x="1252" y="54"/>
                  </a:lnTo>
                  <a:lnTo>
                    <a:pt x="1252" y="60"/>
                  </a:lnTo>
                  <a:lnTo>
                    <a:pt x="1252" y="62"/>
                  </a:lnTo>
                  <a:lnTo>
                    <a:pt x="1246" y="64"/>
                  </a:lnTo>
                  <a:lnTo>
                    <a:pt x="1246" y="60"/>
                  </a:lnTo>
                  <a:lnTo>
                    <a:pt x="1246" y="54"/>
                  </a:lnTo>
                  <a:lnTo>
                    <a:pt x="1243" y="54"/>
                  </a:lnTo>
                  <a:lnTo>
                    <a:pt x="1243" y="53"/>
                  </a:lnTo>
                  <a:lnTo>
                    <a:pt x="1243" y="51"/>
                  </a:lnTo>
                  <a:lnTo>
                    <a:pt x="1246" y="53"/>
                  </a:lnTo>
                  <a:lnTo>
                    <a:pt x="1246" y="47"/>
                  </a:lnTo>
                  <a:lnTo>
                    <a:pt x="1252" y="47"/>
                  </a:lnTo>
                  <a:lnTo>
                    <a:pt x="1254" y="47"/>
                  </a:lnTo>
                  <a:lnTo>
                    <a:pt x="1256" y="43"/>
                  </a:lnTo>
                  <a:lnTo>
                    <a:pt x="1261" y="39"/>
                  </a:lnTo>
                  <a:lnTo>
                    <a:pt x="1263" y="43"/>
                  </a:lnTo>
                  <a:lnTo>
                    <a:pt x="1267" y="37"/>
                  </a:lnTo>
                  <a:lnTo>
                    <a:pt x="1276" y="37"/>
                  </a:lnTo>
                  <a:lnTo>
                    <a:pt x="1280" y="37"/>
                  </a:lnTo>
                  <a:lnTo>
                    <a:pt x="1280" y="37"/>
                  </a:lnTo>
                  <a:lnTo>
                    <a:pt x="1282" y="39"/>
                  </a:lnTo>
                  <a:lnTo>
                    <a:pt x="1280" y="43"/>
                  </a:lnTo>
                  <a:lnTo>
                    <a:pt x="1280" y="51"/>
                  </a:lnTo>
                  <a:lnTo>
                    <a:pt x="1282" y="51"/>
                  </a:lnTo>
                  <a:lnTo>
                    <a:pt x="1284" y="43"/>
                  </a:lnTo>
                  <a:lnTo>
                    <a:pt x="1288" y="43"/>
                  </a:lnTo>
                  <a:lnTo>
                    <a:pt x="1288" y="43"/>
                  </a:lnTo>
                  <a:lnTo>
                    <a:pt x="1288" y="45"/>
                  </a:lnTo>
                  <a:lnTo>
                    <a:pt x="1288" y="49"/>
                  </a:lnTo>
                  <a:lnTo>
                    <a:pt x="1290" y="47"/>
                  </a:lnTo>
                  <a:lnTo>
                    <a:pt x="1290" y="43"/>
                  </a:lnTo>
                  <a:lnTo>
                    <a:pt x="1292" y="43"/>
                  </a:lnTo>
                  <a:lnTo>
                    <a:pt x="1290" y="39"/>
                  </a:lnTo>
                  <a:lnTo>
                    <a:pt x="1292" y="34"/>
                  </a:lnTo>
                  <a:lnTo>
                    <a:pt x="1293" y="34"/>
                  </a:lnTo>
                  <a:lnTo>
                    <a:pt x="1297" y="30"/>
                  </a:lnTo>
                  <a:lnTo>
                    <a:pt x="1301" y="30"/>
                  </a:lnTo>
                  <a:lnTo>
                    <a:pt x="1301" y="34"/>
                  </a:lnTo>
                  <a:lnTo>
                    <a:pt x="1301" y="37"/>
                  </a:lnTo>
                  <a:lnTo>
                    <a:pt x="1305" y="39"/>
                  </a:lnTo>
                  <a:lnTo>
                    <a:pt x="1305" y="45"/>
                  </a:lnTo>
                  <a:lnTo>
                    <a:pt x="1305" y="47"/>
                  </a:lnTo>
                  <a:lnTo>
                    <a:pt x="1305" y="51"/>
                  </a:lnTo>
                  <a:lnTo>
                    <a:pt x="1305" y="54"/>
                  </a:lnTo>
                  <a:lnTo>
                    <a:pt x="1307" y="54"/>
                  </a:lnTo>
                  <a:lnTo>
                    <a:pt x="1310" y="54"/>
                  </a:lnTo>
                  <a:lnTo>
                    <a:pt x="1307" y="51"/>
                  </a:lnTo>
                  <a:lnTo>
                    <a:pt x="1307" y="47"/>
                  </a:lnTo>
                  <a:lnTo>
                    <a:pt x="1310" y="45"/>
                  </a:lnTo>
                  <a:lnTo>
                    <a:pt x="1312" y="39"/>
                  </a:lnTo>
                  <a:lnTo>
                    <a:pt x="1314" y="39"/>
                  </a:lnTo>
                  <a:lnTo>
                    <a:pt x="1318" y="45"/>
                  </a:lnTo>
                  <a:lnTo>
                    <a:pt x="1318" y="49"/>
                  </a:lnTo>
                  <a:lnTo>
                    <a:pt x="1316" y="54"/>
                  </a:lnTo>
                  <a:lnTo>
                    <a:pt x="1320" y="54"/>
                  </a:lnTo>
                  <a:lnTo>
                    <a:pt x="1320" y="58"/>
                  </a:lnTo>
                  <a:lnTo>
                    <a:pt x="1322" y="54"/>
                  </a:lnTo>
                  <a:lnTo>
                    <a:pt x="1322" y="51"/>
                  </a:lnTo>
                  <a:lnTo>
                    <a:pt x="1322" y="51"/>
                  </a:lnTo>
                  <a:lnTo>
                    <a:pt x="1325" y="49"/>
                  </a:lnTo>
                  <a:lnTo>
                    <a:pt x="1325" y="51"/>
                  </a:lnTo>
                  <a:lnTo>
                    <a:pt x="1325" y="53"/>
                  </a:lnTo>
                  <a:lnTo>
                    <a:pt x="1325" y="54"/>
                  </a:lnTo>
                  <a:lnTo>
                    <a:pt x="1325" y="58"/>
                  </a:lnTo>
                  <a:lnTo>
                    <a:pt x="1331" y="54"/>
                  </a:lnTo>
                  <a:lnTo>
                    <a:pt x="1331" y="54"/>
                  </a:lnTo>
                  <a:lnTo>
                    <a:pt x="1331" y="58"/>
                  </a:lnTo>
                  <a:lnTo>
                    <a:pt x="1335" y="54"/>
                  </a:lnTo>
                  <a:lnTo>
                    <a:pt x="1335" y="53"/>
                  </a:lnTo>
                  <a:lnTo>
                    <a:pt x="1331" y="47"/>
                  </a:lnTo>
                  <a:lnTo>
                    <a:pt x="1329" y="47"/>
                  </a:lnTo>
                  <a:lnTo>
                    <a:pt x="1325" y="43"/>
                  </a:lnTo>
                  <a:lnTo>
                    <a:pt x="1325" y="39"/>
                  </a:lnTo>
                  <a:lnTo>
                    <a:pt x="1322" y="37"/>
                  </a:lnTo>
                  <a:lnTo>
                    <a:pt x="1322" y="34"/>
                  </a:lnTo>
                  <a:lnTo>
                    <a:pt x="1320" y="34"/>
                  </a:lnTo>
                  <a:lnTo>
                    <a:pt x="1322" y="28"/>
                  </a:lnTo>
                  <a:lnTo>
                    <a:pt x="1325" y="28"/>
                  </a:lnTo>
                  <a:lnTo>
                    <a:pt x="1325" y="30"/>
                  </a:lnTo>
                  <a:lnTo>
                    <a:pt x="1331" y="30"/>
                  </a:lnTo>
                  <a:lnTo>
                    <a:pt x="1335" y="30"/>
                  </a:lnTo>
                  <a:lnTo>
                    <a:pt x="1335" y="30"/>
                  </a:lnTo>
                  <a:lnTo>
                    <a:pt x="1335" y="22"/>
                  </a:lnTo>
                  <a:lnTo>
                    <a:pt x="1335" y="19"/>
                  </a:lnTo>
                  <a:lnTo>
                    <a:pt x="1335" y="15"/>
                  </a:lnTo>
                  <a:lnTo>
                    <a:pt x="1339" y="15"/>
                  </a:lnTo>
                  <a:lnTo>
                    <a:pt x="1340" y="15"/>
                  </a:lnTo>
                  <a:lnTo>
                    <a:pt x="1348" y="17"/>
                  </a:lnTo>
                  <a:lnTo>
                    <a:pt x="1350" y="19"/>
                  </a:lnTo>
                  <a:lnTo>
                    <a:pt x="1350" y="21"/>
                  </a:lnTo>
                  <a:lnTo>
                    <a:pt x="1348" y="24"/>
                  </a:lnTo>
                  <a:lnTo>
                    <a:pt x="1348" y="26"/>
                  </a:lnTo>
                  <a:lnTo>
                    <a:pt x="1356" y="28"/>
                  </a:lnTo>
                  <a:lnTo>
                    <a:pt x="1356" y="30"/>
                  </a:lnTo>
                  <a:lnTo>
                    <a:pt x="1354" y="37"/>
                  </a:lnTo>
                  <a:lnTo>
                    <a:pt x="1356" y="43"/>
                  </a:lnTo>
                  <a:lnTo>
                    <a:pt x="1356" y="43"/>
                  </a:lnTo>
                  <a:lnTo>
                    <a:pt x="1359" y="37"/>
                  </a:lnTo>
                  <a:lnTo>
                    <a:pt x="1359" y="37"/>
                  </a:lnTo>
                  <a:lnTo>
                    <a:pt x="1361" y="43"/>
                  </a:lnTo>
                  <a:lnTo>
                    <a:pt x="1361" y="43"/>
                  </a:lnTo>
                  <a:lnTo>
                    <a:pt x="1365" y="43"/>
                  </a:lnTo>
                  <a:lnTo>
                    <a:pt x="1367" y="39"/>
                  </a:lnTo>
                  <a:lnTo>
                    <a:pt x="1371" y="37"/>
                  </a:lnTo>
                  <a:lnTo>
                    <a:pt x="1372" y="34"/>
                  </a:lnTo>
                  <a:lnTo>
                    <a:pt x="1369" y="30"/>
                  </a:lnTo>
                  <a:lnTo>
                    <a:pt x="1372" y="26"/>
                  </a:lnTo>
                  <a:lnTo>
                    <a:pt x="1374" y="26"/>
                  </a:lnTo>
                  <a:lnTo>
                    <a:pt x="1376" y="28"/>
                  </a:lnTo>
                  <a:lnTo>
                    <a:pt x="1384" y="28"/>
                  </a:lnTo>
                  <a:lnTo>
                    <a:pt x="1380" y="24"/>
                  </a:lnTo>
                  <a:lnTo>
                    <a:pt x="1376" y="21"/>
                  </a:lnTo>
                  <a:lnTo>
                    <a:pt x="1376" y="15"/>
                  </a:lnTo>
                  <a:lnTo>
                    <a:pt x="1376" y="13"/>
                  </a:lnTo>
                  <a:lnTo>
                    <a:pt x="1378" y="9"/>
                  </a:lnTo>
                  <a:lnTo>
                    <a:pt x="1380" y="9"/>
                  </a:lnTo>
                  <a:lnTo>
                    <a:pt x="1386" y="13"/>
                  </a:lnTo>
                  <a:lnTo>
                    <a:pt x="1386" y="19"/>
                  </a:lnTo>
                  <a:lnTo>
                    <a:pt x="1389" y="24"/>
                  </a:lnTo>
                  <a:lnTo>
                    <a:pt x="1389" y="28"/>
                  </a:lnTo>
                  <a:lnTo>
                    <a:pt x="1389" y="30"/>
                  </a:lnTo>
                  <a:lnTo>
                    <a:pt x="1389" y="34"/>
                  </a:lnTo>
                  <a:lnTo>
                    <a:pt x="1391" y="37"/>
                  </a:lnTo>
                  <a:lnTo>
                    <a:pt x="1393" y="37"/>
                  </a:lnTo>
                  <a:lnTo>
                    <a:pt x="1393" y="34"/>
                  </a:lnTo>
                  <a:lnTo>
                    <a:pt x="1393" y="30"/>
                  </a:lnTo>
                  <a:lnTo>
                    <a:pt x="1393" y="26"/>
                  </a:lnTo>
                  <a:lnTo>
                    <a:pt x="1391" y="21"/>
                  </a:lnTo>
                  <a:lnTo>
                    <a:pt x="1391" y="13"/>
                  </a:lnTo>
                  <a:lnTo>
                    <a:pt x="1391" y="5"/>
                  </a:lnTo>
                  <a:lnTo>
                    <a:pt x="1391" y="4"/>
                  </a:lnTo>
                  <a:lnTo>
                    <a:pt x="1395" y="4"/>
                  </a:lnTo>
                  <a:lnTo>
                    <a:pt x="1399" y="5"/>
                  </a:lnTo>
                  <a:lnTo>
                    <a:pt x="1401" y="5"/>
                  </a:lnTo>
                  <a:lnTo>
                    <a:pt x="1403" y="9"/>
                  </a:lnTo>
                  <a:lnTo>
                    <a:pt x="1403" y="13"/>
                  </a:lnTo>
                  <a:lnTo>
                    <a:pt x="1404" y="17"/>
                  </a:lnTo>
                  <a:lnTo>
                    <a:pt x="1404" y="21"/>
                  </a:lnTo>
                  <a:lnTo>
                    <a:pt x="1404" y="28"/>
                  </a:lnTo>
                  <a:lnTo>
                    <a:pt x="1406" y="28"/>
                  </a:lnTo>
                  <a:lnTo>
                    <a:pt x="1406" y="24"/>
                  </a:lnTo>
                  <a:lnTo>
                    <a:pt x="1408" y="22"/>
                  </a:lnTo>
                  <a:lnTo>
                    <a:pt x="1410" y="22"/>
                  </a:lnTo>
                  <a:lnTo>
                    <a:pt x="1414" y="30"/>
                  </a:lnTo>
                  <a:lnTo>
                    <a:pt x="1416" y="28"/>
                  </a:lnTo>
                  <a:lnTo>
                    <a:pt x="1418" y="28"/>
                  </a:lnTo>
                  <a:lnTo>
                    <a:pt x="1418" y="26"/>
                  </a:lnTo>
                  <a:lnTo>
                    <a:pt x="1416" y="24"/>
                  </a:lnTo>
                  <a:lnTo>
                    <a:pt x="1414" y="21"/>
                  </a:lnTo>
                  <a:lnTo>
                    <a:pt x="1414" y="19"/>
                  </a:lnTo>
                  <a:lnTo>
                    <a:pt x="1414" y="17"/>
                  </a:lnTo>
                  <a:lnTo>
                    <a:pt x="1410" y="13"/>
                  </a:lnTo>
                  <a:lnTo>
                    <a:pt x="1410" y="13"/>
                  </a:lnTo>
                  <a:lnTo>
                    <a:pt x="1410" y="9"/>
                  </a:lnTo>
                  <a:lnTo>
                    <a:pt x="1414" y="9"/>
                  </a:lnTo>
                  <a:lnTo>
                    <a:pt x="1414" y="9"/>
                  </a:lnTo>
                  <a:lnTo>
                    <a:pt x="1410" y="5"/>
                  </a:lnTo>
                  <a:lnTo>
                    <a:pt x="1408" y="4"/>
                  </a:lnTo>
                  <a:lnTo>
                    <a:pt x="1410" y="4"/>
                  </a:lnTo>
                  <a:lnTo>
                    <a:pt x="1414" y="4"/>
                  </a:lnTo>
                  <a:lnTo>
                    <a:pt x="1416" y="0"/>
                  </a:lnTo>
                  <a:lnTo>
                    <a:pt x="1425" y="0"/>
                  </a:lnTo>
                  <a:lnTo>
                    <a:pt x="1425" y="4"/>
                  </a:lnTo>
                  <a:lnTo>
                    <a:pt x="1425" y="5"/>
                  </a:lnTo>
                  <a:lnTo>
                    <a:pt x="1423" y="9"/>
                  </a:lnTo>
                  <a:lnTo>
                    <a:pt x="1425" y="13"/>
                  </a:lnTo>
                  <a:lnTo>
                    <a:pt x="1427" y="13"/>
                  </a:lnTo>
                  <a:lnTo>
                    <a:pt x="1429" y="5"/>
                  </a:lnTo>
                  <a:lnTo>
                    <a:pt x="1431" y="5"/>
                  </a:lnTo>
                  <a:lnTo>
                    <a:pt x="1433" y="9"/>
                  </a:lnTo>
                  <a:lnTo>
                    <a:pt x="1431" y="13"/>
                  </a:lnTo>
                  <a:lnTo>
                    <a:pt x="1433" y="13"/>
                  </a:lnTo>
                  <a:lnTo>
                    <a:pt x="1435" y="13"/>
                  </a:lnTo>
                  <a:lnTo>
                    <a:pt x="1435" y="13"/>
                  </a:lnTo>
                  <a:lnTo>
                    <a:pt x="1440" y="9"/>
                  </a:lnTo>
                  <a:lnTo>
                    <a:pt x="1440" y="9"/>
                  </a:lnTo>
                  <a:lnTo>
                    <a:pt x="1440" y="13"/>
                  </a:lnTo>
                  <a:lnTo>
                    <a:pt x="1438" y="17"/>
                  </a:lnTo>
                  <a:lnTo>
                    <a:pt x="1440" y="22"/>
                  </a:lnTo>
                  <a:lnTo>
                    <a:pt x="1438" y="26"/>
                  </a:lnTo>
                  <a:lnTo>
                    <a:pt x="1440" y="28"/>
                  </a:lnTo>
                  <a:lnTo>
                    <a:pt x="1444" y="26"/>
                  </a:lnTo>
                  <a:lnTo>
                    <a:pt x="1448" y="28"/>
                  </a:lnTo>
                  <a:lnTo>
                    <a:pt x="1448" y="26"/>
                  </a:lnTo>
                  <a:lnTo>
                    <a:pt x="1448" y="21"/>
                  </a:lnTo>
                  <a:lnTo>
                    <a:pt x="1452" y="13"/>
                  </a:lnTo>
                  <a:lnTo>
                    <a:pt x="1448" y="5"/>
                  </a:lnTo>
                  <a:lnTo>
                    <a:pt x="1450" y="0"/>
                  </a:lnTo>
                  <a:lnTo>
                    <a:pt x="1452" y="0"/>
                  </a:lnTo>
                  <a:lnTo>
                    <a:pt x="1453" y="0"/>
                  </a:lnTo>
                  <a:lnTo>
                    <a:pt x="1457" y="0"/>
                  </a:lnTo>
                  <a:lnTo>
                    <a:pt x="1459" y="4"/>
                  </a:lnTo>
                  <a:lnTo>
                    <a:pt x="1465" y="0"/>
                  </a:lnTo>
                  <a:lnTo>
                    <a:pt x="1468" y="0"/>
                  </a:lnTo>
                  <a:lnTo>
                    <a:pt x="1472" y="4"/>
                  </a:lnTo>
                  <a:lnTo>
                    <a:pt x="1474" y="5"/>
                  </a:lnTo>
                  <a:lnTo>
                    <a:pt x="1480" y="4"/>
                  </a:lnTo>
                  <a:lnTo>
                    <a:pt x="1484" y="9"/>
                  </a:lnTo>
                  <a:lnTo>
                    <a:pt x="1485" y="13"/>
                  </a:lnTo>
                  <a:lnTo>
                    <a:pt x="1487" y="13"/>
                  </a:lnTo>
                  <a:lnTo>
                    <a:pt x="1487" y="17"/>
                  </a:lnTo>
                  <a:lnTo>
                    <a:pt x="1485" y="22"/>
                  </a:lnTo>
                  <a:lnTo>
                    <a:pt x="1485" y="24"/>
                  </a:lnTo>
                  <a:lnTo>
                    <a:pt x="1489" y="22"/>
                  </a:lnTo>
                  <a:lnTo>
                    <a:pt x="1493" y="19"/>
                  </a:lnTo>
                  <a:lnTo>
                    <a:pt x="1497" y="15"/>
                  </a:lnTo>
                  <a:lnTo>
                    <a:pt x="1502" y="13"/>
                  </a:lnTo>
                  <a:lnTo>
                    <a:pt x="1504" y="13"/>
                  </a:lnTo>
                  <a:lnTo>
                    <a:pt x="1508" y="13"/>
                  </a:lnTo>
                  <a:lnTo>
                    <a:pt x="1514" y="13"/>
                  </a:lnTo>
                  <a:lnTo>
                    <a:pt x="1514" y="17"/>
                  </a:lnTo>
                  <a:lnTo>
                    <a:pt x="1508" y="21"/>
                  </a:lnTo>
                  <a:lnTo>
                    <a:pt x="1512" y="24"/>
                  </a:lnTo>
                  <a:lnTo>
                    <a:pt x="1514" y="22"/>
                  </a:lnTo>
                  <a:lnTo>
                    <a:pt x="1514" y="19"/>
                  </a:lnTo>
                  <a:lnTo>
                    <a:pt x="1517" y="17"/>
                  </a:lnTo>
                  <a:lnTo>
                    <a:pt x="1521" y="15"/>
                  </a:lnTo>
                  <a:lnTo>
                    <a:pt x="1527" y="17"/>
                  </a:lnTo>
                  <a:lnTo>
                    <a:pt x="1534" y="19"/>
                  </a:lnTo>
                  <a:lnTo>
                    <a:pt x="1536" y="21"/>
                  </a:lnTo>
                  <a:lnTo>
                    <a:pt x="1534" y="24"/>
                  </a:lnTo>
                  <a:lnTo>
                    <a:pt x="1532" y="24"/>
                  </a:lnTo>
                  <a:lnTo>
                    <a:pt x="1532" y="26"/>
                  </a:lnTo>
                  <a:lnTo>
                    <a:pt x="1531" y="30"/>
                  </a:lnTo>
                  <a:lnTo>
                    <a:pt x="1532" y="30"/>
                  </a:lnTo>
                  <a:lnTo>
                    <a:pt x="1534" y="30"/>
                  </a:lnTo>
                  <a:lnTo>
                    <a:pt x="1538" y="28"/>
                  </a:lnTo>
                  <a:lnTo>
                    <a:pt x="1538" y="30"/>
                  </a:lnTo>
                  <a:lnTo>
                    <a:pt x="1542" y="34"/>
                  </a:lnTo>
                  <a:lnTo>
                    <a:pt x="1544" y="30"/>
                  </a:lnTo>
                  <a:lnTo>
                    <a:pt x="1548" y="30"/>
                  </a:lnTo>
                  <a:lnTo>
                    <a:pt x="1548" y="30"/>
                  </a:lnTo>
                  <a:lnTo>
                    <a:pt x="1548" y="34"/>
                  </a:lnTo>
                  <a:lnTo>
                    <a:pt x="1548" y="37"/>
                  </a:lnTo>
                  <a:lnTo>
                    <a:pt x="1551" y="37"/>
                  </a:lnTo>
                  <a:lnTo>
                    <a:pt x="1551" y="34"/>
                  </a:lnTo>
                  <a:lnTo>
                    <a:pt x="1555" y="34"/>
                  </a:lnTo>
                  <a:lnTo>
                    <a:pt x="1557" y="34"/>
                  </a:lnTo>
                  <a:lnTo>
                    <a:pt x="1557" y="37"/>
                  </a:lnTo>
                  <a:lnTo>
                    <a:pt x="1564" y="39"/>
                  </a:lnTo>
                  <a:lnTo>
                    <a:pt x="1568" y="39"/>
                  </a:lnTo>
                  <a:lnTo>
                    <a:pt x="1570" y="43"/>
                  </a:lnTo>
                  <a:lnTo>
                    <a:pt x="1568" y="43"/>
                  </a:lnTo>
                  <a:lnTo>
                    <a:pt x="1561" y="47"/>
                  </a:lnTo>
                  <a:lnTo>
                    <a:pt x="1557" y="51"/>
                  </a:lnTo>
                  <a:lnTo>
                    <a:pt x="1551" y="53"/>
                  </a:lnTo>
                  <a:lnTo>
                    <a:pt x="1548" y="54"/>
                  </a:lnTo>
                  <a:lnTo>
                    <a:pt x="1546" y="54"/>
                  </a:lnTo>
                  <a:lnTo>
                    <a:pt x="1542" y="54"/>
                  </a:lnTo>
                  <a:lnTo>
                    <a:pt x="1540" y="54"/>
                  </a:lnTo>
                  <a:lnTo>
                    <a:pt x="1534" y="58"/>
                  </a:lnTo>
                  <a:lnTo>
                    <a:pt x="1544" y="58"/>
                  </a:lnTo>
                  <a:lnTo>
                    <a:pt x="1551" y="58"/>
                  </a:lnTo>
                  <a:lnTo>
                    <a:pt x="1551" y="60"/>
                  </a:lnTo>
                  <a:lnTo>
                    <a:pt x="1555" y="60"/>
                  </a:lnTo>
                  <a:lnTo>
                    <a:pt x="1557" y="54"/>
                  </a:lnTo>
                  <a:lnTo>
                    <a:pt x="1561" y="54"/>
                  </a:lnTo>
                  <a:lnTo>
                    <a:pt x="1563" y="54"/>
                  </a:lnTo>
                  <a:lnTo>
                    <a:pt x="1564" y="51"/>
                  </a:lnTo>
                  <a:lnTo>
                    <a:pt x="1570" y="49"/>
                  </a:lnTo>
                  <a:lnTo>
                    <a:pt x="1572" y="49"/>
                  </a:lnTo>
                  <a:lnTo>
                    <a:pt x="1576" y="51"/>
                  </a:lnTo>
                  <a:lnTo>
                    <a:pt x="1572" y="54"/>
                  </a:lnTo>
                  <a:lnTo>
                    <a:pt x="1576" y="58"/>
                  </a:lnTo>
                  <a:lnTo>
                    <a:pt x="1576" y="54"/>
                  </a:lnTo>
                  <a:lnTo>
                    <a:pt x="1578" y="53"/>
                  </a:lnTo>
                  <a:lnTo>
                    <a:pt x="1581" y="49"/>
                  </a:lnTo>
                  <a:lnTo>
                    <a:pt x="1585" y="51"/>
                  </a:lnTo>
                  <a:lnTo>
                    <a:pt x="1581" y="54"/>
                  </a:lnTo>
                  <a:lnTo>
                    <a:pt x="1581" y="54"/>
                  </a:lnTo>
                  <a:lnTo>
                    <a:pt x="1581" y="60"/>
                  </a:lnTo>
                  <a:lnTo>
                    <a:pt x="1581" y="62"/>
                  </a:lnTo>
                  <a:lnTo>
                    <a:pt x="1585" y="60"/>
                  </a:lnTo>
                  <a:lnTo>
                    <a:pt x="1585" y="58"/>
                  </a:lnTo>
                  <a:lnTo>
                    <a:pt x="1585" y="54"/>
                  </a:lnTo>
                  <a:lnTo>
                    <a:pt x="1591" y="54"/>
                  </a:lnTo>
                  <a:lnTo>
                    <a:pt x="1593" y="54"/>
                  </a:lnTo>
                  <a:lnTo>
                    <a:pt x="1591" y="64"/>
                  </a:lnTo>
                  <a:lnTo>
                    <a:pt x="1589" y="64"/>
                  </a:lnTo>
                  <a:lnTo>
                    <a:pt x="1591" y="64"/>
                  </a:lnTo>
                  <a:lnTo>
                    <a:pt x="1593" y="68"/>
                  </a:lnTo>
                  <a:lnTo>
                    <a:pt x="1591" y="73"/>
                  </a:lnTo>
                  <a:lnTo>
                    <a:pt x="1587" y="75"/>
                  </a:lnTo>
                  <a:lnTo>
                    <a:pt x="1587" y="79"/>
                  </a:lnTo>
                  <a:lnTo>
                    <a:pt x="1581" y="85"/>
                  </a:lnTo>
                  <a:lnTo>
                    <a:pt x="1585" y="86"/>
                  </a:lnTo>
                  <a:lnTo>
                    <a:pt x="1587" y="85"/>
                  </a:lnTo>
                  <a:lnTo>
                    <a:pt x="1589" y="81"/>
                  </a:lnTo>
                  <a:lnTo>
                    <a:pt x="1593" y="81"/>
                  </a:lnTo>
                  <a:lnTo>
                    <a:pt x="1593" y="79"/>
                  </a:lnTo>
                  <a:lnTo>
                    <a:pt x="1596" y="79"/>
                  </a:lnTo>
                  <a:lnTo>
                    <a:pt x="1600" y="83"/>
                  </a:lnTo>
                  <a:lnTo>
                    <a:pt x="1602" y="88"/>
                  </a:lnTo>
                  <a:lnTo>
                    <a:pt x="1602" y="94"/>
                  </a:lnTo>
                  <a:lnTo>
                    <a:pt x="1602" y="102"/>
                  </a:lnTo>
                  <a:lnTo>
                    <a:pt x="1596" y="109"/>
                  </a:lnTo>
                  <a:lnTo>
                    <a:pt x="1589" y="113"/>
                  </a:lnTo>
                  <a:lnTo>
                    <a:pt x="1587" y="115"/>
                  </a:lnTo>
                  <a:lnTo>
                    <a:pt x="1585" y="115"/>
                  </a:lnTo>
                  <a:lnTo>
                    <a:pt x="1581" y="117"/>
                  </a:lnTo>
                  <a:lnTo>
                    <a:pt x="1581" y="118"/>
                  </a:lnTo>
                  <a:lnTo>
                    <a:pt x="1578" y="118"/>
                  </a:lnTo>
                  <a:lnTo>
                    <a:pt x="1568" y="124"/>
                  </a:lnTo>
                  <a:lnTo>
                    <a:pt x="1564" y="128"/>
                  </a:lnTo>
                  <a:lnTo>
                    <a:pt x="1561" y="128"/>
                  </a:lnTo>
                  <a:lnTo>
                    <a:pt x="1555" y="132"/>
                  </a:lnTo>
                  <a:lnTo>
                    <a:pt x="1551" y="132"/>
                  </a:lnTo>
                  <a:lnTo>
                    <a:pt x="1548" y="128"/>
                  </a:lnTo>
                  <a:lnTo>
                    <a:pt x="1546" y="132"/>
                  </a:lnTo>
                  <a:lnTo>
                    <a:pt x="1544" y="132"/>
                  </a:lnTo>
                  <a:lnTo>
                    <a:pt x="1540" y="132"/>
                  </a:lnTo>
                  <a:lnTo>
                    <a:pt x="1534" y="128"/>
                  </a:lnTo>
                  <a:lnTo>
                    <a:pt x="1529" y="128"/>
                  </a:lnTo>
                  <a:lnTo>
                    <a:pt x="1529" y="132"/>
                  </a:lnTo>
                  <a:lnTo>
                    <a:pt x="1534" y="132"/>
                  </a:lnTo>
                  <a:lnTo>
                    <a:pt x="1536" y="132"/>
                  </a:lnTo>
                  <a:lnTo>
                    <a:pt x="1532" y="134"/>
                  </a:lnTo>
                  <a:lnTo>
                    <a:pt x="1529" y="132"/>
                  </a:lnTo>
                  <a:lnTo>
                    <a:pt x="1527" y="132"/>
                  </a:lnTo>
                  <a:lnTo>
                    <a:pt x="1523" y="132"/>
                  </a:lnTo>
                  <a:lnTo>
                    <a:pt x="1517" y="132"/>
                  </a:lnTo>
                  <a:lnTo>
                    <a:pt x="1516" y="128"/>
                  </a:lnTo>
                  <a:lnTo>
                    <a:pt x="1514" y="128"/>
                  </a:lnTo>
                  <a:lnTo>
                    <a:pt x="1512" y="128"/>
                  </a:lnTo>
                  <a:lnTo>
                    <a:pt x="1504" y="122"/>
                  </a:lnTo>
                  <a:lnTo>
                    <a:pt x="1502" y="118"/>
                  </a:lnTo>
                  <a:lnTo>
                    <a:pt x="1502" y="122"/>
                  </a:lnTo>
                  <a:lnTo>
                    <a:pt x="1506" y="128"/>
                  </a:lnTo>
                  <a:lnTo>
                    <a:pt x="1506" y="128"/>
                  </a:lnTo>
                  <a:lnTo>
                    <a:pt x="1504" y="128"/>
                  </a:lnTo>
                  <a:lnTo>
                    <a:pt x="1499" y="128"/>
                  </a:lnTo>
                  <a:lnTo>
                    <a:pt x="1502" y="132"/>
                  </a:lnTo>
                  <a:lnTo>
                    <a:pt x="1514" y="132"/>
                  </a:lnTo>
                  <a:lnTo>
                    <a:pt x="1521" y="134"/>
                  </a:lnTo>
                  <a:lnTo>
                    <a:pt x="1523" y="135"/>
                  </a:lnTo>
                  <a:lnTo>
                    <a:pt x="1517" y="137"/>
                  </a:lnTo>
                  <a:lnTo>
                    <a:pt x="1502" y="145"/>
                  </a:lnTo>
                  <a:lnTo>
                    <a:pt x="1493" y="147"/>
                  </a:lnTo>
                  <a:lnTo>
                    <a:pt x="1489" y="147"/>
                  </a:lnTo>
                  <a:lnTo>
                    <a:pt x="1484" y="149"/>
                  </a:lnTo>
                  <a:lnTo>
                    <a:pt x="1478" y="147"/>
                  </a:lnTo>
                  <a:lnTo>
                    <a:pt x="1478" y="145"/>
                  </a:lnTo>
                  <a:lnTo>
                    <a:pt x="1474" y="147"/>
                  </a:lnTo>
                  <a:lnTo>
                    <a:pt x="1472" y="145"/>
                  </a:lnTo>
                  <a:lnTo>
                    <a:pt x="1468" y="147"/>
                  </a:lnTo>
                  <a:lnTo>
                    <a:pt x="1467" y="149"/>
                  </a:lnTo>
                  <a:lnTo>
                    <a:pt x="1468" y="149"/>
                  </a:lnTo>
                  <a:lnTo>
                    <a:pt x="1472" y="152"/>
                  </a:lnTo>
                  <a:lnTo>
                    <a:pt x="1474" y="149"/>
                  </a:lnTo>
                  <a:lnTo>
                    <a:pt x="1485" y="149"/>
                  </a:lnTo>
                  <a:lnTo>
                    <a:pt x="1491" y="149"/>
                  </a:lnTo>
                  <a:lnTo>
                    <a:pt x="1504" y="149"/>
                  </a:lnTo>
                  <a:lnTo>
                    <a:pt x="1514" y="149"/>
                  </a:lnTo>
                  <a:lnTo>
                    <a:pt x="1517" y="143"/>
                  </a:lnTo>
                  <a:lnTo>
                    <a:pt x="1523" y="141"/>
                  </a:lnTo>
                  <a:lnTo>
                    <a:pt x="1527" y="143"/>
                  </a:lnTo>
                  <a:lnTo>
                    <a:pt x="1531" y="143"/>
                  </a:lnTo>
                  <a:lnTo>
                    <a:pt x="1536" y="143"/>
                  </a:lnTo>
                  <a:lnTo>
                    <a:pt x="1534" y="149"/>
                  </a:lnTo>
                  <a:lnTo>
                    <a:pt x="1531" y="152"/>
                  </a:lnTo>
                  <a:lnTo>
                    <a:pt x="1527" y="156"/>
                  </a:lnTo>
                  <a:lnTo>
                    <a:pt x="1523" y="156"/>
                  </a:lnTo>
                  <a:lnTo>
                    <a:pt x="1516" y="158"/>
                  </a:lnTo>
                  <a:lnTo>
                    <a:pt x="1514" y="162"/>
                  </a:lnTo>
                  <a:lnTo>
                    <a:pt x="1510" y="162"/>
                  </a:lnTo>
                  <a:lnTo>
                    <a:pt x="1506" y="167"/>
                  </a:lnTo>
                  <a:lnTo>
                    <a:pt x="1502" y="169"/>
                  </a:lnTo>
                  <a:lnTo>
                    <a:pt x="1497" y="169"/>
                  </a:lnTo>
                  <a:lnTo>
                    <a:pt x="1493" y="171"/>
                  </a:lnTo>
                  <a:lnTo>
                    <a:pt x="1491" y="171"/>
                  </a:lnTo>
                  <a:lnTo>
                    <a:pt x="1487" y="173"/>
                  </a:lnTo>
                  <a:lnTo>
                    <a:pt x="1480" y="173"/>
                  </a:lnTo>
                  <a:lnTo>
                    <a:pt x="1478" y="179"/>
                  </a:lnTo>
                  <a:lnTo>
                    <a:pt x="1472" y="181"/>
                  </a:lnTo>
                  <a:lnTo>
                    <a:pt x="1468" y="183"/>
                  </a:lnTo>
                  <a:lnTo>
                    <a:pt x="1465" y="183"/>
                  </a:lnTo>
                  <a:lnTo>
                    <a:pt x="1459" y="183"/>
                  </a:lnTo>
                  <a:lnTo>
                    <a:pt x="1459" y="183"/>
                  </a:lnTo>
                  <a:lnTo>
                    <a:pt x="1457" y="186"/>
                  </a:lnTo>
                  <a:lnTo>
                    <a:pt x="1457" y="188"/>
                  </a:lnTo>
                  <a:lnTo>
                    <a:pt x="1453" y="192"/>
                  </a:lnTo>
                  <a:lnTo>
                    <a:pt x="1452" y="196"/>
                  </a:lnTo>
                  <a:lnTo>
                    <a:pt x="1444" y="196"/>
                  </a:lnTo>
                  <a:lnTo>
                    <a:pt x="1438" y="198"/>
                  </a:lnTo>
                  <a:lnTo>
                    <a:pt x="1438" y="196"/>
                  </a:lnTo>
                  <a:lnTo>
                    <a:pt x="1435" y="194"/>
                  </a:lnTo>
                  <a:lnTo>
                    <a:pt x="1438" y="192"/>
                  </a:lnTo>
                  <a:lnTo>
                    <a:pt x="1438" y="188"/>
                  </a:lnTo>
                  <a:lnTo>
                    <a:pt x="1435" y="186"/>
                  </a:lnTo>
                  <a:lnTo>
                    <a:pt x="1435" y="192"/>
                  </a:lnTo>
                  <a:lnTo>
                    <a:pt x="1435" y="194"/>
                  </a:lnTo>
                  <a:lnTo>
                    <a:pt x="1435" y="196"/>
                  </a:lnTo>
                  <a:lnTo>
                    <a:pt x="1438" y="199"/>
                  </a:lnTo>
                  <a:lnTo>
                    <a:pt x="1438" y="203"/>
                  </a:lnTo>
                  <a:lnTo>
                    <a:pt x="1435" y="207"/>
                  </a:lnTo>
                  <a:lnTo>
                    <a:pt x="1433" y="207"/>
                  </a:lnTo>
                  <a:lnTo>
                    <a:pt x="1429" y="203"/>
                  </a:lnTo>
                  <a:lnTo>
                    <a:pt x="1427" y="205"/>
                  </a:lnTo>
                  <a:lnTo>
                    <a:pt x="1420" y="203"/>
                  </a:lnTo>
                  <a:lnTo>
                    <a:pt x="1418" y="205"/>
                  </a:lnTo>
                  <a:lnTo>
                    <a:pt x="1416" y="205"/>
                  </a:lnTo>
                  <a:lnTo>
                    <a:pt x="1416" y="201"/>
                  </a:lnTo>
                  <a:lnTo>
                    <a:pt x="1414" y="199"/>
                  </a:lnTo>
                  <a:lnTo>
                    <a:pt x="1414" y="203"/>
                  </a:lnTo>
                  <a:lnTo>
                    <a:pt x="1410" y="203"/>
                  </a:lnTo>
                  <a:lnTo>
                    <a:pt x="1410" y="207"/>
                  </a:lnTo>
                  <a:lnTo>
                    <a:pt x="1416" y="207"/>
                  </a:lnTo>
                  <a:lnTo>
                    <a:pt x="1425" y="207"/>
                  </a:lnTo>
                  <a:lnTo>
                    <a:pt x="1429" y="211"/>
                  </a:lnTo>
                  <a:lnTo>
                    <a:pt x="1427" y="213"/>
                  </a:lnTo>
                  <a:lnTo>
                    <a:pt x="1423" y="216"/>
                  </a:lnTo>
                  <a:lnTo>
                    <a:pt x="1418" y="216"/>
                  </a:lnTo>
                  <a:lnTo>
                    <a:pt x="1414" y="216"/>
                  </a:lnTo>
                  <a:lnTo>
                    <a:pt x="1414" y="216"/>
                  </a:lnTo>
                  <a:lnTo>
                    <a:pt x="1414" y="218"/>
                  </a:lnTo>
                  <a:lnTo>
                    <a:pt x="1416" y="216"/>
                  </a:lnTo>
                  <a:lnTo>
                    <a:pt x="1418" y="218"/>
                  </a:lnTo>
                  <a:lnTo>
                    <a:pt x="1418" y="222"/>
                  </a:lnTo>
                  <a:lnTo>
                    <a:pt x="1414" y="228"/>
                  </a:lnTo>
                  <a:lnTo>
                    <a:pt x="1408" y="228"/>
                  </a:lnTo>
                  <a:lnTo>
                    <a:pt x="1397" y="228"/>
                  </a:lnTo>
                  <a:lnTo>
                    <a:pt x="1397" y="226"/>
                  </a:lnTo>
                  <a:lnTo>
                    <a:pt x="1393" y="226"/>
                  </a:lnTo>
                  <a:lnTo>
                    <a:pt x="1391" y="226"/>
                  </a:lnTo>
                  <a:lnTo>
                    <a:pt x="1391" y="216"/>
                  </a:lnTo>
                  <a:lnTo>
                    <a:pt x="1386" y="216"/>
                  </a:lnTo>
                  <a:lnTo>
                    <a:pt x="1386" y="216"/>
                  </a:lnTo>
                  <a:lnTo>
                    <a:pt x="1386" y="213"/>
                  </a:lnTo>
                  <a:lnTo>
                    <a:pt x="1384" y="211"/>
                  </a:lnTo>
                  <a:lnTo>
                    <a:pt x="1380" y="211"/>
                  </a:lnTo>
                  <a:lnTo>
                    <a:pt x="1378" y="211"/>
                  </a:lnTo>
                  <a:lnTo>
                    <a:pt x="1372" y="211"/>
                  </a:lnTo>
                  <a:lnTo>
                    <a:pt x="1371" y="213"/>
                  </a:lnTo>
                  <a:lnTo>
                    <a:pt x="1374" y="213"/>
                  </a:lnTo>
                  <a:lnTo>
                    <a:pt x="1376" y="213"/>
                  </a:lnTo>
                  <a:lnTo>
                    <a:pt x="1378" y="213"/>
                  </a:lnTo>
                  <a:lnTo>
                    <a:pt x="1386" y="220"/>
                  </a:lnTo>
                  <a:lnTo>
                    <a:pt x="1386" y="231"/>
                  </a:lnTo>
                  <a:lnTo>
                    <a:pt x="1386" y="233"/>
                  </a:lnTo>
                  <a:lnTo>
                    <a:pt x="1380" y="231"/>
                  </a:lnTo>
                  <a:lnTo>
                    <a:pt x="1378" y="230"/>
                  </a:lnTo>
                  <a:lnTo>
                    <a:pt x="1376" y="230"/>
                  </a:lnTo>
                  <a:lnTo>
                    <a:pt x="1376" y="233"/>
                  </a:lnTo>
                  <a:lnTo>
                    <a:pt x="1374" y="233"/>
                  </a:lnTo>
                  <a:lnTo>
                    <a:pt x="1371" y="230"/>
                  </a:lnTo>
                  <a:lnTo>
                    <a:pt x="1367" y="230"/>
                  </a:lnTo>
                  <a:lnTo>
                    <a:pt x="1365" y="233"/>
                  </a:lnTo>
                  <a:lnTo>
                    <a:pt x="1363" y="233"/>
                  </a:lnTo>
                  <a:lnTo>
                    <a:pt x="1361" y="230"/>
                  </a:lnTo>
                  <a:lnTo>
                    <a:pt x="1359" y="230"/>
                  </a:lnTo>
                  <a:lnTo>
                    <a:pt x="1356" y="226"/>
                  </a:lnTo>
                  <a:lnTo>
                    <a:pt x="1354" y="226"/>
                  </a:lnTo>
                  <a:lnTo>
                    <a:pt x="1354" y="222"/>
                  </a:lnTo>
                  <a:lnTo>
                    <a:pt x="1350" y="220"/>
                  </a:lnTo>
                  <a:lnTo>
                    <a:pt x="1344" y="220"/>
                  </a:lnTo>
                  <a:lnTo>
                    <a:pt x="1342" y="216"/>
                  </a:lnTo>
                  <a:lnTo>
                    <a:pt x="1340" y="218"/>
                  </a:lnTo>
                  <a:lnTo>
                    <a:pt x="1342" y="222"/>
                  </a:lnTo>
                  <a:lnTo>
                    <a:pt x="1346" y="226"/>
                  </a:lnTo>
                  <a:lnTo>
                    <a:pt x="1350" y="226"/>
                  </a:lnTo>
                  <a:lnTo>
                    <a:pt x="1356" y="231"/>
                  </a:lnTo>
                  <a:lnTo>
                    <a:pt x="1354" y="235"/>
                  </a:lnTo>
                  <a:lnTo>
                    <a:pt x="1342" y="231"/>
                  </a:lnTo>
                  <a:lnTo>
                    <a:pt x="1339" y="230"/>
                  </a:lnTo>
                  <a:lnTo>
                    <a:pt x="1339" y="226"/>
                  </a:lnTo>
                  <a:lnTo>
                    <a:pt x="1337" y="222"/>
                  </a:lnTo>
                  <a:lnTo>
                    <a:pt x="1335" y="226"/>
                  </a:lnTo>
                  <a:lnTo>
                    <a:pt x="1337" y="226"/>
                  </a:lnTo>
                  <a:lnTo>
                    <a:pt x="1335" y="230"/>
                  </a:lnTo>
                  <a:lnTo>
                    <a:pt x="1331" y="228"/>
                  </a:lnTo>
                  <a:lnTo>
                    <a:pt x="1331" y="226"/>
                  </a:lnTo>
                  <a:lnTo>
                    <a:pt x="1325" y="228"/>
                  </a:lnTo>
                  <a:lnTo>
                    <a:pt x="1325" y="230"/>
                  </a:lnTo>
                  <a:lnTo>
                    <a:pt x="1331" y="231"/>
                  </a:lnTo>
                  <a:lnTo>
                    <a:pt x="1331" y="235"/>
                  </a:lnTo>
                  <a:lnTo>
                    <a:pt x="1335" y="235"/>
                  </a:lnTo>
                  <a:lnTo>
                    <a:pt x="1335" y="233"/>
                  </a:lnTo>
                  <a:lnTo>
                    <a:pt x="1339" y="233"/>
                  </a:lnTo>
                  <a:lnTo>
                    <a:pt x="1340" y="237"/>
                  </a:lnTo>
                  <a:lnTo>
                    <a:pt x="1346" y="237"/>
                  </a:lnTo>
                  <a:lnTo>
                    <a:pt x="1348" y="241"/>
                  </a:lnTo>
                  <a:lnTo>
                    <a:pt x="1352" y="241"/>
                  </a:lnTo>
                  <a:lnTo>
                    <a:pt x="1354" y="241"/>
                  </a:lnTo>
                  <a:lnTo>
                    <a:pt x="1363" y="243"/>
                  </a:lnTo>
                  <a:lnTo>
                    <a:pt x="1365" y="243"/>
                  </a:lnTo>
                  <a:lnTo>
                    <a:pt x="1361" y="247"/>
                  </a:lnTo>
                  <a:lnTo>
                    <a:pt x="1363" y="250"/>
                  </a:lnTo>
                  <a:lnTo>
                    <a:pt x="1363" y="252"/>
                  </a:lnTo>
                  <a:lnTo>
                    <a:pt x="1363" y="256"/>
                  </a:lnTo>
                  <a:lnTo>
                    <a:pt x="1361" y="258"/>
                  </a:lnTo>
                  <a:lnTo>
                    <a:pt x="1359" y="258"/>
                  </a:lnTo>
                  <a:lnTo>
                    <a:pt x="1359" y="254"/>
                  </a:lnTo>
                  <a:lnTo>
                    <a:pt x="1354" y="254"/>
                  </a:lnTo>
                  <a:lnTo>
                    <a:pt x="1348" y="250"/>
                  </a:lnTo>
                  <a:lnTo>
                    <a:pt x="1346" y="247"/>
                  </a:lnTo>
                  <a:lnTo>
                    <a:pt x="1348" y="243"/>
                  </a:lnTo>
                  <a:lnTo>
                    <a:pt x="1346" y="241"/>
                  </a:lnTo>
                  <a:lnTo>
                    <a:pt x="1339" y="241"/>
                  </a:lnTo>
                  <a:lnTo>
                    <a:pt x="1331" y="237"/>
                  </a:lnTo>
                  <a:lnTo>
                    <a:pt x="1329" y="237"/>
                  </a:lnTo>
                  <a:lnTo>
                    <a:pt x="1325" y="237"/>
                  </a:lnTo>
                  <a:lnTo>
                    <a:pt x="1325" y="237"/>
                  </a:lnTo>
                  <a:lnTo>
                    <a:pt x="1329" y="241"/>
                  </a:lnTo>
                  <a:lnTo>
                    <a:pt x="1337" y="241"/>
                  </a:lnTo>
                  <a:lnTo>
                    <a:pt x="1344" y="243"/>
                  </a:lnTo>
                  <a:lnTo>
                    <a:pt x="1344" y="247"/>
                  </a:lnTo>
                  <a:lnTo>
                    <a:pt x="1342" y="247"/>
                  </a:lnTo>
                  <a:lnTo>
                    <a:pt x="1339" y="247"/>
                  </a:lnTo>
                  <a:lnTo>
                    <a:pt x="1331" y="247"/>
                  </a:lnTo>
                  <a:lnTo>
                    <a:pt x="1325" y="247"/>
                  </a:lnTo>
                  <a:lnTo>
                    <a:pt x="1325" y="243"/>
                  </a:lnTo>
                  <a:lnTo>
                    <a:pt x="1325" y="243"/>
                  </a:lnTo>
                  <a:lnTo>
                    <a:pt x="1318" y="243"/>
                  </a:lnTo>
                  <a:lnTo>
                    <a:pt x="1316" y="241"/>
                  </a:lnTo>
                  <a:lnTo>
                    <a:pt x="1316" y="243"/>
                  </a:lnTo>
                  <a:lnTo>
                    <a:pt x="1322" y="247"/>
                  </a:lnTo>
                  <a:lnTo>
                    <a:pt x="1322" y="247"/>
                  </a:lnTo>
                  <a:lnTo>
                    <a:pt x="1322" y="250"/>
                  </a:lnTo>
                  <a:lnTo>
                    <a:pt x="1325" y="250"/>
                  </a:lnTo>
                  <a:lnTo>
                    <a:pt x="1325" y="250"/>
                  </a:lnTo>
                  <a:lnTo>
                    <a:pt x="1325" y="250"/>
                  </a:lnTo>
                  <a:lnTo>
                    <a:pt x="1331" y="250"/>
                  </a:lnTo>
                  <a:lnTo>
                    <a:pt x="1331" y="247"/>
                  </a:lnTo>
                  <a:lnTo>
                    <a:pt x="1331" y="250"/>
                  </a:lnTo>
                  <a:lnTo>
                    <a:pt x="1335" y="247"/>
                  </a:lnTo>
                  <a:lnTo>
                    <a:pt x="1339" y="250"/>
                  </a:lnTo>
                  <a:lnTo>
                    <a:pt x="1344" y="254"/>
                  </a:lnTo>
                  <a:lnTo>
                    <a:pt x="1344" y="256"/>
                  </a:lnTo>
                  <a:lnTo>
                    <a:pt x="1339" y="256"/>
                  </a:lnTo>
                  <a:lnTo>
                    <a:pt x="1335" y="258"/>
                  </a:lnTo>
                  <a:lnTo>
                    <a:pt x="1335" y="260"/>
                  </a:lnTo>
                  <a:lnTo>
                    <a:pt x="1339" y="258"/>
                  </a:lnTo>
                  <a:lnTo>
                    <a:pt x="1342" y="258"/>
                  </a:lnTo>
                  <a:lnTo>
                    <a:pt x="1344" y="258"/>
                  </a:lnTo>
                  <a:lnTo>
                    <a:pt x="1348" y="262"/>
                  </a:lnTo>
                  <a:lnTo>
                    <a:pt x="1352" y="263"/>
                  </a:lnTo>
                  <a:lnTo>
                    <a:pt x="1352" y="267"/>
                  </a:lnTo>
                  <a:lnTo>
                    <a:pt x="1348" y="275"/>
                  </a:lnTo>
                  <a:lnTo>
                    <a:pt x="1346" y="280"/>
                  </a:lnTo>
                  <a:lnTo>
                    <a:pt x="1344" y="280"/>
                  </a:lnTo>
                  <a:lnTo>
                    <a:pt x="1339" y="282"/>
                  </a:lnTo>
                  <a:lnTo>
                    <a:pt x="1337" y="282"/>
                  </a:lnTo>
                  <a:lnTo>
                    <a:pt x="1335" y="282"/>
                  </a:lnTo>
                  <a:lnTo>
                    <a:pt x="1331" y="280"/>
                  </a:lnTo>
                  <a:lnTo>
                    <a:pt x="1331" y="280"/>
                  </a:lnTo>
                  <a:lnTo>
                    <a:pt x="1325" y="277"/>
                  </a:lnTo>
                  <a:lnTo>
                    <a:pt x="1322" y="277"/>
                  </a:lnTo>
                  <a:lnTo>
                    <a:pt x="1322" y="280"/>
                  </a:lnTo>
                  <a:lnTo>
                    <a:pt x="1329" y="280"/>
                  </a:lnTo>
                  <a:lnTo>
                    <a:pt x="1329" y="282"/>
                  </a:lnTo>
                  <a:lnTo>
                    <a:pt x="1331" y="282"/>
                  </a:lnTo>
                  <a:lnTo>
                    <a:pt x="1335" y="286"/>
                  </a:lnTo>
                  <a:lnTo>
                    <a:pt x="1335" y="292"/>
                  </a:lnTo>
                  <a:lnTo>
                    <a:pt x="1335" y="294"/>
                  </a:lnTo>
                  <a:lnTo>
                    <a:pt x="1331" y="294"/>
                  </a:lnTo>
                  <a:lnTo>
                    <a:pt x="1329" y="297"/>
                  </a:lnTo>
                  <a:lnTo>
                    <a:pt x="1325" y="297"/>
                  </a:lnTo>
                  <a:lnTo>
                    <a:pt x="1320" y="294"/>
                  </a:lnTo>
                  <a:lnTo>
                    <a:pt x="1316" y="294"/>
                  </a:lnTo>
                  <a:lnTo>
                    <a:pt x="1314" y="292"/>
                  </a:lnTo>
                  <a:lnTo>
                    <a:pt x="1310" y="292"/>
                  </a:lnTo>
                  <a:lnTo>
                    <a:pt x="1310" y="294"/>
                  </a:lnTo>
                  <a:lnTo>
                    <a:pt x="1310" y="296"/>
                  </a:lnTo>
                  <a:lnTo>
                    <a:pt x="1320" y="301"/>
                  </a:lnTo>
                  <a:lnTo>
                    <a:pt x="1325" y="301"/>
                  </a:lnTo>
                  <a:lnTo>
                    <a:pt x="1325" y="305"/>
                  </a:lnTo>
                  <a:lnTo>
                    <a:pt x="1322" y="305"/>
                  </a:lnTo>
                  <a:lnTo>
                    <a:pt x="1318" y="311"/>
                  </a:lnTo>
                  <a:lnTo>
                    <a:pt x="1316" y="311"/>
                  </a:lnTo>
                  <a:lnTo>
                    <a:pt x="1312" y="305"/>
                  </a:lnTo>
                  <a:lnTo>
                    <a:pt x="1310" y="305"/>
                  </a:lnTo>
                  <a:lnTo>
                    <a:pt x="1305" y="311"/>
                  </a:lnTo>
                  <a:lnTo>
                    <a:pt x="1301" y="311"/>
                  </a:lnTo>
                  <a:lnTo>
                    <a:pt x="1297" y="305"/>
                  </a:lnTo>
                  <a:lnTo>
                    <a:pt x="1292" y="305"/>
                  </a:lnTo>
                  <a:lnTo>
                    <a:pt x="1286" y="305"/>
                  </a:lnTo>
                  <a:lnTo>
                    <a:pt x="1284" y="312"/>
                  </a:lnTo>
                  <a:lnTo>
                    <a:pt x="1280" y="316"/>
                  </a:lnTo>
                  <a:lnTo>
                    <a:pt x="1284" y="314"/>
                  </a:lnTo>
                  <a:lnTo>
                    <a:pt x="1286" y="316"/>
                  </a:lnTo>
                  <a:lnTo>
                    <a:pt x="1286" y="320"/>
                  </a:lnTo>
                  <a:lnTo>
                    <a:pt x="1280" y="324"/>
                  </a:lnTo>
                  <a:lnTo>
                    <a:pt x="1280" y="328"/>
                  </a:lnTo>
                  <a:lnTo>
                    <a:pt x="1276" y="329"/>
                  </a:lnTo>
                  <a:lnTo>
                    <a:pt x="1276" y="328"/>
                  </a:lnTo>
                  <a:lnTo>
                    <a:pt x="1273" y="329"/>
                  </a:lnTo>
                  <a:lnTo>
                    <a:pt x="1273" y="331"/>
                  </a:lnTo>
                  <a:lnTo>
                    <a:pt x="1271" y="331"/>
                  </a:lnTo>
                  <a:lnTo>
                    <a:pt x="1267" y="331"/>
                  </a:lnTo>
                  <a:lnTo>
                    <a:pt x="1267" y="331"/>
                  </a:lnTo>
                  <a:lnTo>
                    <a:pt x="1267" y="331"/>
                  </a:lnTo>
                  <a:lnTo>
                    <a:pt x="1265" y="331"/>
                  </a:lnTo>
                  <a:lnTo>
                    <a:pt x="1263" y="337"/>
                  </a:lnTo>
                  <a:lnTo>
                    <a:pt x="1260" y="339"/>
                  </a:lnTo>
                  <a:lnTo>
                    <a:pt x="1252" y="335"/>
                  </a:lnTo>
                  <a:lnTo>
                    <a:pt x="1246" y="335"/>
                  </a:lnTo>
                  <a:lnTo>
                    <a:pt x="1246" y="335"/>
                  </a:lnTo>
                  <a:lnTo>
                    <a:pt x="1243" y="335"/>
                  </a:lnTo>
                  <a:lnTo>
                    <a:pt x="1233" y="326"/>
                  </a:lnTo>
                  <a:lnTo>
                    <a:pt x="1231" y="316"/>
                  </a:lnTo>
                  <a:lnTo>
                    <a:pt x="1235" y="314"/>
                  </a:lnTo>
                  <a:lnTo>
                    <a:pt x="1235" y="312"/>
                  </a:lnTo>
                  <a:lnTo>
                    <a:pt x="1233" y="311"/>
                  </a:lnTo>
                  <a:lnTo>
                    <a:pt x="1235" y="307"/>
                  </a:lnTo>
                  <a:lnTo>
                    <a:pt x="1231" y="311"/>
                  </a:lnTo>
                  <a:lnTo>
                    <a:pt x="1231" y="314"/>
                  </a:lnTo>
                  <a:lnTo>
                    <a:pt x="1229" y="320"/>
                  </a:lnTo>
                  <a:lnTo>
                    <a:pt x="1228" y="322"/>
                  </a:lnTo>
                  <a:lnTo>
                    <a:pt x="1231" y="328"/>
                  </a:lnTo>
                  <a:lnTo>
                    <a:pt x="1229" y="329"/>
                  </a:lnTo>
                  <a:lnTo>
                    <a:pt x="1228" y="329"/>
                  </a:lnTo>
                  <a:lnTo>
                    <a:pt x="1222" y="329"/>
                  </a:lnTo>
                  <a:lnTo>
                    <a:pt x="1222" y="329"/>
                  </a:lnTo>
                  <a:lnTo>
                    <a:pt x="1218" y="329"/>
                  </a:lnTo>
                  <a:lnTo>
                    <a:pt x="1222" y="331"/>
                  </a:lnTo>
                  <a:lnTo>
                    <a:pt x="1222" y="337"/>
                  </a:lnTo>
                  <a:lnTo>
                    <a:pt x="1222" y="337"/>
                  </a:lnTo>
                  <a:lnTo>
                    <a:pt x="1226" y="331"/>
                  </a:lnTo>
                  <a:lnTo>
                    <a:pt x="1229" y="331"/>
                  </a:lnTo>
                  <a:lnTo>
                    <a:pt x="1229" y="331"/>
                  </a:lnTo>
                  <a:lnTo>
                    <a:pt x="1233" y="331"/>
                  </a:lnTo>
                  <a:lnTo>
                    <a:pt x="1237" y="331"/>
                  </a:lnTo>
                  <a:lnTo>
                    <a:pt x="1241" y="337"/>
                  </a:lnTo>
                  <a:lnTo>
                    <a:pt x="1239" y="341"/>
                  </a:lnTo>
                  <a:lnTo>
                    <a:pt x="1243" y="337"/>
                  </a:lnTo>
                  <a:lnTo>
                    <a:pt x="1248" y="335"/>
                  </a:lnTo>
                  <a:lnTo>
                    <a:pt x="1254" y="337"/>
                  </a:lnTo>
                  <a:lnTo>
                    <a:pt x="1254" y="341"/>
                  </a:lnTo>
                  <a:lnTo>
                    <a:pt x="1252" y="344"/>
                  </a:lnTo>
                  <a:lnTo>
                    <a:pt x="1252" y="350"/>
                  </a:lnTo>
                  <a:lnTo>
                    <a:pt x="1248" y="350"/>
                  </a:lnTo>
                  <a:lnTo>
                    <a:pt x="1246" y="354"/>
                  </a:lnTo>
                  <a:lnTo>
                    <a:pt x="1248" y="354"/>
                  </a:lnTo>
                  <a:lnTo>
                    <a:pt x="1252" y="354"/>
                  </a:lnTo>
                  <a:lnTo>
                    <a:pt x="1252" y="356"/>
                  </a:lnTo>
                  <a:lnTo>
                    <a:pt x="1246" y="360"/>
                  </a:lnTo>
                  <a:lnTo>
                    <a:pt x="1252" y="360"/>
                  </a:lnTo>
                  <a:lnTo>
                    <a:pt x="1252" y="356"/>
                  </a:lnTo>
                  <a:lnTo>
                    <a:pt x="1258" y="354"/>
                  </a:lnTo>
                  <a:lnTo>
                    <a:pt x="1260" y="354"/>
                  </a:lnTo>
                  <a:lnTo>
                    <a:pt x="1261" y="354"/>
                  </a:lnTo>
                  <a:lnTo>
                    <a:pt x="1263" y="354"/>
                  </a:lnTo>
                  <a:lnTo>
                    <a:pt x="1263" y="356"/>
                  </a:lnTo>
                  <a:lnTo>
                    <a:pt x="1263" y="361"/>
                  </a:lnTo>
                  <a:lnTo>
                    <a:pt x="1263" y="365"/>
                  </a:lnTo>
                  <a:lnTo>
                    <a:pt x="1258" y="373"/>
                  </a:lnTo>
                  <a:lnTo>
                    <a:pt x="1254" y="373"/>
                  </a:lnTo>
                  <a:lnTo>
                    <a:pt x="1252" y="377"/>
                  </a:lnTo>
                  <a:lnTo>
                    <a:pt x="1248" y="380"/>
                  </a:lnTo>
                  <a:lnTo>
                    <a:pt x="1246" y="384"/>
                  </a:lnTo>
                  <a:lnTo>
                    <a:pt x="1243" y="382"/>
                  </a:lnTo>
                  <a:lnTo>
                    <a:pt x="1246" y="377"/>
                  </a:lnTo>
                  <a:lnTo>
                    <a:pt x="1246" y="373"/>
                  </a:lnTo>
                  <a:lnTo>
                    <a:pt x="1246" y="373"/>
                  </a:lnTo>
                  <a:lnTo>
                    <a:pt x="1243" y="373"/>
                  </a:lnTo>
                  <a:lnTo>
                    <a:pt x="1241" y="378"/>
                  </a:lnTo>
                  <a:lnTo>
                    <a:pt x="1237" y="380"/>
                  </a:lnTo>
                  <a:lnTo>
                    <a:pt x="1231" y="384"/>
                  </a:lnTo>
                  <a:lnTo>
                    <a:pt x="1231" y="384"/>
                  </a:lnTo>
                  <a:lnTo>
                    <a:pt x="1228" y="384"/>
                  </a:lnTo>
                  <a:lnTo>
                    <a:pt x="1222" y="388"/>
                  </a:lnTo>
                  <a:lnTo>
                    <a:pt x="1218" y="388"/>
                  </a:lnTo>
                  <a:lnTo>
                    <a:pt x="1216" y="390"/>
                  </a:lnTo>
                  <a:lnTo>
                    <a:pt x="1212" y="390"/>
                  </a:lnTo>
                  <a:lnTo>
                    <a:pt x="1212" y="386"/>
                  </a:lnTo>
                  <a:lnTo>
                    <a:pt x="1211" y="384"/>
                  </a:lnTo>
                  <a:lnTo>
                    <a:pt x="1214" y="382"/>
                  </a:lnTo>
                  <a:lnTo>
                    <a:pt x="1216" y="378"/>
                  </a:lnTo>
                  <a:lnTo>
                    <a:pt x="1216" y="375"/>
                  </a:lnTo>
                  <a:lnTo>
                    <a:pt x="1212" y="369"/>
                  </a:lnTo>
                  <a:lnTo>
                    <a:pt x="1209" y="373"/>
                  </a:lnTo>
                  <a:lnTo>
                    <a:pt x="1205" y="371"/>
                  </a:lnTo>
                  <a:lnTo>
                    <a:pt x="1203" y="369"/>
                  </a:lnTo>
                  <a:lnTo>
                    <a:pt x="1205" y="365"/>
                  </a:lnTo>
                  <a:lnTo>
                    <a:pt x="1209" y="363"/>
                  </a:lnTo>
                  <a:lnTo>
                    <a:pt x="1207" y="363"/>
                  </a:lnTo>
                  <a:lnTo>
                    <a:pt x="1203" y="361"/>
                  </a:lnTo>
                  <a:lnTo>
                    <a:pt x="1201" y="356"/>
                  </a:lnTo>
                  <a:lnTo>
                    <a:pt x="1203" y="354"/>
                  </a:lnTo>
                  <a:lnTo>
                    <a:pt x="1203" y="350"/>
                  </a:lnTo>
                  <a:lnTo>
                    <a:pt x="1201" y="346"/>
                  </a:lnTo>
                  <a:lnTo>
                    <a:pt x="1201" y="350"/>
                  </a:lnTo>
                  <a:lnTo>
                    <a:pt x="1197" y="356"/>
                  </a:lnTo>
                  <a:lnTo>
                    <a:pt x="1201" y="363"/>
                  </a:lnTo>
                  <a:lnTo>
                    <a:pt x="1201" y="365"/>
                  </a:lnTo>
                  <a:lnTo>
                    <a:pt x="1199" y="365"/>
                  </a:lnTo>
                  <a:lnTo>
                    <a:pt x="1199" y="371"/>
                  </a:lnTo>
                  <a:lnTo>
                    <a:pt x="1197" y="373"/>
                  </a:lnTo>
                  <a:lnTo>
                    <a:pt x="1194" y="371"/>
                  </a:lnTo>
                  <a:lnTo>
                    <a:pt x="1192" y="371"/>
                  </a:lnTo>
                  <a:lnTo>
                    <a:pt x="1188" y="369"/>
                  </a:lnTo>
                  <a:lnTo>
                    <a:pt x="1188" y="369"/>
                  </a:lnTo>
                  <a:lnTo>
                    <a:pt x="1192" y="361"/>
                  </a:lnTo>
                  <a:lnTo>
                    <a:pt x="1188" y="356"/>
                  </a:lnTo>
                  <a:lnTo>
                    <a:pt x="1192" y="354"/>
                  </a:lnTo>
                  <a:lnTo>
                    <a:pt x="1194" y="350"/>
                  </a:lnTo>
                  <a:lnTo>
                    <a:pt x="1188" y="350"/>
                  </a:lnTo>
                  <a:lnTo>
                    <a:pt x="1188" y="354"/>
                  </a:lnTo>
                  <a:lnTo>
                    <a:pt x="1188" y="360"/>
                  </a:lnTo>
                  <a:lnTo>
                    <a:pt x="1188" y="363"/>
                  </a:lnTo>
                  <a:lnTo>
                    <a:pt x="1184" y="369"/>
                  </a:lnTo>
                  <a:lnTo>
                    <a:pt x="1182" y="369"/>
                  </a:lnTo>
                  <a:lnTo>
                    <a:pt x="1179" y="365"/>
                  </a:lnTo>
                  <a:lnTo>
                    <a:pt x="1179" y="363"/>
                  </a:lnTo>
                  <a:lnTo>
                    <a:pt x="1177" y="363"/>
                  </a:lnTo>
                  <a:lnTo>
                    <a:pt x="1177" y="360"/>
                  </a:lnTo>
                  <a:lnTo>
                    <a:pt x="1179" y="356"/>
                  </a:lnTo>
                  <a:lnTo>
                    <a:pt x="1180" y="354"/>
                  </a:lnTo>
                  <a:lnTo>
                    <a:pt x="1179" y="350"/>
                  </a:lnTo>
                  <a:lnTo>
                    <a:pt x="1177" y="350"/>
                  </a:lnTo>
                  <a:lnTo>
                    <a:pt x="1177" y="352"/>
                  </a:lnTo>
                  <a:lnTo>
                    <a:pt x="1177" y="356"/>
                  </a:lnTo>
                  <a:lnTo>
                    <a:pt x="1175" y="356"/>
                  </a:lnTo>
                  <a:lnTo>
                    <a:pt x="1173" y="361"/>
                  </a:lnTo>
                  <a:lnTo>
                    <a:pt x="1173" y="363"/>
                  </a:lnTo>
                  <a:lnTo>
                    <a:pt x="1169" y="363"/>
                  </a:lnTo>
                  <a:lnTo>
                    <a:pt x="1169" y="363"/>
                  </a:lnTo>
                  <a:lnTo>
                    <a:pt x="1167" y="365"/>
                  </a:lnTo>
                  <a:lnTo>
                    <a:pt x="1167" y="365"/>
                  </a:lnTo>
                  <a:lnTo>
                    <a:pt x="1167" y="365"/>
                  </a:lnTo>
                  <a:lnTo>
                    <a:pt x="1167" y="365"/>
                  </a:lnTo>
                  <a:close/>
                  <a:moveTo>
                    <a:pt x="1267" y="913"/>
                  </a:moveTo>
                  <a:lnTo>
                    <a:pt x="1267" y="921"/>
                  </a:lnTo>
                  <a:lnTo>
                    <a:pt x="1265" y="925"/>
                  </a:lnTo>
                  <a:lnTo>
                    <a:pt x="1267" y="928"/>
                  </a:lnTo>
                  <a:lnTo>
                    <a:pt x="1267" y="927"/>
                  </a:lnTo>
                  <a:lnTo>
                    <a:pt x="1267" y="923"/>
                  </a:lnTo>
                  <a:lnTo>
                    <a:pt x="1267" y="919"/>
                  </a:lnTo>
                  <a:lnTo>
                    <a:pt x="1267" y="915"/>
                  </a:lnTo>
                  <a:lnTo>
                    <a:pt x="1267" y="913"/>
                  </a:lnTo>
                  <a:lnTo>
                    <a:pt x="1267" y="913"/>
                  </a:lnTo>
                  <a:lnTo>
                    <a:pt x="1267" y="913"/>
                  </a:lnTo>
                  <a:lnTo>
                    <a:pt x="1267" y="913"/>
                  </a:lnTo>
                  <a:close/>
                  <a:moveTo>
                    <a:pt x="1263" y="895"/>
                  </a:moveTo>
                  <a:lnTo>
                    <a:pt x="1261" y="893"/>
                  </a:lnTo>
                  <a:lnTo>
                    <a:pt x="1263" y="891"/>
                  </a:lnTo>
                  <a:lnTo>
                    <a:pt x="1265" y="893"/>
                  </a:lnTo>
                  <a:lnTo>
                    <a:pt x="1265" y="895"/>
                  </a:lnTo>
                  <a:lnTo>
                    <a:pt x="1263" y="895"/>
                  </a:lnTo>
                  <a:lnTo>
                    <a:pt x="1263" y="895"/>
                  </a:lnTo>
                  <a:lnTo>
                    <a:pt x="1263" y="895"/>
                  </a:lnTo>
                  <a:lnTo>
                    <a:pt x="1263" y="895"/>
                  </a:lnTo>
                  <a:close/>
                  <a:moveTo>
                    <a:pt x="1258" y="883"/>
                  </a:moveTo>
                  <a:lnTo>
                    <a:pt x="1260" y="879"/>
                  </a:lnTo>
                  <a:lnTo>
                    <a:pt x="1263" y="879"/>
                  </a:lnTo>
                  <a:lnTo>
                    <a:pt x="1263" y="879"/>
                  </a:lnTo>
                  <a:lnTo>
                    <a:pt x="1261" y="883"/>
                  </a:lnTo>
                  <a:lnTo>
                    <a:pt x="1260" y="883"/>
                  </a:lnTo>
                  <a:lnTo>
                    <a:pt x="1258" y="883"/>
                  </a:lnTo>
                  <a:lnTo>
                    <a:pt x="1258" y="883"/>
                  </a:lnTo>
                  <a:lnTo>
                    <a:pt x="1258" y="883"/>
                  </a:lnTo>
                  <a:lnTo>
                    <a:pt x="1258" y="883"/>
                  </a:lnTo>
                  <a:close/>
                  <a:moveTo>
                    <a:pt x="1228" y="606"/>
                  </a:moveTo>
                  <a:lnTo>
                    <a:pt x="1228" y="603"/>
                  </a:lnTo>
                  <a:lnTo>
                    <a:pt x="1229" y="603"/>
                  </a:lnTo>
                  <a:lnTo>
                    <a:pt x="1229" y="606"/>
                  </a:lnTo>
                  <a:lnTo>
                    <a:pt x="1228" y="606"/>
                  </a:lnTo>
                  <a:lnTo>
                    <a:pt x="1228" y="606"/>
                  </a:lnTo>
                  <a:lnTo>
                    <a:pt x="1228" y="606"/>
                  </a:lnTo>
                  <a:lnTo>
                    <a:pt x="1228" y="606"/>
                  </a:lnTo>
                  <a:close/>
                  <a:moveTo>
                    <a:pt x="1233" y="608"/>
                  </a:moveTo>
                  <a:lnTo>
                    <a:pt x="1233" y="606"/>
                  </a:lnTo>
                  <a:lnTo>
                    <a:pt x="1233" y="603"/>
                  </a:lnTo>
                  <a:lnTo>
                    <a:pt x="1235" y="603"/>
                  </a:lnTo>
                  <a:lnTo>
                    <a:pt x="1237" y="606"/>
                  </a:lnTo>
                  <a:lnTo>
                    <a:pt x="1235" y="608"/>
                  </a:lnTo>
                  <a:lnTo>
                    <a:pt x="1233" y="608"/>
                  </a:lnTo>
                  <a:lnTo>
                    <a:pt x="1233" y="608"/>
                  </a:lnTo>
                  <a:lnTo>
                    <a:pt x="1233" y="608"/>
                  </a:lnTo>
                  <a:lnTo>
                    <a:pt x="1233" y="608"/>
                  </a:lnTo>
                  <a:close/>
                  <a:moveTo>
                    <a:pt x="1228" y="618"/>
                  </a:moveTo>
                  <a:lnTo>
                    <a:pt x="1226" y="616"/>
                  </a:lnTo>
                  <a:lnTo>
                    <a:pt x="1226" y="614"/>
                  </a:lnTo>
                  <a:lnTo>
                    <a:pt x="1226" y="612"/>
                  </a:lnTo>
                  <a:lnTo>
                    <a:pt x="1228" y="608"/>
                  </a:lnTo>
                  <a:lnTo>
                    <a:pt x="1229" y="612"/>
                  </a:lnTo>
                  <a:lnTo>
                    <a:pt x="1231" y="612"/>
                  </a:lnTo>
                  <a:lnTo>
                    <a:pt x="1233" y="612"/>
                  </a:lnTo>
                  <a:lnTo>
                    <a:pt x="1229" y="614"/>
                  </a:lnTo>
                  <a:lnTo>
                    <a:pt x="1228" y="618"/>
                  </a:lnTo>
                  <a:lnTo>
                    <a:pt x="1228" y="618"/>
                  </a:lnTo>
                  <a:lnTo>
                    <a:pt x="1228" y="618"/>
                  </a:lnTo>
                  <a:lnTo>
                    <a:pt x="1228" y="618"/>
                  </a:lnTo>
                  <a:lnTo>
                    <a:pt x="1228" y="618"/>
                  </a:lnTo>
                  <a:close/>
                  <a:moveTo>
                    <a:pt x="1282" y="701"/>
                  </a:moveTo>
                  <a:lnTo>
                    <a:pt x="1284" y="701"/>
                  </a:lnTo>
                  <a:lnTo>
                    <a:pt x="1288" y="701"/>
                  </a:lnTo>
                  <a:lnTo>
                    <a:pt x="1286" y="701"/>
                  </a:lnTo>
                  <a:lnTo>
                    <a:pt x="1284" y="701"/>
                  </a:lnTo>
                  <a:lnTo>
                    <a:pt x="1282" y="701"/>
                  </a:lnTo>
                  <a:lnTo>
                    <a:pt x="1282" y="701"/>
                  </a:lnTo>
                  <a:lnTo>
                    <a:pt x="1282" y="701"/>
                  </a:lnTo>
                  <a:lnTo>
                    <a:pt x="1282" y="701"/>
                  </a:lnTo>
                  <a:close/>
                  <a:moveTo>
                    <a:pt x="1276" y="701"/>
                  </a:moveTo>
                  <a:lnTo>
                    <a:pt x="1276" y="697"/>
                  </a:lnTo>
                  <a:lnTo>
                    <a:pt x="1280" y="697"/>
                  </a:lnTo>
                  <a:lnTo>
                    <a:pt x="1280" y="697"/>
                  </a:lnTo>
                  <a:lnTo>
                    <a:pt x="1282" y="697"/>
                  </a:lnTo>
                  <a:lnTo>
                    <a:pt x="1280" y="701"/>
                  </a:lnTo>
                  <a:lnTo>
                    <a:pt x="1276" y="701"/>
                  </a:lnTo>
                  <a:lnTo>
                    <a:pt x="1276" y="701"/>
                  </a:lnTo>
                  <a:lnTo>
                    <a:pt x="1276" y="701"/>
                  </a:lnTo>
                  <a:lnTo>
                    <a:pt x="1276" y="701"/>
                  </a:lnTo>
                  <a:lnTo>
                    <a:pt x="1276" y="701"/>
                  </a:lnTo>
                  <a:close/>
                  <a:moveTo>
                    <a:pt x="1265" y="738"/>
                  </a:moveTo>
                  <a:lnTo>
                    <a:pt x="1267" y="740"/>
                  </a:lnTo>
                  <a:lnTo>
                    <a:pt x="1271" y="738"/>
                  </a:lnTo>
                  <a:lnTo>
                    <a:pt x="1267" y="738"/>
                  </a:lnTo>
                  <a:lnTo>
                    <a:pt x="1265" y="738"/>
                  </a:lnTo>
                  <a:lnTo>
                    <a:pt x="1265" y="738"/>
                  </a:lnTo>
                  <a:lnTo>
                    <a:pt x="1265" y="738"/>
                  </a:lnTo>
                  <a:lnTo>
                    <a:pt x="1265" y="738"/>
                  </a:lnTo>
                  <a:close/>
                  <a:moveTo>
                    <a:pt x="1280" y="755"/>
                  </a:moveTo>
                  <a:lnTo>
                    <a:pt x="1284" y="757"/>
                  </a:lnTo>
                  <a:lnTo>
                    <a:pt x="1286" y="755"/>
                  </a:lnTo>
                  <a:lnTo>
                    <a:pt x="1284" y="755"/>
                  </a:lnTo>
                  <a:lnTo>
                    <a:pt x="1282" y="755"/>
                  </a:lnTo>
                  <a:lnTo>
                    <a:pt x="1282" y="755"/>
                  </a:lnTo>
                  <a:lnTo>
                    <a:pt x="1280" y="755"/>
                  </a:lnTo>
                  <a:lnTo>
                    <a:pt x="1280" y="755"/>
                  </a:lnTo>
                  <a:lnTo>
                    <a:pt x="1280" y="755"/>
                  </a:lnTo>
                  <a:lnTo>
                    <a:pt x="1280" y="755"/>
                  </a:lnTo>
                  <a:close/>
                  <a:moveTo>
                    <a:pt x="1310" y="781"/>
                  </a:moveTo>
                  <a:lnTo>
                    <a:pt x="1310" y="780"/>
                  </a:lnTo>
                  <a:lnTo>
                    <a:pt x="1310" y="778"/>
                  </a:lnTo>
                  <a:lnTo>
                    <a:pt x="1312" y="780"/>
                  </a:lnTo>
                  <a:lnTo>
                    <a:pt x="1312" y="781"/>
                  </a:lnTo>
                  <a:lnTo>
                    <a:pt x="1310" y="781"/>
                  </a:lnTo>
                  <a:lnTo>
                    <a:pt x="1310" y="781"/>
                  </a:lnTo>
                  <a:lnTo>
                    <a:pt x="1310" y="781"/>
                  </a:lnTo>
                  <a:lnTo>
                    <a:pt x="1310" y="781"/>
                  </a:lnTo>
                  <a:lnTo>
                    <a:pt x="1310" y="781"/>
                  </a:lnTo>
                  <a:close/>
                  <a:moveTo>
                    <a:pt x="1322" y="800"/>
                  </a:moveTo>
                  <a:lnTo>
                    <a:pt x="1322" y="797"/>
                  </a:lnTo>
                  <a:lnTo>
                    <a:pt x="1325" y="795"/>
                  </a:lnTo>
                  <a:lnTo>
                    <a:pt x="1329" y="795"/>
                  </a:lnTo>
                  <a:lnTo>
                    <a:pt x="1331" y="795"/>
                  </a:lnTo>
                  <a:lnTo>
                    <a:pt x="1325" y="798"/>
                  </a:lnTo>
                  <a:lnTo>
                    <a:pt x="1325" y="800"/>
                  </a:lnTo>
                  <a:lnTo>
                    <a:pt x="1325" y="800"/>
                  </a:lnTo>
                  <a:lnTo>
                    <a:pt x="1322" y="800"/>
                  </a:lnTo>
                  <a:lnTo>
                    <a:pt x="1322" y="800"/>
                  </a:lnTo>
                  <a:lnTo>
                    <a:pt x="1322" y="800"/>
                  </a:lnTo>
                  <a:lnTo>
                    <a:pt x="1322" y="800"/>
                  </a:lnTo>
                  <a:close/>
                  <a:moveTo>
                    <a:pt x="1222" y="405"/>
                  </a:moveTo>
                  <a:lnTo>
                    <a:pt x="1222" y="399"/>
                  </a:lnTo>
                  <a:lnTo>
                    <a:pt x="1222" y="399"/>
                  </a:lnTo>
                  <a:lnTo>
                    <a:pt x="1226" y="395"/>
                  </a:lnTo>
                  <a:lnTo>
                    <a:pt x="1233" y="390"/>
                  </a:lnTo>
                  <a:lnTo>
                    <a:pt x="1237" y="390"/>
                  </a:lnTo>
                  <a:lnTo>
                    <a:pt x="1235" y="395"/>
                  </a:lnTo>
                  <a:lnTo>
                    <a:pt x="1229" y="399"/>
                  </a:lnTo>
                  <a:lnTo>
                    <a:pt x="1228" y="401"/>
                  </a:lnTo>
                  <a:lnTo>
                    <a:pt x="1229" y="403"/>
                  </a:lnTo>
                  <a:lnTo>
                    <a:pt x="1229" y="405"/>
                  </a:lnTo>
                  <a:lnTo>
                    <a:pt x="1228" y="405"/>
                  </a:lnTo>
                  <a:lnTo>
                    <a:pt x="1226" y="401"/>
                  </a:lnTo>
                  <a:lnTo>
                    <a:pt x="1224" y="403"/>
                  </a:lnTo>
                  <a:lnTo>
                    <a:pt x="1222" y="405"/>
                  </a:lnTo>
                  <a:lnTo>
                    <a:pt x="1222" y="405"/>
                  </a:lnTo>
                  <a:lnTo>
                    <a:pt x="1222" y="405"/>
                  </a:lnTo>
                  <a:lnTo>
                    <a:pt x="1222" y="405"/>
                  </a:lnTo>
                  <a:lnTo>
                    <a:pt x="1222" y="405"/>
                  </a:lnTo>
                  <a:close/>
                  <a:moveTo>
                    <a:pt x="1203" y="388"/>
                  </a:moveTo>
                  <a:lnTo>
                    <a:pt x="1203" y="388"/>
                  </a:lnTo>
                  <a:lnTo>
                    <a:pt x="1205" y="390"/>
                  </a:lnTo>
                  <a:lnTo>
                    <a:pt x="1207" y="390"/>
                  </a:lnTo>
                  <a:lnTo>
                    <a:pt x="1209" y="388"/>
                  </a:lnTo>
                  <a:lnTo>
                    <a:pt x="1207" y="386"/>
                  </a:lnTo>
                  <a:lnTo>
                    <a:pt x="1203" y="388"/>
                  </a:lnTo>
                  <a:lnTo>
                    <a:pt x="1203" y="388"/>
                  </a:lnTo>
                  <a:lnTo>
                    <a:pt x="1203" y="388"/>
                  </a:lnTo>
                  <a:lnTo>
                    <a:pt x="1203" y="388"/>
                  </a:lnTo>
                  <a:close/>
                  <a:moveTo>
                    <a:pt x="1105" y="344"/>
                  </a:moveTo>
                  <a:lnTo>
                    <a:pt x="1100" y="341"/>
                  </a:lnTo>
                  <a:lnTo>
                    <a:pt x="1100" y="337"/>
                  </a:lnTo>
                  <a:lnTo>
                    <a:pt x="1100" y="331"/>
                  </a:lnTo>
                  <a:lnTo>
                    <a:pt x="1098" y="329"/>
                  </a:lnTo>
                  <a:lnTo>
                    <a:pt x="1098" y="326"/>
                  </a:lnTo>
                  <a:lnTo>
                    <a:pt x="1098" y="324"/>
                  </a:lnTo>
                  <a:lnTo>
                    <a:pt x="1101" y="322"/>
                  </a:lnTo>
                  <a:lnTo>
                    <a:pt x="1105" y="326"/>
                  </a:lnTo>
                  <a:lnTo>
                    <a:pt x="1109" y="329"/>
                  </a:lnTo>
                  <a:lnTo>
                    <a:pt x="1105" y="335"/>
                  </a:lnTo>
                  <a:lnTo>
                    <a:pt x="1105" y="337"/>
                  </a:lnTo>
                  <a:lnTo>
                    <a:pt x="1105" y="339"/>
                  </a:lnTo>
                  <a:lnTo>
                    <a:pt x="1105" y="344"/>
                  </a:lnTo>
                  <a:lnTo>
                    <a:pt x="1105" y="344"/>
                  </a:lnTo>
                  <a:lnTo>
                    <a:pt x="1105" y="344"/>
                  </a:lnTo>
                  <a:lnTo>
                    <a:pt x="1105" y="344"/>
                  </a:lnTo>
                  <a:lnTo>
                    <a:pt x="1105" y="344"/>
                  </a:lnTo>
                  <a:close/>
                  <a:moveTo>
                    <a:pt x="1103" y="137"/>
                  </a:moveTo>
                  <a:lnTo>
                    <a:pt x="1105" y="134"/>
                  </a:lnTo>
                  <a:lnTo>
                    <a:pt x="1109" y="128"/>
                  </a:lnTo>
                  <a:lnTo>
                    <a:pt x="1109" y="124"/>
                  </a:lnTo>
                  <a:lnTo>
                    <a:pt x="1115" y="122"/>
                  </a:lnTo>
                  <a:lnTo>
                    <a:pt x="1118" y="118"/>
                  </a:lnTo>
                  <a:lnTo>
                    <a:pt x="1115" y="115"/>
                  </a:lnTo>
                  <a:lnTo>
                    <a:pt x="1111" y="115"/>
                  </a:lnTo>
                  <a:lnTo>
                    <a:pt x="1109" y="115"/>
                  </a:lnTo>
                  <a:lnTo>
                    <a:pt x="1109" y="111"/>
                  </a:lnTo>
                  <a:lnTo>
                    <a:pt x="1109" y="111"/>
                  </a:lnTo>
                  <a:lnTo>
                    <a:pt x="1105" y="115"/>
                  </a:lnTo>
                  <a:lnTo>
                    <a:pt x="1100" y="117"/>
                  </a:lnTo>
                  <a:lnTo>
                    <a:pt x="1098" y="118"/>
                  </a:lnTo>
                  <a:lnTo>
                    <a:pt x="1096" y="122"/>
                  </a:lnTo>
                  <a:lnTo>
                    <a:pt x="1096" y="122"/>
                  </a:lnTo>
                  <a:lnTo>
                    <a:pt x="1100" y="124"/>
                  </a:lnTo>
                  <a:lnTo>
                    <a:pt x="1103" y="122"/>
                  </a:lnTo>
                  <a:lnTo>
                    <a:pt x="1103" y="128"/>
                  </a:lnTo>
                  <a:lnTo>
                    <a:pt x="1100" y="132"/>
                  </a:lnTo>
                  <a:lnTo>
                    <a:pt x="1100" y="134"/>
                  </a:lnTo>
                  <a:lnTo>
                    <a:pt x="1101" y="134"/>
                  </a:lnTo>
                  <a:lnTo>
                    <a:pt x="1103" y="137"/>
                  </a:lnTo>
                  <a:lnTo>
                    <a:pt x="1103" y="137"/>
                  </a:lnTo>
                  <a:lnTo>
                    <a:pt x="1103" y="137"/>
                  </a:lnTo>
                  <a:lnTo>
                    <a:pt x="1103" y="137"/>
                  </a:lnTo>
                  <a:close/>
                  <a:moveTo>
                    <a:pt x="1056" y="250"/>
                  </a:moveTo>
                  <a:lnTo>
                    <a:pt x="1056" y="247"/>
                  </a:lnTo>
                  <a:lnTo>
                    <a:pt x="1056" y="243"/>
                  </a:lnTo>
                  <a:lnTo>
                    <a:pt x="1056" y="241"/>
                  </a:lnTo>
                  <a:lnTo>
                    <a:pt x="1056" y="235"/>
                  </a:lnTo>
                  <a:lnTo>
                    <a:pt x="1051" y="233"/>
                  </a:lnTo>
                  <a:lnTo>
                    <a:pt x="1054" y="231"/>
                  </a:lnTo>
                  <a:lnTo>
                    <a:pt x="1054" y="228"/>
                  </a:lnTo>
                  <a:lnTo>
                    <a:pt x="1060" y="230"/>
                  </a:lnTo>
                  <a:lnTo>
                    <a:pt x="1062" y="231"/>
                  </a:lnTo>
                  <a:lnTo>
                    <a:pt x="1064" y="233"/>
                  </a:lnTo>
                  <a:lnTo>
                    <a:pt x="1064" y="230"/>
                  </a:lnTo>
                  <a:lnTo>
                    <a:pt x="1060" y="226"/>
                  </a:lnTo>
                  <a:lnTo>
                    <a:pt x="1056" y="220"/>
                  </a:lnTo>
                  <a:lnTo>
                    <a:pt x="1056" y="218"/>
                  </a:lnTo>
                  <a:lnTo>
                    <a:pt x="1060" y="218"/>
                  </a:lnTo>
                  <a:lnTo>
                    <a:pt x="1056" y="216"/>
                  </a:lnTo>
                  <a:lnTo>
                    <a:pt x="1060" y="213"/>
                  </a:lnTo>
                  <a:lnTo>
                    <a:pt x="1060" y="207"/>
                  </a:lnTo>
                  <a:lnTo>
                    <a:pt x="1062" y="201"/>
                  </a:lnTo>
                  <a:lnTo>
                    <a:pt x="1064" y="201"/>
                  </a:lnTo>
                  <a:lnTo>
                    <a:pt x="1068" y="199"/>
                  </a:lnTo>
                  <a:lnTo>
                    <a:pt x="1068" y="194"/>
                  </a:lnTo>
                  <a:lnTo>
                    <a:pt x="1069" y="192"/>
                  </a:lnTo>
                  <a:lnTo>
                    <a:pt x="1075" y="188"/>
                  </a:lnTo>
                  <a:lnTo>
                    <a:pt x="1079" y="188"/>
                  </a:lnTo>
                  <a:lnTo>
                    <a:pt x="1081" y="194"/>
                  </a:lnTo>
                  <a:lnTo>
                    <a:pt x="1084" y="198"/>
                  </a:lnTo>
                  <a:lnTo>
                    <a:pt x="1084" y="201"/>
                  </a:lnTo>
                  <a:lnTo>
                    <a:pt x="1084" y="203"/>
                  </a:lnTo>
                  <a:lnTo>
                    <a:pt x="1086" y="205"/>
                  </a:lnTo>
                  <a:lnTo>
                    <a:pt x="1086" y="209"/>
                  </a:lnTo>
                  <a:lnTo>
                    <a:pt x="1088" y="211"/>
                  </a:lnTo>
                  <a:lnTo>
                    <a:pt x="1088" y="213"/>
                  </a:lnTo>
                  <a:lnTo>
                    <a:pt x="1090" y="216"/>
                  </a:lnTo>
                  <a:lnTo>
                    <a:pt x="1094" y="216"/>
                  </a:lnTo>
                  <a:lnTo>
                    <a:pt x="1094" y="216"/>
                  </a:lnTo>
                  <a:lnTo>
                    <a:pt x="1096" y="220"/>
                  </a:lnTo>
                  <a:lnTo>
                    <a:pt x="1098" y="228"/>
                  </a:lnTo>
                  <a:lnTo>
                    <a:pt x="1094" y="231"/>
                  </a:lnTo>
                  <a:lnTo>
                    <a:pt x="1092" y="233"/>
                  </a:lnTo>
                  <a:lnTo>
                    <a:pt x="1088" y="233"/>
                  </a:lnTo>
                  <a:lnTo>
                    <a:pt x="1086" y="233"/>
                  </a:lnTo>
                  <a:lnTo>
                    <a:pt x="1088" y="235"/>
                  </a:lnTo>
                  <a:lnTo>
                    <a:pt x="1090" y="235"/>
                  </a:lnTo>
                  <a:lnTo>
                    <a:pt x="1090" y="243"/>
                  </a:lnTo>
                  <a:lnTo>
                    <a:pt x="1090" y="247"/>
                  </a:lnTo>
                  <a:lnTo>
                    <a:pt x="1084" y="250"/>
                  </a:lnTo>
                  <a:lnTo>
                    <a:pt x="1081" y="250"/>
                  </a:lnTo>
                  <a:lnTo>
                    <a:pt x="1081" y="250"/>
                  </a:lnTo>
                  <a:lnTo>
                    <a:pt x="1081" y="247"/>
                  </a:lnTo>
                  <a:lnTo>
                    <a:pt x="1079" y="247"/>
                  </a:lnTo>
                  <a:lnTo>
                    <a:pt x="1075" y="250"/>
                  </a:lnTo>
                  <a:lnTo>
                    <a:pt x="1071" y="247"/>
                  </a:lnTo>
                  <a:lnTo>
                    <a:pt x="1066" y="250"/>
                  </a:lnTo>
                  <a:lnTo>
                    <a:pt x="1062" y="250"/>
                  </a:lnTo>
                  <a:lnTo>
                    <a:pt x="1062" y="247"/>
                  </a:lnTo>
                  <a:lnTo>
                    <a:pt x="1060" y="247"/>
                  </a:lnTo>
                  <a:lnTo>
                    <a:pt x="1060" y="247"/>
                  </a:lnTo>
                  <a:lnTo>
                    <a:pt x="1056" y="250"/>
                  </a:lnTo>
                  <a:lnTo>
                    <a:pt x="1056" y="250"/>
                  </a:lnTo>
                  <a:lnTo>
                    <a:pt x="1056" y="250"/>
                  </a:lnTo>
                  <a:lnTo>
                    <a:pt x="1056" y="250"/>
                  </a:lnTo>
                  <a:close/>
                  <a:moveTo>
                    <a:pt x="1098" y="243"/>
                  </a:moveTo>
                  <a:lnTo>
                    <a:pt x="1100" y="243"/>
                  </a:lnTo>
                  <a:lnTo>
                    <a:pt x="1100" y="241"/>
                  </a:lnTo>
                  <a:lnTo>
                    <a:pt x="1100" y="233"/>
                  </a:lnTo>
                  <a:lnTo>
                    <a:pt x="1098" y="233"/>
                  </a:lnTo>
                  <a:lnTo>
                    <a:pt x="1096" y="237"/>
                  </a:lnTo>
                  <a:lnTo>
                    <a:pt x="1096" y="241"/>
                  </a:lnTo>
                  <a:lnTo>
                    <a:pt x="1098" y="243"/>
                  </a:lnTo>
                  <a:lnTo>
                    <a:pt x="1098" y="243"/>
                  </a:lnTo>
                  <a:lnTo>
                    <a:pt x="1098" y="243"/>
                  </a:lnTo>
                  <a:lnTo>
                    <a:pt x="1098" y="243"/>
                  </a:lnTo>
                  <a:close/>
                  <a:moveTo>
                    <a:pt x="1111" y="299"/>
                  </a:moveTo>
                  <a:lnTo>
                    <a:pt x="1111" y="301"/>
                  </a:lnTo>
                  <a:lnTo>
                    <a:pt x="1115" y="305"/>
                  </a:lnTo>
                  <a:lnTo>
                    <a:pt x="1118" y="305"/>
                  </a:lnTo>
                  <a:lnTo>
                    <a:pt x="1122" y="305"/>
                  </a:lnTo>
                  <a:lnTo>
                    <a:pt x="1126" y="297"/>
                  </a:lnTo>
                  <a:lnTo>
                    <a:pt x="1126" y="296"/>
                  </a:lnTo>
                  <a:lnTo>
                    <a:pt x="1124" y="294"/>
                  </a:lnTo>
                  <a:lnTo>
                    <a:pt x="1126" y="292"/>
                  </a:lnTo>
                  <a:lnTo>
                    <a:pt x="1124" y="290"/>
                  </a:lnTo>
                  <a:lnTo>
                    <a:pt x="1120" y="290"/>
                  </a:lnTo>
                  <a:lnTo>
                    <a:pt x="1118" y="284"/>
                  </a:lnTo>
                  <a:lnTo>
                    <a:pt x="1115" y="284"/>
                  </a:lnTo>
                  <a:lnTo>
                    <a:pt x="1111" y="288"/>
                  </a:lnTo>
                  <a:lnTo>
                    <a:pt x="1111" y="292"/>
                  </a:lnTo>
                  <a:lnTo>
                    <a:pt x="1109" y="296"/>
                  </a:lnTo>
                  <a:lnTo>
                    <a:pt x="1111" y="299"/>
                  </a:lnTo>
                  <a:lnTo>
                    <a:pt x="1111" y="299"/>
                  </a:lnTo>
                  <a:lnTo>
                    <a:pt x="1111" y="299"/>
                  </a:lnTo>
                  <a:lnTo>
                    <a:pt x="1111" y="299"/>
                  </a:lnTo>
                  <a:close/>
                  <a:moveTo>
                    <a:pt x="1105" y="301"/>
                  </a:moveTo>
                  <a:lnTo>
                    <a:pt x="1105" y="301"/>
                  </a:lnTo>
                  <a:lnTo>
                    <a:pt x="1105" y="305"/>
                  </a:lnTo>
                  <a:lnTo>
                    <a:pt x="1109" y="307"/>
                  </a:lnTo>
                  <a:lnTo>
                    <a:pt x="1109" y="305"/>
                  </a:lnTo>
                  <a:lnTo>
                    <a:pt x="1109" y="305"/>
                  </a:lnTo>
                  <a:lnTo>
                    <a:pt x="1109" y="301"/>
                  </a:lnTo>
                  <a:lnTo>
                    <a:pt x="1109" y="301"/>
                  </a:lnTo>
                  <a:lnTo>
                    <a:pt x="1105" y="301"/>
                  </a:lnTo>
                  <a:lnTo>
                    <a:pt x="1105" y="301"/>
                  </a:lnTo>
                  <a:lnTo>
                    <a:pt x="1105" y="301"/>
                  </a:lnTo>
                  <a:lnTo>
                    <a:pt x="1105" y="301"/>
                  </a:lnTo>
                  <a:close/>
                  <a:moveTo>
                    <a:pt x="1051" y="271"/>
                  </a:moveTo>
                  <a:lnTo>
                    <a:pt x="1051" y="267"/>
                  </a:lnTo>
                  <a:lnTo>
                    <a:pt x="1054" y="262"/>
                  </a:lnTo>
                  <a:lnTo>
                    <a:pt x="1056" y="258"/>
                  </a:lnTo>
                  <a:lnTo>
                    <a:pt x="1060" y="258"/>
                  </a:lnTo>
                  <a:lnTo>
                    <a:pt x="1062" y="258"/>
                  </a:lnTo>
                  <a:lnTo>
                    <a:pt x="1066" y="258"/>
                  </a:lnTo>
                  <a:lnTo>
                    <a:pt x="1068" y="258"/>
                  </a:lnTo>
                  <a:lnTo>
                    <a:pt x="1071" y="258"/>
                  </a:lnTo>
                  <a:lnTo>
                    <a:pt x="1071" y="260"/>
                  </a:lnTo>
                  <a:lnTo>
                    <a:pt x="1075" y="262"/>
                  </a:lnTo>
                  <a:lnTo>
                    <a:pt x="1075" y="260"/>
                  </a:lnTo>
                  <a:lnTo>
                    <a:pt x="1079" y="262"/>
                  </a:lnTo>
                  <a:lnTo>
                    <a:pt x="1081" y="262"/>
                  </a:lnTo>
                  <a:lnTo>
                    <a:pt x="1084" y="267"/>
                  </a:lnTo>
                  <a:lnTo>
                    <a:pt x="1086" y="267"/>
                  </a:lnTo>
                  <a:lnTo>
                    <a:pt x="1084" y="269"/>
                  </a:lnTo>
                  <a:lnTo>
                    <a:pt x="1086" y="271"/>
                  </a:lnTo>
                  <a:lnTo>
                    <a:pt x="1088" y="271"/>
                  </a:lnTo>
                  <a:lnTo>
                    <a:pt x="1092" y="269"/>
                  </a:lnTo>
                  <a:lnTo>
                    <a:pt x="1094" y="271"/>
                  </a:lnTo>
                  <a:lnTo>
                    <a:pt x="1096" y="275"/>
                  </a:lnTo>
                  <a:lnTo>
                    <a:pt x="1096" y="277"/>
                  </a:lnTo>
                  <a:lnTo>
                    <a:pt x="1098" y="277"/>
                  </a:lnTo>
                  <a:lnTo>
                    <a:pt x="1096" y="280"/>
                  </a:lnTo>
                  <a:lnTo>
                    <a:pt x="1090" y="280"/>
                  </a:lnTo>
                  <a:lnTo>
                    <a:pt x="1086" y="282"/>
                  </a:lnTo>
                  <a:lnTo>
                    <a:pt x="1084" y="284"/>
                  </a:lnTo>
                  <a:lnTo>
                    <a:pt x="1079" y="280"/>
                  </a:lnTo>
                  <a:lnTo>
                    <a:pt x="1073" y="280"/>
                  </a:lnTo>
                  <a:lnTo>
                    <a:pt x="1068" y="277"/>
                  </a:lnTo>
                  <a:lnTo>
                    <a:pt x="1064" y="277"/>
                  </a:lnTo>
                  <a:lnTo>
                    <a:pt x="1060" y="277"/>
                  </a:lnTo>
                  <a:lnTo>
                    <a:pt x="1060" y="271"/>
                  </a:lnTo>
                  <a:lnTo>
                    <a:pt x="1056" y="271"/>
                  </a:lnTo>
                  <a:lnTo>
                    <a:pt x="1051" y="271"/>
                  </a:lnTo>
                  <a:lnTo>
                    <a:pt x="1051" y="271"/>
                  </a:lnTo>
                  <a:lnTo>
                    <a:pt x="1051" y="271"/>
                  </a:lnTo>
                  <a:lnTo>
                    <a:pt x="1051" y="271"/>
                  </a:lnTo>
                  <a:close/>
                  <a:moveTo>
                    <a:pt x="1007" y="211"/>
                  </a:moveTo>
                  <a:lnTo>
                    <a:pt x="1007" y="209"/>
                  </a:lnTo>
                  <a:lnTo>
                    <a:pt x="1009" y="209"/>
                  </a:lnTo>
                  <a:lnTo>
                    <a:pt x="1011" y="209"/>
                  </a:lnTo>
                  <a:lnTo>
                    <a:pt x="1009" y="213"/>
                  </a:lnTo>
                  <a:lnTo>
                    <a:pt x="1007" y="213"/>
                  </a:lnTo>
                  <a:lnTo>
                    <a:pt x="1007" y="211"/>
                  </a:lnTo>
                  <a:lnTo>
                    <a:pt x="1007" y="211"/>
                  </a:lnTo>
                  <a:lnTo>
                    <a:pt x="1007" y="211"/>
                  </a:lnTo>
                  <a:lnTo>
                    <a:pt x="1007" y="211"/>
                  </a:lnTo>
                  <a:close/>
                  <a:moveTo>
                    <a:pt x="1009" y="231"/>
                  </a:moveTo>
                  <a:lnTo>
                    <a:pt x="1011" y="237"/>
                  </a:lnTo>
                  <a:lnTo>
                    <a:pt x="1015" y="241"/>
                  </a:lnTo>
                  <a:lnTo>
                    <a:pt x="1017" y="241"/>
                  </a:lnTo>
                  <a:lnTo>
                    <a:pt x="1020" y="241"/>
                  </a:lnTo>
                  <a:lnTo>
                    <a:pt x="1022" y="243"/>
                  </a:lnTo>
                  <a:lnTo>
                    <a:pt x="1024" y="243"/>
                  </a:lnTo>
                  <a:lnTo>
                    <a:pt x="1030" y="237"/>
                  </a:lnTo>
                  <a:lnTo>
                    <a:pt x="1030" y="237"/>
                  </a:lnTo>
                  <a:lnTo>
                    <a:pt x="1032" y="235"/>
                  </a:lnTo>
                  <a:lnTo>
                    <a:pt x="1036" y="230"/>
                  </a:lnTo>
                  <a:lnTo>
                    <a:pt x="1036" y="226"/>
                  </a:lnTo>
                  <a:lnTo>
                    <a:pt x="1037" y="218"/>
                  </a:lnTo>
                  <a:lnTo>
                    <a:pt x="1039" y="216"/>
                  </a:lnTo>
                  <a:lnTo>
                    <a:pt x="1037" y="213"/>
                  </a:lnTo>
                  <a:lnTo>
                    <a:pt x="1037" y="213"/>
                  </a:lnTo>
                  <a:lnTo>
                    <a:pt x="1039" y="211"/>
                  </a:lnTo>
                  <a:lnTo>
                    <a:pt x="1043" y="205"/>
                  </a:lnTo>
                  <a:lnTo>
                    <a:pt x="1045" y="205"/>
                  </a:lnTo>
                  <a:lnTo>
                    <a:pt x="1049" y="201"/>
                  </a:lnTo>
                  <a:lnTo>
                    <a:pt x="1051" y="198"/>
                  </a:lnTo>
                  <a:lnTo>
                    <a:pt x="1051" y="194"/>
                  </a:lnTo>
                  <a:lnTo>
                    <a:pt x="1051" y="192"/>
                  </a:lnTo>
                  <a:lnTo>
                    <a:pt x="1056" y="188"/>
                  </a:lnTo>
                  <a:lnTo>
                    <a:pt x="1056" y="186"/>
                  </a:lnTo>
                  <a:lnTo>
                    <a:pt x="1054" y="183"/>
                  </a:lnTo>
                  <a:lnTo>
                    <a:pt x="1054" y="179"/>
                  </a:lnTo>
                  <a:lnTo>
                    <a:pt x="1051" y="179"/>
                  </a:lnTo>
                  <a:lnTo>
                    <a:pt x="1049" y="177"/>
                  </a:lnTo>
                  <a:lnTo>
                    <a:pt x="1045" y="177"/>
                  </a:lnTo>
                  <a:lnTo>
                    <a:pt x="1043" y="173"/>
                  </a:lnTo>
                  <a:lnTo>
                    <a:pt x="1045" y="171"/>
                  </a:lnTo>
                  <a:lnTo>
                    <a:pt x="1051" y="169"/>
                  </a:lnTo>
                  <a:lnTo>
                    <a:pt x="1051" y="167"/>
                  </a:lnTo>
                  <a:lnTo>
                    <a:pt x="1049" y="164"/>
                  </a:lnTo>
                  <a:lnTo>
                    <a:pt x="1049" y="162"/>
                  </a:lnTo>
                  <a:lnTo>
                    <a:pt x="1049" y="156"/>
                  </a:lnTo>
                  <a:lnTo>
                    <a:pt x="1045" y="152"/>
                  </a:lnTo>
                  <a:lnTo>
                    <a:pt x="1043" y="152"/>
                  </a:lnTo>
                  <a:lnTo>
                    <a:pt x="1039" y="156"/>
                  </a:lnTo>
                  <a:lnTo>
                    <a:pt x="1034" y="156"/>
                  </a:lnTo>
                  <a:lnTo>
                    <a:pt x="1032" y="162"/>
                  </a:lnTo>
                  <a:lnTo>
                    <a:pt x="1030" y="162"/>
                  </a:lnTo>
                  <a:lnTo>
                    <a:pt x="1026" y="162"/>
                  </a:lnTo>
                  <a:lnTo>
                    <a:pt x="1026" y="158"/>
                  </a:lnTo>
                  <a:lnTo>
                    <a:pt x="1030" y="156"/>
                  </a:lnTo>
                  <a:lnTo>
                    <a:pt x="1032" y="156"/>
                  </a:lnTo>
                  <a:lnTo>
                    <a:pt x="1032" y="149"/>
                  </a:lnTo>
                  <a:lnTo>
                    <a:pt x="1034" y="143"/>
                  </a:lnTo>
                  <a:lnTo>
                    <a:pt x="1032" y="139"/>
                  </a:lnTo>
                  <a:lnTo>
                    <a:pt x="1030" y="137"/>
                  </a:lnTo>
                  <a:lnTo>
                    <a:pt x="1030" y="134"/>
                  </a:lnTo>
                  <a:lnTo>
                    <a:pt x="1026" y="132"/>
                  </a:lnTo>
                  <a:lnTo>
                    <a:pt x="1022" y="132"/>
                  </a:lnTo>
                  <a:lnTo>
                    <a:pt x="1017" y="132"/>
                  </a:lnTo>
                  <a:lnTo>
                    <a:pt x="1013" y="135"/>
                  </a:lnTo>
                  <a:lnTo>
                    <a:pt x="1009" y="134"/>
                  </a:lnTo>
                  <a:lnTo>
                    <a:pt x="1009" y="128"/>
                  </a:lnTo>
                  <a:lnTo>
                    <a:pt x="1009" y="128"/>
                  </a:lnTo>
                  <a:lnTo>
                    <a:pt x="1005" y="132"/>
                  </a:lnTo>
                  <a:lnTo>
                    <a:pt x="1005" y="134"/>
                  </a:lnTo>
                  <a:lnTo>
                    <a:pt x="1002" y="135"/>
                  </a:lnTo>
                  <a:lnTo>
                    <a:pt x="998" y="139"/>
                  </a:lnTo>
                  <a:lnTo>
                    <a:pt x="996" y="145"/>
                  </a:lnTo>
                  <a:lnTo>
                    <a:pt x="996" y="149"/>
                  </a:lnTo>
                  <a:lnTo>
                    <a:pt x="998" y="149"/>
                  </a:lnTo>
                  <a:lnTo>
                    <a:pt x="1002" y="149"/>
                  </a:lnTo>
                  <a:lnTo>
                    <a:pt x="1005" y="147"/>
                  </a:lnTo>
                  <a:lnTo>
                    <a:pt x="1005" y="149"/>
                  </a:lnTo>
                  <a:lnTo>
                    <a:pt x="1002" y="152"/>
                  </a:lnTo>
                  <a:lnTo>
                    <a:pt x="998" y="156"/>
                  </a:lnTo>
                  <a:lnTo>
                    <a:pt x="992" y="162"/>
                  </a:lnTo>
                  <a:lnTo>
                    <a:pt x="992" y="162"/>
                  </a:lnTo>
                  <a:lnTo>
                    <a:pt x="998" y="158"/>
                  </a:lnTo>
                  <a:lnTo>
                    <a:pt x="1005" y="156"/>
                  </a:lnTo>
                  <a:lnTo>
                    <a:pt x="1005" y="156"/>
                  </a:lnTo>
                  <a:lnTo>
                    <a:pt x="1009" y="152"/>
                  </a:lnTo>
                  <a:lnTo>
                    <a:pt x="1011" y="156"/>
                  </a:lnTo>
                  <a:lnTo>
                    <a:pt x="1009" y="162"/>
                  </a:lnTo>
                  <a:lnTo>
                    <a:pt x="1007" y="162"/>
                  </a:lnTo>
                  <a:lnTo>
                    <a:pt x="1002" y="164"/>
                  </a:lnTo>
                  <a:lnTo>
                    <a:pt x="1002" y="167"/>
                  </a:lnTo>
                  <a:lnTo>
                    <a:pt x="1002" y="169"/>
                  </a:lnTo>
                  <a:lnTo>
                    <a:pt x="1007" y="167"/>
                  </a:lnTo>
                  <a:lnTo>
                    <a:pt x="1011" y="169"/>
                  </a:lnTo>
                  <a:lnTo>
                    <a:pt x="1007" y="173"/>
                  </a:lnTo>
                  <a:lnTo>
                    <a:pt x="1002" y="173"/>
                  </a:lnTo>
                  <a:lnTo>
                    <a:pt x="998" y="173"/>
                  </a:lnTo>
                  <a:lnTo>
                    <a:pt x="998" y="177"/>
                  </a:lnTo>
                  <a:lnTo>
                    <a:pt x="1002" y="177"/>
                  </a:lnTo>
                  <a:lnTo>
                    <a:pt x="1002" y="181"/>
                  </a:lnTo>
                  <a:lnTo>
                    <a:pt x="998" y="186"/>
                  </a:lnTo>
                  <a:lnTo>
                    <a:pt x="996" y="186"/>
                  </a:lnTo>
                  <a:lnTo>
                    <a:pt x="992" y="181"/>
                  </a:lnTo>
                  <a:lnTo>
                    <a:pt x="990" y="179"/>
                  </a:lnTo>
                  <a:lnTo>
                    <a:pt x="988" y="173"/>
                  </a:lnTo>
                  <a:lnTo>
                    <a:pt x="981" y="179"/>
                  </a:lnTo>
                  <a:lnTo>
                    <a:pt x="981" y="181"/>
                  </a:lnTo>
                  <a:lnTo>
                    <a:pt x="975" y="186"/>
                  </a:lnTo>
                  <a:lnTo>
                    <a:pt x="981" y="192"/>
                  </a:lnTo>
                  <a:lnTo>
                    <a:pt x="981" y="194"/>
                  </a:lnTo>
                  <a:lnTo>
                    <a:pt x="983" y="196"/>
                  </a:lnTo>
                  <a:lnTo>
                    <a:pt x="985" y="192"/>
                  </a:lnTo>
                  <a:lnTo>
                    <a:pt x="988" y="192"/>
                  </a:lnTo>
                  <a:lnTo>
                    <a:pt x="992" y="194"/>
                  </a:lnTo>
                  <a:lnTo>
                    <a:pt x="998" y="194"/>
                  </a:lnTo>
                  <a:lnTo>
                    <a:pt x="1002" y="196"/>
                  </a:lnTo>
                  <a:lnTo>
                    <a:pt x="1005" y="194"/>
                  </a:lnTo>
                  <a:lnTo>
                    <a:pt x="1005" y="198"/>
                  </a:lnTo>
                  <a:lnTo>
                    <a:pt x="1002" y="198"/>
                  </a:lnTo>
                  <a:lnTo>
                    <a:pt x="1002" y="199"/>
                  </a:lnTo>
                  <a:lnTo>
                    <a:pt x="1002" y="203"/>
                  </a:lnTo>
                  <a:lnTo>
                    <a:pt x="1007" y="203"/>
                  </a:lnTo>
                  <a:lnTo>
                    <a:pt x="1011" y="207"/>
                  </a:lnTo>
                  <a:lnTo>
                    <a:pt x="1013" y="213"/>
                  </a:lnTo>
                  <a:lnTo>
                    <a:pt x="1017" y="213"/>
                  </a:lnTo>
                  <a:lnTo>
                    <a:pt x="1019" y="213"/>
                  </a:lnTo>
                  <a:lnTo>
                    <a:pt x="1017" y="216"/>
                  </a:lnTo>
                  <a:lnTo>
                    <a:pt x="1017" y="220"/>
                  </a:lnTo>
                  <a:lnTo>
                    <a:pt x="1009" y="231"/>
                  </a:lnTo>
                  <a:lnTo>
                    <a:pt x="1009" y="231"/>
                  </a:lnTo>
                  <a:lnTo>
                    <a:pt x="1009" y="231"/>
                  </a:lnTo>
                  <a:lnTo>
                    <a:pt x="1009" y="231"/>
                  </a:lnTo>
                  <a:close/>
                  <a:moveTo>
                    <a:pt x="990" y="205"/>
                  </a:moveTo>
                  <a:lnTo>
                    <a:pt x="992" y="201"/>
                  </a:lnTo>
                  <a:lnTo>
                    <a:pt x="996" y="199"/>
                  </a:lnTo>
                  <a:lnTo>
                    <a:pt x="998" y="199"/>
                  </a:lnTo>
                  <a:lnTo>
                    <a:pt x="998" y="199"/>
                  </a:lnTo>
                  <a:lnTo>
                    <a:pt x="998" y="203"/>
                  </a:lnTo>
                  <a:lnTo>
                    <a:pt x="992" y="205"/>
                  </a:lnTo>
                  <a:lnTo>
                    <a:pt x="990" y="205"/>
                  </a:lnTo>
                  <a:lnTo>
                    <a:pt x="990" y="205"/>
                  </a:lnTo>
                  <a:lnTo>
                    <a:pt x="990" y="205"/>
                  </a:lnTo>
                  <a:lnTo>
                    <a:pt x="990" y="205"/>
                  </a:lnTo>
                  <a:close/>
                  <a:moveTo>
                    <a:pt x="983" y="226"/>
                  </a:moveTo>
                  <a:lnTo>
                    <a:pt x="985" y="220"/>
                  </a:lnTo>
                  <a:lnTo>
                    <a:pt x="992" y="220"/>
                  </a:lnTo>
                  <a:lnTo>
                    <a:pt x="996" y="222"/>
                  </a:lnTo>
                  <a:lnTo>
                    <a:pt x="1002" y="228"/>
                  </a:lnTo>
                  <a:lnTo>
                    <a:pt x="1002" y="231"/>
                  </a:lnTo>
                  <a:lnTo>
                    <a:pt x="1002" y="237"/>
                  </a:lnTo>
                  <a:lnTo>
                    <a:pt x="998" y="237"/>
                  </a:lnTo>
                  <a:lnTo>
                    <a:pt x="996" y="237"/>
                  </a:lnTo>
                  <a:lnTo>
                    <a:pt x="992" y="237"/>
                  </a:lnTo>
                  <a:lnTo>
                    <a:pt x="990" y="237"/>
                  </a:lnTo>
                  <a:lnTo>
                    <a:pt x="987" y="233"/>
                  </a:lnTo>
                  <a:lnTo>
                    <a:pt x="983" y="230"/>
                  </a:lnTo>
                  <a:lnTo>
                    <a:pt x="983" y="226"/>
                  </a:lnTo>
                  <a:lnTo>
                    <a:pt x="983" y="226"/>
                  </a:lnTo>
                  <a:lnTo>
                    <a:pt x="983" y="226"/>
                  </a:lnTo>
                  <a:lnTo>
                    <a:pt x="983" y="226"/>
                  </a:lnTo>
                  <a:close/>
                  <a:moveTo>
                    <a:pt x="938" y="256"/>
                  </a:moveTo>
                  <a:lnTo>
                    <a:pt x="940" y="254"/>
                  </a:lnTo>
                  <a:lnTo>
                    <a:pt x="943" y="254"/>
                  </a:lnTo>
                  <a:lnTo>
                    <a:pt x="943" y="256"/>
                  </a:lnTo>
                  <a:lnTo>
                    <a:pt x="940" y="258"/>
                  </a:lnTo>
                  <a:lnTo>
                    <a:pt x="938" y="256"/>
                  </a:lnTo>
                  <a:lnTo>
                    <a:pt x="938" y="256"/>
                  </a:lnTo>
                  <a:lnTo>
                    <a:pt x="938" y="256"/>
                  </a:lnTo>
                  <a:lnTo>
                    <a:pt x="938" y="256"/>
                  </a:lnTo>
                  <a:close/>
                  <a:moveTo>
                    <a:pt x="934" y="250"/>
                  </a:moveTo>
                  <a:lnTo>
                    <a:pt x="932" y="247"/>
                  </a:lnTo>
                  <a:lnTo>
                    <a:pt x="934" y="243"/>
                  </a:lnTo>
                  <a:lnTo>
                    <a:pt x="936" y="237"/>
                  </a:lnTo>
                  <a:lnTo>
                    <a:pt x="936" y="235"/>
                  </a:lnTo>
                  <a:lnTo>
                    <a:pt x="940" y="231"/>
                  </a:lnTo>
                  <a:lnTo>
                    <a:pt x="940" y="230"/>
                  </a:lnTo>
                  <a:lnTo>
                    <a:pt x="941" y="228"/>
                  </a:lnTo>
                  <a:lnTo>
                    <a:pt x="941" y="226"/>
                  </a:lnTo>
                  <a:lnTo>
                    <a:pt x="943" y="220"/>
                  </a:lnTo>
                  <a:lnTo>
                    <a:pt x="943" y="216"/>
                  </a:lnTo>
                  <a:lnTo>
                    <a:pt x="943" y="216"/>
                  </a:lnTo>
                  <a:lnTo>
                    <a:pt x="947" y="216"/>
                  </a:lnTo>
                  <a:lnTo>
                    <a:pt x="947" y="222"/>
                  </a:lnTo>
                  <a:lnTo>
                    <a:pt x="949" y="226"/>
                  </a:lnTo>
                  <a:lnTo>
                    <a:pt x="947" y="231"/>
                  </a:lnTo>
                  <a:lnTo>
                    <a:pt x="947" y="235"/>
                  </a:lnTo>
                  <a:lnTo>
                    <a:pt x="943" y="237"/>
                  </a:lnTo>
                  <a:lnTo>
                    <a:pt x="947" y="241"/>
                  </a:lnTo>
                  <a:lnTo>
                    <a:pt x="943" y="250"/>
                  </a:lnTo>
                  <a:lnTo>
                    <a:pt x="940" y="252"/>
                  </a:lnTo>
                  <a:lnTo>
                    <a:pt x="934" y="250"/>
                  </a:lnTo>
                  <a:lnTo>
                    <a:pt x="934" y="250"/>
                  </a:lnTo>
                  <a:lnTo>
                    <a:pt x="934" y="250"/>
                  </a:lnTo>
                  <a:lnTo>
                    <a:pt x="934" y="250"/>
                  </a:lnTo>
                  <a:close/>
                  <a:moveTo>
                    <a:pt x="892" y="166"/>
                  </a:moveTo>
                  <a:lnTo>
                    <a:pt x="889" y="162"/>
                  </a:lnTo>
                  <a:lnTo>
                    <a:pt x="889" y="158"/>
                  </a:lnTo>
                  <a:lnTo>
                    <a:pt x="892" y="156"/>
                  </a:lnTo>
                  <a:lnTo>
                    <a:pt x="889" y="156"/>
                  </a:lnTo>
                  <a:lnTo>
                    <a:pt x="885" y="156"/>
                  </a:lnTo>
                  <a:lnTo>
                    <a:pt x="883" y="152"/>
                  </a:lnTo>
                  <a:lnTo>
                    <a:pt x="881" y="156"/>
                  </a:lnTo>
                  <a:lnTo>
                    <a:pt x="876" y="156"/>
                  </a:lnTo>
                  <a:lnTo>
                    <a:pt x="872" y="156"/>
                  </a:lnTo>
                  <a:lnTo>
                    <a:pt x="872" y="152"/>
                  </a:lnTo>
                  <a:lnTo>
                    <a:pt x="876" y="149"/>
                  </a:lnTo>
                  <a:lnTo>
                    <a:pt x="877" y="147"/>
                  </a:lnTo>
                  <a:lnTo>
                    <a:pt x="881" y="147"/>
                  </a:lnTo>
                  <a:lnTo>
                    <a:pt x="885" y="147"/>
                  </a:lnTo>
                  <a:lnTo>
                    <a:pt x="894" y="143"/>
                  </a:lnTo>
                  <a:lnTo>
                    <a:pt x="898" y="145"/>
                  </a:lnTo>
                  <a:lnTo>
                    <a:pt x="902" y="147"/>
                  </a:lnTo>
                  <a:lnTo>
                    <a:pt x="904" y="147"/>
                  </a:lnTo>
                  <a:lnTo>
                    <a:pt x="908" y="147"/>
                  </a:lnTo>
                  <a:lnTo>
                    <a:pt x="913" y="143"/>
                  </a:lnTo>
                  <a:lnTo>
                    <a:pt x="917" y="143"/>
                  </a:lnTo>
                  <a:lnTo>
                    <a:pt x="919" y="143"/>
                  </a:lnTo>
                  <a:lnTo>
                    <a:pt x="923" y="141"/>
                  </a:lnTo>
                  <a:lnTo>
                    <a:pt x="924" y="143"/>
                  </a:lnTo>
                  <a:lnTo>
                    <a:pt x="924" y="145"/>
                  </a:lnTo>
                  <a:lnTo>
                    <a:pt x="926" y="149"/>
                  </a:lnTo>
                  <a:lnTo>
                    <a:pt x="926" y="152"/>
                  </a:lnTo>
                  <a:lnTo>
                    <a:pt x="923" y="156"/>
                  </a:lnTo>
                  <a:lnTo>
                    <a:pt x="926" y="162"/>
                  </a:lnTo>
                  <a:lnTo>
                    <a:pt x="923" y="169"/>
                  </a:lnTo>
                  <a:lnTo>
                    <a:pt x="919" y="171"/>
                  </a:lnTo>
                  <a:lnTo>
                    <a:pt x="917" y="173"/>
                  </a:lnTo>
                  <a:lnTo>
                    <a:pt x="913" y="173"/>
                  </a:lnTo>
                  <a:lnTo>
                    <a:pt x="909" y="173"/>
                  </a:lnTo>
                  <a:lnTo>
                    <a:pt x="908" y="171"/>
                  </a:lnTo>
                  <a:lnTo>
                    <a:pt x="904" y="173"/>
                  </a:lnTo>
                  <a:lnTo>
                    <a:pt x="900" y="167"/>
                  </a:lnTo>
                  <a:lnTo>
                    <a:pt x="900" y="162"/>
                  </a:lnTo>
                  <a:lnTo>
                    <a:pt x="896" y="158"/>
                  </a:lnTo>
                  <a:lnTo>
                    <a:pt x="894" y="162"/>
                  </a:lnTo>
                  <a:lnTo>
                    <a:pt x="894" y="164"/>
                  </a:lnTo>
                  <a:lnTo>
                    <a:pt x="892" y="166"/>
                  </a:lnTo>
                  <a:lnTo>
                    <a:pt x="892" y="166"/>
                  </a:lnTo>
                  <a:lnTo>
                    <a:pt x="892" y="166"/>
                  </a:lnTo>
                  <a:lnTo>
                    <a:pt x="892" y="166"/>
                  </a:lnTo>
                  <a:close/>
                  <a:moveTo>
                    <a:pt x="840" y="196"/>
                  </a:moveTo>
                  <a:lnTo>
                    <a:pt x="844" y="192"/>
                  </a:lnTo>
                  <a:lnTo>
                    <a:pt x="844" y="188"/>
                  </a:lnTo>
                  <a:lnTo>
                    <a:pt x="849" y="186"/>
                  </a:lnTo>
                  <a:lnTo>
                    <a:pt x="849" y="183"/>
                  </a:lnTo>
                  <a:lnTo>
                    <a:pt x="853" y="181"/>
                  </a:lnTo>
                  <a:lnTo>
                    <a:pt x="855" y="177"/>
                  </a:lnTo>
                  <a:lnTo>
                    <a:pt x="859" y="177"/>
                  </a:lnTo>
                  <a:lnTo>
                    <a:pt x="868" y="173"/>
                  </a:lnTo>
                  <a:lnTo>
                    <a:pt x="868" y="177"/>
                  </a:lnTo>
                  <a:lnTo>
                    <a:pt x="872" y="177"/>
                  </a:lnTo>
                  <a:lnTo>
                    <a:pt x="876" y="179"/>
                  </a:lnTo>
                  <a:lnTo>
                    <a:pt x="879" y="179"/>
                  </a:lnTo>
                  <a:lnTo>
                    <a:pt x="881" y="177"/>
                  </a:lnTo>
                  <a:lnTo>
                    <a:pt x="889" y="179"/>
                  </a:lnTo>
                  <a:lnTo>
                    <a:pt x="889" y="181"/>
                  </a:lnTo>
                  <a:lnTo>
                    <a:pt x="892" y="181"/>
                  </a:lnTo>
                  <a:lnTo>
                    <a:pt x="896" y="181"/>
                  </a:lnTo>
                  <a:lnTo>
                    <a:pt x="898" y="183"/>
                  </a:lnTo>
                  <a:lnTo>
                    <a:pt x="902" y="183"/>
                  </a:lnTo>
                  <a:lnTo>
                    <a:pt x="904" y="183"/>
                  </a:lnTo>
                  <a:lnTo>
                    <a:pt x="900" y="192"/>
                  </a:lnTo>
                  <a:lnTo>
                    <a:pt x="896" y="188"/>
                  </a:lnTo>
                  <a:lnTo>
                    <a:pt x="889" y="192"/>
                  </a:lnTo>
                  <a:lnTo>
                    <a:pt x="885" y="192"/>
                  </a:lnTo>
                  <a:lnTo>
                    <a:pt x="881" y="198"/>
                  </a:lnTo>
                  <a:lnTo>
                    <a:pt x="881" y="199"/>
                  </a:lnTo>
                  <a:lnTo>
                    <a:pt x="885" y="199"/>
                  </a:lnTo>
                  <a:lnTo>
                    <a:pt x="887" y="199"/>
                  </a:lnTo>
                  <a:lnTo>
                    <a:pt x="887" y="201"/>
                  </a:lnTo>
                  <a:lnTo>
                    <a:pt x="883" y="207"/>
                  </a:lnTo>
                  <a:lnTo>
                    <a:pt x="881" y="211"/>
                  </a:lnTo>
                  <a:lnTo>
                    <a:pt x="877" y="211"/>
                  </a:lnTo>
                  <a:lnTo>
                    <a:pt x="877" y="213"/>
                  </a:lnTo>
                  <a:lnTo>
                    <a:pt x="876" y="216"/>
                  </a:lnTo>
                  <a:lnTo>
                    <a:pt x="872" y="216"/>
                  </a:lnTo>
                  <a:lnTo>
                    <a:pt x="868" y="216"/>
                  </a:lnTo>
                  <a:lnTo>
                    <a:pt x="864" y="216"/>
                  </a:lnTo>
                  <a:lnTo>
                    <a:pt x="859" y="213"/>
                  </a:lnTo>
                  <a:lnTo>
                    <a:pt x="859" y="216"/>
                  </a:lnTo>
                  <a:lnTo>
                    <a:pt x="855" y="216"/>
                  </a:lnTo>
                  <a:lnTo>
                    <a:pt x="851" y="216"/>
                  </a:lnTo>
                  <a:lnTo>
                    <a:pt x="849" y="213"/>
                  </a:lnTo>
                  <a:lnTo>
                    <a:pt x="851" y="213"/>
                  </a:lnTo>
                  <a:lnTo>
                    <a:pt x="849" y="207"/>
                  </a:lnTo>
                  <a:lnTo>
                    <a:pt x="845" y="205"/>
                  </a:lnTo>
                  <a:lnTo>
                    <a:pt x="844" y="203"/>
                  </a:lnTo>
                  <a:lnTo>
                    <a:pt x="844" y="199"/>
                  </a:lnTo>
                  <a:lnTo>
                    <a:pt x="840" y="196"/>
                  </a:lnTo>
                  <a:lnTo>
                    <a:pt x="840" y="196"/>
                  </a:lnTo>
                  <a:lnTo>
                    <a:pt x="840" y="196"/>
                  </a:lnTo>
                  <a:lnTo>
                    <a:pt x="840" y="196"/>
                  </a:lnTo>
                  <a:close/>
                  <a:moveTo>
                    <a:pt x="836" y="183"/>
                  </a:moveTo>
                  <a:lnTo>
                    <a:pt x="838" y="183"/>
                  </a:lnTo>
                  <a:lnTo>
                    <a:pt x="844" y="183"/>
                  </a:lnTo>
                  <a:lnTo>
                    <a:pt x="847" y="179"/>
                  </a:lnTo>
                  <a:lnTo>
                    <a:pt x="847" y="173"/>
                  </a:lnTo>
                  <a:lnTo>
                    <a:pt x="847" y="171"/>
                  </a:lnTo>
                  <a:lnTo>
                    <a:pt x="847" y="167"/>
                  </a:lnTo>
                  <a:lnTo>
                    <a:pt x="849" y="164"/>
                  </a:lnTo>
                  <a:lnTo>
                    <a:pt x="845" y="164"/>
                  </a:lnTo>
                  <a:lnTo>
                    <a:pt x="844" y="164"/>
                  </a:lnTo>
                  <a:lnTo>
                    <a:pt x="840" y="162"/>
                  </a:lnTo>
                  <a:lnTo>
                    <a:pt x="838" y="166"/>
                  </a:lnTo>
                  <a:lnTo>
                    <a:pt x="834" y="166"/>
                  </a:lnTo>
                  <a:lnTo>
                    <a:pt x="834" y="169"/>
                  </a:lnTo>
                  <a:lnTo>
                    <a:pt x="834" y="173"/>
                  </a:lnTo>
                  <a:lnTo>
                    <a:pt x="834" y="177"/>
                  </a:lnTo>
                  <a:lnTo>
                    <a:pt x="836" y="183"/>
                  </a:lnTo>
                  <a:lnTo>
                    <a:pt x="836" y="183"/>
                  </a:lnTo>
                  <a:lnTo>
                    <a:pt x="836" y="183"/>
                  </a:lnTo>
                  <a:lnTo>
                    <a:pt x="836" y="183"/>
                  </a:lnTo>
                  <a:close/>
                  <a:moveTo>
                    <a:pt x="1147" y="454"/>
                  </a:moveTo>
                  <a:lnTo>
                    <a:pt x="1147" y="454"/>
                  </a:lnTo>
                  <a:lnTo>
                    <a:pt x="1152" y="458"/>
                  </a:lnTo>
                  <a:lnTo>
                    <a:pt x="1156" y="454"/>
                  </a:lnTo>
                  <a:lnTo>
                    <a:pt x="1156" y="459"/>
                  </a:lnTo>
                  <a:lnTo>
                    <a:pt x="1160" y="459"/>
                  </a:lnTo>
                  <a:lnTo>
                    <a:pt x="1160" y="459"/>
                  </a:lnTo>
                  <a:lnTo>
                    <a:pt x="1164" y="459"/>
                  </a:lnTo>
                  <a:lnTo>
                    <a:pt x="1169" y="458"/>
                  </a:lnTo>
                  <a:lnTo>
                    <a:pt x="1173" y="458"/>
                  </a:lnTo>
                  <a:lnTo>
                    <a:pt x="1179" y="459"/>
                  </a:lnTo>
                  <a:lnTo>
                    <a:pt x="1182" y="459"/>
                  </a:lnTo>
                  <a:lnTo>
                    <a:pt x="1184" y="459"/>
                  </a:lnTo>
                  <a:lnTo>
                    <a:pt x="1184" y="459"/>
                  </a:lnTo>
                  <a:lnTo>
                    <a:pt x="1184" y="454"/>
                  </a:lnTo>
                  <a:lnTo>
                    <a:pt x="1188" y="450"/>
                  </a:lnTo>
                  <a:lnTo>
                    <a:pt x="1192" y="450"/>
                  </a:lnTo>
                  <a:lnTo>
                    <a:pt x="1192" y="450"/>
                  </a:lnTo>
                  <a:lnTo>
                    <a:pt x="1188" y="444"/>
                  </a:lnTo>
                  <a:lnTo>
                    <a:pt x="1188" y="441"/>
                  </a:lnTo>
                  <a:lnTo>
                    <a:pt x="1192" y="442"/>
                  </a:lnTo>
                  <a:lnTo>
                    <a:pt x="1192" y="446"/>
                  </a:lnTo>
                  <a:lnTo>
                    <a:pt x="1194" y="450"/>
                  </a:lnTo>
                  <a:lnTo>
                    <a:pt x="1194" y="448"/>
                  </a:lnTo>
                  <a:lnTo>
                    <a:pt x="1197" y="448"/>
                  </a:lnTo>
                  <a:lnTo>
                    <a:pt x="1199" y="446"/>
                  </a:lnTo>
                  <a:lnTo>
                    <a:pt x="1201" y="448"/>
                  </a:lnTo>
                  <a:lnTo>
                    <a:pt x="1201" y="446"/>
                  </a:lnTo>
                  <a:lnTo>
                    <a:pt x="1201" y="442"/>
                  </a:lnTo>
                  <a:lnTo>
                    <a:pt x="1201" y="439"/>
                  </a:lnTo>
                  <a:lnTo>
                    <a:pt x="1199" y="437"/>
                  </a:lnTo>
                  <a:lnTo>
                    <a:pt x="1194" y="439"/>
                  </a:lnTo>
                  <a:lnTo>
                    <a:pt x="1192" y="439"/>
                  </a:lnTo>
                  <a:lnTo>
                    <a:pt x="1192" y="435"/>
                  </a:lnTo>
                  <a:lnTo>
                    <a:pt x="1194" y="435"/>
                  </a:lnTo>
                  <a:lnTo>
                    <a:pt x="1194" y="435"/>
                  </a:lnTo>
                  <a:lnTo>
                    <a:pt x="1197" y="435"/>
                  </a:lnTo>
                  <a:lnTo>
                    <a:pt x="1199" y="431"/>
                  </a:lnTo>
                  <a:lnTo>
                    <a:pt x="1201" y="433"/>
                  </a:lnTo>
                  <a:lnTo>
                    <a:pt x="1205" y="433"/>
                  </a:lnTo>
                  <a:lnTo>
                    <a:pt x="1207" y="429"/>
                  </a:lnTo>
                  <a:lnTo>
                    <a:pt x="1205" y="425"/>
                  </a:lnTo>
                  <a:lnTo>
                    <a:pt x="1207" y="424"/>
                  </a:lnTo>
                  <a:lnTo>
                    <a:pt x="1207" y="420"/>
                  </a:lnTo>
                  <a:lnTo>
                    <a:pt x="1209" y="420"/>
                  </a:lnTo>
                  <a:lnTo>
                    <a:pt x="1211" y="420"/>
                  </a:lnTo>
                  <a:lnTo>
                    <a:pt x="1205" y="418"/>
                  </a:lnTo>
                  <a:lnTo>
                    <a:pt x="1201" y="420"/>
                  </a:lnTo>
                  <a:lnTo>
                    <a:pt x="1203" y="416"/>
                  </a:lnTo>
                  <a:lnTo>
                    <a:pt x="1205" y="416"/>
                  </a:lnTo>
                  <a:lnTo>
                    <a:pt x="1205" y="412"/>
                  </a:lnTo>
                  <a:lnTo>
                    <a:pt x="1201" y="409"/>
                  </a:lnTo>
                  <a:lnTo>
                    <a:pt x="1194" y="409"/>
                  </a:lnTo>
                  <a:lnTo>
                    <a:pt x="1194" y="407"/>
                  </a:lnTo>
                  <a:lnTo>
                    <a:pt x="1194" y="405"/>
                  </a:lnTo>
                  <a:lnTo>
                    <a:pt x="1197" y="405"/>
                  </a:lnTo>
                  <a:lnTo>
                    <a:pt x="1194" y="401"/>
                  </a:lnTo>
                  <a:lnTo>
                    <a:pt x="1188" y="395"/>
                  </a:lnTo>
                  <a:lnTo>
                    <a:pt x="1184" y="395"/>
                  </a:lnTo>
                  <a:lnTo>
                    <a:pt x="1184" y="399"/>
                  </a:lnTo>
                  <a:lnTo>
                    <a:pt x="1179" y="399"/>
                  </a:lnTo>
                  <a:lnTo>
                    <a:pt x="1173" y="399"/>
                  </a:lnTo>
                  <a:lnTo>
                    <a:pt x="1167" y="395"/>
                  </a:lnTo>
                  <a:lnTo>
                    <a:pt x="1167" y="393"/>
                  </a:lnTo>
                  <a:lnTo>
                    <a:pt x="1164" y="390"/>
                  </a:lnTo>
                  <a:lnTo>
                    <a:pt x="1160" y="393"/>
                  </a:lnTo>
                  <a:lnTo>
                    <a:pt x="1158" y="393"/>
                  </a:lnTo>
                  <a:lnTo>
                    <a:pt x="1156" y="395"/>
                  </a:lnTo>
                  <a:lnTo>
                    <a:pt x="1152" y="395"/>
                  </a:lnTo>
                  <a:lnTo>
                    <a:pt x="1150" y="399"/>
                  </a:lnTo>
                  <a:lnTo>
                    <a:pt x="1148" y="395"/>
                  </a:lnTo>
                  <a:lnTo>
                    <a:pt x="1145" y="393"/>
                  </a:lnTo>
                  <a:lnTo>
                    <a:pt x="1143" y="395"/>
                  </a:lnTo>
                  <a:lnTo>
                    <a:pt x="1139" y="395"/>
                  </a:lnTo>
                  <a:lnTo>
                    <a:pt x="1139" y="399"/>
                  </a:lnTo>
                  <a:lnTo>
                    <a:pt x="1135" y="399"/>
                  </a:lnTo>
                  <a:lnTo>
                    <a:pt x="1135" y="395"/>
                  </a:lnTo>
                  <a:lnTo>
                    <a:pt x="1135" y="395"/>
                  </a:lnTo>
                  <a:lnTo>
                    <a:pt x="1130" y="395"/>
                  </a:lnTo>
                  <a:lnTo>
                    <a:pt x="1124" y="395"/>
                  </a:lnTo>
                  <a:lnTo>
                    <a:pt x="1122" y="395"/>
                  </a:lnTo>
                  <a:lnTo>
                    <a:pt x="1124" y="399"/>
                  </a:lnTo>
                  <a:lnTo>
                    <a:pt x="1124" y="401"/>
                  </a:lnTo>
                  <a:lnTo>
                    <a:pt x="1128" y="403"/>
                  </a:lnTo>
                  <a:lnTo>
                    <a:pt x="1124" y="403"/>
                  </a:lnTo>
                  <a:lnTo>
                    <a:pt x="1122" y="399"/>
                  </a:lnTo>
                  <a:lnTo>
                    <a:pt x="1120" y="399"/>
                  </a:lnTo>
                  <a:lnTo>
                    <a:pt x="1115" y="401"/>
                  </a:lnTo>
                  <a:lnTo>
                    <a:pt x="1115" y="399"/>
                  </a:lnTo>
                  <a:lnTo>
                    <a:pt x="1118" y="399"/>
                  </a:lnTo>
                  <a:lnTo>
                    <a:pt x="1118" y="395"/>
                  </a:lnTo>
                  <a:lnTo>
                    <a:pt x="1115" y="390"/>
                  </a:lnTo>
                  <a:lnTo>
                    <a:pt x="1115" y="390"/>
                  </a:lnTo>
                  <a:lnTo>
                    <a:pt x="1111" y="388"/>
                  </a:lnTo>
                  <a:lnTo>
                    <a:pt x="1109" y="390"/>
                  </a:lnTo>
                  <a:lnTo>
                    <a:pt x="1109" y="393"/>
                  </a:lnTo>
                  <a:lnTo>
                    <a:pt x="1109" y="395"/>
                  </a:lnTo>
                  <a:lnTo>
                    <a:pt x="1105" y="393"/>
                  </a:lnTo>
                  <a:lnTo>
                    <a:pt x="1105" y="390"/>
                  </a:lnTo>
                  <a:lnTo>
                    <a:pt x="1105" y="390"/>
                  </a:lnTo>
                  <a:lnTo>
                    <a:pt x="1103" y="388"/>
                  </a:lnTo>
                  <a:lnTo>
                    <a:pt x="1100" y="390"/>
                  </a:lnTo>
                  <a:lnTo>
                    <a:pt x="1098" y="390"/>
                  </a:lnTo>
                  <a:lnTo>
                    <a:pt x="1098" y="386"/>
                  </a:lnTo>
                  <a:lnTo>
                    <a:pt x="1098" y="384"/>
                  </a:lnTo>
                  <a:lnTo>
                    <a:pt x="1098" y="380"/>
                  </a:lnTo>
                  <a:lnTo>
                    <a:pt x="1094" y="382"/>
                  </a:lnTo>
                  <a:lnTo>
                    <a:pt x="1090" y="386"/>
                  </a:lnTo>
                  <a:lnTo>
                    <a:pt x="1090" y="390"/>
                  </a:lnTo>
                  <a:lnTo>
                    <a:pt x="1088" y="390"/>
                  </a:lnTo>
                  <a:lnTo>
                    <a:pt x="1086" y="388"/>
                  </a:lnTo>
                  <a:lnTo>
                    <a:pt x="1088" y="384"/>
                  </a:lnTo>
                  <a:lnTo>
                    <a:pt x="1088" y="382"/>
                  </a:lnTo>
                  <a:lnTo>
                    <a:pt x="1090" y="377"/>
                  </a:lnTo>
                  <a:lnTo>
                    <a:pt x="1086" y="373"/>
                  </a:lnTo>
                  <a:lnTo>
                    <a:pt x="1084" y="375"/>
                  </a:lnTo>
                  <a:lnTo>
                    <a:pt x="1084" y="373"/>
                  </a:lnTo>
                  <a:lnTo>
                    <a:pt x="1086" y="371"/>
                  </a:lnTo>
                  <a:lnTo>
                    <a:pt x="1088" y="369"/>
                  </a:lnTo>
                  <a:lnTo>
                    <a:pt x="1086" y="365"/>
                  </a:lnTo>
                  <a:lnTo>
                    <a:pt x="1084" y="365"/>
                  </a:lnTo>
                  <a:lnTo>
                    <a:pt x="1081" y="365"/>
                  </a:lnTo>
                  <a:lnTo>
                    <a:pt x="1081" y="365"/>
                  </a:lnTo>
                  <a:lnTo>
                    <a:pt x="1079" y="365"/>
                  </a:lnTo>
                  <a:lnTo>
                    <a:pt x="1081" y="365"/>
                  </a:lnTo>
                  <a:lnTo>
                    <a:pt x="1079" y="363"/>
                  </a:lnTo>
                  <a:lnTo>
                    <a:pt x="1077" y="363"/>
                  </a:lnTo>
                  <a:lnTo>
                    <a:pt x="1075" y="365"/>
                  </a:lnTo>
                  <a:lnTo>
                    <a:pt x="1069" y="365"/>
                  </a:lnTo>
                  <a:lnTo>
                    <a:pt x="1069" y="365"/>
                  </a:lnTo>
                  <a:lnTo>
                    <a:pt x="1071" y="363"/>
                  </a:lnTo>
                  <a:lnTo>
                    <a:pt x="1073" y="360"/>
                  </a:lnTo>
                  <a:lnTo>
                    <a:pt x="1075" y="356"/>
                  </a:lnTo>
                  <a:lnTo>
                    <a:pt x="1077" y="356"/>
                  </a:lnTo>
                  <a:lnTo>
                    <a:pt x="1081" y="361"/>
                  </a:lnTo>
                  <a:lnTo>
                    <a:pt x="1084" y="361"/>
                  </a:lnTo>
                  <a:lnTo>
                    <a:pt x="1084" y="360"/>
                  </a:lnTo>
                  <a:lnTo>
                    <a:pt x="1081" y="356"/>
                  </a:lnTo>
                  <a:lnTo>
                    <a:pt x="1079" y="354"/>
                  </a:lnTo>
                  <a:lnTo>
                    <a:pt x="1081" y="354"/>
                  </a:lnTo>
                  <a:lnTo>
                    <a:pt x="1075" y="348"/>
                  </a:lnTo>
                  <a:lnTo>
                    <a:pt x="1071" y="346"/>
                  </a:lnTo>
                  <a:lnTo>
                    <a:pt x="1073" y="346"/>
                  </a:lnTo>
                  <a:lnTo>
                    <a:pt x="1075" y="344"/>
                  </a:lnTo>
                  <a:lnTo>
                    <a:pt x="1077" y="344"/>
                  </a:lnTo>
                  <a:lnTo>
                    <a:pt x="1079" y="346"/>
                  </a:lnTo>
                  <a:lnTo>
                    <a:pt x="1081" y="350"/>
                  </a:lnTo>
                  <a:lnTo>
                    <a:pt x="1084" y="352"/>
                  </a:lnTo>
                  <a:lnTo>
                    <a:pt x="1088" y="356"/>
                  </a:lnTo>
                  <a:lnTo>
                    <a:pt x="1090" y="354"/>
                  </a:lnTo>
                  <a:lnTo>
                    <a:pt x="1092" y="356"/>
                  </a:lnTo>
                  <a:lnTo>
                    <a:pt x="1098" y="356"/>
                  </a:lnTo>
                  <a:lnTo>
                    <a:pt x="1103" y="356"/>
                  </a:lnTo>
                  <a:lnTo>
                    <a:pt x="1103" y="354"/>
                  </a:lnTo>
                  <a:lnTo>
                    <a:pt x="1103" y="350"/>
                  </a:lnTo>
                  <a:lnTo>
                    <a:pt x="1094" y="344"/>
                  </a:lnTo>
                  <a:lnTo>
                    <a:pt x="1092" y="341"/>
                  </a:lnTo>
                  <a:lnTo>
                    <a:pt x="1088" y="341"/>
                  </a:lnTo>
                  <a:lnTo>
                    <a:pt x="1088" y="337"/>
                  </a:lnTo>
                  <a:lnTo>
                    <a:pt x="1084" y="335"/>
                  </a:lnTo>
                  <a:lnTo>
                    <a:pt x="1084" y="335"/>
                  </a:lnTo>
                  <a:lnTo>
                    <a:pt x="1081" y="331"/>
                  </a:lnTo>
                  <a:lnTo>
                    <a:pt x="1084" y="331"/>
                  </a:lnTo>
                  <a:lnTo>
                    <a:pt x="1084" y="331"/>
                  </a:lnTo>
                  <a:lnTo>
                    <a:pt x="1088" y="335"/>
                  </a:lnTo>
                  <a:lnTo>
                    <a:pt x="1090" y="335"/>
                  </a:lnTo>
                  <a:lnTo>
                    <a:pt x="1092" y="337"/>
                  </a:lnTo>
                  <a:lnTo>
                    <a:pt x="1094" y="337"/>
                  </a:lnTo>
                  <a:lnTo>
                    <a:pt x="1096" y="335"/>
                  </a:lnTo>
                  <a:lnTo>
                    <a:pt x="1094" y="329"/>
                  </a:lnTo>
                  <a:lnTo>
                    <a:pt x="1088" y="324"/>
                  </a:lnTo>
                  <a:lnTo>
                    <a:pt x="1086" y="324"/>
                  </a:lnTo>
                  <a:lnTo>
                    <a:pt x="1084" y="324"/>
                  </a:lnTo>
                  <a:lnTo>
                    <a:pt x="1081" y="324"/>
                  </a:lnTo>
                  <a:lnTo>
                    <a:pt x="1079" y="326"/>
                  </a:lnTo>
                  <a:lnTo>
                    <a:pt x="1075" y="326"/>
                  </a:lnTo>
                  <a:lnTo>
                    <a:pt x="1071" y="324"/>
                  </a:lnTo>
                  <a:lnTo>
                    <a:pt x="1069" y="324"/>
                  </a:lnTo>
                  <a:lnTo>
                    <a:pt x="1066" y="322"/>
                  </a:lnTo>
                  <a:lnTo>
                    <a:pt x="1062" y="328"/>
                  </a:lnTo>
                  <a:lnTo>
                    <a:pt x="1056" y="329"/>
                  </a:lnTo>
                  <a:lnTo>
                    <a:pt x="1056" y="331"/>
                  </a:lnTo>
                  <a:lnTo>
                    <a:pt x="1054" y="335"/>
                  </a:lnTo>
                  <a:lnTo>
                    <a:pt x="1054" y="331"/>
                  </a:lnTo>
                  <a:lnTo>
                    <a:pt x="1056" y="328"/>
                  </a:lnTo>
                  <a:lnTo>
                    <a:pt x="1060" y="328"/>
                  </a:lnTo>
                  <a:lnTo>
                    <a:pt x="1066" y="320"/>
                  </a:lnTo>
                  <a:lnTo>
                    <a:pt x="1066" y="318"/>
                  </a:lnTo>
                  <a:lnTo>
                    <a:pt x="1064" y="314"/>
                  </a:lnTo>
                  <a:lnTo>
                    <a:pt x="1066" y="305"/>
                  </a:lnTo>
                  <a:lnTo>
                    <a:pt x="1066" y="305"/>
                  </a:lnTo>
                  <a:lnTo>
                    <a:pt x="1064" y="301"/>
                  </a:lnTo>
                  <a:lnTo>
                    <a:pt x="1062" y="305"/>
                  </a:lnTo>
                  <a:lnTo>
                    <a:pt x="1056" y="305"/>
                  </a:lnTo>
                  <a:lnTo>
                    <a:pt x="1056" y="301"/>
                  </a:lnTo>
                  <a:lnTo>
                    <a:pt x="1056" y="299"/>
                  </a:lnTo>
                  <a:lnTo>
                    <a:pt x="1056" y="296"/>
                  </a:lnTo>
                  <a:lnTo>
                    <a:pt x="1051" y="294"/>
                  </a:lnTo>
                  <a:lnTo>
                    <a:pt x="1047" y="290"/>
                  </a:lnTo>
                  <a:lnTo>
                    <a:pt x="1043" y="290"/>
                  </a:lnTo>
                  <a:lnTo>
                    <a:pt x="1039" y="288"/>
                  </a:lnTo>
                  <a:lnTo>
                    <a:pt x="1037" y="290"/>
                  </a:lnTo>
                  <a:lnTo>
                    <a:pt x="1030" y="292"/>
                  </a:lnTo>
                  <a:lnTo>
                    <a:pt x="1030" y="292"/>
                  </a:lnTo>
                  <a:lnTo>
                    <a:pt x="1026" y="292"/>
                  </a:lnTo>
                  <a:lnTo>
                    <a:pt x="1026" y="296"/>
                  </a:lnTo>
                  <a:lnTo>
                    <a:pt x="1030" y="299"/>
                  </a:lnTo>
                  <a:lnTo>
                    <a:pt x="1030" y="301"/>
                  </a:lnTo>
                  <a:lnTo>
                    <a:pt x="1026" y="301"/>
                  </a:lnTo>
                  <a:lnTo>
                    <a:pt x="1024" y="297"/>
                  </a:lnTo>
                  <a:lnTo>
                    <a:pt x="1024" y="301"/>
                  </a:lnTo>
                  <a:lnTo>
                    <a:pt x="1024" y="305"/>
                  </a:lnTo>
                  <a:lnTo>
                    <a:pt x="1026" y="305"/>
                  </a:lnTo>
                  <a:lnTo>
                    <a:pt x="1030" y="311"/>
                  </a:lnTo>
                  <a:lnTo>
                    <a:pt x="1034" y="311"/>
                  </a:lnTo>
                  <a:lnTo>
                    <a:pt x="1032" y="312"/>
                  </a:lnTo>
                  <a:lnTo>
                    <a:pt x="1030" y="312"/>
                  </a:lnTo>
                  <a:lnTo>
                    <a:pt x="1030" y="316"/>
                  </a:lnTo>
                  <a:lnTo>
                    <a:pt x="1034" y="324"/>
                  </a:lnTo>
                  <a:lnTo>
                    <a:pt x="1037" y="326"/>
                  </a:lnTo>
                  <a:lnTo>
                    <a:pt x="1037" y="328"/>
                  </a:lnTo>
                  <a:lnTo>
                    <a:pt x="1036" y="326"/>
                  </a:lnTo>
                  <a:lnTo>
                    <a:pt x="1030" y="326"/>
                  </a:lnTo>
                  <a:lnTo>
                    <a:pt x="1030" y="328"/>
                  </a:lnTo>
                  <a:lnTo>
                    <a:pt x="1026" y="329"/>
                  </a:lnTo>
                  <a:lnTo>
                    <a:pt x="1026" y="331"/>
                  </a:lnTo>
                  <a:lnTo>
                    <a:pt x="1032" y="329"/>
                  </a:lnTo>
                  <a:lnTo>
                    <a:pt x="1034" y="331"/>
                  </a:lnTo>
                  <a:lnTo>
                    <a:pt x="1039" y="329"/>
                  </a:lnTo>
                  <a:lnTo>
                    <a:pt x="1041" y="331"/>
                  </a:lnTo>
                  <a:lnTo>
                    <a:pt x="1045" y="331"/>
                  </a:lnTo>
                  <a:lnTo>
                    <a:pt x="1045" y="335"/>
                  </a:lnTo>
                  <a:lnTo>
                    <a:pt x="1051" y="339"/>
                  </a:lnTo>
                  <a:lnTo>
                    <a:pt x="1051" y="339"/>
                  </a:lnTo>
                  <a:lnTo>
                    <a:pt x="1051" y="335"/>
                  </a:lnTo>
                  <a:lnTo>
                    <a:pt x="1054" y="337"/>
                  </a:lnTo>
                  <a:lnTo>
                    <a:pt x="1056" y="335"/>
                  </a:lnTo>
                  <a:lnTo>
                    <a:pt x="1060" y="335"/>
                  </a:lnTo>
                  <a:lnTo>
                    <a:pt x="1060" y="339"/>
                  </a:lnTo>
                  <a:lnTo>
                    <a:pt x="1060" y="344"/>
                  </a:lnTo>
                  <a:lnTo>
                    <a:pt x="1060" y="348"/>
                  </a:lnTo>
                  <a:lnTo>
                    <a:pt x="1056" y="354"/>
                  </a:lnTo>
                  <a:lnTo>
                    <a:pt x="1056" y="356"/>
                  </a:lnTo>
                  <a:lnTo>
                    <a:pt x="1060" y="361"/>
                  </a:lnTo>
                  <a:lnTo>
                    <a:pt x="1060" y="365"/>
                  </a:lnTo>
                  <a:lnTo>
                    <a:pt x="1060" y="369"/>
                  </a:lnTo>
                  <a:lnTo>
                    <a:pt x="1056" y="371"/>
                  </a:lnTo>
                  <a:lnTo>
                    <a:pt x="1051" y="375"/>
                  </a:lnTo>
                  <a:lnTo>
                    <a:pt x="1049" y="377"/>
                  </a:lnTo>
                  <a:lnTo>
                    <a:pt x="1047" y="378"/>
                  </a:lnTo>
                  <a:lnTo>
                    <a:pt x="1043" y="384"/>
                  </a:lnTo>
                  <a:lnTo>
                    <a:pt x="1043" y="386"/>
                  </a:lnTo>
                  <a:lnTo>
                    <a:pt x="1039" y="390"/>
                  </a:lnTo>
                  <a:lnTo>
                    <a:pt x="1037" y="390"/>
                  </a:lnTo>
                  <a:lnTo>
                    <a:pt x="1037" y="395"/>
                  </a:lnTo>
                  <a:lnTo>
                    <a:pt x="1041" y="395"/>
                  </a:lnTo>
                  <a:lnTo>
                    <a:pt x="1041" y="399"/>
                  </a:lnTo>
                  <a:lnTo>
                    <a:pt x="1037" y="399"/>
                  </a:lnTo>
                  <a:lnTo>
                    <a:pt x="1036" y="403"/>
                  </a:lnTo>
                  <a:lnTo>
                    <a:pt x="1037" y="405"/>
                  </a:lnTo>
                  <a:lnTo>
                    <a:pt x="1036" y="409"/>
                  </a:lnTo>
                  <a:lnTo>
                    <a:pt x="1034" y="412"/>
                  </a:lnTo>
                  <a:lnTo>
                    <a:pt x="1036" y="416"/>
                  </a:lnTo>
                  <a:lnTo>
                    <a:pt x="1039" y="416"/>
                  </a:lnTo>
                  <a:lnTo>
                    <a:pt x="1039" y="420"/>
                  </a:lnTo>
                  <a:lnTo>
                    <a:pt x="1041" y="420"/>
                  </a:lnTo>
                  <a:lnTo>
                    <a:pt x="1043" y="420"/>
                  </a:lnTo>
                  <a:lnTo>
                    <a:pt x="1045" y="418"/>
                  </a:lnTo>
                  <a:lnTo>
                    <a:pt x="1045" y="416"/>
                  </a:lnTo>
                  <a:lnTo>
                    <a:pt x="1047" y="418"/>
                  </a:lnTo>
                  <a:lnTo>
                    <a:pt x="1049" y="418"/>
                  </a:lnTo>
                  <a:lnTo>
                    <a:pt x="1051" y="412"/>
                  </a:lnTo>
                  <a:lnTo>
                    <a:pt x="1054" y="414"/>
                  </a:lnTo>
                  <a:lnTo>
                    <a:pt x="1051" y="420"/>
                  </a:lnTo>
                  <a:lnTo>
                    <a:pt x="1049" y="420"/>
                  </a:lnTo>
                  <a:lnTo>
                    <a:pt x="1049" y="420"/>
                  </a:lnTo>
                  <a:lnTo>
                    <a:pt x="1049" y="424"/>
                  </a:lnTo>
                  <a:lnTo>
                    <a:pt x="1051" y="425"/>
                  </a:lnTo>
                  <a:lnTo>
                    <a:pt x="1051" y="429"/>
                  </a:lnTo>
                  <a:lnTo>
                    <a:pt x="1056" y="429"/>
                  </a:lnTo>
                  <a:lnTo>
                    <a:pt x="1056" y="429"/>
                  </a:lnTo>
                  <a:lnTo>
                    <a:pt x="1062" y="429"/>
                  </a:lnTo>
                  <a:lnTo>
                    <a:pt x="1064" y="429"/>
                  </a:lnTo>
                  <a:lnTo>
                    <a:pt x="1068" y="425"/>
                  </a:lnTo>
                  <a:lnTo>
                    <a:pt x="1068" y="424"/>
                  </a:lnTo>
                  <a:lnTo>
                    <a:pt x="1069" y="424"/>
                  </a:lnTo>
                  <a:lnTo>
                    <a:pt x="1071" y="420"/>
                  </a:lnTo>
                  <a:lnTo>
                    <a:pt x="1071" y="424"/>
                  </a:lnTo>
                  <a:lnTo>
                    <a:pt x="1071" y="425"/>
                  </a:lnTo>
                  <a:lnTo>
                    <a:pt x="1071" y="425"/>
                  </a:lnTo>
                  <a:lnTo>
                    <a:pt x="1073" y="425"/>
                  </a:lnTo>
                  <a:lnTo>
                    <a:pt x="1075" y="420"/>
                  </a:lnTo>
                  <a:lnTo>
                    <a:pt x="1079" y="420"/>
                  </a:lnTo>
                  <a:lnTo>
                    <a:pt x="1079" y="420"/>
                  </a:lnTo>
                  <a:lnTo>
                    <a:pt x="1079" y="425"/>
                  </a:lnTo>
                  <a:lnTo>
                    <a:pt x="1073" y="431"/>
                  </a:lnTo>
                  <a:lnTo>
                    <a:pt x="1071" y="433"/>
                  </a:lnTo>
                  <a:lnTo>
                    <a:pt x="1071" y="437"/>
                  </a:lnTo>
                  <a:lnTo>
                    <a:pt x="1075" y="439"/>
                  </a:lnTo>
                  <a:lnTo>
                    <a:pt x="1079" y="441"/>
                  </a:lnTo>
                  <a:lnTo>
                    <a:pt x="1081" y="441"/>
                  </a:lnTo>
                  <a:lnTo>
                    <a:pt x="1081" y="442"/>
                  </a:lnTo>
                  <a:lnTo>
                    <a:pt x="1084" y="442"/>
                  </a:lnTo>
                  <a:lnTo>
                    <a:pt x="1086" y="439"/>
                  </a:lnTo>
                  <a:lnTo>
                    <a:pt x="1090" y="439"/>
                  </a:lnTo>
                  <a:lnTo>
                    <a:pt x="1088" y="441"/>
                  </a:lnTo>
                  <a:lnTo>
                    <a:pt x="1090" y="444"/>
                  </a:lnTo>
                  <a:lnTo>
                    <a:pt x="1092" y="444"/>
                  </a:lnTo>
                  <a:lnTo>
                    <a:pt x="1096" y="446"/>
                  </a:lnTo>
                  <a:lnTo>
                    <a:pt x="1098" y="444"/>
                  </a:lnTo>
                  <a:lnTo>
                    <a:pt x="1096" y="442"/>
                  </a:lnTo>
                  <a:lnTo>
                    <a:pt x="1096" y="439"/>
                  </a:lnTo>
                  <a:lnTo>
                    <a:pt x="1100" y="437"/>
                  </a:lnTo>
                  <a:lnTo>
                    <a:pt x="1100" y="439"/>
                  </a:lnTo>
                  <a:lnTo>
                    <a:pt x="1100" y="442"/>
                  </a:lnTo>
                  <a:lnTo>
                    <a:pt x="1100" y="446"/>
                  </a:lnTo>
                  <a:lnTo>
                    <a:pt x="1101" y="446"/>
                  </a:lnTo>
                  <a:lnTo>
                    <a:pt x="1103" y="442"/>
                  </a:lnTo>
                  <a:lnTo>
                    <a:pt x="1105" y="441"/>
                  </a:lnTo>
                  <a:lnTo>
                    <a:pt x="1105" y="441"/>
                  </a:lnTo>
                  <a:lnTo>
                    <a:pt x="1105" y="442"/>
                  </a:lnTo>
                  <a:lnTo>
                    <a:pt x="1105" y="444"/>
                  </a:lnTo>
                  <a:lnTo>
                    <a:pt x="1105" y="446"/>
                  </a:lnTo>
                  <a:lnTo>
                    <a:pt x="1109" y="446"/>
                  </a:lnTo>
                  <a:lnTo>
                    <a:pt x="1111" y="444"/>
                  </a:lnTo>
                  <a:lnTo>
                    <a:pt x="1115" y="439"/>
                  </a:lnTo>
                  <a:lnTo>
                    <a:pt x="1115" y="442"/>
                  </a:lnTo>
                  <a:lnTo>
                    <a:pt x="1115" y="444"/>
                  </a:lnTo>
                  <a:lnTo>
                    <a:pt x="1115" y="446"/>
                  </a:lnTo>
                  <a:lnTo>
                    <a:pt x="1118" y="446"/>
                  </a:lnTo>
                  <a:lnTo>
                    <a:pt x="1120" y="441"/>
                  </a:lnTo>
                  <a:lnTo>
                    <a:pt x="1120" y="439"/>
                  </a:lnTo>
                  <a:lnTo>
                    <a:pt x="1120" y="446"/>
                  </a:lnTo>
                  <a:lnTo>
                    <a:pt x="1120" y="450"/>
                  </a:lnTo>
                  <a:lnTo>
                    <a:pt x="1124" y="450"/>
                  </a:lnTo>
                  <a:lnTo>
                    <a:pt x="1130" y="450"/>
                  </a:lnTo>
                  <a:lnTo>
                    <a:pt x="1133" y="450"/>
                  </a:lnTo>
                  <a:lnTo>
                    <a:pt x="1135" y="450"/>
                  </a:lnTo>
                  <a:lnTo>
                    <a:pt x="1135" y="454"/>
                  </a:lnTo>
                  <a:lnTo>
                    <a:pt x="1139" y="450"/>
                  </a:lnTo>
                  <a:lnTo>
                    <a:pt x="1143" y="450"/>
                  </a:lnTo>
                  <a:lnTo>
                    <a:pt x="1143" y="446"/>
                  </a:lnTo>
                  <a:lnTo>
                    <a:pt x="1147" y="442"/>
                  </a:lnTo>
                  <a:lnTo>
                    <a:pt x="1147" y="441"/>
                  </a:lnTo>
                  <a:lnTo>
                    <a:pt x="1145" y="437"/>
                  </a:lnTo>
                  <a:lnTo>
                    <a:pt x="1147" y="433"/>
                  </a:lnTo>
                  <a:lnTo>
                    <a:pt x="1148" y="433"/>
                  </a:lnTo>
                  <a:lnTo>
                    <a:pt x="1148" y="439"/>
                  </a:lnTo>
                  <a:lnTo>
                    <a:pt x="1150" y="439"/>
                  </a:lnTo>
                  <a:lnTo>
                    <a:pt x="1152" y="441"/>
                  </a:lnTo>
                  <a:lnTo>
                    <a:pt x="1148" y="442"/>
                  </a:lnTo>
                  <a:lnTo>
                    <a:pt x="1147" y="448"/>
                  </a:lnTo>
                  <a:lnTo>
                    <a:pt x="1147" y="454"/>
                  </a:lnTo>
                  <a:lnTo>
                    <a:pt x="1147" y="454"/>
                  </a:lnTo>
                  <a:lnTo>
                    <a:pt x="1147" y="454"/>
                  </a:lnTo>
                  <a:lnTo>
                    <a:pt x="1147" y="454"/>
                  </a:lnTo>
                  <a:close/>
                  <a:moveTo>
                    <a:pt x="1022" y="288"/>
                  </a:moveTo>
                  <a:lnTo>
                    <a:pt x="1024" y="286"/>
                  </a:lnTo>
                  <a:lnTo>
                    <a:pt x="1024" y="284"/>
                  </a:lnTo>
                  <a:lnTo>
                    <a:pt x="1022" y="284"/>
                  </a:lnTo>
                  <a:lnTo>
                    <a:pt x="1020" y="286"/>
                  </a:lnTo>
                  <a:lnTo>
                    <a:pt x="1022" y="288"/>
                  </a:lnTo>
                  <a:lnTo>
                    <a:pt x="1022" y="288"/>
                  </a:lnTo>
                  <a:lnTo>
                    <a:pt x="1022" y="288"/>
                  </a:lnTo>
                  <a:lnTo>
                    <a:pt x="1022" y="288"/>
                  </a:lnTo>
                  <a:close/>
                  <a:moveTo>
                    <a:pt x="1015" y="311"/>
                  </a:moveTo>
                  <a:lnTo>
                    <a:pt x="1017" y="307"/>
                  </a:lnTo>
                  <a:lnTo>
                    <a:pt x="1019" y="305"/>
                  </a:lnTo>
                  <a:lnTo>
                    <a:pt x="1019" y="307"/>
                  </a:lnTo>
                  <a:lnTo>
                    <a:pt x="1017" y="311"/>
                  </a:lnTo>
                  <a:lnTo>
                    <a:pt x="1015" y="311"/>
                  </a:lnTo>
                  <a:lnTo>
                    <a:pt x="1015" y="311"/>
                  </a:lnTo>
                  <a:lnTo>
                    <a:pt x="1015" y="311"/>
                  </a:lnTo>
                  <a:lnTo>
                    <a:pt x="1015" y="311"/>
                  </a:lnTo>
                  <a:close/>
                  <a:moveTo>
                    <a:pt x="926" y="344"/>
                  </a:moveTo>
                  <a:lnTo>
                    <a:pt x="924" y="344"/>
                  </a:lnTo>
                  <a:lnTo>
                    <a:pt x="926" y="344"/>
                  </a:lnTo>
                  <a:lnTo>
                    <a:pt x="926" y="344"/>
                  </a:lnTo>
                  <a:lnTo>
                    <a:pt x="926" y="344"/>
                  </a:lnTo>
                  <a:lnTo>
                    <a:pt x="926" y="344"/>
                  </a:lnTo>
                  <a:lnTo>
                    <a:pt x="926" y="344"/>
                  </a:lnTo>
                  <a:lnTo>
                    <a:pt x="926" y="344"/>
                  </a:lnTo>
                  <a:close/>
                  <a:moveTo>
                    <a:pt x="983" y="286"/>
                  </a:moveTo>
                  <a:lnTo>
                    <a:pt x="983" y="288"/>
                  </a:lnTo>
                  <a:lnTo>
                    <a:pt x="985" y="292"/>
                  </a:lnTo>
                  <a:lnTo>
                    <a:pt x="987" y="294"/>
                  </a:lnTo>
                  <a:lnTo>
                    <a:pt x="988" y="292"/>
                  </a:lnTo>
                  <a:lnTo>
                    <a:pt x="987" y="288"/>
                  </a:lnTo>
                  <a:lnTo>
                    <a:pt x="985" y="286"/>
                  </a:lnTo>
                  <a:lnTo>
                    <a:pt x="983" y="286"/>
                  </a:lnTo>
                  <a:lnTo>
                    <a:pt x="983" y="286"/>
                  </a:lnTo>
                  <a:lnTo>
                    <a:pt x="983" y="286"/>
                  </a:lnTo>
                  <a:lnTo>
                    <a:pt x="983" y="286"/>
                  </a:lnTo>
                  <a:close/>
                  <a:moveTo>
                    <a:pt x="956" y="288"/>
                  </a:moveTo>
                  <a:lnTo>
                    <a:pt x="956" y="290"/>
                  </a:lnTo>
                  <a:lnTo>
                    <a:pt x="958" y="292"/>
                  </a:lnTo>
                  <a:lnTo>
                    <a:pt x="960" y="290"/>
                  </a:lnTo>
                  <a:lnTo>
                    <a:pt x="964" y="288"/>
                  </a:lnTo>
                  <a:lnTo>
                    <a:pt x="968" y="290"/>
                  </a:lnTo>
                  <a:lnTo>
                    <a:pt x="972" y="286"/>
                  </a:lnTo>
                  <a:lnTo>
                    <a:pt x="973" y="286"/>
                  </a:lnTo>
                  <a:lnTo>
                    <a:pt x="977" y="284"/>
                  </a:lnTo>
                  <a:lnTo>
                    <a:pt x="975" y="282"/>
                  </a:lnTo>
                  <a:lnTo>
                    <a:pt x="972" y="282"/>
                  </a:lnTo>
                  <a:lnTo>
                    <a:pt x="968" y="284"/>
                  </a:lnTo>
                  <a:lnTo>
                    <a:pt x="968" y="284"/>
                  </a:lnTo>
                  <a:lnTo>
                    <a:pt x="964" y="286"/>
                  </a:lnTo>
                  <a:lnTo>
                    <a:pt x="964" y="286"/>
                  </a:lnTo>
                  <a:lnTo>
                    <a:pt x="962" y="284"/>
                  </a:lnTo>
                  <a:lnTo>
                    <a:pt x="958" y="286"/>
                  </a:lnTo>
                  <a:lnTo>
                    <a:pt x="956" y="288"/>
                  </a:lnTo>
                  <a:lnTo>
                    <a:pt x="956" y="288"/>
                  </a:lnTo>
                  <a:lnTo>
                    <a:pt x="956" y="288"/>
                  </a:lnTo>
                  <a:lnTo>
                    <a:pt x="956" y="288"/>
                  </a:lnTo>
                  <a:close/>
                  <a:moveTo>
                    <a:pt x="926" y="297"/>
                  </a:moveTo>
                  <a:lnTo>
                    <a:pt x="924" y="296"/>
                  </a:lnTo>
                  <a:lnTo>
                    <a:pt x="919" y="296"/>
                  </a:lnTo>
                  <a:lnTo>
                    <a:pt x="917" y="294"/>
                  </a:lnTo>
                  <a:lnTo>
                    <a:pt x="917" y="288"/>
                  </a:lnTo>
                  <a:lnTo>
                    <a:pt x="917" y="286"/>
                  </a:lnTo>
                  <a:lnTo>
                    <a:pt x="919" y="282"/>
                  </a:lnTo>
                  <a:lnTo>
                    <a:pt x="917" y="280"/>
                  </a:lnTo>
                  <a:lnTo>
                    <a:pt x="919" y="277"/>
                  </a:lnTo>
                  <a:lnTo>
                    <a:pt x="923" y="277"/>
                  </a:lnTo>
                  <a:lnTo>
                    <a:pt x="926" y="277"/>
                  </a:lnTo>
                  <a:lnTo>
                    <a:pt x="926" y="277"/>
                  </a:lnTo>
                  <a:lnTo>
                    <a:pt x="928" y="277"/>
                  </a:lnTo>
                  <a:lnTo>
                    <a:pt x="930" y="280"/>
                  </a:lnTo>
                  <a:lnTo>
                    <a:pt x="926" y="280"/>
                  </a:lnTo>
                  <a:lnTo>
                    <a:pt x="926" y="282"/>
                  </a:lnTo>
                  <a:lnTo>
                    <a:pt x="928" y="282"/>
                  </a:lnTo>
                  <a:lnTo>
                    <a:pt x="932" y="282"/>
                  </a:lnTo>
                  <a:lnTo>
                    <a:pt x="930" y="284"/>
                  </a:lnTo>
                  <a:lnTo>
                    <a:pt x="930" y="286"/>
                  </a:lnTo>
                  <a:lnTo>
                    <a:pt x="930" y="290"/>
                  </a:lnTo>
                  <a:lnTo>
                    <a:pt x="932" y="294"/>
                  </a:lnTo>
                  <a:lnTo>
                    <a:pt x="930" y="297"/>
                  </a:lnTo>
                  <a:lnTo>
                    <a:pt x="926" y="297"/>
                  </a:lnTo>
                  <a:lnTo>
                    <a:pt x="926" y="297"/>
                  </a:lnTo>
                  <a:lnTo>
                    <a:pt x="926" y="297"/>
                  </a:lnTo>
                  <a:lnTo>
                    <a:pt x="926" y="297"/>
                  </a:lnTo>
                  <a:close/>
                  <a:moveTo>
                    <a:pt x="923" y="311"/>
                  </a:moveTo>
                  <a:lnTo>
                    <a:pt x="930" y="311"/>
                  </a:lnTo>
                  <a:lnTo>
                    <a:pt x="932" y="311"/>
                  </a:lnTo>
                  <a:lnTo>
                    <a:pt x="936" y="305"/>
                  </a:lnTo>
                  <a:lnTo>
                    <a:pt x="932" y="301"/>
                  </a:lnTo>
                  <a:lnTo>
                    <a:pt x="928" y="301"/>
                  </a:lnTo>
                  <a:lnTo>
                    <a:pt x="924" y="299"/>
                  </a:lnTo>
                  <a:lnTo>
                    <a:pt x="919" y="299"/>
                  </a:lnTo>
                  <a:lnTo>
                    <a:pt x="917" y="299"/>
                  </a:lnTo>
                  <a:lnTo>
                    <a:pt x="913" y="299"/>
                  </a:lnTo>
                  <a:lnTo>
                    <a:pt x="913" y="301"/>
                  </a:lnTo>
                  <a:lnTo>
                    <a:pt x="911" y="301"/>
                  </a:lnTo>
                  <a:lnTo>
                    <a:pt x="909" y="305"/>
                  </a:lnTo>
                  <a:lnTo>
                    <a:pt x="911" y="305"/>
                  </a:lnTo>
                  <a:lnTo>
                    <a:pt x="911" y="305"/>
                  </a:lnTo>
                  <a:lnTo>
                    <a:pt x="913" y="307"/>
                  </a:lnTo>
                  <a:lnTo>
                    <a:pt x="917" y="311"/>
                  </a:lnTo>
                  <a:lnTo>
                    <a:pt x="917" y="311"/>
                  </a:lnTo>
                  <a:lnTo>
                    <a:pt x="923" y="311"/>
                  </a:lnTo>
                  <a:lnTo>
                    <a:pt x="923" y="311"/>
                  </a:lnTo>
                  <a:lnTo>
                    <a:pt x="923" y="311"/>
                  </a:lnTo>
                  <a:lnTo>
                    <a:pt x="923" y="311"/>
                  </a:lnTo>
                  <a:close/>
                  <a:moveTo>
                    <a:pt x="909" y="316"/>
                  </a:moveTo>
                  <a:lnTo>
                    <a:pt x="917" y="318"/>
                  </a:lnTo>
                  <a:lnTo>
                    <a:pt x="923" y="316"/>
                  </a:lnTo>
                  <a:lnTo>
                    <a:pt x="924" y="316"/>
                  </a:lnTo>
                  <a:lnTo>
                    <a:pt x="924" y="318"/>
                  </a:lnTo>
                  <a:lnTo>
                    <a:pt x="928" y="316"/>
                  </a:lnTo>
                  <a:lnTo>
                    <a:pt x="932" y="316"/>
                  </a:lnTo>
                  <a:lnTo>
                    <a:pt x="932" y="314"/>
                  </a:lnTo>
                  <a:lnTo>
                    <a:pt x="928" y="312"/>
                  </a:lnTo>
                  <a:lnTo>
                    <a:pt x="923" y="314"/>
                  </a:lnTo>
                  <a:lnTo>
                    <a:pt x="917" y="314"/>
                  </a:lnTo>
                  <a:lnTo>
                    <a:pt x="917" y="312"/>
                  </a:lnTo>
                  <a:lnTo>
                    <a:pt x="911" y="312"/>
                  </a:lnTo>
                  <a:lnTo>
                    <a:pt x="909" y="314"/>
                  </a:lnTo>
                  <a:lnTo>
                    <a:pt x="909" y="316"/>
                  </a:lnTo>
                  <a:lnTo>
                    <a:pt x="909" y="316"/>
                  </a:lnTo>
                  <a:lnTo>
                    <a:pt x="909" y="316"/>
                  </a:lnTo>
                  <a:lnTo>
                    <a:pt x="909" y="316"/>
                  </a:lnTo>
                  <a:close/>
                  <a:moveTo>
                    <a:pt x="908" y="326"/>
                  </a:moveTo>
                  <a:lnTo>
                    <a:pt x="911" y="326"/>
                  </a:lnTo>
                  <a:lnTo>
                    <a:pt x="913" y="324"/>
                  </a:lnTo>
                  <a:lnTo>
                    <a:pt x="917" y="322"/>
                  </a:lnTo>
                  <a:lnTo>
                    <a:pt x="924" y="320"/>
                  </a:lnTo>
                  <a:lnTo>
                    <a:pt x="926" y="320"/>
                  </a:lnTo>
                  <a:lnTo>
                    <a:pt x="928" y="320"/>
                  </a:lnTo>
                  <a:lnTo>
                    <a:pt x="932" y="320"/>
                  </a:lnTo>
                  <a:lnTo>
                    <a:pt x="932" y="322"/>
                  </a:lnTo>
                  <a:lnTo>
                    <a:pt x="928" y="324"/>
                  </a:lnTo>
                  <a:lnTo>
                    <a:pt x="926" y="324"/>
                  </a:lnTo>
                  <a:lnTo>
                    <a:pt x="923" y="326"/>
                  </a:lnTo>
                  <a:lnTo>
                    <a:pt x="923" y="328"/>
                  </a:lnTo>
                  <a:lnTo>
                    <a:pt x="917" y="329"/>
                  </a:lnTo>
                  <a:lnTo>
                    <a:pt x="913" y="328"/>
                  </a:lnTo>
                  <a:lnTo>
                    <a:pt x="911" y="328"/>
                  </a:lnTo>
                  <a:lnTo>
                    <a:pt x="909" y="328"/>
                  </a:lnTo>
                  <a:lnTo>
                    <a:pt x="908" y="328"/>
                  </a:lnTo>
                  <a:lnTo>
                    <a:pt x="908" y="326"/>
                  </a:lnTo>
                  <a:lnTo>
                    <a:pt x="908" y="326"/>
                  </a:lnTo>
                  <a:lnTo>
                    <a:pt x="908" y="326"/>
                  </a:lnTo>
                  <a:lnTo>
                    <a:pt x="908" y="326"/>
                  </a:lnTo>
                  <a:close/>
                  <a:moveTo>
                    <a:pt x="821" y="213"/>
                  </a:moveTo>
                  <a:lnTo>
                    <a:pt x="819" y="213"/>
                  </a:lnTo>
                  <a:lnTo>
                    <a:pt x="821" y="211"/>
                  </a:lnTo>
                  <a:lnTo>
                    <a:pt x="825" y="211"/>
                  </a:lnTo>
                  <a:lnTo>
                    <a:pt x="823" y="213"/>
                  </a:lnTo>
                  <a:lnTo>
                    <a:pt x="821" y="213"/>
                  </a:lnTo>
                  <a:lnTo>
                    <a:pt x="821" y="213"/>
                  </a:lnTo>
                  <a:lnTo>
                    <a:pt x="821" y="213"/>
                  </a:lnTo>
                  <a:lnTo>
                    <a:pt x="821" y="213"/>
                  </a:lnTo>
                  <a:close/>
                  <a:moveTo>
                    <a:pt x="796" y="226"/>
                  </a:moveTo>
                  <a:lnTo>
                    <a:pt x="800" y="226"/>
                  </a:lnTo>
                  <a:lnTo>
                    <a:pt x="800" y="222"/>
                  </a:lnTo>
                  <a:lnTo>
                    <a:pt x="806" y="226"/>
                  </a:lnTo>
                  <a:lnTo>
                    <a:pt x="810" y="226"/>
                  </a:lnTo>
                  <a:lnTo>
                    <a:pt x="812" y="226"/>
                  </a:lnTo>
                  <a:lnTo>
                    <a:pt x="812" y="228"/>
                  </a:lnTo>
                  <a:lnTo>
                    <a:pt x="813" y="230"/>
                  </a:lnTo>
                  <a:lnTo>
                    <a:pt x="812" y="233"/>
                  </a:lnTo>
                  <a:lnTo>
                    <a:pt x="810" y="235"/>
                  </a:lnTo>
                  <a:lnTo>
                    <a:pt x="806" y="233"/>
                  </a:lnTo>
                  <a:lnTo>
                    <a:pt x="804" y="233"/>
                  </a:lnTo>
                  <a:lnTo>
                    <a:pt x="800" y="230"/>
                  </a:lnTo>
                  <a:lnTo>
                    <a:pt x="800" y="226"/>
                  </a:lnTo>
                  <a:lnTo>
                    <a:pt x="796" y="226"/>
                  </a:lnTo>
                  <a:lnTo>
                    <a:pt x="796" y="226"/>
                  </a:lnTo>
                  <a:lnTo>
                    <a:pt x="796" y="226"/>
                  </a:lnTo>
                  <a:lnTo>
                    <a:pt x="796" y="226"/>
                  </a:lnTo>
                  <a:lnTo>
                    <a:pt x="796" y="226"/>
                  </a:lnTo>
                  <a:lnTo>
                    <a:pt x="796" y="226"/>
                  </a:lnTo>
                  <a:close/>
                  <a:moveTo>
                    <a:pt x="668" y="231"/>
                  </a:moveTo>
                  <a:lnTo>
                    <a:pt x="663" y="231"/>
                  </a:lnTo>
                  <a:lnTo>
                    <a:pt x="663" y="230"/>
                  </a:lnTo>
                  <a:lnTo>
                    <a:pt x="663" y="228"/>
                  </a:lnTo>
                  <a:lnTo>
                    <a:pt x="668" y="230"/>
                  </a:lnTo>
                  <a:lnTo>
                    <a:pt x="668" y="231"/>
                  </a:lnTo>
                  <a:lnTo>
                    <a:pt x="668" y="231"/>
                  </a:lnTo>
                  <a:lnTo>
                    <a:pt x="668" y="231"/>
                  </a:lnTo>
                  <a:lnTo>
                    <a:pt x="668" y="231"/>
                  </a:lnTo>
                  <a:lnTo>
                    <a:pt x="668" y="231"/>
                  </a:lnTo>
                  <a:close/>
                  <a:moveTo>
                    <a:pt x="680" y="250"/>
                  </a:moveTo>
                  <a:lnTo>
                    <a:pt x="685" y="247"/>
                  </a:lnTo>
                  <a:lnTo>
                    <a:pt x="685" y="250"/>
                  </a:lnTo>
                  <a:lnTo>
                    <a:pt x="680" y="250"/>
                  </a:lnTo>
                  <a:lnTo>
                    <a:pt x="680" y="250"/>
                  </a:lnTo>
                  <a:lnTo>
                    <a:pt x="680" y="250"/>
                  </a:lnTo>
                  <a:lnTo>
                    <a:pt x="680" y="250"/>
                  </a:lnTo>
                  <a:lnTo>
                    <a:pt x="680" y="250"/>
                  </a:lnTo>
                  <a:lnTo>
                    <a:pt x="680" y="250"/>
                  </a:lnTo>
                  <a:close/>
                  <a:moveTo>
                    <a:pt x="687" y="247"/>
                  </a:moveTo>
                  <a:lnTo>
                    <a:pt x="689" y="243"/>
                  </a:lnTo>
                  <a:lnTo>
                    <a:pt x="689" y="241"/>
                  </a:lnTo>
                  <a:lnTo>
                    <a:pt x="691" y="237"/>
                  </a:lnTo>
                  <a:lnTo>
                    <a:pt x="693" y="235"/>
                  </a:lnTo>
                  <a:lnTo>
                    <a:pt x="693" y="233"/>
                  </a:lnTo>
                  <a:lnTo>
                    <a:pt x="697" y="231"/>
                  </a:lnTo>
                  <a:lnTo>
                    <a:pt x="700" y="233"/>
                  </a:lnTo>
                  <a:lnTo>
                    <a:pt x="700" y="235"/>
                  </a:lnTo>
                  <a:lnTo>
                    <a:pt x="697" y="237"/>
                  </a:lnTo>
                  <a:lnTo>
                    <a:pt x="693" y="243"/>
                  </a:lnTo>
                  <a:lnTo>
                    <a:pt x="697" y="247"/>
                  </a:lnTo>
                  <a:lnTo>
                    <a:pt x="693" y="247"/>
                  </a:lnTo>
                  <a:lnTo>
                    <a:pt x="693" y="250"/>
                  </a:lnTo>
                  <a:lnTo>
                    <a:pt x="693" y="252"/>
                  </a:lnTo>
                  <a:lnTo>
                    <a:pt x="697" y="250"/>
                  </a:lnTo>
                  <a:lnTo>
                    <a:pt x="697" y="250"/>
                  </a:lnTo>
                  <a:lnTo>
                    <a:pt x="697" y="252"/>
                  </a:lnTo>
                  <a:lnTo>
                    <a:pt x="700" y="254"/>
                  </a:lnTo>
                  <a:lnTo>
                    <a:pt x="704" y="250"/>
                  </a:lnTo>
                  <a:lnTo>
                    <a:pt x="708" y="247"/>
                  </a:lnTo>
                  <a:lnTo>
                    <a:pt x="710" y="247"/>
                  </a:lnTo>
                  <a:lnTo>
                    <a:pt x="712" y="243"/>
                  </a:lnTo>
                  <a:lnTo>
                    <a:pt x="712" y="241"/>
                  </a:lnTo>
                  <a:lnTo>
                    <a:pt x="714" y="241"/>
                  </a:lnTo>
                  <a:lnTo>
                    <a:pt x="717" y="237"/>
                  </a:lnTo>
                  <a:lnTo>
                    <a:pt x="717" y="231"/>
                  </a:lnTo>
                  <a:lnTo>
                    <a:pt x="717" y="231"/>
                  </a:lnTo>
                  <a:lnTo>
                    <a:pt x="717" y="231"/>
                  </a:lnTo>
                  <a:lnTo>
                    <a:pt x="717" y="235"/>
                  </a:lnTo>
                  <a:lnTo>
                    <a:pt x="717" y="237"/>
                  </a:lnTo>
                  <a:lnTo>
                    <a:pt x="717" y="243"/>
                  </a:lnTo>
                  <a:lnTo>
                    <a:pt x="721" y="247"/>
                  </a:lnTo>
                  <a:lnTo>
                    <a:pt x="721" y="247"/>
                  </a:lnTo>
                  <a:lnTo>
                    <a:pt x="725" y="243"/>
                  </a:lnTo>
                  <a:lnTo>
                    <a:pt x="725" y="237"/>
                  </a:lnTo>
                  <a:lnTo>
                    <a:pt x="727" y="237"/>
                  </a:lnTo>
                  <a:lnTo>
                    <a:pt x="731" y="235"/>
                  </a:lnTo>
                  <a:lnTo>
                    <a:pt x="732" y="230"/>
                  </a:lnTo>
                  <a:lnTo>
                    <a:pt x="732" y="226"/>
                  </a:lnTo>
                  <a:lnTo>
                    <a:pt x="732" y="222"/>
                  </a:lnTo>
                  <a:lnTo>
                    <a:pt x="734" y="218"/>
                  </a:lnTo>
                  <a:lnTo>
                    <a:pt x="736" y="222"/>
                  </a:lnTo>
                  <a:lnTo>
                    <a:pt x="742" y="218"/>
                  </a:lnTo>
                  <a:lnTo>
                    <a:pt x="746" y="213"/>
                  </a:lnTo>
                  <a:lnTo>
                    <a:pt x="746" y="211"/>
                  </a:lnTo>
                  <a:lnTo>
                    <a:pt x="749" y="211"/>
                  </a:lnTo>
                  <a:lnTo>
                    <a:pt x="751" y="209"/>
                  </a:lnTo>
                  <a:lnTo>
                    <a:pt x="751" y="211"/>
                  </a:lnTo>
                  <a:lnTo>
                    <a:pt x="755" y="209"/>
                  </a:lnTo>
                  <a:lnTo>
                    <a:pt x="757" y="209"/>
                  </a:lnTo>
                  <a:lnTo>
                    <a:pt x="755" y="216"/>
                  </a:lnTo>
                  <a:lnTo>
                    <a:pt x="751" y="220"/>
                  </a:lnTo>
                  <a:lnTo>
                    <a:pt x="751" y="226"/>
                  </a:lnTo>
                  <a:lnTo>
                    <a:pt x="749" y="226"/>
                  </a:lnTo>
                  <a:lnTo>
                    <a:pt x="748" y="228"/>
                  </a:lnTo>
                  <a:lnTo>
                    <a:pt x="746" y="230"/>
                  </a:lnTo>
                  <a:lnTo>
                    <a:pt x="740" y="237"/>
                  </a:lnTo>
                  <a:lnTo>
                    <a:pt x="740" y="241"/>
                  </a:lnTo>
                  <a:lnTo>
                    <a:pt x="742" y="243"/>
                  </a:lnTo>
                  <a:lnTo>
                    <a:pt x="742" y="247"/>
                  </a:lnTo>
                  <a:lnTo>
                    <a:pt x="742" y="247"/>
                  </a:lnTo>
                  <a:lnTo>
                    <a:pt x="748" y="247"/>
                  </a:lnTo>
                  <a:lnTo>
                    <a:pt x="749" y="247"/>
                  </a:lnTo>
                  <a:lnTo>
                    <a:pt x="751" y="243"/>
                  </a:lnTo>
                  <a:lnTo>
                    <a:pt x="755" y="241"/>
                  </a:lnTo>
                  <a:lnTo>
                    <a:pt x="755" y="237"/>
                  </a:lnTo>
                  <a:lnTo>
                    <a:pt x="755" y="235"/>
                  </a:lnTo>
                  <a:lnTo>
                    <a:pt x="757" y="231"/>
                  </a:lnTo>
                  <a:lnTo>
                    <a:pt x="761" y="231"/>
                  </a:lnTo>
                  <a:lnTo>
                    <a:pt x="763" y="231"/>
                  </a:lnTo>
                  <a:lnTo>
                    <a:pt x="764" y="233"/>
                  </a:lnTo>
                  <a:lnTo>
                    <a:pt x="768" y="233"/>
                  </a:lnTo>
                  <a:lnTo>
                    <a:pt x="770" y="231"/>
                  </a:lnTo>
                  <a:lnTo>
                    <a:pt x="776" y="230"/>
                  </a:lnTo>
                  <a:lnTo>
                    <a:pt x="776" y="228"/>
                  </a:lnTo>
                  <a:lnTo>
                    <a:pt x="780" y="220"/>
                  </a:lnTo>
                  <a:lnTo>
                    <a:pt x="781" y="216"/>
                  </a:lnTo>
                  <a:lnTo>
                    <a:pt x="781" y="213"/>
                  </a:lnTo>
                  <a:lnTo>
                    <a:pt x="785" y="211"/>
                  </a:lnTo>
                  <a:lnTo>
                    <a:pt x="787" y="216"/>
                  </a:lnTo>
                  <a:lnTo>
                    <a:pt x="789" y="216"/>
                  </a:lnTo>
                  <a:lnTo>
                    <a:pt x="791" y="213"/>
                  </a:lnTo>
                  <a:lnTo>
                    <a:pt x="791" y="213"/>
                  </a:lnTo>
                  <a:lnTo>
                    <a:pt x="787" y="207"/>
                  </a:lnTo>
                  <a:lnTo>
                    <a:pt x="787" y="203"/>
                  </a:lnTo>
                  <a:lnTo>
                    <a:pt x="791" y="199"/>
                  </a:lnTo>
                  <a:lnTo>
                    <a:pt x="795" y="199"/>
                  </a:lnTo>
                  <a:lnTo>
                    <a:pt x="798" y="198"/>
                  </a:lnTo>
                  <a:lnTo>
                    <a:pt x="800" y="199"/>
                  </a:lnTo>
                  <a:lnTo>
                    <a:pt x="804" y="198"/>
                  </a:lnTo>
                  <a:lnTo>
                    <a:pt x="806" y="194"/>
                  </a:lnTo>
                  <a:lnTo>
                    <a:pt x="806" y="192"/>
                  </a:lnTo>
                  <a:lnTo>
                    <a:pt x="806" y="183"/>
                  </a:lnTo>
                  <a:lnTo>
                    <a:pt x="806" y="183"/>
                  </a:lnTo>
                  <a:lnTo>
                    <a:pt x="806" y="181"/>
                  </a:lnTo>
                  <a:lnTo>
                    <a:pt x="806" y="177"/>
                  </a:lnTo>
                  <a:lnTo>
                    <a:pt x="800" y="173"/>
                  </a:lnTo>
                  <a:lnTo>
                    <a:pt x="800" y="177"/>
                  </a:lnTo>
                  <a:lnTo>
                    <a:pt x="795" y="179"/>
                  </a:lnTo>
                  <a:lnTo>
                    <a:pt x="795" y="183"/>
                  </a:lnTo>
                  <a:lnTo>
                    <a:pt x="795" y="186"/>
                  </a:lnTo>
                  <a:lnTo>
                    <a:pt x="795" y="188"/>
                  </a:lnTo>
                  <a:lnTo>
                    <a:pt x="793" y="188"/>
                  </a:lnTo>
                  <a:lnTo>
                    <a:pt x="791" y="186"/>
                  </a:lnTo>
                  <a:lnTo>
                    <a:pt x="789" y="186"/>
                  </a:lnTo>
                  <a:lnTo>
                    <a:pt x="789" y="186"/>
                  </a:lnTo>
                  <a:lnTo>
                    <a:pt x="787" y="188"/>
                  </a:lnTo>
                  <a:lnTo>
                    <a:pt x="785" y="186"/>
                  </a:lnTo>
                  <a:lnTo>
                    <a:pt x="785" y="183"/>
                  </a:lnTo>
                  <a:lnTo>
                    <a:pt x="781" y="179"/>
                  </a:lnTo>
                  <a:lnTo>
                    <a:pt x="780" y="179"/>
                  </a:lnTo>
                  <a:lnTo>
                    <a:pt x="780" y="181"/>
                  </a:lnTo>
                  <a:lnTo>
                    <a:pt x="776" y="179"/>
                  </a:lnTo>
                  <a:lnTo>
                    <a:pt x="772" y="179"/>
                  </a:lnTo>
                  <a:lnTo>
                    <a:pt x="768" y="179"/>
                  </a:lnTo>
                  <a:lnTo>
                    <a:pt x="761" y="177"/>
                  </a:lnTo>
                  <a:lnTo>
                    <a:pt x="757" y="181"/>
                  </a:lnTo>
                  <a:lnTo>
                    <a:pt x="755" y="183"/>
                  </a:lnTo>
                  <a:lnTo>
                    <a:pt x="755" y="186"/>
                  </a:lnTo>
                  <a:lnTo>
                    <a:pt x="751" y="183"/>
                  </a:lnTo>
                  <a:lnTo>
                    <a:pt x="751" y="183"/>
                  </a:lnTo>
                  <a:lnTo>
                    <a:pt x="742" y="192"/>
                  </a:lnTo>
                  <a:lnTo>
                    <a:pt x="738" y="194"/>
                  </a:lnTo>
                  <a:lnTo>
                    <a:pt x="736" y="194"/>
                  </a:lnTo>
                  <a:lnTo>
                    <a:pt x="731" y="198"/>
                  </a:lnTo>
                  <a:lnTo>
                    <a:pt x="727" y="198"/>
                  </a:lnTo>
                  <a:lnTo>
                    <a:pt x="727" y="199"/>
                  </a:lnTo>
                  <a:lnTo>
                    <a:pt x="725" y="203"/>
                  </a:lnTo>
                  <a:lnTo>
                    <a:pt x="717" y="203"/>
                  </a:lnTo>
                  <a:lnTo>
                    <a:pt x="717" y="203"/>
                  </a:lnTo>
                  <a:lnTo>
                    <a:pt x="714" y="203"/>
                  </a:lnTo>
                  <a:lnTo>
                    <a:pt x="712" y="205"/>
                  </a:lnTo>
                  <a:lnTo>
                    <a:pt x="708" y="205"/>
                  </a:lnTo>
                  <a:lnTo>
                    <a:pt x="702" y="211"/>
                  </a:lnTo>
                  <a:lnTo>
                    <a:pt x="700" y="213"/>
                  </a:lnTo>
                  <a:lnTo>
                    <a:pt x="693" y="211"/>
                  </a:lnTo>
                  <a:lnTo>
                    <a:pt x="691" y="213"/>
                  </a:lnTo>
                  <a:lnTo>
                    <a:pt x="682" y="213"/>
                  </a:lnTo>
                  <a:lnTo>
                    <a:pt x="678" y="218"/>
                  </a:lnTo>
                  <a:lnTo>
                    <a:pt x="676" y="218"/>
                  </a:lnTo>
                  <a:lnTo>
                    <a:pt x="672" y="220"/>
                  </a:lnTo>
                  <a:lnTo>
                    <a:pt x="668" y="226"/>
                  </a:lnTo>
                  <a:lnTo>
                    <a:pt x="672" y="226"/>
                  </a:lnTo>
                  <a:lnTo>
                    <a:pt x="672" y="226"/>
                  </a:lnTo>
                  <a:lnTo>
                    <a:pt x="672" y="226"/>
                  </a:lnTo>
                  <a:lnTo>
                    <a:pt x="668" y="228"/>
                  </a:lnTo>
                  <a:lnTo>
                    <a:pt x="672" y="230"/>
                  </a:lnTo>
                  <a:lnTo>
                    <a:pt x="672" y="233"/>
                  </a:lnTo>
                  <a:lnTo>
                    <a:pt x="667" y="235"/>
                  </a:lnTo>
                  <a:lnTo>
                    <a:pt x="667" y="237"/>
                  </a:lnTo>
                  <a:lnTo>
                    <a:pt x="668" y="237"/>
                  </a:lnTo>
                  <a:lnTo>
                    <a:pt x="672" y="237"/>
                  </a:lnTo>
                  <a:lnTo>
                    <a:pt x="676" y="233"/>
                  </a:lnTo>
                  <a:lnTo>
                    <a:pt x="678" y="233"/>
                  </a:lnTo>
                  <a:lnTo>
                    <a:pt x="682" y="235"/>
                  </a:lnTo>
                  <a:lnTo>
                    <a:pt x="684" y="237"/>
                  </a:lnTo>
                  <a:lnTo>
                    <a:pt x="684" y="243"/>
                  </a:lnTo>
                  <a:lnTo>
                    <a:pt x="687" y="247"/>
                  </a:lnTo>
                  <a:lnTo>
                    <a:pt x="687" y="247"/>
                  </a:lnTo>
                  <a:lnTo>
                    <a:pt x="687" y="247"/>
                  </a:lnTo>
                  <a:lnTo>
                    <a:pt x="687" y="247"/>
                  </a:lnTo>
                  <a:close/>
                  <a:moveTo>
                    <a:pt x="1039" y="454"/>
                  </a:moveTo>
                  <a:lnTo>
                    <a:pt x="1039" y="450"/>
                  </a:lnTo>
                  <a:lnTo>
                    <a:pt x="1045" y="454"/>
                  </a:lnTo>
                  <a:lnTo>
                    <a:pt x="1045" y="454"/>
                  </a:lnTo>
                  <a:lnTo>
                    <a:pt x="1043" y="458"/>
                  </a:lnTo>
                  <a:lnTo>
                    <a:pt x="1041" y="454"/>
                  </a:lnTo>
                  <a:lnTo>
                    <a:pt x="1039" y="454"/>
                  </a:lnTo>
                  <a:lnTo>
                    <a:pt x="1039" y="454"/>
                  </a:lnTo>
                  <a:lnTo>
                    <a:pt x="1039" y="454"/>
                  </a:lnTo>
                  <a:lnTo>
                    <a:pt x="1039" y="454"/>
                  </a:lnTo>
                  <a:close/>
                  <a:moveTo>
                    <a:pt x="998" y="371"/>
                  </a:moveTo>
                  <a:lnTo>
                    <a:pt x="996" y="369"/>
                  </a:lnTo>
                  <a:lnTo>
                    <a:pt x="992" y="369"/>
                  </a:lnTo>
                  <a:lnTo>
                    <a:pt x="990" y="371"/>
                  </a:lnTo>
                  <a:lnTo>
                    <a:pt x="992" y="371"/>
                  </a:lnTo>
                  <a:lnTo>
                    <a:pt x="996" y="373"/>
                  </a:lnTo>
                  <a:lnTo>
                    <a:pt x="996" y="373"/>
                  </a:lnTo>
                  <a:lnTo>
                    <a:pt x="990" y="375"/>
                  </a:lnTo>
                  <a:lnTo>
                    <a:pt x="988" y="375"/>
                  </a:lnTo>
                  <a:lnTo>
                    <a:pt x="990" y="378"/>
                  </a:lnTo>
                  <a:lnTo>
                    <a:pt x="992" y="380"/>
                  </a:lnTo>
                  <a:lnTo>
                    <a:pt x="992" y="380"/>
                  </a:lnTo>
                  <a:lnTo>
                    <a:pt x="987" y="380"/>
                  </a:lnTo>
                  <a:lnTo>
                    <a:pt x="983" y="380"/>
                  </a:lnTo>
                  <a:lnTo>
                    <a:pt x="981" y="384"/>
                  </a:lnTo>
                  <a:lnTo>
                    <a:pt x="981" y="388"/>
                  </a:lnTo>
                  <a:lnTo>
                    <a:pt x="977" y="388"/>
                  </a:lnTo>
                  <a:lnTo>
                    <a:pt x="977" y="390"/>
                  </a:lnTo>
                  <a:lnTo>
                    <a:pt x="981" y="390"/>
                  </a:lnTo>
                  <a:lnTo>
                    <a:pt x="981" y="390"/>
                  </a:lnTo>
                  <a:lnTo>
                    <a:pt x="981" y="393"/>
                  </a:lnTo>
                  <a:lnTo>
                    <a:pt x="981" y="395"/>
                  </a:lnTo>
                  <a:lnTo>
                    <a:pt x="981" y="390"/>
                  </a:lnTo>
                  <a:lnTo>
                    <a:pt x="983" y="390"/>
                  </a:lnTo>
                  <a:lnTo>
                    <a:pt x="981" y="395"/>
                  </a:lnTo>
                  <a:lnTo>
                    <a:pt x="981" y="395"/>
                  </a:lnTo>
                  <a:lnTo>
                    <a:pt x="985" y="399"/>
                  </a:lnTo>
                  <a:lnTo>
                    <a:pt x="987" y="399"/>
                  </a:lnTo>
                  <a:lnTo>
                    <a:pt x="987" y="399"/>
                  </a:lnTo>
                  <a:lnTo>
                    <a:pt x="988" y="401"/>
                  </a:lnTo>
                  <a:lnTo>
                    <a:pt x="988" y="401"/>
                  </a:lnTo>
                  <a:lnTo>
                    <a:pt x="990" y="399"/>
                  </a:lnTo>
                  <a:lnTo>
                    <a:pt x="992" y="399"/>
                  </a:lnTo>
                  <a:lnTo>
                    <a:pt x="992" y="405"/>
                  </a:lnTo>
                  <a:lnTo>
                    <a:pt x="992" y="407"/>
                  </a:lnTo>
                  <a:lnTo>
                    <a:pt x="998" y="407"/>
                  </a:lnTo>
                  <a:lnTo>
                    <a:pt x="998" y="410"/>
                  </a:lnTo>
                  <a:lnTo>
                    <a:pt x="1002" y="410"/>
                  </a:lnTo>
                  <a:lnTo>
                    <a:pt x="1005" y="412"/>
                  </a:lnTo>
                  <a:lnTo>
                    <a:pt x="1007" y="412"/>
                  </a:lnTo>
                  <a:lnTo>
                    <a:pt x="1009" y="414"/>
                  </a:lnTo>
                  <a:lnTo>
                    <a:pt x="1011" y="412"/>
                  </a:lnTo>
                  <a:lnTo>
                    <a:pt x="1009" y="410"/>
                  </a:lnTo>
                  <a:lnTo>
                    <a:pt x="1013" y="409"/>
                  </a:lnTo>
                  <a:lnTo>
                    <a:pt x="1015" y="403"/>
                  </a:lnTo>
                  <a:lnTo>
                    <a:pt x="1013" y="399"/>
                  </a:lnTo>
                  <a:lnTo>
                    <a:pt x="1017" y="395"/>
                  </a:lnTo>
                  <a:lnTo>
                    <a:pt x="1019" y="395"/>
                  </a:lnTo>
                  <a:lnTo>
                    <a:pt x="1020" y="388"/>
                  </a:lnTo>
                  <a:lnTo>
                    <a:pt x="1020" y="382"/>
                  </a:lnTo>
                  <a:lnTo>
                    <a:pt x="1020" y="382"/>
                  </a:lnTo>
                  <a:lnTo>
                    <a:pt x="1020" y="378"/>
                  </a:lnTo>
                  <a:lnTo>
                    <a:pt x="1017" y="375"/>
                  </a:lnTo>
                  <a:lnTo>
                    <a:pt x="1017" y="371"/>
                  </a:lnTo>
                  <a:lnTo>
                    <a:pt x="1015" y="369"/>
                  </a:lnTo>
                  <a:lnTo>
                    <a:pt x="1015" y="365"/>
                  </a:lnTo>
                  <a:lnTo>
                    <a:pt x="1009" y="365"/>
                  </a:lnTo>
                  <a:lnTo>
                    <a:pt x="1005" y="365"/>
                  </a:lnTo>
                  <a:lnTo>
                    <a:pt x="1002" y="365"/>
                  </a:lnTo>
                  <a:lnTo>
                    <a:pt x="998" y="365"/>
                  </a:lnTo>
                  <a:lnTo>
                    <a:pt x="998" y="369"/>
                  </a:lnTo>
                  <a:lnTo>
                    <a:pt x="998" y="369"/>
                  </a:lnTo>
                  <a:lnTo>
                    <a:pt x="998" y="371"/>
                  </a:lnTo>
                  <a:lnTo>
                    <a:pt x="998" y="371"/>
                  </a:lnTo>
                  <a:lnTo>
                    <a:pt x="998" y="371"/>
                  </a:lnTo>
                  <a:lnTo>
                    <a:pt x="998" y="371"/>
                  </a:lnTo>
                  <a:lnTo>
                    <a:pt x="998" y="371"/>
                  </a:lnTo>
                  <a:close/>
                  <a:moveTo>
                    <a:pt x="1022" y="344"/>
                  </a:moveTo>
                  <a:lnTo>
                    <a:pt x="1020" y="341"/>
                  </a:lnTo>
                  <a:lnTo>
                    <a:pt x="1020" y="339"/>
                  </a:lnTo>
                  <a:lnTo>
                    <a:pt x="1024" y="339"/>
                  </a:lnTo>
                  <a:lnTo>
                    <a:pt x="1024" y="339"/>
                  </a:lnTo>
                  <a:lnTo>
                    <a:pt x="1022" y="344"/>
                  </a:lnTo>
                  <a:lnTo>
                    <a:pt x="1022" y="344"/>
                  </a:lnTo>
                  <a:lnTo>
                    <a:pt x="1022" y="344"/>
                  </a:lnTo>
                  <a:lnTo>
                    <a:pt x="1022" y="344"/>
                  </a:lnTo>
                  <a:close/>
                  <a:moveTo>
                    <a:pt x="1019" y="361"/>
                  </a:moveTo>
                  <a:lnTo>
                    <a:pt x="1017" y="360"/>
                  </a:lnTo>
                  <a:lnTo>
                    <a:pt x="1015" y="356"/>
                  </a:lnTo>
                  <a:lnTo>
                    <a:pt x="1017" y="356"/>
                  </a:lnTo>
                  <a:lnTo>
                    <a:pt x="1017" y="354"/>
                  </a:lnTo>
                  <a:lnTo>
                    <a:pt x="1017" y="350"/>
                  </a:lnTo>
                  <a:lnTo>
                    <a:pt x="1019" y="348"/>
                  </a:lnTo>
                  <a:lnTo>
                    <a:pt x="1024" y="348"/>
                  </a:lnTo>
                  <a:lnTo>
                    <a:pt x="1020" y="356"/>
                  </a:lnTo>
                  <a:lnTo>
                    <a:pt x="1019" y="361"/>
                  </a:lnTo>
                  <a:lnTo>
                    <a:pt x="1019" y="361"/>
                  </a:lnTo>
                  <a:lnTo>
                    <a:pt x="1019" y="361"/>
                  </a:lnTo>
                  <a:lnTo>
                    <a:pt x="1019" y="361"/>
                  </a:lnTo>
                  <a:lnTo>
                    <a:pt x="1019" y="361"/>
                  </a:lnTo>
                  <a:lnTo>
                    <a:pt x="1019" y="361"/>
                  </a:lnTo>
                  <a:close/>
                  <a:moveTo>
                    <a:pt x="992" y="354"/>
                  </a:moveTo>
                  <a:lnTo>
                    <a:pt x="990" y="352"/>
                  </a:lnTo>
                  <a:lnTo>
                    <a:pt x="992" y="350"/>
                  </a:lnTo>
                  <a:lnTo>
                    <a:pt x="996" y="348"/>
                  </a:lnTo>
                  <a:lnTo>
                    <a:pt x="998" y="350"/>
                  </a:lnTo>
                  <a:lnTo>
                    <a:pt x="996" y="352"/>
                  </a:lnTo>
                  <a:lnTo>
                    <a:pt x="992" y="352"/>
                  </a:lnTo>
                  <a:lnTo>
                    <a:pt x="992" y="354"/>
                  </a:lnTo>
                  <a:lnTo>
                    <a:pt x="992" y="354"/>
                  </a:lnTo>
                  <a:lnTo>
                    <a:pt x="992" y="354"/>
                  </a:lnTo>
                  <a:lnTo>
                    <a:pt x="992" y="354"/>
                  </a:lnTo>
                  <a:close/>
                  <a:moveTo>
                    <a:pt x="985" y="356"/>
                  </a:moveTo>
                  <a:lnTo>
                    <a:pt x="985" y="356"/>
                  </a:lnTo>
                  <a:lnTo>
                    <a:pt x="987" y="356"/>
                  </a:lnTo>
                  <a:lnTo>
                    <a:pt x="988" y="356"/>
                  </a:lnTo>
                  <a:lnTo>
                    <a:pt x="987" y="356"/>
                  </a:lnTo>
                  <a:lnTo>
                    <a:pt x="985" y="356"/>
                  </a:lnTo>
                  <a:lnTo>
                    <a:pt x="985" y="356"/>
                  </a:lnTo>
                  <a:lnTo>
                    <a:pt x="985" y="356"/>
                  </a:lnTo>
                  <a:lnTo>
                    <a:pt x="985" y="356"/>
                  </a:lnTo>
                  <a:close/>
                  <a:moveTo>
                    <a:pt x="990" y="365"/>
                  </a:moveTo>
                  <a:lnTo>
                    <a:pt x="992" y="365"/>
                  </a:lnTo>
                  <a:lnTo>
                    <a:pt x="990" y="363"/>
                  </a:lnTo>
                  <a:lnTo>
                    <a:pt x="990" y="360"/>
                  </a:lnTo>
                  <a:lnTo>
                    <a:pt x="992" y="360"/>
                  </a:lnTo>
                  <a:lnTo>
                    <a:pt x="992" y="361"/>
                  </a:lnTo>
                  <a:lnTo>
                    <a:pt x="996" y="363"/>
                  </a:lnTo>
                  <a:lnTo>
                    <a:pt x="992" y="365"/>
                  </a:lnTo>
                  <a:lnTo>
                    <a:pt x="990" y="365"/>
                  </a:lnTo>
                  <a:lnTo>
                    <a:pt x="990" y="365"/>
                  </a:lnTo>
                  <a:lnTo>
                    <a:pt x="990" y="365"/>
                  </a:lnTo>
                  <a:lnTo>
                    <a:pt x="990" y="365"/>
                  </a:lnTo>
                  <a:close/>
                  <a:moveTo>
                    <a:pt x="983" y="369"/>
                  </a:moveTo>
                  <a:lnTo>
                    <a:pt x="981" y="369"/>
                  </a:lnTo>
                  <a:lnTo>
                    <a:pt x="981" y="363"/>
                  </a:lnTo>
                  <a:lnTo>
                    <a:pt x="981" y="363"/>
                  </a:lnTo>
                  <a:lnTo>
                    <a:pt x="983" y="361"/>
                  </a:lnTo>
                  <a:lnTo>
                    <a:pt x="985" y="361"/>
                  </a:lnTo>
                  <a:lnTo>
                    <a:pt x="988" y="363"/>
                  </a:lnTo>
                  <a:lnTo>
                    <a:pt x="988" y="363"/>
                  </a:lnTo>
                  <a:lnTo>
                    <a:pt x="988" y="365"/>
                  </a:lnTo>
                  <a:lnTo>
                    <a:pt x="988" y="365"/>
                  </a:lnTo>
                  <a:lnTo>
                    <a:pt x="985" y="369"/>
                  </a:lnTo>
                  <a:lnTo>
                    <a:pt x="985" y="369"/>
                  </a:lnTo>
                  <a:lnTo>
                    <a:pt x="983" y="369"/>
                  </a:lnTo>
                  <a:lnTo>
                    <a:pt x="983" y="369"/>
                  </a:lnTo>
                  <a:lnTo>
                    <a:pt x="983" y="369"/>
                  </a:lnTo>
                  <a:lnTo>
                    <a:pt x="983" y="369"/>
                  </a:lnTo>
                  <a:close/>
                  <a:moveTo>
                    <a:pt x="973" y="371"/>
                  </a:moveTo>
                  <a:lnTo>
                    <a:pt x="972" y="369"/>
                  </a:lnTo>
                  <a:lnTo>
                    <a:pt x="973" y="369"/>
                  </a:lnTo>
                  <a:lnTo>
                    <a:pt x="975" y="369"/>
                  </a:lnTo>
                  <a:lnTo>
                    <a:pt x="973" y="371"/>
                  </a:lnTo>
                  <a:lnTo>
                    <a:pt x="973" y="371"/>
                  </a:lnTo>
                  <a:lnTo>
                    <a:pt x="973" y="371"/>
                  </a:lnTo>
                  <a:lnTo>
                    <a:pt x="973" y="371"/>
                  </a:lnTo>
                  <a:lnTo>
                    <a:pt x="973" y="371"/>
                  </a:lnTo>
                  <a:close/>
                  <a:moveTo>
                    <a:pt x="936" y="377"/>
                  </a:moveTo>
                  <a:lnTo>
                    <a:pt x="934" y="375"/>
                  </a:lnTo>
                  <a:lnTo>
                    <a:pt x="930" y="375"/>
                  </a:lnTo>
                  <a:lnTo>
                    <a:pt x="928" y="373"/>
                  </a:lnTo>
                  <a:lnTo>
                    <a:pt x="928" y="369"/>
                  </a:lnTo>
                  <a:lnTo>
                    <a:pt x="930" y="369"/>
                  </a:lnTo>
                  <a:lnTo>
                    <a:pt x="928" y="365"/>
                  </a:lnTo>
                  <a:lnTo>
                    <a:pt x="930" y="363"/>
                  </a:lnTo>
                  <a:lnTo>
                    <a:pt x="932" y="363"/>
                  </a:lnTo>
                  <a:lnTo>
                    <a:pt x="934" y="365"/>
                  </a:lnTo>
                  <a:lnTo>
                    <a:pt x="936" y="365"/>
                  </a:lnTo>
                  <a:lnTo>
                    <a:pt x="934" y="363"/>
                  </a:lnTo>
                  <a:lnTo>
                    <a:pt x="934" y="360"/>
                  </a:lnTo>
                  <a:lnTo>
                    <a:pt x="932" y="360"/>
                  </a:lnTo>
                  <a:lnTo>
                    <a:pt x="930" y="356"/>
                  </a:lnTo>
                  <a:lnTo>
                    <a:pt x="930" y="356"/>
                  </a:lnTo>
                  <a:lnTo>
                    <a:pt x="928" y="354"/>
                  </a:lnTo>
                  <a:lnTo>
                    <a:pt x="930" y="354"/>
                  </a:lnTo>
                  <a:lnTo>
                    <a:pt x="932" y="356"/>
                  </a:lnTo>
                  <a:lnTo>
                    <a:pt x="934" y="354"/>
                  </a:lnTo>
                  <a:lnTo>
                    <a:pt x="932" y="352"/>
                  </a:lnTo>
                  <a:lnTo>
                    <a:pt x="936" y="352"/>
                  </a:lnTo>
                  <a:lnTo>
                    <a:pt x="938" y="352"/>
                  </a:lnTo>
                  <a:lnTo>
                    <a:pt x="943" y="354"/>
                  </a:lnTo>
                  <a:lnTo>
                    <a:pt x="943" y="352"/>
                  </a:lnTo>
                  <a:lnTo>
                    <a:pt x="943" y="350"/>
                  </a:lnTo>
                  <a:lnTo>
                    <a:pt x="941" y="350"/>
                  </a:lnTo>
                  <a:lnTo>
                    <a:pt x="943" y="350"/>
                  </a:lnTo>
                  <a:lnTo>
                    <a:pt x="947" y="350"/>
                  </a:lnTo>
                  <a:lnTo>
                    <a:pt x="951" y="346"/>
                  </a:lnTo>
                  <a:lnTo>
                    <a:pt x="955" y="346"/>
                  </a:lnTo>
                  <a:lnTo>
                    <a:pt x="960" y="348"/>
                  </a:lnTo>
                  <a:lnTo>
                    <a:pt x="962" y="346"/>
                  </a:lnTo>
                  <a:lnTo>
                    <a:pt x="960" y="344"/>
                  </a:lnTo>
                  <a:lnTo>
                    <a:pt x="947" y="341"/>
                  </a:lnTo>
                  <a:lnTo>
                    <a:pt x="943" y="341"/>
                  </a:lnTo>
                  <a:lnTo>
                    <a:pt x="940" y="341"/>
                  </a:lnTo>
                  <a:lnTo>
                    <a:pt x="934" y="341"/>
                  </a:lnTo>
                  <a:lnTo>
                    <a:pt x="930" y="339"/>
                  </a:lnTo>
                  <a:lnTo>
                    <a:pt x="928" y="339"/>
                  </a:lnTo>
                  <a:lnTo>
                    <a:pt x="924" y="339"/>
                  </a:lnTo>
                  <a:lnTo>
                    <a:pt x="923" y="339"/>
                  </a:lnTo>
                  <a:lnTo>
                    <a:pt x="923" y="339"/>
                  </a:lnTo>
                  <a:lnTo>
                    <a:pt x="919" y="339"/>
                  </a:lnTo>
                  <a:lnTo>
                    <a:pt x="917" y="339"/>
                  </a:lnTo>
                  <a:lnTo>
                    <a:pt x="913" y="337"/>
                  </a:lnTo>
                  <a:lnTo>
                    <a:pt x="913" y="335"/>
                  </a:lnTo>
                  <a:lnTo>
                    <a:pt x="917" y="335"/>
                  </a:lnTo>
                  <a:lnTo>
                    <a:pt x="919" y="331"/>
                  </a:lnTo>
                  <a:lnTo>
                    <a:pt x="923" y="335"/>
                  </a:lnTo>
                  <a:lnTo>
                    <a:pt x="924" y="331"/>
                  </a:lnTo>
                  <a:lnTo>
                    <a:pt x="923" y="331"/>
                  </a:lnTo>
                  <a:lnTo>
                    <a:pt x="923" y="329"/>
                  </a:lnTo>
                  <a:lnTo>
                    <a:pt x="926" y="328"/>
                  </a:lnTo>
                  <a:lnTo>
                    <a:pt x="930" y="328"/>
                  </a:lnTo>
                  <a:lnTo>
                    <a:pt x="932" y="326"/>
                  </a:lnTo>
                  <a:lnTo>
                    <a:pt x="932" y="329"/>
                  </a:lnTo>
                  <a:lnTo>
                    <a:pt x="934" y="331"/>
                  </a:lnTo>
                  <a:lnTo>
                    <a:pt x="934" y="335"/>
                  </a:lnTo>
                  <a:lnTo>
                    <a:pt x="936" y="335"/>
                  </a:lnTo>
                  <a:lnTo>
                    <a:pt x="938" y="335"/>
                  </a:lnTo>
                  <a:lnTo>
                    <a:pt x="936" y="331"/>
                  </a:lnTo>
                  <a:lnTo>
                    <a:pt x="934" y="328"/>
                  </a:lnTo>
                  <a:lnTo>
                    <a:pt x="936" y="326"/>
                  </a:lnTo>
                  <a:lnTo>
                    <a:pt x="940" y="324"/>
                  </a:lnTo>
                  <a:lnTo>
                    <a:pt x="940" y="322"/>
                  </a:lnTo>
                  <a:lnTo>
                    <a:pt x="938" y="320"/>
                  </a:lnTo>
                  <a:lnTo>
                    <a:pt x="938" y="314"/>
                  </a:lnTo>
                  <a:lnTo>
                    <a:pt x="941" y="314"/>
                  </a:lnTo>
                  <a:lnTo>
                    <a:pt x="943" y="311"/>
                  </a:lnTo>
                  <a:lnTo>
                    <a:pt x="947" y="311"/>
                  </a:lnTo>
                  <a:lnTo>
                    <a:pt x="943" y="307"/>
                  </a:lnTo>
                  <a:lnTo>
                    <a:pt x="943" y="307"/>
                  </a:lnTo>
                  <a:lnTo>
                    <a:pt x="941" y="307"/>
                  </a:lnTo>
                  <a:lnTo>
                    <a:pt x="941" y="305"/>
                  </a:lnTo>
                  <a:lnTo>
                    <a:pt x="943" y="301"/>
                  </a:lnTo>
                  <a:lnTo>
                    <a:pt x="943" y="301"/>
                  </a:lnTo>
                  <a:lnTo>
                    <a:pt x="947" y="299"/>
                  </a:lnTo>
                  <a:lnTo>
                    <a:pt x="949" y="301"/>
                  </a:lnTo>
                  <a:lnTo>
                    <a:pt x="951" y="305"/>
                  </a:lnTo>
                  <a:lnTo>
                    <a:pt x="953" y="305"/>
                  </a:lnTo>
                  <a:lnTo>
                    <a:pt x="953" y="311"/>
                  </a:lnTo>
                  <a:lnTo>
                    <a:pt x="951" y="311"/>
                  </a:lnTo>
                  <a:lnTo>
                    <a:pt x="953" y="312"/>
                  </a:lnTo>
                  <a:lnTo>
                    <a:pt x="955" y="314"/>
                  </a:lnTo>
                  <a:lnTo>
                    <a:pt x="956" y="326"/>
                  </a:lnTo>
                  <a:lnTo>
                    <a:pt x="955" y="329"/>
                  </a:lnTo>
                  <a:lnTo>
                    <a:pt x="955" y="331"/>
                  </a:lnTo>
                  <a:lnTo>
                    <a:pt x="958" y="331"/>
                  </a:lnTo>
                  <a:lnTo>
                    <a:pt x="962" y="329"/>
                  </a:lnTo>
                  <a:lnTo>
                    <a:pt x="960" y="328"/>
                  </a:lnTo>
                  <a:lnTo>
                    <a:pt x="962" y="322"/>
                  </a:lnTo>
                  <a:lnTo>
                    <a:pt x="964" y="322"/>
                  </a:lnTo>
                  <a:lnTo>
                    <a:pt x="964" y="318"/>
                  </a:lnTo>
                  <a:lnTo>
                    <a:pt x="958" y="314"/>
                  </a:lnTo>
                  <a:lnTo>
                    <a:pt x="960" y="312"/>
                  </a:lnTo>
                  <a:lnTo>
                    <a:pt x="962" y="312"/>
                  </a:lnTo>
                  <a:lnTo>
                    <a:pt x="966" y="314"/>
                  </a:lnTo>
                  <a:lnTo>
                    <a:pt x="966" y="311"/>
                  </a:lnTo>
                  <a:lnTo>
                    <a:pt x="962" y="307"/>
                  </a:lnTo>
                  <a:lnTo>
                    <a:pt x="960" y="305"/>
                  </a:lnTo>
                  <a:lnTo>
                    <a:pt x="962" y="301"/>
                  </a:lnTo>
                  <a:lnTo>
                    <a:pt x="962" y="297"/>
                  </a:lnTo>
                  <a:lnTo>
                    <a:pt x="964" y="296"/>
                  </a:lnTo>
                  <a:lnTo>
                    <a:pt x="968" y="296"/>
                  </a:lnTo>
                  <a:lnTo>
                    <a:pt x="968" y="294"/>
                  </a:lnTo>
                  <a:lnTo>
                    <a:pt x="972" y="294"/>
                  </a:lnTo>
                  <a:lnTo>
                    <a:pt x="972" y="294"/>
                  </a:lnTo>
                  <a:lnTo>
                    <a:pt x="975" y="292"/>
                  </a:lnTo>
                  <a:lnTo>
                    <a:pt x="975" y="292"/>
                  </a:lnTo>
                  <a:lnTo>
                    <a:pt x="977" y="292"/>
                  </a:lnTo>
                  <a:lnTo>
                    <a:pt x="981" y="294"/>
                  </a:lnTo>
                  <a:lnTo>
                    <a:pt x="981" y="296"/>
                  </a:lnTo>
                  <a:lnTo>
                    <a:pt x="985" y="296"/>
                  </a:lnTo>
                  <a:lnTo>
                    <a:pt x="987" y="297"/>
                  </a:lnTo>
                  <a:lnTo>
                    <a:pt x="985" y="305"/>
                  </a:lnTo>
                  <a:lnTo>
                    <a:pt x="983" y="305"/>
                  </a:lnTo>
                  <a:lnTo>
                    <a:pt x="983" y="311"/>
                  </a:lnTo>
                  <a:lnTo>
                    <a:pt x="985" y="311"/>
                  </a:lnTo>
                  <a:lnTo>
                    <a:pt x="987" y="307"/>
                  </a:lnTo>
                  <a:lnTo>
                    <a:pt x="988" y="307"/>
                  </a:lnTo>
                  <a:lnTo>
                    <a:pt x="990" y="305"/>
                  </a:lnTo>
                  <a:lnTo>
                    <a:pt x="990" y="301"/>
                  </a:lnTo>
                  <a:lnTo>
                    <a:pt x="992" y="299"/>
                  </a:lnTo>
                  <a:lnTo>
                    <a:pt x="996" y="301"/>
                  </a:lnTo>
                  <a:lnTo>
                    <a:pt x="998" y="299"/>
                  </a:lnTo>
                  <a:lnTo>
                    <a:pt x="998" y="297"/>
                  </a:lnTo>
                  <a:lnTo>
                    <a:pt x="998" y="296"/>
                  </a:lnTo>
                  <a:lnTo>
                    <a:pt x="998" y="296"/>
                  </a:lnTo>
                  <a:lnTo>
                    <a:pt x="1002" y="297"/>
                  </a:lnTo>
                  <a:lnTo>
                    <a:pt x="1002" y="301"/>
                  </a:lnTo>
                  <a:lnTo>
                    <a:pt x="1002" y="301"/>
                  </a:lnTo>
                  <a:lnTo>
                    <a:pt x="1002" y="305"/>
                  </a:lnTo>
                  <a:lnTo>
                    <a:pt x="998" y="301"/>
                  </a:lnTo>
                  <a:lnTo>
                    <a:pt x="1002" y="305"/>
                  </a:lnTo>
                  <a:lnTo>
                    <a:pt x="1002" y="307"/>
                  </a:lnTo>
                  <a:lnTo>
                    <a:pt x="1005" y="311"/>
                  </a:lnTo>
                  <a:lnTo>
                    <a:pt x="1005" y="314"/>
                  </a:lnTo>
                  <a:lnTo>
                    <a:pt x="1002" y="316"/>
                  </a:lnTo>
                  <a:lnTo>
                    <a:pt x="998" y="322"/>
                  </a:lnTo>
                  <a:lnTo>
                    <a:pt x="998" y="328"/>
                  </a:lnTo>
                  <a:lnTo>
                    <a:pt x="998" y="329"/>
                  </a:lnTo>
                  <a:lnTo>
                    <a:pt x="992" y="331"/>
                  </a:lnTo>
                  <a:lnTo>
                    <a:pt x="990" y="335"/>
                  </a:lnTo>
                  <a:lnTo>
                    <a:pt x="988" y="337"/>
                  </a:lnTo>
                  <a:lnTo>
                    <a:pt x="985" y="341"/>
                  </a:lnTo>
                  <a:lnTo>
                    <a:pt x="985" y="344"/>
                  </a:lnTo>
                  <a:lnTo>
                    <a:pt x="983" y="346"/>
                  </a:lnTo>
                  <a:lnTo>
                    <a:pt x="981" y="346"/>
                  </a:lnTo>
                  <a:lnTo>
                    <a:pt x="981" y="346"/>
                  </a:lnTo>
                  <a:lnTo>
                    <a:pt x="977" y="346"/>
                  </a:lnTo>
                  <a:lnTo>
                    <a:pt x="977" y="348"/>
                  </a:lnTo>
                  <a:lnTo>
                    <a:pt x="981" y="352"/>
                  </a:lnTo>
                  <a:lnTo>
                    <a:pt x="981" y="354"/>
                  </a:lnTo>
                  <a:lnTo>
                    <a:pt x="977" y="360"/>
                  </a:lnTo>
                  <a:lnTo>
                    <a:pt x="975" y="361"/>
                  </a:lnTo>
                  <a:lnTo>
                    <a:pt x="975" y="360"/>
                  </a:lnTo>
                  <a:lnTo>
                    <a:pt x="975" y="356"/>
                  </a:lnTo>
                  <a:lnTo>
                    <a:pt x="972" y="356"/>
                  </a:lnTo>
                  <a:lnTo>
                    <a:pt x="972" y="356"/>
                  </a:lnTo>
                  <a:lnTo>
                    <a:pt x="972" y="360"/>
                  </a:lnTo>
                  <a:lnTo>
                    <a:pt x="968" y="361"/>
                  </a:lnTo>
                  <a:lnTo>
                    <a:pt x="968" y="363"/>
                  </a:lnTo>
                  <a:lnTo>
                    <a:pt x="964" y="365"/>
                  </a:lnTo>
                  <a:lnTo>
                    <a:pt x="962" y="369"/>
                  </a:lnTo>
                  <a:lnTo>
                    <a:pt x="964" y="369"/>
                  </a:lnTo>
                  <a:lnTo>
                    <a:pt x="968" y="369"/>
                  </a:lnTo>
                  <a:lnTo>
                    <a:pt x="968" y="369"/>
                  </a:lnTo>
                  <a:lnTo>
                    <a:pt x="966" y="371"/>
                  </a:lnTo>
                  <a:lnTo>
                    <a:pt x="966" y="373"/>
                  </a:lnTo>
                  <a:lnTo>
                    <a:pt x="966" y="377"/>
                  </a:lnTo>
                  <a:lnTo>
                    <a:pt x="964" y="378"/>
                  </a:lnTo>
                  <a:lnTo>
                    <a:pt x="962" y="375"/>
                  </a:lnTo>
                  <a:lnTo>
                    <a:pt x="962" y="371"/>
                  </a:lnTo>
                  <a:lnTo>
                    <a:pt x="960" y="369"/>
                  </a:lnTo>
                  <a:lnTo>
                    <a:pt x="960" y="371"/>
                  </a:lnTo>
                  <a:lnTo>
                    <a:pt x="958" y="373"/>
                  </a:lnTo>
                  <a:lnTo>
                    <a:pt x="960" y="377"/>
                  </a:lnTo>
                  <a:lnTo>
                    <a:pt x="956" y="380"/>
                  </a:lnTo>
                  <a:lnTo>
                    <a:pt x="947" y="378"/>
                  </a:lnTo>
                  <a:lnTo>
                    <a:pt x="947" y="377"/>
                  </a:lnTo>
                  <a:lnTo>
                    <a:pt x="947" y="375"/>
                  </a:lnTo>
                  <a:lnTo>
                    <a:pt x="943" y="377"/>
                  </a:lnTo>
                  <a:lnTo>
                    <a:pt x="941" y="377"/>
                  </a:lnTo>
                  <a:lnTo>
                    <a:pt x="941" y="375"/>
                  </a:lnTo>
                  <a:lnTo>
                    <a:pt x="943" y="371"/>
                  </a:lnTo>
                  <a:lnTo>
                    <a:pt x="940" y="373"/>
                  </a:lnTo>
                  <a:lnTo>
                    <a:pt x="938" y="375"/>
                  </a:lnTo>
                  <a:lnTo>
                    <a:pt x="936" y="377"/>
                  </a:lnTo>
                  <a:lnTo>
                    <a:pt x="936" y="377"/>
                  </a:lnTo>
                  <a:lnTo>
                    <a:pt x="936" y="377"/>
                  </a:lnTo>
                  <a:lnTo>
                    <a:pt x="936" y="377"/>
                  </a:lnTo>
                  <a:close/>
                  <a:moveTo>
                    <a:pt x="697" y="275"/>
                  </a:moveTo>
                  <a:lnTo>
                    <a:pt x="693" y="275"/>
                  </a:lnTo>
                  <a:lnTo>
                    <a:pt x="697" y="269"/>
                  </a:lnTo>
                  <a:lnTo>
                    <a:pt x="702" y="263"/>
                  </a:lnTo>
                  <a:lnTo>
                    <a:pt x="708" y="262"/>
                  </a:lnTo>
                  <a:lnTo>
                    <a:pt x="712" y="260"/>
                  </a:lnTo>
                  <a:lnTo>
                    <a:pt x="714" y="258"/>
                  </a:lnTo>
                  <a:lnTo>
                    <a:pt x="717" y="254"/>
                  </a:lnTo>
                  <a:lnTo>
                    <a:pt x="725" y="254"/>
                  </a:lnTo>
                  <a:lnTo>
                    <a:pt x="727" y="252"/>
                  </a:lnTo>
                  <a:lnTo>
                    <a:pt x="731" y="252"/>
                  </a:lnTo>
                  <a:lnTo>
                    <a:pt x="734" y="250"/>
                  </a:lnTo>
                  <a:lnTo>
                    <a:pt x="736" y="252"/>
                  </a:lnTo>
                  <a:lnTo>
                    <a:pt x="736" y="254"/>
                  </a:lnTo>
                  <a:lnTo>
                    <a:pt x="731" y="258"/>
                  </a:lnTo>
                  <a:lnTo>
                    <a:pt x="725" y="262"/>
                  </a:lnTo>
                  <a:lnTo>
                    <a:pt x="714" y="271"/>
                  </a:lnTo>
                  <a:lnTo>
                    <a:pt x="710" y="277"/>
                  </a:lnTo>
                  <a:lnTo>
                    <a:pt x="706" y="277"/>
                  </a:lnTo>
                  <a:lnTo>
                    <a:pt x="704" y="277"/>
                  </a:lnTo>
                  <a:lnTo>
                    <a:pt x="702" y="280"/>
                  </a:lnTo>
                  <a:lnTo>
                    <a:pt x="700" y="280"/>
                  </a:lnTo>
                  <a:lnTo>
                    <a:pt x="700" y="275"/>
                  </a:lnTo>
                  <a:lnTo>
                    <a:pt x="697" y="275"/>
                  </a:lnTo>
                  <a:lnTo>
                    <a:pt x="697" y="275"/>
                  </a:lnTo>
                  <a:lnTo>
                    <a:pt x="697" y="275"/>
                  </a:lnTo>
                  <a:lnTo>
                    <a:pt x="697" y="275"/>
                  </a:lnTo>
                  <a:lnTo>
                    <a:pt x="697" y="275"/>
                  </a:lnTo>
                  <a:close/>
                  <a:moveTo>
                    <a:pt x="874" y="350"/>
                  </a:moveTo>
                  <a:lnTo>
                    <a:pt x="872" y="348"/>
                  </a:lnTo>
                  <a:lnTo>
                    <a:pt x="874" y="348"/>
                  </a:lnTo>
                  <a:lnTo>
                    <a:pt x="877" y="346"/>
                  </a:lnTo>
                  <a:lnTo>
                    <a:pt x="879" y="344"/>
                  </a:lnTo>
                  <a:lnTo>
                    <a:pt x="879" y="341"/>
                  </a:lnTo>
                  <a:lnTo>
                    <a:pt x="885" y="339"/>
                  </a:lnTo>
                  <a:lnTo>
                    <a:pt x="885" y="337"/>
                  </a:lnTo>
                  <a:lnTo>
                    <a:pt x="889" y="337"/>
                  </a:lnTo>
                  <a:lnTo>
                    <a:pt x="889" y="341"/>
                  </a:lnTo>
                  <a:lnTo>
                    <a:pt x="889" y="344"/>
                  </a:lnTo>
                  <a:lnTo>
                    <a:pt x="889" y="348"/>
                  </a:lnTo>
                  <a:lnTo>
                    <a:pt x="889" y="352"/>
                  </a:lnTo>
                  <a:lnTo>
                    <a:pt x="885" y="354"/>
                  </a:lnTo>
                  <a:lnTo>
                    <a:pt x="883" y="354"/>
                  </a:lnTo>
                  <a:lnTo>
                    <a:pt x="881" y="356"/>
                  </a:lnTo>
                  <a:lnTo>
                    <a:pt x="877" y="356"/>
                  </a:lnTo>
                  <a:lnTo>
                    <a:pt x="876" y="352"/>
                  </a:lnTo>
                  <a:lnTo>
                    <a:pt x="874" y="350"/>
                  </a:lnTo>
                  <a:lnTo>
                    <a:pt x="874" y="350"/>
                  </a:lnTo>
                  <a:lnTo>
                    <a:pt x="874" y="350"/>
                  </a:lnTo>
                  <a:lnTo>
                    <a:pt x="874" y="350"/>
                  </a:lnTo>
                  <a:close/>
                  <a:moveTo>
                    <a:pt x="731" y="344"/>
                  </a:moveTo>
                  <a:lnTo>
                    <a:pt x="732" y="341"/>
                  </a:lnTo>
                  <a:lnTo>
                    <a:pt x="731" y="337"/>
                  </a:lnTo>
                  <a:lnTo>
                    <a:pt x="732" y="331"/>
                  </a:lnTo>
                  <a:lnTo>
                    <a:pt x="738" y="331"/>
                  </a:lnTo>
                  <a:lnTo>
                    <a:pt x="742" y="331"/>
                  </a:lnTo>
                  <a:lnTo>
                    <a:pt x="748" y="331"/>
                  </a:lnTo>
                  <a:lnTo>
                    <a:pt x="751" y="331"/>
                  </a:lnTo>
                  <a:lnTo>
                    <a:pt x="755" y="331"/>
                  </a:lnTo>
                  <a:lnTo>
                    <a:pt x="759" y="329"/>
                  </a:lnTo>
                  <a:lnTo>
                    <a:pt x="764" y="329"/>
                  </a:lnTo>
                  <a:lnTo>
                    <a:pt x="770" y="331"/>
                  </a:lnTo>
                  <a:lnTo>
                    <a:pt x="776" y="331"/>
                  </a:lnTo>
                  <a:lnTo>
                    <a:pt x="776" y="331"/>
                  </a:lnTo>
                  <a:lnTo>
                    <a:pt x="780" y="329"/>
                  </a:lnTo>
                  <a:lnTo>
                    <a:pt x="789" y="329"/>
                  </a:lnTo>
                  <a:lnTo>
                    <a:pt x="789" y="328"/>
                  </a:lnTo>
                  <a:lnTo>
                    <a:pt x="793" y="326"/>
                  </a:lnTo>
                  <a:lnTo>
                    <a:pt x="791" y="324"/>
                  </a:lnTo>
                  <a:lnTo>
                    <a:pt x="787" y="326"/>
                  </a:lnTo>
                  <a:lnTo>
                    <a:pt x="785" y="326"/>
                  </a:lnTo>
                  <a:lnTo>
                    <a:pt x="781" y="324"/>
                  </a:lnTo>
                  <a:lnTo>
                    <a:pt x="776" y="326"/>
                  </a:lnTo>
                  <a:lnTo>
                    <a:pt x="774" y="326"/>
                  </a:lnTo>
                  <a:lnTo>
                    <a:pt x="774" y="324"/>
                  </a:lnTo>
                  <a:lnTo>
                    <a:pt x="772" y="322"/>
                  </a:lnTo>
                  <a:lnTo>
                    <a:pt x="768" y="324"/>
                  </a:lnTo>
                  <a:lnTo>
                    <a:pt x="764" y="324"/>
                  </a:lnTo>
                  <a:lnTo>
                    <a:pt x="761" y="326"/>
                  </a:lnTo>
                  <a:lnTo>
                    <a:pt x="759" y="324"/>
                  </a:lnTo>
                  <a:lnTo>
                    <a:pt x="755" y="324"/>
                  </a:lnTo>
                  <a:lnTo>
                    <a:pt x="751" y="324"/>
                  </a:lnTo>
                  <a:lnTo>
                    <a:pt x="751" y="320"/>
                  </a:lnTo>
                  <a:lnTo>
                    <a:pt x="755" y="316"/>
                  </a:lnTo>
                  <a:lnTo>
                    <a:pt x="759" y="312"/>
                  </a:lnTo>
                  <a:lnTo>
                    <a:pt x="757" y="312"/>
                  </a:lnTo>
                  <a:lnTo>
                    <a:pt x="755" y="314"/>
                  </a:lnTo>
                  <a:lnTo>
                    <a:pt x="751" y="316"/>
                  </a:lnTo>
                  <a:lnTo>
                    <a:pt x="749" y="312"/>
                  </a:lnTo>
                  <a:lnTo>
                    <a:pt x="748" y="314"/>
                  </a:lnTo>
                  <a:lnTo>
                    <a:pt x="748" y="318"/>
                  </a:lnTo>
                  <a:lnTo>
                    <a:pt x="742" y="322"/>
                  </a:lnTo>
                  <a:lnTo>
                    <a:pt x="740" y="324"/>
                  </a:lnTo>
                  <a:lnTo>
                    <a:pt x="736" y="324"/>
                  </a:lnTo>
                  <a:lnTo>
                    <a:pt x="732" y="322"/>
                  </a:lnTo>
                  <a:lnTo>
                    <a:pt x="732" y="318"/>
                  </a:lnTo>
                  <a:lnTo>
                    <a:pt x="734" y="316"/>
                  </a:lnTo>
                  <a:lnTo>
                    <a:pt x="731" y="316"/>
                  </a:lnTo>
                  <a:lnTo>
                    <a:pt x="731" y="314"/>
                  </a:lnTo>
                  <a:lnTo>
                    <a:pt x="731" y="320"/>
                  </a:lnTo>
                  <a:lnTo>
                    <a:pt x="727" y="322"/>
                  </a:lnTo>
                  <a:lnTo>
                    <a:pt x="725" y="320"/>
                  </a:lnTo>
                  <a:lnTo>
                    <a:pt x="725" y="314"/>
                  </a:lnTo>
                  <a:lnTo>
                    <a:pt x="717" y="312"/>
                  </a:lnTo>
                  <a:lnTo>
                    <a:pt x="721" y="311"/>
                  </a:lnTo>
                  <a:lnTo>
                    <a:pt x="717" y="311"/>
                  </a:lnTo>
                  <a:lnTo>
                    <a:pt x="717" y="312"/>
                  </a:lnTo>
                  <a:lnTo>
                    <a:pt x="716" y="312"/>
                  </a:lnTo>
                  <a:lnTo>
                    <a:pt x="712" y="307"/>
                  </a:lnTo>
                  <a:lnTo>
                    <a:pt x="706" y="301"/>
                  </a:lnTo>
                  <a:lnTo>
                    <a:pt x="706" y="301"/>
                  </a:lnTo>
                  <a:lnTo>
                    <a:pt x="710" y="301"/>
                  </a:lnTo>
                  <a:lnTo>
                    <a:pt x="710" y="297"/>
                  </a:lnTo>
                  <a:lnTo>
                    <a:pt x="708" y="296"/>
                  </a:lnTo>
                  <a:lnTo>
                    <a:pt x="716" y="290"/>
                  </a:lnTo>
                  <a:lnTo>
                    <a:pt x="717" y="290"/>
                  </a:lnTo>
                  <a:lnTo>
                    <a:pt x="721" y="290"/>
                  </a:lnTo>
                  <a:lnTo>
                    <a:pt x="727" y="290"/>
                  </a:lnTo>
                  <a:lnTo>
                    <a:pt x="732" y="294"/>
                  </a:lnTo>
                  <a:lnTo>
                    <a:pt x="736" y="294"/>
                  </a:lnTo>
                  <a:lnTo>
                    <a:pt x="740" y="292"/>
                  </a:lnTo>
                  <a:lnTo>
                    <a:pt x="746" y="292"/>
                  </a:lnTo>
                  <a:lnTo>
                    <a:pt x="749" y="288"/>
                  </a:lnTo>
                  <a:lnTo>
                    <a:pt x="746" y="286"/>
                  </a:lnTo>
                  <a:lnTo>
                    <a:pt x="742" y="284"/>
                  </a:lnTo>
                  <a:lnTo>
                    <a:pt x="740" y="284"/>
                  </a:lnTo>
                  <a:lnTo>
                    <a:pt x="736" y="286"/>
                  </a:lnTo>
                  <a:lnTo>
                    <a:pt x="731" y="282"/>
                  </a:lnTo>
                  <a:lnTo>
                    <a:pt x="727" y="282"/>
                  </a:lnTo>
                  <a:lnTo>
                    <a:pt x="727" y="282"/>
                  </a:lnTo>
                  <a:lnTo>
                    <a:pt x="731" y="277"/>
                  </a:lnTo>
                  <a:lnTo>
                    <a:pt x="734" y="271"/>
                  </a:lnTo>
                  <a:lnTo>
                    <a:pt x="738" y="271"/>
                  </a:lnTo>
                  <a:lnTo>
                    <a:pt x="742" y="271"/>
                  </a:lnTo>
                  <a:lnTo>
                    <a:pt x="749" y="271"/>
                  </a:lnTo>
                  <a:lnTo>
                    <a:pt x="755" y="271"/>
                  </a:lnTo>
                  <a:lnTo>
                    <a:pt x="761" y="271"/>
                  </a:lnTo>
                  <a:lnTo>
                    <a:pt x="763" y="271"/>
                  </a:lnTo>
                  <a:lnTo>
                    <a:pt x="761" y="271"/>
                  </a:lnTo>
                  <a:lnTo>
                    <a:pt x="759" y="271"/>
                  </a:lnTo>
                  <a:lnTo>
                    <a:pt x="755" y="269"/>
                  </a:lnTo>
                  <a:lnTo>
                    <a:pt x="751" y="269"/>
                  </a:lnTo>
                  <a:lnTo>
                    <a:pt x="742" y="265"/>
                  </a:lnTo>
                  <a:lnTo>
                    <a:pt x="742" y="263"/>
                  </a:lnTo>
                  <a:lnTo>
                    <a:pt x="746" y="260"/>
                  </a:lnTo>
                  <a:lnTo>
                    <a:pt x="749" y="256"/>
                  </a:lnTo>
                  <a:lnTo>
                    <a:pt x="751" y="254"/>
                  </a:lnTo>
                  <a:lnTo>
                    <a:pt x="751" y="254"/>
                  </a:lnTo>
                  <a:lnTo>
                    <a:pt x="757" y="252"/>
                  </a:lnTo>
                  <a:lnTo>
                    <a:pt x="761" y="252"/>
                  </a:lnTo>
                  <a:lnTo>
                    <a:pt x="761" y="254"/>
                  </a:lnTo>
                  <a:lnTo>
                    <a:pt x="764" y="254"/>
                  </a:lnTo>
                  <a:lnTo>
                    <a:pt x="768" y="258"/>
                  </a:lnTo>
                  <a:lnTo>
                    <a:pt x="772" y="258"/>
                  </a:lnTo>
                  <a:lnTo>
                    <a:pt x="770" y="254"/>
                  </a:lnTo>
                  <a:lnTo>
                    <a:pt x="766" y="252"/>
                  </a:lnTo>
                  <a:lnTo>
                    <a:pt x="764" y="250"/>
                  </a:lnTo>
                  <a:lnTo>
                    <a:pt x="763" y="247"/>
                  </a:lnTo>
                  <a:lnTo>
                    <a:pt x="766" y="247"/>
                  </a:lnTo>
                  <a:lnTo>
                    <a:pt x="776" y="243"/>
                  </a:lnTo>
                  <a:lnTo>
                    <a:pt x="780" y="243"/>
                  </a:lnTo>
                  <a:lnTo>
                    <a:pt x="785" y="243"/>
                  </a:lnTo>
                  <a:lnTo>
                    <a:pt x="787" y="247"/>
                  </a:lnTo>
                  <a:lnTo>
                    <a:pt x="789" y="252"/>
                  </a:lnTo>
                  <a:lnTo>
                    <a:pt x="787" y="254"/>
                  </a:lnTo>
                  <a:lnTo>
                    <a:pt x="785" y="260"/>
                  </a:lnTo>
                  <a:lnTo>
                    <a:pt x="785" y="262"/>
                  </a:lnTo>
                  <a:lnTo>
                    <a:pt x="793" y="262"/>
                  </a:lnTo>
                  <a:lnTo>
                    <a:pt x="795" y="260"/>
                  </a:lnTo>
                  <a:lnTo>
                    <a:pt x="796" y="262"/>
                  </a:lnTo>
                  <a:lnTo>
                    <a:pt x="800" y="262"/>
                  </a:lnTo>
                  <a:lnTo>
                    <a:pt x="800" y="263"/>
                  </a:lnTo>
                  <a:lnTo>
                    <a:pt x="800" y="267"/>
                  </a:lnTo>
                  <a:lnTo>
                    <a:pt x="804" y="269"/>
                  </a:lnTo>
                  <a:lnTo>
                    <a:pt x="804" y="271"/>
                  </a:lnTo>
                  <a:lnTo>
                    <a:pt x="800" y="271"/>
                  </a:lnTo>
                  <a:lnTo>
                    <a:pt x="800" y="275"/>
                  </a:lnTo>
                  <a:lnTo>
                    <a:pt x="800" y="280"/>
                  </a:lnTo>
                  <a:lnTo>
                    <a:pt x="804" y="286"/>
                  </a:lnTo>
                  <a:lnTo>
                    <a:pt x="800" y="290"/>
                  </a:lnTo>
                  <a:lnTo>
                    <a:pt x="798" y="288"/>
                  </a:lnTo>
                  <a:lnTo>
                    <a:pt x="795" y="290"/>
                  </a:lnTo>
                  <a:lnTo>
                    <a:pt x="795" y="292"/>
                  </a:lnTo>
                  <a:lnTo>
                    <a:pt x="798" y="290"/>
                  </a:lnTo>
                  <a:lnTo>
                    <a:pt x="804" y="292"/>
                  </a:lnTo>
                  <a:lnTo>
                    <a:pt x="806" y="292"/>
                  </a:lnTo>
                  <a:lnTo>
                    <a:pt x="804" y="301"/>
                  </a:lnTo>
                  <a:lnTo>
                    <a:pt x="800" y="301"/>
                  </a:lnTo>
                  <a:lnTo>
                    <a:pt x="800" y="311"/>
                  </a:lnTo>
                  <a:lnTo>
                    <a:pt x="800" y="311"/>
                  </a:lnTo>
                  <a:lnTo>
                    <a:pt x="806" y="311"/>
                  </a:lnTo>
                  <a:lnTo>
                    <a:pt x="810" y="305"/>
                  </a:lnTo>
                  <a:lnTo>
                    <a:pt x="810" y="307"/>
                  </a:lnTo>
                  <a:lnTo>
                    <a:pt x="810" y="311"/>
                  </a:lnTo>
                  <a:lnTo>
                    <a:pt x="813" y="311"/>
                  </a:lnTo>
                  <a:lnTo>
                    <a:pt x="815" y="311"/>
                  </a:lnTo>
                  <a:lnTo>
                    <a:pt x="823" y="312"/>
                  </a:lnTo>
                  <a:lnTo>
                    <a:pt x="827" y="316"/>
                  </a:lnTo>
                  <a:lnTo>
                    <a:pt x="828" y="316"/>
                  </a:lnTo>
                  <a:lnTo>
                    <a:pt x="828" y="312"/>
                  </a:lnTo>
                  <a:lnTo>
                    <a:pt x="827" y="312"/>
                  </a:lnTo>
                  <a:lnTo>
                    <a:pt x="830" y="311"/>
                  </a:lnTo>
                  <a:lnTo>
                    <a:pt x="830" y="305"/>
                  </a:lnTo>
                  <a:lnTo>
                    <a:pt x="828" y="301"/>
                  </a:lnTo>
                  <a:lnTo>
                    <a:pt x="828" y="297"/>
                  </a:lnTo>
                  <a:lnTo>
                    <a:pt x="827" y="294"/>
                  </a:lnTo>
                  <a:lnTo>
                    <a:pt x="827" y="292"/>
                  </a:lnTo>
                  <a:lnTo>
                    <a:pt x="830" y="292"/>
                  </a:lnTo>
                  <a:lnTo>
                    <a:pt x="834" y="290"/>
                  </a:lnTo>
                  <a:lnTo>
                    <a:pt x="838" y="290"/>
                  </a:lnTo>
                  <a:lnTo>
                    <a:pt x="840" y="284"/>
                  </a:lnTo>
                  <a:lnTo>
                    <a:pt x="838" y="280"/>
                  </a:lnTo>
                  <a:lnTo>
                    <a:pt x="836" y="277"/>
                  </a:lnTo>
                  <a:lnTo>
                    <a:pt x="836" y="275"/>
                  </a:lnTo>
                  <a:lnTo>
                    <a:pt x="834" y="269"/>
                  </a:lnTo>
                  <a:lnTo>
                    <a:pt x="838" y="265"/>
                  </a:lnTo>
                  <a:lnTo>
                    <a:pt x="840" y="263"/>
                  </a:lnTo>
                  <a:lnTo>
                    <a:pt x="844" y="263"/>
                  </a:lnTo>
                  <a:lnTo>
                    <a:pt x="847" y="263"/>
                  </a:lnTo>
                  <a:lnTo>
                    <a:pt x="845" y="262"/>
                  </a:lnTo>
                  <a:lnTo>
                    <a:pt x="847" y="258"/>
                  </a:lnTo>
                  <a:lnTo>
                    <a:pt x="851" y="256"/>
                  </a:lnTo>
                  <a:lnTo>
                    <a:pt x="859" y="250"/>
                  </a:lnTo>
                  <a:lnTo>
                    <a:pt x="862" y="250"/>
                  </a:lnTo>
                  <a:lnTo>
                    <a:pt x="868" y="252"/>
                  </a:lnTo>
                  <a:lnTo>
                    <a:pt x="868" y="254"/>
                  </a:lnTo>
                  <a:lnTo>
                    <a:pt x="868" y="256"/>
                  </a:lnTo>
                  <a:lnTo>
                    <a:pt x="868" y="260"/>
                  </a:lnTo>
                  <a:lnTo>
                    <a:pt x="864" y="260"/>
                  </a:lnTo>
                  <a:lnTo>
                    <a:pt x="862" y="262"/>
                  </a:lnTo>
                  <a:lnTo>
                    <a:pt x="862" y="265"/>
                  </a:lnTo>
                  <a:lnTo>
                    <a:pt x="859" y="269"/>
                  </a:lnTo>
                  <a:lnTo>
                    <a:pt x="859" y="271"/>
                  </a:lnTo>
                  <a:lnTo>
                    <a:pt x="862" y="275"/>
                  </a:lnTo>
                  <a:lnTo>
                    <a:pt x="862" y="282"/>
                  </a:lnTo>
                  <a:lnTo>
                    <a:pt x="859" y="284"/>
                  </a:lnTo>
                  <a:lnTo>
                    <a:pt x="859" y="284"/>
                  </a:lnTo>
                  <a:lnTo>
                    <a:pt x="853" y="290"/>
                  </a:lnTo>
                  <a:lnTo>
                    <a:pt x="849" y="292"/>
                  </a:lnTo>
                  <a:lnTo>
                    <a:pt x="849" y="294"/>
                  </a:lnTo>
                  <a:lnTo>
                    <a:pt x="851" y="294"/>
                  </a:lnTo>
                  <a:lnTo>
                    <a:pt x="855" y="292"/>
                  </a:lnTo>
                  <a:lnTo>
                    <a:pt x="859" y="292"/>
                  </a:lnTo>
                  <a:lnTo>
                    <a:pt x="862" y="294"/>
                  </a:lnTo>
                  <a:lnTo>
                    <a:pt x="859" y="299"/>
                  </a:lnTo>
                  <a:lnTo>
                    <a:pt x="853" y="301"/>
                  </a:lnTo>
                  <a:lnTo>
                    <a:pt x="847" y="305"/>
                  </a:lnTo>
                  <a:lnTo>
                    <a:pt x="845" y="311"/>
                  </a:lnTo>
                  <a:lnTo>
                    <a:pt x="847" y="311"/>
                  </a:lnTo>
                  <a:lnTo>
                    <a:pt x="849" y="307"/>
                  </a:lnTo>
                  <a:lnTo>
                    <a:pt x="855" y="305"/>
                  </a:lnTo>
                  <a:lnTo>
                    <a:pt x="859" y="301"/>
                  </a:lnTo>
                  <a:lnTo>
                    <a:pt x="862" y="301"/>
                  </a:lnTo>
                  <a:lnTo>
                    <a:pt x="864" y="305"/>
                  </a:lnTo>
                  <a:lnTo>
                    <a:pt x="864" y="311"/>
                  </a:lnTo>
                  <a:lnTo>
                    <a:pt x="862" y="314"/>
                  </a:lnTo>
                  <a:lnTo>
                    <a:pt x="864" y="316"/>
                  </a:lnTo>
                  <a:lnTo>
                    <a:pt x="868" y="312"/>
                  </a:lnTo>
                  <a:lnTo>
                    <a:pt x="868" y="312"/>
                  </a:lnTo>
                  <a:lnTo>
                    <a:pt x="870" y="311"/>
                  </a:lnTo>
                  <a:lnTo>
                    <a:pt x="868" y="311"/>
                  </a:lnTo>
                  <a:lnTo>
                    <a:pt x="872" y="305"/>
                  </a:lnTo>
                  <a:lnTo>
                    <a:pt x="872" y="301"/>
                  </a:lnTo>
                  <a:lnTo>
                    <a:pt x="877" y="299"/>
                  </a:lnTo>
                  <a:lnTo>
                    <a:pt x="879" y="299"/>
                  </a:lnTo>
                  <a:lnTo>
                    <a:pt x="885" y="301"/>
                  </a:lnTo>
                  <a:lnTo>
                    <a:pt x="887" y="307"/>
                  </a:lnTo>
                  <a:lnTo>
                    <a:pt x="889" y="311"/>
                  </a:lnTo>
                  <a:lnTo>
                    <a:pt x="889" y="314"/>
                  </a:lnTo>
                  <a:lnTo>
                    <a:pt x="883" y="324"/>
                  </a:lnTo>
                  <a:lnTo>
                    <a:pt x="877" y="328"/>
                  </a:lnTo>
                  <a:lnTo>
                    <a:pt x="874" y="329"/>
                  </a:lnTo>
                  <a:lnTo>
                    <a:pt x="872" y="329"/>
                  </a:lnTo>
                  <a:lnTo>
                    <a:pt x="872" y="331"/>
                  </a:lnTo>
                  <a:lnTo>
                    <a:pt x="872" y="335"/>
                  </a:lnTo>
                  <a:lnTo>
                    <a:pt x="868" y="339"/>
                  </a:lnTo>
                  <a:lnTo>
                    <a:pt x="864" y="339"/>
                  </a:lnTo>
                  <a:lnTo>
                    <a:pt x="862" y="341"/>
                  </a:lnTo>
                  <a:lnTo>
                    <a:pt x="862" y="344"/>
                  </a:lnTo>
                  <a:lnTo>
                    <a:pt x="859" y="346"/>
                  </a:lnTo>
                  <a:lnTo>
                    <a:pt x="859" y="346"/>
                  </a:lnTo>
                  <a:lnTo>
                    <a:pt x="855" y="348"/>
                  </a:lnTo>
                  <a:lnTo>
                    <a:pt x="855" y="350"/>
                  </a:lnTo>
                  <a:lnTo>
                    <a:pt x="855" y="350"/>
                  </a:lnTo>
                  <a:lnTo>
                    <a:pt x="853" y="348"/>
                  </a:lnTo>
                  <a:lnTo>
                    <a:pt x="849" y="350"/>
                  </a:lnTo>
                  <a:lnTo>
                    <a:pt x="845" y="348"/>
                  </a:lnTo>
                  <a:lnTo>
                    <a:pt x="840" y="352"/>
                  </a:lnTo>
                  <a:lnTo>
                    <a:pt x="834" y="354"/>
                  </a:lnTo>
                  <a:lnTo>
                    <a:pt x="830" y="352"/>
                  </a:lnTo>
                  <a:lnTo>
                    <a:pt x="830" y="348"/>
                  </a:lnTo>
                  <a:lnTo>
                    <a:pt x="830" y="344"/>
                  </a:lnTo>
                  <a:lnTo>
                    <a:pt x="830" y="344"/>
                  </a:lnTo>
                  <a:lnTo>
                    <a:pt x="830" y="344"/>
                  </a:lnTo>
                  <a:lnTo>
                    <a:pt x="827" y="344"/>
                  </a:lnTo>
                  <a:lnTo>
                    <a:pt x="827" y="346"/>
                  </a:lnTo>
                  <a:lnTo>
                    <a:pt x="823" y="348"/>
                  </a:lnTo>
                  <a:lnTo>
                    <a:pt x="817" y="346"/>
                  </a:lnTo>
                  <a:lnTo>
                    <a:pt x="817" y="344"/>
                  </a:lnTo>
                  <a:lnTo>
                    <a:pt x="819" y="344"/>
                  </a:lnTo>
                  <a:lnTo>
                    <a:pt x="819" y="339"/>
                  </a:lnTo>
                  <a:lnTo>
                    <a:pt x="815" y="339"/>
                  </a:lnTo>
                  <a:lnTo>
                    <a:pt x="815" y="341"/>
                  </a:lnTo>
                  <a:lnTo>
                    <a:pt x="813" y="344"/>
                  </a:lnTo>
                  <a:lnTo>
                    <a:pt x="810" y="344"/>
                  </a:lnTo>
                  <a:lnTo>
                    <a:pt x="806" y="344"/>
                  </a:lnTo>
                  <a:lnTo>
                    <a:pt x="804" y="346"/>
                  </a:lnTo>
                  <a:lnTo>
                    <a:pt x="800" y="346"/>
                  </a:lnTo>
                  <a:lnTo>
                    <a:pt x="798" y="344"/>
                  </a:lnTo>
                  <a:lnTo>
                    <a:pt x="795" y="346"/>
                  </a:lnTo>
                  <a:lnTo>
                    <a:pt x="791" y="344"/>
                  </a:lnTo>
                  <a:lnTo>
                    <a:pt x="789" y="346"/>
                  </a:lnTo>
                  <a:lnTo>
                    <a:pt x="787" y="346"/>
                  </a:lnTo>
                  <a:lnTo>
                    <a:pt x="785" y="348"/>
                  </a:lnTo>
                  <a:lnTo>
                    <a:pt x="785" y="350"/>
                  </a:lnTo>
                  <a:lnTo>
                    <a:pt x="781" y="352"/>
                  </a:lnTo>
                  <a:lnTo>
                    <a:pt x="780" y="352"/>
                  </a:lnTo>
                  <a:lnTo>
                    <a:pt x="776" y="354"/>
                  </a:lnTo>
                  <a:lnTo>
                    <a:pt x="774" y="356"/>
                  </a:lnTo>
                  <a:lnTo>
                    <a:pt x="772" y="356"/>
                  </a:lnTo>
                  <a:lnTo>
                    <a:pt x="768" y="356"/>
                  </a:lnTo>
                  <a:lnTo>
                    <a:pt x="764" y="356"/>
                  </a:lnTo>
                  <a:lnTo>
                    <a:pt x="763" y="354"/>
                  </a:lnTo>
                  <a:lnTo>
                    <a:pt x="757" y="356"/>
                  </a:lnTo>
                  <a:lnTo>
                    <a:pt x="751" y="356"/>
                  </a:lnTo>
                  <a:lnTo>
                    <a:pt x="748" y="356"/>
                  </a:lnTo>
                  <a:lnTo>
                    <a:pt x="742" y="354"/>
                  </a:lnTo>
                  <a:lnTo>
                    <a:pt x="738" y="352"/>
                  </a:lnTo>
                  <a:lnTo>
                    <a:pt x="734" y="348"/>
                  </a:lnTo>
                  <a:lnTo>
                    <a:pt x="731" y="344"/>
                  </a:lnTo>
                  <a:lnTo>
                    <a:pt x="731" y="344"/>
                  </a:lnTo>
                  <a:lnTo>
                    <a:pt x="731" y="344"/>
                  </a:lnTo>
                  <a:lnTo>
                    <a:pt x="731" y="344"/>
                  </a:lnTo>
                  <a:close/>
                  <a:moveTo>
                    <a:pt x="514" y="463"/>
                  </a:moveTo>
                  <a:lnTo>
                    <a:pt x="514" y="454"/>
                  </a:lnTo>
                  <a:lnTo>
                    <a:pt x="514" y="448"/>
                  </a:lnTo>
                  <a:lnTo>
                    <a:pt x="514" y="444"/>
                  </a:lnTo>
                  <a:lnTo>
                    <a:pt x="514" y="439"/>
                  </a:lnTo>
                  <a:lnTo>
                    <a:pt x="514" y="433"/>
                  </a:lnTo>
                  <a:lnTo>
                    <a:pt x="514" y="431"/>
                  </a:lnTo>
                  <a:lnTo>
                    <a:pt x="508" y="424"/>
                  </a:lnTo>
                  <a:lnTo>
                    <a:pt x="514" y="424"/>
                  </a:lnTo>
                  <a:lnTo>
                    <a:pt x="514" y="420"/>
                  </a:lnTo>
                  <a:lnTo>
                    <a:pt x="507" y="420"/>
                  </a:lnTo>
                  <a:lnTo>
                    <a:pt x="501" y="418"/>
                  </a:lnTo>
                  <a:lnTo>
                    <a:pt x="501" y="416"/>
                  </a:lnTo>
                  <a:lnTo>
                    <a:pt x="505" y="416"/>
                  </a:lnTo>
                  <a:lnTo>
                    <a:pt x="507" y="414"/>
                  </a:lnTo>
                  <a:lnTo>
                    <a:pt x="514" y="410"/>
                  </a:lnTo>
                  <a:lnTo>
                    <a:pt x="514" y="409"/>
                  </a:lnTo>
                  <a:lnTo>
                    <a:pt x="516" y="409"/>
                  </a:lnTo>
                  <a:lnTo>
                    <a:pt x="518" y="405"/>
                  </a:lnTo>
                  <a:lnTo>
                    <a:pt x="522" y="403"/>
                  </a:lnTo>
                  <a:lnTo>
                    <a:pt x="524" y="399"/>
                  </a:lnTo>
                  <a:lnTo>
                    <a:pt x="529" y="395"/>
                  </a:lnTo>
                  <a:lnTo>
                    <a:pt x="529" y="395"/>
                  </a:lnTo>
                  <a:lnTo>
                    <a:pt x="535" y="395"/>
                  </a:lnTo>
                  <a:lnTo>
                    <a:pt x="539" y="390"/>
                  </a:lnTo>
                  <a:lnTo>
                    <a:pt x="539" y="384"/>
                  </a:lnTo>
                  <a:lnTo>
                    <a:pt x="539" y="386"/>
                  </a:lnTo>
                  <a:lnTo>
                    <a:pt x="548" y="388"/>
                  </a:lnTo>
                  <a:lnTo>
                    <a:pt x="548" y="382"/>
                  </a:lnTo>
                  <a:lnTo>
                    <a:pt x="546" y="377"/>
                  </a:lnTo>
                  <a:lnTo>
                    <a:pt x="546" y="373"/>
                  </a:lnTo>
                  <a:lnTo>
                    <a:pt x="550" y="371"/>
                  </a:lnTo>
                  <a:lnTo>
                    <a:pt x="559" y="365"/>
                  </a:lnTo>
                  <a:lnTo>
                    <a:pt x="563" y="361"/>
                  </a:lnTo>
                  <a:lnTo>
                    <a:pt x="569" y="360"/>
                  </a:lnTo>
                  <a:lnTo>
                    <a:pt x="571" y="356"/>
                  </a:lnTo>
                  <a:lnTo>
                    <a:pt x="576" y="350"/>
                  </a:lnTo>
                  <a:lnTo>
                    <a:pt x="580" y="350"/>
                  </a:lnTo>
                  <a:lnTo>
                    <a:pt x="584" y="346"/>
                  </a:lnTo>
                  <a:lnTo>
                    <a:pt x="580" y="344"/>
                  </a:lnTo>
                  <a:lnTo>
                    <a:pt x="582" y="335"/>
                  </a:lnTo>
                  <a:lnTo>
                    <a:pt x="582" y="331"/>
                  </a:lnTo>
                  <a:lnTo>
                    <a:pt x="584" y="328"/>
                  </a:lnTo>
                  <a:lnTo>
                    <a:pt x="582" y="326"/>
                  </a:lnTo>
                  <a:lnTo>
                    <a:pt x="584" y="324"/>
                  </a:lnTo>
                  <a:lnTo>
                    <a:pt x="588" y="322"/>
                  </a:lnTo>
                  <a:lnTo>
                    <a:pt x="593" y="322"/>
                  </a:lnTo>
                  <a:lnTo>
                    <a:pt x="603" y="322"/>
                  </a:lnTo>
                  <a:lnTo>
                    <a:pt x="604" y="322"/>
                  </a:lnTo>
                  <a:lnTo>
                    <a:pt x="618" y="322"/>
                  </a:lnTo>
                  <a:lnTo>
                    <a:pt x="625" y="318"/>
                  </a:lnTo>
                  <a:lnTo>
                    <a:pt x="636" y="322"/>
                  </a:lnTo>
                  <a:lnTo>
                    <a:pt x="635" y="326"/>
                  </a:lnTo>
                  <a:lnTo>
                    <a:pt x="638" y="328"/>
                  </a:lnTo>
                  <a:lnTo>
                    <a:pt x="638" y="331"/>
                  </a:lnTo>
                  <a:lnTo>
                    <a:pt x="648" y="337"/>
                  </a:lnTo>
                  <a:lnTo>
                    <a:pt x="650" y="339"/>
                  </a:lnTo>
                  <a:lnTo>
                    <a:pt x="646" y="344"/>
                  </a:lnTo>
                  <a:lnTo>
                    <a:pt x="650" y="341"/>
                  </a:lnTo>
                  <a:lnTo>
                    <a:pt x="653" y="339"/>
                  </a:lnTo>
                  <a:lnTo>
                    <a:pt x="657" y="344"/>
                  </a:lnTo>
                  <a:lnTo>
                    <a:pt x="655" y="346"/>
                  </a:lnTo>
                  <a:lnTo>
                    <a:pt x="650" y="352"/>
                  </a:lnTo>
                  <a:lnTo>
                    <a:pt x="652" y="354"/>
                  </a:lnTo>
                  <a:lnTo>
                    <a:pt x="659" y="350"/>
                  </a:lnTo>
                  <a:lnTo>
                    <a:pt x="659" y="346"/>
                  </a:lnTo>
                  <a:lnTo>
                    <a:pt x="661" y="344"/>
                  </a:lnTo>
                  <a:lnTo>
                    <a:pt x="667" y="344"/>
                  </a:lnTo>
                  <a:lnTo>
                    <a:pt x="672" y="344"/>
                  </a:lnTo>
                  <a:lnTo>
                    <a:pt x="672" y="344"/>
                  </a:lnTo>
                  <a:lnTo>
                    <a:pt x="676" y="346"/>
                  </a:lnTo>
                  <a:lnTo>
                    <a:pt x="680" y="354"/>
                  </a:lnTo>
                  <a:lnTo>
                    <a:pt x="682" y="363"/>
                  </a:lnTo>
                  <a:lnTo>
                    <a:pt x="680" y="365"/>
                  </a:lnTo>
                  <a:lnTo>
                    <a:pt x="684" y="373"/>
                  </a:lnTo>
                  <a:lnTo>
                    <a:pt x="682" y="378"/>
                  </a:lnTo>
                  <a:lnTo>
                    <a:pt x="682" y="380"/>
                  </a:lnTo>
                  <a:lnTo>
                    <a:pt x="684" y="382"/>
                  </a:lnTo>
                  <a:lnTo>
                    <a:pt x="684" y="386"/>
                  </a:lnTo>
                  <a:lnTo>
                    <a:pt x="684" y="390"/>
                  </a:lnTo>
                  <a:lnTo>
                    <a:pt x="680" y="395"/>
                  </a:lnTo>
                  <a:lnTo>
                    <a:pt x="672" y="395"/>
                  </a:lnTo>
                  <a:lnTo>
                    <a:pt x="672" y="399"/>
                  </a:lnTo>
                  <a:lnTo>
                    <a:pt x="663" y="399"/>
                  </a:lnTo>
                  <a:lnTo>
                    <a:pt x="657" y="399"/>
                  </a:lnTo>
                  <a:lnTo>
                    <a:pt x="648" y="401"/>
                  </a:lnTo>
                  <a:lnTo>
                    <a:pt x="642" y="403"/>
                  </a:lnTo>
                  <a:lnTo>
                    <a:pt x="633" y="407"/>
                  </a:lnTo>
                  <a:lnTo>
                    <a:pt x="631" y="407"/>
                  </a:lnTo>
                  <a:lnTo>
                    <a:pt x="625" y="409"/>
                  </a:lnTo>
                  <a:lnTo>
                    <a:pt x="620" y="409"/>
                  </a:lnTo>
                  <a:lnTo>
                    <a:pt x="618" y="410"/>
                  </a:lnTo>
                  <a:lnTo>
                    <a:pt x="614" y="409"/>
                  </a:lnTo>
                  <a:lnTo>
                    <a:pt x="614" y="410"/>
                  </a:lnTo>
                  <a:lnTo>
                    <a:pt x="606" y="412"/>
                  </a:lnTo>
                  <a:lnTo>
                    <a:pt x="604" y="416"/>
                  </a:lnTo>
                  <a:lnTo>
                    <a:pt x="601" y="420"/>
                  </a:lnTo>
                  <a:lnTo>
                    <a:pt x="599" y="420"/>
                  </a:lnTo>
                  <a:lnTo>
                    <a:pt x="597" y="425"/>
                  </a:lnTo>
                  <a:lnTo>
                    <a:pt x="593" y="425"/>
                  </a:lnTo>
                  <a:lnTo>
                    <a:pt x="588" y="429"/>
                  </a:lnTo>
                  <a:lnTo>
                    <a:pt x="584" y="429"/>
                  </a:lnTo>
                  <a:lnTo>
                    <a:pt x="582" y="425"/>
                  </a:lnTo>
                  <a:lnTo>
                    <a:pt x="580" y="429"/>
                  </a:lnTo>
                  <a:lnTo>
                    <a:pt x="578" y="433"/>
                  </a:lnTo>
                  <a:lnTo>
                    <a:pt x="574" y="435"/>
                  </a:lnTo>
                  <a:lnTo>
                    <a:pt x="569" y="441"/>
                  </a:lnTo>
                  <a:lnTo>
                    <a:pt x="569" y="442"/>
                  </a:lnTo>
                  <a:lnTo>
                    <a:pt x="563" y="448"/>
                  </a:lnTo>
                  <a:lnTo>
                    <a:pt x="565" y="450"/>
                  </a:lnTo>
                  <a:lnTo>
                    <a:pt x="559" y="454"/>
                  </a:lnTo>
                  <a:lnTo>
                    <a:pt x="556" y="459"/>
                  </a:lnTo>
                  <a:lnTo>
                    <a:pt x="552" y="459"/>
                  </a:lnTo>
                  <a:lnTo>
                    <a:pt x="546" y="459"/>
                  </a:lnTo>
                  <a:lnTo>
                    <a:pt x="542" y="459"/>
                  </a:lnTo>
                  <a:lnTo>
                    <a:pt x="540" y="459"/>
                  </a:lnTo>
                  <a:lnTo>
                    <a:pt x="544" y="454"/>
                  </a:lnTo>
                  <a:lnTo>
                    <a:pt x="542" y="450"/>
                  </a:lnTo>
                  <a:lnTo>
                    <a:pt x="540" y="450"/>
                  </a:lnTo>
                  <a:lnTo>
                    <a:pt x="539" y="450"/>
                  </a:lnTo>
                  <a:lnTo>
                    <a:pt x="539" y="454"/>
                  </a:lnTo>
                  <a:lnTo>
                    <a:pt x="535" y="454"/>
                  </a:lnTo>
                  <a:lnTo>
                    <a:pt x="529" y="459"/>
                  </a:lnTo>
                  <a:lnTo>
                    <a:pt x="525" y="459"/>
                  </a:lnTo>
                  <a:lnTo>
                    <a:pt x="524" y="459"/>
                  </a:lnTo>
                  <a:lnTo>
                    <a:pt x="520" y="459"/>
                  </a:lnTo>
                  <a:lnTo>
                    <a:pt x="516" y="463"/>
                  </a:lnTo>
                  <a:lnTo>
                    <a:pt x="514" y="463"/>
                  </a:lnTo>
                  <a:lnTo>
                    <a:pt x="510" y="463"/>
                  </a:lnTo>
                  <a:lnTo>
                    <a:pt x="514" y="463"/>
                  </a:lnTo>
                  <a:lnTo>
                    <a:pt x="514" y="463"/>
                  </a:lnTo>
                  <a:lnTo>
                    <a:pt x="514" y="463"/>
                  </a:lnTo>
                  <a:lnTo>
                    <a:pt x="514" y="463"/>
                  </a:lnTo>
                  <a:close/>
                  <a:moveTo>
                    <a:pt x="981" y="405"/>
                  </a:moveTo>
                  <a:lnTo>
                    <a:pt x="983" y="407"/>
                  </a:lnTo>
                  <a:lnTo>
                    <a:pt x="983" y="409"/>
                  </a:lnTo>
                  <a:lnTo>
                    <a:pt x="983" y="412"/>
                  </a:lnTo>
                  <a:lnTo>
                    <a:pt x="981" y="414"/>
                  </a:lnTo>
                  <a:lnTo>
                    <a:pt x="981" y="412"/>
                  </a:lnTo>
                  <a:lnTo>
                    <a:pt x="981" y="407"/>
                  </a:lnTo>
                  <a:lnTo>
                    <a:pt x="981" y="405"/>
                  </a:lnTo>
                  <a:lnTo>
                    <a:pt x="981" y="405"/>
                  </a:lnTo>
                  <a:lnTo>
                    <a:pt x="981" y="405"/>
                  </a:lnTo>
                  <a:lnTo>
                    <a:pt x="981" y="405"/>
                  </a:lnTo>
                  <a:close/>
                  <a:moveTo>
                    <a:pt x="943" y="407"/>
                  </a:moveTo>
                  <a:lnTo>
                    <a:pt x="947" y="401"/>
                  </a:lnTo>
                  <a:lnTo>
                    <a:pt x="951" y="399"/>
                  </a:lnTo>
                  <a:lnTo>
                    <a:pt x="953" y="401"/>
                  </a:lnTo>
                  <a:lnTo>
                    <a:pt x="953" y="405"/>
                  </a:lnTo>
                  <a:lnTo>
                    <a:pt x="949" y="405"/>
                  </a:lnTo>
                  <a:lnTo>
                    <a:pt x="947" y="407"/>
                  </a:lnTo>
                  <a:lnTo>
                    <a:pt x="943" y="407"/>
                  </a:lnTo>
                  <a:lnTo>
                    <a:pt x="943" y="407"/>
                  </a:lnTo>
                  <a:lnTo>
                    <a:pt x="943" y="407"/>
                  </a:lnTo>
                  <a:lnTo>
                    <a:pt x="943" y="407"/>
                  </a:lnTo>
                  <a:close/>
                  <a:moveTo>
                    <a:pt x="909" y="425"/>
                  </a:moveTo>
                  <a:lnTo>
                    <a:pt x="911" y="429"/>
                  </a:lnTo>
                  <a:lnTo>
                    <a:pt x="917" y="429"/>
                  </a:lnTo>
                  <a:lnTo>
                    <a:pt x="923" y="433"/>
                  </a:lnTo>
                  <a:lnTo>
                    <a:pt x="923" y="431"/>
                  </a:lnTo>
                  <a:lnTo>
                    <a:pt x="924" y="433"/>
                  </a:lnTo>
                  <a:lnTo>
                    <a:pt x="930" y="429"/>
                  </a:lnTo>
                  <a:lnTo>
                    <a:pt x="932" y="431"/>
                  </a:lnTo>
                  <a:lnTo>
                    <a:pt x="936" y="431"/>
                  </a:lnTo>
                  <a:lnTo>
                    <a:pt x="938" y="429"/>
                  </a:lnTo>
                  <a:lnTo>
                    <a:pt x="943" y="429"/>
                  </a:lnTo>
                  <a:lnTo>
                    <a:pt x="943" y="425"/>
                  </a:lnTo>
                  <a:lnTo>
                    <a:pt x="938" y="424"/>
                  </a:lnTo>
                  <a:lnTo>
                    <a:pt x="934" y="425"/>
                  </a:lnTo>
                  <a:lnTo>
                    <a:pt x="930" y="425"/>
                  </a:lnTo>
                  <a:lnTo>
                    <a:pt x="928" y="425"/>
                  </a:lnTo>
                  <a:lnTo>
                    <a:pt x="923" y="425"/>
                  </a:lnTo>
                  <a:lnTo>
                    <a:pt x="919" y="424"/>
                  </a:lnTo>
                  <a:lnTo>
                    <a:pt x="917" y="425"/>
                  </a:lnTo>
                  <a:lnTo>
                    <a:pt x="911" y="425"/>
                  </a:lnTo>
                  <a:lnTo>
                    <a:pt x="909" y="425"/>
                  </a:lnTo>
                  <a:lnTo>
                    <a:pt x="909" y="425"/>
                  </a:lnTo>
                  <a:lnTo>
                    <a:pt x="909" y="425"/>
                  </a:lnTo>
                  <a:lnTo>
                    <a:pt x="909" y="425"/>
                  </a:lnTo>
                  <a:close/>
                  <a:moveTo>
                    <a:pt x="889" y="555"/>
                  </a:moveTo>
                  <a:lnTo>
                    <a:pt x="889" y="554"/>
                  </a:lnTo>
                  <a:lnTo>
                    <a:pt x="889" y="552"/>
                  </a:lnTo>
                  <a:lnTo>
                    <a:pt x="889" y="552"/>
                  </a:lnTo>
                  <a:lnTo>
                    <a:pt x="889" y="555"/>
                  </a:lnTo>
                  <a:lnTo>
                    <a:pt x="889" y="555"/>
                  </a:lnTo>
                  <a:lnTo>
                    <a:pt x="889" y="555"/>
                  </a:lnTo>
                  <a:lnTo>
                    <a:pt x="889" y="555"/>
                  </a:lnTo>
                  <a:lnTo>
                    <a:pt x="889" y="555"/>
                  </a:lnTo>
                  <a:close/>
                  <a:moveTo>
                    <a:pt x="868" y="552"/>
                  </a:moveTo>
                  <a:lnTo>
                    <a:pt x="864" y="552"/>
                  </a:lnTo>
                  <a:lnTo>
                    <a:pt x="864" y="548"/>
                  </a:lnTo>
                  <a:lnTo>
                    <a:pt x="864" y="544"/>
                  </a:lnTo>
                  <a:lnTo>
                    <a:pt x="862" y="548"/>
                  </a:lnTo>
                  <a:lnTo>
                    <a:pt x="859" y="544"/>
                  </a:lnTo>
                  <a:lnTo>
                    <a:pt x="862" y="542"/>
                  </a:lnTo>
                  <a:lnTo>
                    <a:pt x="859" y="537"/>
                  </a:lnTo>
                  <a:lnTo>
                    <a:pt x="859" y="535"/>
                  </a:lnTo>
                  <a:lnTo>
                    <a:pt x="859" y="531"/>
                  </a:lnTo>
                  <a:lnTo>
                    <a:pt x="859" y="525"/>
                  </a:lnTo>
                  <a:lnTo>
                    <a:pt x="859" y="522"/>
                  </a:lnTo>
                  <a:lnTo>
                    <a:pt x="859" y="522"/>
                  </a:lnTo>
                  <a:lnTo>
                    <a:pt x="855" y="518"/>
                  </a:lnTo>
                  <a:lnTo>
                    <a:pt x="855" y="514"/>
                  </a:lnTo>
                  <a:lnTo>
                    <a:pt x="853" y="512"/>
                  </a:lnTo>
                  <a:lnTo>
                    <a:pt x="853" y="506"/>
                  </a:lnTo>
                  <a:lnTo>
                    <a:pt x="851" y="501"/>
                  </a:lnTo>
                  <a:lnTo>
                    <a:pt x="849" y="501"/>
                  </a:lnTo>
                  <a:lnTo>
                    <a:pt x="847" y="499"/>
                  </a:lnTo>
                  <a:lnTo>
                    <a:pt x="847" y="495"/>
                  </a:lnTo>
                  <a:lnTo>
                    <a:pt x="845" y="493"/>
                  </a:lnTo>
                  <a:lnTo>
                    <a:pt x="844" y="495"/>
                  </a:lnTo>
                  <a:lnTo>
                    <a:pt x="844" y="493"/>
                  </a:lnTo>
                  <a:lnTo>
                    <a:pt x="838" y="495"/>
                  </a:lnTo>
                  <a:lnTo>
                    <a:pt x="836" y="493"/>
                  </a:lnTo>
                  <a:lnTo>
                    <a:pt x="836" y="488"/>
                  </a:lnTo>
                  <a:lnTo>
                    <a:pt x="840" y="488"/>
                  </a:lnTo>
                  <a:lnTo>
                    <a:pt x="844" y="482"/>
                  </a:lnTo>
                  <a:lnTo>
                    <a:pt x="840" y="480"/>
                  </a:lnTo>
                  <a:lnTo>
                    <a:pt x="840" y="478"/>
                  </a:lnTo>
                  <a:lnTo>
                    <a:pt x="840" y="471"/>
                  </a:lnTo>
                  <a:lnTo>
                    <a:pt x="840" y="469"/>
                  </a:lnTo>
                  <a:lnTo>
                    <a:pt x="844" y="463"/>
                  </a:lnTo>
                  <a:lnTo>
                    <a:pt x="847" y="463"/>
                  </a:lnTo>
                  <a:lnTo>
                    <a:pt x="849" y="459"/>
                  </a:lnTo>
                  <a:lnTo>
                    <a:pt x="851" y="459"/>
                  </a:lnTo>
                  <a:lnTo>
                    <a:pt x="853" y="459"/>
                  </a:lnTo>
                  <a:lnTo>
                    <a:pt x="859" y="459"/>
                  </a:lnTo>
                  <a:lnTo>
                    <a:pt x="862" y="459"/>
                  </a:lnTo>
                  <a:lnTo>
                    <a:pt x="862" y="463"/>
                  </a:lnTo>
                  <a:lnTo>
                    <a:pt x="862" y="463"/>
                  </a:lnTo>
                  <a:lnTo>
                    <a:pt x="859" y="463"/>
                  </a:lnTo>
                  <a:lnTo>
                    <a:pt x="859" y="465"/>
                  </a:lnTo>
                  <a:lnTo>
                    <a:pt x="862" y="467"/>
                  </a:lnTo>
                  <a:lnTo>
                    <a:pt x="864" y="469"/>
                  </a:lnTo>
                  <a:lnTo>
                    <a:pt x="862" y="473"/>
                  </a:lnTo>
                  <a:lnTo>
                    <a:pt x="868" y="476"/>
                  </a:lnTo>
                  <a:lnTo>
                    <a:pt x="868" y="480"/>
                  </a:lnTo>
                  <a:lnTo>
                    <a:pt x="868" y="484"/>
                  </a:lnTo>
                  <a:lnTo>
                    <a:pt x="872" y="484"/>
                  </a:lnTo>
                  <a:lnTo>
                    <a:pt x="874" y="484"/>
                  </a:lnTo>
                  <a:lnTo>
                    <a:pt x="874" y="480"/>
                  </a:lnTo>
                  <a:lnTo>
                    <a:pt x="876" y="478"/>
                  </a:lnTo>
                  <a:lnTo>
                    <a:pt x="877" y="474"/>
                  </a:lnTo>
                  <a:lnTo>
                    <a:pt x="877" y="471"/>
                  </a:lnTo>
                  <a:lnTo>
                    <a:pt x="879" y="469"/>
                  </a:lnTo>
                  <a:lnTo>
                    <a:pt x="881" y="467"/>
                  </a:lnTo>
                  <a:lnTo>
                    <a:pt x="879" y="463"/>
                  </a:lnTo>
                  <a:lnTo>
                    <a:pt x="881" y="463"/>
                  </a:lnTo>
                  <a:lnTo>
                    <a:pt x="885" y="459"/>
                  </a:lnTo>
                  <a:lnTo>
                    <a:pt x="887" y="463"/>
                  </a:lnTo>
                  <a:lnTo>
                    <a:pt x="889" y="465"/>
                  </a:lnTo>
                  <a:lnTo>
                    <a:pt x="889" y="465"/>
                  </a:lnTo>
                  <a:lnTo>
                    <a:pt x="889" y="463"/>
                  </a:lnTo>
                  <a:lnTo>
                    <a:pt x="889" y="459"/>
                  </a:lnTo>
                  <a:lnTo>
                    <a:pt x="887" y="454"/>
                  </a:lnTo>
                  <a:lnTo>
                    <a:pt x="887" y="454"/>
                  </a:lnTo>
                  <a:lnTo>
                    <a:pt x="885" y="459"/>
                  </a:lnTo>
                  <a:lnTo>
                    <a:pt x="879" y="459"/>
                  </a:lnTo>
                  <a:lnTo>
                    <a:pt x="876" y="454"/>
                  </a:lnTo>
                  <a:lnTo>
                    <a:pt x="876" y="450"/>
                  </a:lnTo>
                  <a:lnTo>
                    <a:pt x="874" y="448"/>
                  </a:lnTo>
                  <a:lnTo>
                    <a:pt x="874" y="444"/>
                  </a:lnTo>
                  <a:lnTo>
                    <a:pt x="876" y="442"/>
                  </a:lnTo>
                  <a:lnTo>
                    <a:pt x="879" y="442"/>
                  </a:lnTo>
                  <a:lnTo>
                    <a:pt x="879" y="439"/>
                  </a:lnTo>
                  <a:lnTo>
                    <a:pt x="883" y="441"/>
                  </a:lnTo>
                  <a:lnTo>
                    <a:pt x="885" y="444"/>
                  </a:lnTo>
                  <a:lnTo>
                    <a:pt x="885" y="450"/>
                  </a:lnTo>
                  <a:lnTo>
                    <a:pt x="887" y="450"/>
                  </a:lnTo>
                  <a:lnTo>
                    <a:pt x="887" y="448"/>
                  </a:lnTo>
                  <a:lnTo>
                    <a:pt x="889" y="446"/>
                  </a:lnTo>
                  <a:lnTo>
                    <a:pt x="889" y="442"/>
                  </a:lnTo>
                  <a:lnTo>
                    <a:pt x="885" y="441"/>
                  </a:lnTo>
                  <a:lnTo>
                    <a:pt x="885" y="437"/>
                  </a:lnTo>
                  <a:lnTo>
                    <a:pt x="885" y="433"/>
                  </a:lnTo>
                  <a:lnTo>
                    <a:pt x="887" y="431"/>
                  </a:lnTo>
                  <a:lnTo>
                    <a:pt x="887" y="429"/>
                  </a:lnTo>
                  <a:lnTo>
                    <a:pt x="889" y="425"/>
                  </a:lnTo>
                  <a:lnTo>
                    <a:pt x="892" y="429"/>
                  </a:lnTo>
                  <a:lnTo>
                    <a:pt x="892" y="429"/>
                  </a:lnTo>
                  <a:lnTo>
                    <a:pt x="896" y="431"/>
                  </a:lnTo>
                  <a:lnTo>
                    <a:pt x="900" y="433"/>
                  </a:lnTo>
                  <a:lnTo>
                    <a:pt x="902" y="429"/>
                  </a:lnTo>
                  <a:lnTo>
                    <a:pt x="898" y="429"/>
                  </a:lnTo>
                  <a:lnTo>
                    <a:pt x="896" y="429"/>
                  </a:lnTo>
                  <a:lnTo>
                    <a:pt x="898" y="425"/>
                  </a:lnTo>
                  <a:lnTo>
                    <a:pt x="902" y="425"/>
                  </a:lnTo>
                  <a:lnTo>
                    <a:pt x="906" y="425"/>
                  </a:lnTo>
                  <a:lnTo>
                    <a:pt x="908" y="425"/>
                  </a:lnTo>
                  <a:lnTo>
                    <a:pt x="906" y="429"/>
                  </a:lnTo>
                  <a:lnTo>
                    <a:pt x="906" y="429"/>
                  </a:lnTo>
                  <a:lnTo>
                    <a:pt x="909" y="431"/>
                  </a:lnTo>
                  <a:lnTo>
                    <a:pt x="911" y="435"/>
                  </a:lnTo>
                  <a:lnTo>
                    <a:pt x="913" y="435"/>
                  </a:lnTo>
                  <a:lnTo>
                    <a:pt x="917" y="437"/>
                  </a:lnTo>
                  <a:lnTo>
                    <a:pt x="923" y="437"/>
                  </a:lnTo>
                  <a:lnTo>
                    <a:pt x="923" y="435"/>
                  </a:lnTo>
                  <a:lnTo>
                    <a:pt x="926" y="435"/>
                  </a:lnTo>
                  <a:lnTo>
                    <a:pt x="936" y="435"/>
                  </a:lnTo>
                  <a:lnTo>
                    <a:pt x="940" y="439"/>
                  </a:lnTo>
                  <a:lnTo>
                    <a:pt x="941" y="439"/>
                  </a:lnTo>
                  <a:lnTo>
                    <a:pt x="941" y="441"/>
                  </a:lnTo>
                  <a:lnTo>
                    <a:pt x="941" y="442"/>
                  </a:lnTo>
                  <a:lnTo>
                    <a:pt x="941" y="446"/>
                  </a:lnTo>
                  <a:lnTo>
                    <a:pt x="940" y="448"/>
                  </a:lnTo>
                  <a:lnTo>
                    <a:pt x="936" y="450"/>
                  </a:lnTo>
                  <a:lnTo>
                    <a:pt x="932" y="450"/>
                  </a:lnTo>
                  <a:lnTo>
                    <a:pt x="932" y="448"/>
                  </a:lnTo>
                  <a:lnTo>
                    <a:pt x="930" y="450"/>
                  </a:lnTo>
                  <a:lnTo>
                    <a:pt x="928" y="450"/>
                  </a:lnTo>
                  <a:lnTo>
                    <a:pt x="928" y="454"/>
                  </a:lnTo>
                  <a:lnTo>
                    <a:pt x="932" y="454"/>
                  </a:lnTo>
                  <a:lnTo>
                    <a:pt x="930" y="459"/>
                  </a:lnTo>
                  <a:lnTo>
                    <a:pt x="930" y="463"/>
                  </a:lnTo>
                  <a:lnTo>
                    <a:pt x="928" y="463"/>
                  </a:lnTo>
                  <a:lnTo>
                    <a:pt x="926" y="463"/>
                  </a:lnTo>
                  <a:lnTo>
                    <a:pt x="924" y="463"/>
                  </a:lnTo>
                  <a:lnTo>
                    <a:pt x="923" y="463"/>
                  </a:lnTo>
                  <a:lnTo>
                    <a:pt x="919" y="465"/>
                  </a:lnTo>
                  <a:lnTo>
                    <a:pt x="913" y="467"/>
                  </a:lnTo>
                  <a:lnTo>
                    <a:pt x="908" y="471"/>
                  </a:lnTo>
                  <a:lnTo>
                    <a:pt x="906" y="471"/>
                  </a:lnTo>
                  <a:lnTo>
                    <a:pt x="904" y="474"/>
                  </a:lnTo>
                  <a:lnTo>
                    <a:pt x="904" y="478"/>
                  </a:lnTo>
                  <a:lnTo>
                    <a:pt x="906" y="476"/>
                  </a:lnTo>
                  <a:lnTo>
                    <a:pt x="908" y="476"/>
                  </a:lnTo>
                  <a:lnTo>
                    <a:pt x="913" y="474"/>
                  </a:lnTo>
                  <a:lnTo>
                    <a:pt x="913" y="473"/>
                  </a:lnTo>
                  <a:lnTo>
                    <a:pt x="919" y="476"/>
                  </a:lnTo>
                  <a:lnTo>
                    <a:pt x="923" y="480"/>
                  </a:lnTo>
                  <a:lnTo>
                    <a:pt x="919" y="482"/>
                  </a:lnTo>
                  <a:lnTo>
                    <a:pt x="917" y="482"/>
                  </a:lnTo>
                  <a:lnTo>
                    <a:pt x="919" y="484"/>
                  </a:lnTo>
                  <a:lnTo>
                    <a:pt x="919" y="488"/>
                  </a:lnTo>
                  <a:lnTo>
                    <a:pt x="919" y="490"/>
                  </a:lnTo>
                  <a:lnTo>
                    <a:pt x="917" y="493"/>
                  </a:lnTo>
                  <a:lnTo>
                    <a:pt x="917" y="495"/>
                  </a:lnTo>
                  <a:lnTo>
                    <a:pt x="917" y="497"/>
                  </a:lnTo>
                  <a:lnTo>
                    <a:pt x="919" y="493"/>
                  </a:lnTo>
                  <a:lnTo>
                    <a:pt x="923" y="493"/>
                  </a:lnTo>
                  <a:lnTo>
                    <a:pt x="924" y="490"/>
                  </a:lnTo>
                  <a:lnTo>
                    <a:pt x="926" y="490"/>
                  </a:lnTo>
                  <a:lnTo>
                    <a:pt x="924" y="493"/>
                  </a:lnTo>
                  <a:lnTo>
                    <a:pt x="924" y="497"/>
                  </a:lnTo>
                  <a:lnTo>
                    <a:pt x="923" y="503"/>
                  </a:lnTo>
                  <a:lnTo>
                    <a:pt x="923" y="506"/>
                  </a:lnTo>
                  <a:lnTo>
                    <a:pt x="917" y="510"/>
                  </a:lnTo>
                  <a:lnTo>
                    <a:pt x="913" y="510"/>
                  </a:lnTo>
                  <a:lnTo>
                    <a:pt x="913" y="512"/>
                  </a:lnTo>
                  <a:lnTo>
                    <a:pt x="913" y="514"/>
                  </a:lnTo>
                  <a:lnTo>
                    <a:pt x="913" y="518"/>
                  </a:lnTo>
                  <a:lnTo>
                    <a:pt x="911" y="518"/>
                  </a:lnTo>
                  <a:lnTo>
                    <a:pt x="911" y="518"/>
                  </a:lnTo>
                  <a:lnTo>
                    <a:pt x="908" y="518"/>
                  </a:lnTo>
                  <a:lnTo>
                    <a:pt x="908" y="520"/>
                  </a:lnTo>
                  <a:lnTo>
                    <a:pt x="913" y="523"/>
                  </a:lnTo>
                  <a:lnTo>
                    <a:pt x="911" y="525"/>
                  </a:lnTo>
                  <a:lnTo>
                    <a:pt x="908" y="525"/>
                  </a:lnTo>
                  <a:lnTo>
                    <a:pt x="911" y="529"/>
                  </a:lnTo>
                  <a:lnTo>
                    <a:pt x="906" y="533"/>
                  </a:lnTo>
                  <a:lnTo>
                    <a:pt x="904" y="531"/>
                  </a:lnTo>
                  <a:lnTo>
                    <a:pt x="902" y="533"/>
                  </a:lnTo>
                  <a:lnTo>
                    <a:pt x="898" y="533"/>
                  </a:lnTo>
                  <a:lnTo>
                    <a:pt x="894" y="535"/>
                  </a:lnTo>
                  <a:lnTo>
                    <a:pt x="894" y="539"/>
                  </a:lnTo>
                  <a:lnTo>
                    <a:pt x="889" y="539"/>
                  </a:lnTo>
                  <a:lnTo>
                    <a:pt x="885" y="537"/>
                  </a:lnTo>
                  <a:lnTo>
                    <a:pt x="881" y="539"/>
                  </a:lnTo>
                  <a:lnTo>
                    <a:pt x="879" y="537"/>
                  </a:lnTo>
                  <a:lnTo>
                    <a:pt x="877" y="529"/>
                  </a:lnTo>
                  <a:lnTo>
                    <a:pt x="881" y="525"/>
                  </a:lnTo>
                  <a:lnTo>
                    <a:pt x="881" y="522"/>
                  </a:lnTo>
                  <a:lnTo>
                    <a:pt x="876" y="529"/>
                  </a:lnTo>
                  <a:lnTo>
                    <a:pt x="874" y="533"/>
                  </a:lnTo>
                  <a:lnTo>
                    <a:pt x="877" y="539"/>
                  </a:lnTo>
                  <a:lnTo>
                    <a:pt x="879" y="542"/>
                  </a:lnTo>
                  <a:lnTo>
                    <a:pt x="877" y="544"/>
                  </a:lnTo>
                  <a:lnTo>
                    <a:pt x="874" y="548"/>
                  </a:lnTo>
                  <a:lnTo>
                    <a:pt x="872" y="552"/>
                  </a:lnTo>
                  <a:lnTo>
                    <a:pt x="872" y="552"/>
                  </a:lnTo>
                  <a:lnTo>
                    <a:pt x="868" y="552"/>
                  </a:lnTo>
                  <a:lnTo>
                    <a:pt x="868" y="552"/>
                  </a:lnTo>
                  <a:lnTo>
                    <a:pt x="868" y="552"/>
                  </a:lnTo>
                  <a:lnTo>
                    <a:pt x="868" y="552"/>
                  </a:lnTo>
                  <a:close/>
                  <a:moveTo>
                    <a:pt x="928" y="465"/>
                  </a:moveTo>
                  <a:lnTo>
                    <a:pt x="928" y="467"/>
                  </a:lnTo>
                  <a:lnTo>
                    <a:pt x="930" y="467"/>
                  </a:lnTo>
                  <a:lnTo>
                    <a:pt x="932" y="465"/>
                  </a:lnTo>
                  <a:lnTo>
                    <a:pt x="928" y="465"/>
                  </a:lnTo>
                  <a:lnTo>
                    <a:pt x="928" y="465"/>
                  </a:lnTo>
                  <a:lnTo>
                    <a:pt x="928" y="465"/>
                  </a:lnTo>
                  <a:lnTo>
                    <a:pt x="928" y="465"/>
                  </a:lnTo>
                  <a:close/>
                  <a:moveTo>
                    <a:pt x="926" y="482"/>
                  </a:moveTo>
                  <a:lnTo>
                    <a:pt x="928" y="482"/>
                  </a:lnTo>
                  <a:lnTo>
                    <a:pt x="932" y="476"/>
                  </a:lnTo>
                  <a:lnTo>
                    <a:pt x="932" y="474"/>
                  </a:lnTo>
                  <a:lnTo>
                    <a:pt x="930" y="473"/>
                  </a:lnTo>
                  <a:lnTo>
                    <a:pt x="930" y="469"/>
                  </a:lnTo>
                  <a:lnTo>
                    <a:pt x="926" y="471"/>
                  </a:lnTo>
                  <a:lnTo>
                    <a:pt x="926" y="474"/>
                  </a:lnTo>
                  <a:lnTo>
                    <a:pt x="924" y="474"/>
                  </a:lnTo>
                  <a:lnTo>
                    <a:pt x="924" y="480"/>
                  </a:lnTo>
                  <a:lnTo>
                    <a:pt x="926" y="482"/>
                  </a:lnTo>
                  <a:lnTo>
                    <a:pt x="926" y="482"/>
                  </a:lnTo>
                  <a:lnTo>
                    <a:pt x="926" y="482"/>
                  </a:lnTo>
                  <a:lnTo>
                    <a:pt x="926" y="482"/>
                  </a:lnTo>
                  <a:close/>
                  <a:moveTo>
                    <a:pt x="924" y="488"/>
                  </a:moveTo>
                  <a:lnTo>
                    <a:pt x="926" y="488"/>
                  </a:lnTo>
                  <a:lnTo>
                    <a:pt x="926" y="484"/>
                  </a:lnTo>
                  <a:lnTo>
                    <a:pt x="924" y="484"/>
                  </a:lnTo>
                  <a:lnTo>
                    <a:pt x="923" y="484"/>
                  </a:lnTo>
                  <a:lnTo>
                    <a:pt x="923" y="488"/>
                  </a:lnTo>
                  <a:lnTo>
                    <a:pt x="924" y="488"/>
                  </a:lnTo>
                  <a:lnTo>
                    <a:pt x="924" y="488"/>
                  </a:lnTo>
                  <a:lnTo>
                    <a:pt x="924" y="488"/>
                  </a:lnTo>
                  <a:lnTo>
                    <a:pt x="924" y="488"/>
                  </a:lnTo>
                  <a:close/>
                  <a:moveTo>
                    <a:pt x="785" y="410"/>
                  </a:moveTo>
                  <a:lnTo>
                    <a:pt x="785" y="412"/>
                  </a:lnTo>
                  <a:lnTo>
                    <a:pt x="785" y="412"/>
                  </a:lnTo>
                  <a:lnTo>
                    <a:pt x="787" y="412"/>
                  </a:lnTo>
                  <a:lnTo>
                    <a:pt x="789" y="414"/>
                  </a:lnTo>
                  <a:lnTo>
                    <a:pt x="791" y="412"/>
                  </a:lnTo>
                  <a:lnTo>
                    <a:pt x="789" y="410"/>
                  </a:lnTo>
                  <a:lnTo>
                    <a:pt x="785" y="409"/>
                  </a:lnTo>
                  <a:lnTo>
                    <a:pt x="785" y="410"/>
                  </a:lnTo>
                  <a:lnTo>
                    <a:pt x="785" y="410"/>
                  </a:lnTo>
                  <a:lnTo>
                    <a:pt x="785" y="410"/>
                  </a:lnTo>
                  <a:lnTo>
                    <a:pt x="785" y="410"/>
                  </a:lnTo>
                  <a:close/>
                  <a:moveTo>
                    <a:pt x="806" y="458"/>
                  </a:moveTo>
                  <a:lnTo>
                    <a:pt x="806" y="454"/>
                  </a:lnTo>
                  <a:lnTo>
                    <a:pt x="804" y="446"/>
                  </a:lnTo>
                  <a:lnTo>
                    <a:pt x="800" y="441"/>
                  </a:lnTo>
                  <a:lnTo>
                    <a:pt x="800" y="439"/>
                  </a:lnTo>
                  <a:lnTo>
                    <a:pt x="804" y="437"/>
                  </a:lnTo>
                  <a:lnTo>
                    <a:pt x="800" y="431"/>
                  </a:lnTo>
                  <a:lnTo>
                    <a:pt x="800" y="429"/>
                  </a:lnTo>
                  <a:lnTo>
                    <a:pt x="798" y="424"/>
                  </a:lnTo>
                  <a:lnTo>
                    <a:pt x="795" y="420"/>
                  </a:lnTo>
                  <a:lnTo>
                    <a:pt x="796" y="420"/>
                  </a:lnTo>
                  <a:lnTo>
                    <a:pt x="800" y="414"/>
                  </a:lnTo>
                  <a:lnTo>
                    <a:pt x="804" y="412"/>
                  </a:lnTo>
                  <a:lnTo>
                    <a:pt x="806" y="410"/>
                  </a:lnTo>
                  <a:lnTo>
                    <a:pt x="812" y="409"/>
                  </a:lnTo>
                  <a:lnTo>
                    <a:pt x="815" y="412"/>
                  </a:lnTo>
                  <a:lnTo>
                    <a:pt x="817" y="412"/>
                  </a:lnTo>
                  <a:lnTo>
                    <a:pt x="821" y="414"/>
                  </a:lnTo>
                  <a:lnTo>
                    <a:pt x="823" y="412"/>
                  </a:lnTo>
                  <a:lnTo>
                    <a:pt x="827" y="414"/>
                  </a:lnTo>
                  <a:lnTo>
                    <a:pt x="828" y="414"/>
                  </a:lnTo>
                  <a:lnTo>
                    <a:pt x="830" y="414"/>
                  </a:lnTo>
                  <a:lnTo>
                    <a:pt x="834" y="420"/>
                  </a:lnTo>
                  <a:lnTo>
                    <a:pt x="834" y="420"/>
                  </a:lnTo>
                  <a:lnTo>
                    <a:pt x="834" y="424"/>
                  </a:lnTo>
                  <a:lnTo>
                    <a:pt x="834" y="425"/>
                  </a:lnTo>
                  <a:lnTo>
                    <a:pt x="834" y="429"/>
                  </a:lnTo>
                  <a:lnTo>
                    <a:pt x="834" y="429"/>
                  </a:lnTo>
                  <a:lnTo>
                    <a:pt x="834" y="433"/>
                  </a:lnTo>
                  <a:lnTo>
                    <a:pt x="830" y="437"/>
                  </a:lnTo>
                  <a:lnTo>
                    <a:pt x="828" y="437"/>
                  </a:lnTo>
                  <a:lnTo>
                    <a:pt x="823" y="442"/>
                  </a:lnTo>
                  <a:lnTo>
                    <a:pt x="817" y="446"/>
                  </a:lnTo>
                  <a:lnTo>
                    <a:pt x="813" y="450"/>
                  </a:lnTo>
                  <a:lnTo>
                    <a:pt x="810" y="450"/>
                  </a:lnTo>
                  <a:lnTo>
                    <a:pt x="810" y="454"/>
                  </a:lnTo>
                  <a:lnTo>
                    <a:pt x="810" y="454"/>
                  </a:lnTo>
                  <a:lnTo>
                    <a:pt x="806" y="458"/>
                  </a:lnTo>
                  <a:lnTo>
                    <a:pt x="806" y="458"/>
                  </a:lnTo>
                  <a:lnTo>
                    <a:pt x="806" y="458"/>
                  </a:lnTo>
                  <a:lnTo>
                    <a:pt x="806" y="458"/>
                  </a:lnTo>
                  <a:close/>
                  <a:moveTo>
                    <a:pt x="940" y="533"/>
                  </a:moveTo>
                  <a:lnTo>
                    <a:pt x="934" y="527"/>
                  </a:lnTo>
                  <a:lnTo>
                    <a:pt x="932" y="529"/>
                  </a:lnTo>
                  <a:lnTo>
                    <a:pt x="924" y="527"/>
                  </a:lnTo>
                  <a:lnTo>
                    <a:pt x="926" y="523"/>
                  </a:lnTo>
                  <a:lnTo>
                    <a:pt x="930" y="522"/>
                  </a:lnTo>
                  <a:lnTo>
                    <a:pt x="932" y="523"/>
                  </a:lnTo>
                  <a:lnTo>
                    <a:pt x="934" y="522"/>
                  </a:lnTo>
                  <a:lnTo>
                    <a:pt x="934" y="520"/>
                  </a:lnTo>
                  <a:lnTo>
                    <a:pt x="930" y="520"/>
                  </a:lnTo>
                  <a:lnTo>
                    <a:pt x="928" y="518"/>
                  </a:lnTo>
                  <a:lnTo>
                    <a:pt x="934" y="514"/>
                  </a:lnTo>
                  <a:lnTo>
                    <a:pt x="936" y="506"/>
                  </a:lnTo>
                  <a:lnTo>
                    <a:pt x="936" y="505"/>
                  </a:lnTo>
                  <a:lnTo>
                    <a:pt x="938" y="503"/>
                  </a:lnTo>
                  <a:lnTo>
                    <a:pt x="938" y="501"/>
                  </a:lnTo>
                  <a:lnTo>
                    <a:pt x="934" y="497"/>
                  </a:lnTo>
                  <a:lnTo>
                    <a:pt x="936" y="495"/>
                  </a:lnTo>
                  <a:lnTo>
                    <a:pt x="936" y="493"/>
                  </a:lnTo>
                  <a:lnTo>
                    <a:pt x="940" y="484"/>
                  </a:lnTo>
                  <a:lnTo>
                    <a:pt x="943" y="482"/>
                  </a:lnTo>
                  <a:lnTo>
                    <a:pt x="943" y="480"/>
                  </a:lnTo>
                  <a:lnTo>
                    <a:pt x="943" y="476"/>
                  </a:lnTo>
                  <a:lnTo>
                    <a:pt x="947" y="473"/>
                  </a:lnTo>
                  <a:lnTo>
                    <a:pt x="947" y="471"/>
                  </a:lnTo>
                  <a:lnTo>
                    <a:pt x="947" y="465"/>
                  </a:lnTo>
                  <a:lnTo>
                    <a:pt x="953" y="463"/>
                  </a:lnTo>
                  <a:lnTo>
                    <a:pt x="955" y="458"/>
                  </a:lnTo>
                  <a:lnTo>
                    <a:pt x="956" y="454"/>
                  </a:lnTo>
                  <a:lnTo>
                    <a:pt x="958" y="454"/>
                  </a:lnTo>
                  <a:lnTo>
                    <a:pt x="956" y="450"/>
                  </a:lnTo>
                  <a:lnTo>
                    <a:pt x="960" y="448"/>
                  </a:lnTo>
                  <a:lnTo>
                    <a:pt x="962" y="448"/>
                  </a:lnTo>
                  <a:lnTo>
                    <a:pt x="966" y="454"/>
                  </a:lnTo>
                  <a:lnTo>
                    <a:pt x="966" y="458"/>
                  </a:lnTo>
                  <a:lnTo>
                    <a:pt x="968" y="458"/>
                  </a:lnTo>
                  <a:lnTo>
                    <a:pt x="968" y="454"/>
                  </a:lnTo>
                  <a:lnTo>
                    <a:pt x="966" y="450"/>
                  </a:lnTo>
                  <a:lnTo>
                    <a:pt x="968" y="448"/>
                  </a:lnTo>
                  <a:lnTo>
                    <a:pt x="968" y="446"/>
                  </a:lnTo>
                  <a:lnTo>
                    <a:pt x="966" y="442"/>
                  </a:lnTo>
                  <a:lnTo>
                    <a:pt x="968" y="437"/>
                  </a:lnTo>
                  <a:lnTo>
                    <a:pt x="977" y="435"/>
                  </a:lnTo>
                  <a:lnTo>
                    <a:pt x="983" y="435"/>
                  </a:lnTo>
                  <a:lnTo>
                    <a:pt x="987" y="435"/>
                  </a:lnTo>
                  <a:lnTo>
                    <a:pt x="988" y="437"/>
                  </a:lnTo>
                  <a:lnTo>
                    <a:pt x="992" y="435"/>
                  </a:lnTo>
                  <a:lnTo>
                    <a:pt x="992" y="439"/>
                  </a:lnTo>
                  <a:lnTo>
                    <a:pt x="996" y="437"/>
                  </a:lnTo>
                  <a:lnTo>
                    <a:pt x="998" y="437"/>
                  </a:lnTo>
                  <a:lnTo>
                    <a:pt x="1002" y="441"/>
                  </a:lnTo>
                  <a:lnTo>
                    <a:pt x="1005" y="442"/>
                  </a:lnTo>
                  <a:lnTo>
                    <a:pt x="1005" y="442"/>
                  </a:lnTo>
                  <a:lnTo>
                    <a:pt x="1007" y="442"/>
                  </a:lnTo>
                  <a:lnTo>
                    <a:pt x="1009" y="446"/>
                  </a:lnTo>
                  <a:lnTo>
                    <a:pt x="1009" y="450"/>
                  </a:lnTo>
                  <a:lnTo>
                    <a:pt x="1011" y="450"/>
                  </a:lnTo>
                  <a:lnTo>
                    <a:pt x="1013" y="450"/>
                  </a:lnTo>
                  <a:lnTo>
                    <a:pt x="1019" y="450"/>
                  </a:lnTo>
                  <a:lnTo>
                    <a:pt x="1026" y="450"/>
                  </a:lnTo>
                  <a:lnTo>
                    <a:pt x="1032" y="454"/>
                  </a:lnTo>
                  <a:lnTo>
                    <a:pt x="1032" y="458"/>
                  </a:lnTo>
                  <a:lnTo>
                    <a:pt x="1034" y="459"/>
                  </a:lnTo>
                  <a:lnTo>
                    <a:pt x="1036" y="463"/>
                  </a:lnTo>
                  <a:lnTo>
                    <a:pt x="1034" y="459"/>
                  </a:lnTo>
                  <a:lnTo>
                    <a:pt x="1032" y="459"/>
                  </a:lnTo>
                  <a:lnTo>
                    <a:pt x="1030" y="465"/>
                  </a:lnTo>
                  <a:lnTo>
                    <a:pt x="1026" y="469"/>
                  </a:lnTo>
                  <a:lnTo>
                    <a:pt x="1022" y="474"/>
                  </a:lnTo>
                  <a:lnTo>
                    <a:pt x="1019" y="474"/>
                  </a:lnTo>
                  <a:lnTo>
                    <a:pt x="1019" y="476"/>
                  </a:lnTo>
                  <a:lnTo>
                    <a:pt x="1011" y="482"/>
                  </a:lnTo>
                  <a:lnTo>
                    <a:pt x="1007" y="488"/>
                  </a:lnTo>
                  <a:lnTo>
                    <a:pt x="1005" y="488"/>
                  </a:lnTo>
                  <a:lnTo>
                    <a:pt x="1002" y="488"/>
                  </a:lnTo>
                  <a:lnTo>
                    <a:pt x="1005" y="490"/>
                  </a:lnTo>
                  <a:lnTo>
                    <a:pt x="1002" y="493"/>
                  </a:lnTo>
                  <a:lnTo>
                    <a:pt x="998" y="497"/>
                  </a:lnTo>
                  <a:lnTo>
                    <a:pt x="992" y="501"/>
                  </a:lnTo>
                  <a:lnTo>
                    <a:pt x="985" y="506"/>
                  </a:lnTo>
                  <a:lnTo>
                    <a:pt x="981" y="508"/>
                  </a:lnTo>
                  <a:lnTo>
                    <a:pt x="981" y="506"/>
                  </a:lnTo>
                  <a:lnTo>
                    <a:pt x="977" y="506"/>
                  </a:lnTo>
                  <a:lnTo>
                    <a:pt x="975" y="506"/>
                  </a:lnTo>
                  <a:lnTo>
                    <a:pt x="972" y="501"/>
                  </a:lnTo>
                  <a:lnTo>
                    <a:pt x="972" y="499"/>
                  </a:lnTo>
                  <a:lnTo>
                    <a:pt x="968" y="497"/>
                  </a:lnTo>
                  <a:lnTo>
                    <a:pt x="966" y="499"/>
                  </a:lnTo>
                  <a:lnTo>
                    <a:pt x="962" y="497"/>
                  </a:lnTo>
                  <a:lnTo>
                    <a:pt x="958" y="497"/>
                  </a:lnTo>
                  <a:lnTo>
                    <a:pt x="956" y="497"/>
                  </a:lnTo>
                  <a:lnTo>
                    <a:pt x="953" y="497"/>
                  </a:lnTo>
                  <a:lnTo>
                    <a:pt x="953" y="499"/>
                  </a:lnTo>
                  <a:lnTo>
                    <a:pt x="955" y="501"/>
                  </a:lnTo>
                  <a:lnTo>
                    <a:pt x="962" y="501"/>
                  </a:lnTo>
                  <a:lnTo>
                    <a:pt x="960" y="503"/>
                  </a:lnTo>
                  <a:lnTo>
                    <a:pt x="958" y="506"/>
                  </a:lnTo>
                  <a:lnTo>
                    <a:pt x="960" y="508"/>
                  </a:lnTo>
                  <a:lnTo>
                    <a:pt x="960" y="512"/>
                  </a:lnTo>
                  <a:lnTo>
                    <a:pt x="958" y="514"/>
                  </a:lnTo>
                  <a:lnTo>
                    <a:pt x="956" y="518"/>
                  </a:lnTo>
                  <a:lnTo>
                    <a:pt x="953" y="520"/>
                  </a:lnTo>
                  <a:lnTo>
                    <a:pt x="949" y="518"/>
                  </a:lnTo>
                  <a:lnTo>
                    <a:pt x="947" y="522"/>
                  </a:lnTo>
                  <a:lnTo>
                    <a:pt x="947" y="525"/>
                  </a:lnTo>
                  <a:lnTo>
                    <a:pt x="943" y="527"/>
                  </a:lnTo>
                  <a:lnTo>
                    <a:pt x="941" y="527"/>
                  </a:lnTo>
                  <a:lnTo>
                    <a:pt x="941" y="531"/>
                  </a:lnTo>
                  <a:lnTo>
                    <a:pt x="941" y="531"/>
                  </a:lnTo>
                  <a:lnTo>
                    <a:pt x="940" y="533"/>
                  </a:lnTo>
                  <a:lnTo>
                    <a:pt x="940" y="533"/>
                  </a:lnTo>
                  <a:lnTo>
                    <a:pt x="940" y="533"/>
                  </a:lnTo>
                  <a:lnTo>
                    <a:pt x="940" y="533"/>
                  </a:lnTo>
                  <a:close/>
                  <a:moveTo>
                    <a:pt x="1167" y="548"/>
                  </a:moveTo>
                  <a:lnTo>
                    <a:pt x="1160" y="544"/>
                  </a:lnTo>
                  <a:lnTo>
                    <a:pt x="1158" y="544"/>
                  </a:lnTo>
                  <a:lnTo>
                    <a:pt x="1156" y="539"/>
                  </a:lnTo>
                  <a:lnTo>
                    <a:pt x="1154" y="539"/>
                  </a:lnTo>
                  <a:lnTo>
                    <a:pt x="1152" y="535"/>
                  </a:lnTo>
                  <a:lnTo>
                    <a:pt x="1154" y="531"/>
                  </a:lnTo>
                  <a:lnTo>
                    <a:pt x="1158" y="527"/>
                  </a:lnTo>
                  <a:lnTo>
                    <a:pt x="1158" y="525"/>
                  </a:lnTo>
                  <a:lnTo>
                    <a:pt x="1160" y="522"/>
                  </a:lnTo>
                  <a:lnTo>
                    <a:pt x="1158" y="520"/>
                  </a:lnTo>
                  <a:lnTo>
                    <a:pt x="1154" y="518"/>
                  </a:lnTo>
                  <a:lnTo>
                    <a:pt x="1152" y="518"/>
                  </a:lnTo>
                  <a:lnTo>
                    <a:pt x="1154" y="508"/>
                  </a:lnTo>
                  <a:lnTo>
                    <a:pt x="1158" y="510"/>
                  </a:lnTo>
                  <a:lnTo>
                    <a:pt x="1158" y="506"/>
                  </a:lnTo>
                  <a:lnTo>
                    <a:pt x="1158" y="503"/>
                  </a:lnTo>
                  <a:lnTo>
                    <a:pt x="1160" y="501"/>
                  </a:lnTo>
                  <a:lnTo>
                    <a:pt x="1160" y="495"/>
                  </a:lnTo>
                  <a:lnTo>
                    <a:pt x="1164" y="493"/>
                  </a:lnTo>
                  <a:lnTo>
                    <a:pt x="1167" y="497"/>
                  </a:lnTo>
                  <a:lnTo>
                    <a:pt x="1167" y="499"/>
                  </a:lnTo>
                  <a:lnTo>
                    <a:pt x="1175" y="503"/>
                  </a:lnTo>
                  <a:lnTo>
                    <a:pt x="1177" y="505"/>
                  </a:lnTo>
                  <a:lnTo>
                    <a:pt x="1180" y="506"/>
                  </a:lnTo>
                  <a:lnTo>
                    <a:pt x="1182" y="505"/>
                  </a:lnTo>
                  <a:lnTo>
                    <a:pt x="1188" y="506"/>
                  </a:lnTo>
                  <a:lnTo>
                    <a:pt x="1194" y="506"/>
                  </a:lnTo>
                  <a:lnTo>
                    <a:pt x="1197" y="508"/>
                  </a:lnTo>
                  <a:lnTo>
                    <a:pt x="1197" y="512"/>
                  </a:lnTo>
                  <a:lnTo>
                    <a:pt x="1203" y="514"/>
                  </a:lnTo>
                  <a:lnTo>
                    <a:pt x="1205" y="518"/>
                  </a:lnTo>
                  <a:lnTo>
                    <a:pt x="1203" y="522"/>
                  </a:lnTo>
                  <a:lnTo>
                    <a:pt x="1203" y="525"/>
                  </a:lnTo>
                  <a:lnTo>
                    <a:pt x="1207" y="527"/>
                  </a:lnTo>
                  <a:lnTo>
                    <a:pt x="1205" y="529"/>
                  </a:lnTo>
                  <a:lnTo>
                    <a:pt x="1207" y="533"/>
                  </a:lnTo>
                  <a:lnTo>
                    <a:pt x="1207" y="535"/>
                  </a:lnTo>
                  <a:lnTo>
                    <a:pt x="1209" y="539"/>
                  </a:lnTo>
                  <a:lnTo>
                    <a:pt x="1207" y="542"/>
                  </a:lnTo>
                  <a:lnTo>
                    <a:pt x="1205" y="544"/>
                  </a:lnTo>
                  <a:lnTo>
                    <a:pt x="1211" y="544"/>
                  </a:lnTo>
                  <a:lnTo>
                    <a:pt x="1211" y="548"/>
                  </a:lnTo>
                  <a:lnTo>
                    <a:pt x="1209" y="548"/>
                  </a:lnTo>
                  <a:lnTo>
                    <a:pt x="1207" y="552"/>
                  </a:lnTo>
                  <a:lnTo>
                    <a:pt x="1199" y="548"/>
                  </a:lnTo>
                  <a:lnTo>
                    <a:pt x="1197" y="548"/>
                  </a:lnTo>
                  <a:lnTo>
                    <a:pt x="1194" y="548"/>
                  </a:lnTo>
                  <a:lnTo>
                    <a:pt x="1188" y="544"/>
                  </a:lnTo>
                  <a:lnTo>
                    <a:pt x="1184" y="544"/>
                  </a:lnTo>
                  <a:lnTo>
                    <a:pt x="1184" y="544"/>
                  </a:lnTo>
                  <a:lnTo>
                    <a:pt x="1180" y="542"/>
                  </a:lnTo>
                  <a:lnTo>
                    <a:pt x="1175" y="544"/>
                  </a:lnTo>
                  <a:lnTo>
                    <a:pt x="1173" y="544"/>
                  </a:lnTo>
                  <a:lnTo>
                    <a:pt x="1167" y="548"/>
                  </a:lnTo>
                  <a:lnTo>
                    <a:pt x="1167" y="548"/>
                  </a:lnTo>
                  <a:lnTo>
                    <a:pt x="1167" y="548"/>
                  </a:lnTo>
                  <a:lnTo>
                    <a:pt x="1167" y="548"/>
                  </a:lnTo>
                  <a:lnTo>
                    <a:pt x="1167" y="548"/>
                  </a:lnTo>
                  <a:close/>
                  <a:moveTo>
                    <a:pt x="1145" y="554"/>
                  </a:moveTo>
                  <a:lnTo>
                    <a:pt x="1145" y="552"/>
                  </a:lnTo>
                  <a:lnTo>
                    <a:pt x="1147" y="548"/>
                  </a:lnTo>
                  <a:lnTo>
                    <a:pt x="1147" y="548"/>
                  </a:lnTo>
                  <a:lnTo>
                    <a:pt x="1147" y="552"/>
                  </a:lnTo>
                  <a:lnTo>
                    <a:pt x="1145" y="554"/>
                  </a:lnTo>
                  <a:lnTo>
                    <a:pt x="1145" y="554"/>
                  </a:lnTo>
                  <a:lnTo>
                    <a:pt x="1145" y="554"/>
                  </a:lnTo>
                  <a:lnTo>
                    <a:pt x="1145" y="554"/>
                  </a:lnTo>
                  <a:close/>
                  <a:moveTo>
                    <a:pt x="1150" y="557"/>
                  </a:moveTo>
                  <a:lnTo>
                    <a:pt x="1148" y="554"/>
                  </a:lnTo>
                  <a:lnTo>
                    <a:pt x="1150" y="552"/>
                  </a:lnTo>
                  <a:lnTo>
                    <a:pt x="1152" y="554"/>
                  </a:lnTo>
                  <a:lnTo>
                    <a:pt x="1152" y="555"/>
                  </a:lnTo>
                  <a:lnTo>
                    <a:pt x="1150" y="557"/>
                  </a:lnTo>
                  <a:lnTo>
                    <a:pt x="1150" y="557"/>
                  </a:lnTo>
                  <a:lnTo>
                    <a:pt x="1150" y="557"/>
                  </a:lnTo>
                  <a:lnTo>
                    <a:pt x="1150" y="557"/>
                  </a:lnTo>
                  <a:close/>
                  <a:moveTo>
                    <a:pt x="1160" y="557"/>
                  </a:moveTo>
                  <a:lnTo>
                    <a:pt x="1158" y="555"/>
                  </a:lnTo>
                  <a:lnTo>
                    <a:pt x="1158" y="554"/>
                  </a:lnTo>
                  <a:lnTo>
                    <a:pt x="1160" y="554"/>
                  </a:lnTo>
                  <a:lnTo>
                    <a:pt x="1160" y="555"/>
                  </a:lnTo>
                  <a:lnTo>
                    <a:pt x="1160" y="557"/>
                  </a:lnTo>
                  <a:lnTo>
                    <a:pt x="1160" y="557"/>
                  </a:lnTo>
                  <a:lnTo>
                    <a:pt x="1160" y="557"/>
                  </a:lnTo>
                  <a:lnTo>
                    <a:pt x="1160" y="557"/>
                  </a:lnTo>
                  <a:close/>
                  <a:moveTo>
                    <a:pt x="932" y="636"/>
                  </a:moveTo>
                  <a:lnTo>
                    <a:pt x="930" y="633"/>
                  </a:lnTo>
                  <a:lnTo>
                    <a:pt x="932" y="633"/>
                  </a:lnTo>
                  <a:lnTo>
                    <a:pt x="934" y="633"/>
                  </a:lnTo>
                  <a:lnTo>
                    <a:pt x="936" y="633"/>
                  </a:lnTo>
                  <a:lnTo>
                    <a:pt x="936" y="633"/>
                  </a:lnTo>
                  <a:lnTo>
                    <a:pt x="934" y="636"/>
                  </a:lnTo>
                  <a:lnTo>
                    <a:pt x="932" y="636"/>
                  </a:lnTo>
                  <a:lnTo>
                    <a:pt x="932" y="636"/>
                  </a:lnTo>
                  <a:lnTo>
                    <a:pt x="932" y="636"/>
                  </a:lnTo>
                  <a:lnTo>
                    <a:pt x="932" y="636"/>
                  </a:lnTo>
                  <a:close/>
                  <a:moveTo>
                    <a:pt x="943" y="653"/>
                  </a:moveTo>
                  <a:lnTo>
                    <a:pt x="943" y="659"/>
                  </a:lnTo>
                  <a:lnTo>
                    <a:pt x="943" y="657"/>
                  </a:lnTo>
                  <a:lnTo>
                    <a:pt x="947" y="657"/>
                  </a:lnTo>
                  <a:lnTo>
                    <a:pt x="947" y="653"/>
                  </a:lnTo>
                  <a:lnTo>
                    <a:pt x="943" y="652"/>
                  </a:lnTo>
                  <a:lnTo>
                    <a:pt x="943" y="653"/>
                  </a:lnTo>
                  <a:lnTo>
                    <a:pt x="943" y="653"/>
                  </a:lnTo>
                  <a:lnTo>
                    <a:pt x="943" y="653"/>
                  </a:lnTo>
                  <a:lnTo>
                    <a:pt x="943" y="653"/>
                  </a:lnTo>
                  <a:close/>
                  <a:moveTo>
                    <a:pt x="940" y="655"/>
                  </a:moveTo>
                  <a:lnTo>
                    <a:pt x="938" y="657"/>
                  </a:lnTo>
                  <a:lnTo>
                    <a:pt x="940" y="659"/>
                  </a:lnTo>
                  <a:lnTo>
                    <a:pt x="940" y="661"/>
                  </a:lnTo>
                  <a:lnTo>
                    <a:pt x="941" y="663"/>
                  </a:lnTo>
                  <a:lnTo>
                    <a:pt x="941" y="661"/>
                  </a:lnTo>
                  <a:lnTo>
                    <a:pt x="941" y="655"/>
                  </a:lnTo>
                  <a:lnTo>
                    <a:pt x="941" y="653"/>
                  </a:lnTo>
                  <a:lnTo>
                    <a:pt x="940" y="655"/>
                  </a:lnTo>
                  <a:lnTo>
                    <a:pt x="940" y="655"/>
                  </a:lnTo>
                  <a:lnTo>
                    <a:pt x="940" y="655"/>
                  </a:lnTo>
                  <a:lnTo>
                    <a:pt x="940" y="655"/>
                  </a:lnTo>
                  <a:close/>
                  <a:moveTo>
                    <a:pt x="1009" y="640"/>
                  </a:moveTo>
                  <a:lnTo>
                    <a:pt x="1009" y="638"/>
                  </a:lnTo>
                  <a:lnTo>
                    <a:pt x="1005" y="638"/>
                  </a:lnTo>
                  <a:lnTo>
                    <a:pt x="1005" y="636"/>
                  </a:lnTo>
                  <a:lnTo>
                    <a:pt x="1005" y="638"/>
                  </a:lnTo>
                  <a:lnTo>
                    <a:pt x="1002" y="638"/>
                  </a:lnTo>
                  <a:lnTo>
                    <a:pt x="1002" y="636"/>
                  </a:lnTo>
                  <a:lnTo>
                    <a:pt x="998" y="633"/>
                  </a:lnTo>
                  <a:lnTo>
                    <a:pt x="1005" y="633"/>
                  </a:lnTo>
                  <a:lnTo>
                    <a:pt x="1005" y="633"/>
                  </a:lnTo>
                  <a:lnTo>
                    <a:pt x="1007" y="633"/>
                  </a:lnTo>
                  <a:lnTo>
                    <a:pt x="1009" y="636"/>
                  </a:lnTo>
                  <a:lnTo>
                    <a:pt x="1013" y="636"/>
                  </a:lnTo>
                  <a:lnTo>
                    <a:pt x="1013" y="638"/>
                  </a:lnTo>
                  <a:lnTo>
                    <a:pt x="1013" y="640"/>
                  </a:lnTo>
                  <a:lnTo>
                    <a:pt x="1013" y="640"/>
                  </a:lnTo>
                  <a:lnTo>
                    <a:pt x="1009" y="640"/>
                  </a:lnTo>
                  <a:lnTo>
                    <a:pt x="1009" y="640"/>
                  </a:lnTo>
                  <a:lnTo>
                    <a:pt x="1009" y="640"/>
                  </a:lnTo>
                  <a:lnTo>
                    <a:pt x="1009" y="640"/>
                  </a:lnTo>
                  <a:close/>
                  <a:moveTo>
                    <a:pt x="1051" y="657"/>
                  </a:moveTo>
                  <a:lnTo>
                    <a:pt x="1049" y="657"/>
                  </a:lnTo>
                  <a:lnTo>
                    <a:pt x="1047" y="653"/>
                  </a:lnTo>
                  <a:lnTo>
                    <a:pt x="1049" y="655"/>
                  </a:lnTo>
                  <a:lnTo>
                    <a:pt x="1051" y="655"/>
                  </a:lnTo>
                  <a:lnTo>
                    <a:pt x="1051" y="657"/>
                  </a:lnTo>
                  <a:lnTo>
                    <a:pt x="1051" y="657"/>
                  </a:lnTo>
                  <a:lnTo>
                    <a:pt x="1051" y="657"/>
                  </a:lnTo>
                  <a:lnTo>
                    <a:pt x="1051" y="657"/>
                  </a:lnTo>
                  <a:lnTo>
                    <a:pt x="1051" y="657"/>
                  </a:lnTo>
                  <a:close/>
                  <a:moveTo>
                    <a:pt x="1056" y="659"/>
                  </a:moveTo>
                  <a:lnTo>
                    <a:pt x="1056" y="659"/>
                  </a:lnTo>
                  <a:lnTo>
                    <a:pt x="1056" y="657"/>
                  </a:lnTo>
                  <a:lnTo>
                    <a:pt x="1056" y="659"/>
                  </a:lnTo>
                  <a:lnTo>
                    <a:pt x="1056" y="659"/>
                  </a:lnTo>
                  <a:lnTo>
                    <a:pt x="1056" y="659"/>
                  </a:lnTo>
                  <a:lnTo>
                    <a:pt x="1056" y="659"/>
                  </a:lnTo>
                  <a:close/>
                  <a:moveTo>
                    <a:pt x="1060" y="661"/>
                  </a:moveTo>
                  <a:lnTo>
                    <a:pt x="1062" y="661"/>
                  </a:lnTo>
                  <a:lnTo>
                    <a:pt x="1064" y="663"/>
                  </a:lnTo>
                  <a:lnTo>
                    <a:pt x="1066" y="663"/>
                  </a:lnTo>
                  <a:lnTo>
                    <a:pt x="1066" y="661"/>
                  </a:lnTo>
                  <a:lnTo>
                    <a:pt x="1064" y="659"/>
                  </a:lnTo>
                  <a:lnTo>
                    <a:pt x="1062" y="657"/>
                  </a:lnTo>
                  <a:lnTo>
                    <a:pt x="1060" y="657"/>
                  </a:lnTo>
                  <a:lnTo>
                    <a:pt x="1060" y="659"/>
                  </a:lnTo>
                  <a:lnTo>
                    <a:pt x="1060" y="661"/>
                  </a:lnTo>
                  <a:lnTo>
                    <a:pt x="1060" y="661"/>
                  </a:lnTo>
                  <a:lnTo>
                    <a:pt x="1060" y="661"/>
                  </a:lnTo>
                  <a:lnTo>
                    <a:pt x="1060" y="661"/>
                  </a:lnTo>
                  <a:close/>
                  <a:moveTo>
                    <a:pt x="1103" y="717"/>
                  </a:moveTo>
                  <a:lnTo>
                    <a:pt x="1103" y="716"/>
                  </a:lnTo>
                  <a:lnTo>
                    <a:pt x="1105" y="714"/>
                  </a:lnTo>
                  <a:lnTo>
                    <a:pt x="1103" y="710"/>
                  </a:lnTo>
                  <a:lnTo>
                    <a:pt x="1105" y="712"/>
                  </a:lnTo>
                  <a:lnTo>
                    <a:pt x="1105" y="714"/>
                  </a:lnTo>
                  <a:lnTo>
                    <a:pt x="1105" y="716"/>
                  </a:lnTo>
                  <a:lnTo>
                    <a:pt x="1105" y="717"/>
                  </a:lnTo>
                  <a:lnTo>
                    <a:pt x="1103" y="717"/>
                  </a:lnTo>
                  <a:lnTo>
                    <a:pt x="1103" y="717"/>
                  </a:lnTo>
                  <a:lnTo>
                    <a:pt x="1103" y="717"/>
                  </a:lnTo>
                  <a:lnTo>
                    <a:pt x="1103" y="717"/>
                  </a:lnTo>
                  <a:close/>
                  <a:moveTo>
                    <a:pt x="1100" y="731"/>
                  </a:moveTo>
                  <a:lnTo>
                    <a:pt x="1098" y="725"/>
                  </a:lnTo>
                  <a:lnTo>
                    <a:pt x="1100" y="721"/>
                  </a:lnTo>
                  <a:lnTo>
                    <a:pt x="1101" y="721"/>
                  </a:lnTo>
                  <a:lnTo>
                    <a:pt x="1105" y="721"/>
                  </a:lnTo>
                  <a:lnTo>
                    <a:pt x="1105" y="727"/>
                  </a:lnTo>
                  <a:lnTo>
                    <a:pt x="1101" y="727"/>
                  </a:lnTo>
                  <a:lnTo>
                    <a:pt x="1101" y="727"/>
                  </a:lnTo>
                  <a:lnTo>
                    <a:pt x="1100" y="731"/>
                  </a:lnTo>
                  <a:lnTo>
                    <a:pt x="1100" y="731"/>
                  </a:lnTo>
                  <a:lnTo>
                    <a:pt x="1100" y="731"/>
                  </a:lnTo>
                  <a:lnTo>
                    <a:pt x="1100" y="731"/>
                  </a:lnTo>
                  <a:close/>
                  <a:moveTo>
                    <a:pt x="1075" y="672"/>
                  </a:moveTo>
                  <a:lnTo>
                    <a:pt x="1073" y="670"/>
                  </a:lnTo>
                  <a:lnTo>
                    <a:pt x="1075" y="670"/>
                  </a:lnTo>
                  <a:lnTo>
                    <a:pt x="1075" y="672"/>
                  </a:lnTo>
                  <a:lnTo>
                    <a:pt x="1075" y="672"/>
                  </a:lnTo>
                  <a:lnTo>
                    <a:pt x="1075" y="672"/>
                  </a:lnTo>
                  <a:lnTo>
                    <a:pt x="1075" y="672"/>
                  </a:lnTo>
                  <a:close/>
                  <a:moveTo>
                    <a:pt x="1069" y="676"/>
                  </a:moveTo>
                  <a:lnTo>
                    <a:pt x="1068" y="670"/>
                  </a:lnTo>
                  <a:lnTo>
                    <a:pt x="1069" y="670"/>
                  </a:lnTo>
                  <a:lnTo>
                    <a:pt x="1069" y="672"/>
                  </a:lnTo>
                  <a:lnTo>
                    <a:pt x="1069" y="676"/>
                  </a:lnTo>
                  <a:lnTo>
                    <a:pt x="1069" y="676"/>
                  </a:lnTo>
                  <a:lnTo>
                    <a:pt x="1069" y="676"/>
                  </a:lnTo>
                  <a:lnTo>
                    <a:pt x="1069" y="676"/>
                  </a:lnTo>
                  <a:close/>
                  <a:moveTo>
                    <a:pt x="1069" y="676"/>
                  </a:moveTo>
                  <a:lnTo>
                    <a:pt x="1071" y="678"/>
                  </a:lnTo>
                  <a:lnTo>
                    <a:pt x="1073" y="678"/>
                  </a:lnTo>
                  <a:lnTo>
                    <a:pt x="1075" y="678"/>
                  </a:lnTo>
                  <a:lnTo>
                    <a:pt x="1077" y="676"/>
                  </a:lnTo>
                  <a:lnTo>
                    <a:pt x="1073" y="676"/>
                  </a:lnTo>
                  <a:lnTo>
                    <a:pt x="1071" y="676"/>
                  </a:lnTo>
                  <a:lnTo>
                    <a:pt x="1069" y="676"/>
                  </a:lnTo>
                  <a:lnTo>
                    <a:pt x="1069" y="676"/>
                  </a:lnTo>
                  <a:lnTo>
                    <a:pt x="1069" y="676"/>
                  </a:lnTo>
                  <a:lnTo>
                    <a:pt x="1069" y="676"/>
                  </a:lnTo>
                  <a:close/>
                  <a:moveTo>
                    <a:pt x="1094" y="667"/>
                  </a:moveTo>
                  <a:lnTo>
                    <a:pt x="1096" y="667"/>
                  </a:lnTo>
                  <a:lnTo>
                    <a:pt x="1098" y="670"/>
                  </a:lnTo>
                  <a:lnTo>
                    <a:pt x="1098" y="670"/>
                  </a:lnTo>
                  <a:lnTo>
                    <a:pt x="1098" y="670"/>
                  </a:lnTo>
                  <a:lnTo>
                    <a:pt x="1100" y="672"/>
                  </a:lnTo>
                  <a:lnTo>
                    <a:pt x="1101" y="672"/>
                  </a:lnTo>
                  <a:lnTo>
                    <a:pt x="1101" y="670"/>
                  </a:lnTo>
                  <a:lnTo>
                    <a:pt x="1103" y="670"/>
                  </a:lnTo>
                  <a:lnTo>
                    <a:pt x="1105" y="670"/>
                  </a:lnTo>
                  <a:lnTo>
                    <a:pt x="1105" y="670"/>
                  </a:lnTo>
                  <a:lnTo>
                    <a:pt x="1109" y="670"/>
                  </a:lnTo>
                  <a:lnTo>
                    <a:pt x="1109" y="667"/>
                  </a:lnTo>
                  <a:lnTo>
                    <a:pt x="1103" y="667"/>
                  </a:lnTo>
                  <a:lnTo>
                    <a:pt x="1101" y="663"/>
                  </a:lnTo>
                  <a:lnTo>
                    <a:pt x="1098" y="663"/>
                  </a:lnTo>
                  <a:lnTo>
                    <a:pt x="1096" y="663"/>
                  </a:lnTo>
                  <a:lnTo>
                    <a:pt x="1096" y="663"/>
                  </a:lnTo>
                  <a:lnTo>
                    <a:pt x="1094" y="667"/>
                  </a:lnTo>
                  <a:lnTo>
                    <a:pt x="1094" y="667"/>
                  </a:lnTo>
                  <a:lnTo>
                    <a:pt x="1094" y="667"/>
                  </a:lnTo>
                  <a:lnTo>
                    <a:pt x="1094" y="667"/>
                  </a:lnTo>
                  <a:close/>
                  <a:moveTo>
                    <a:pt x="1135" y="663"/>
                  </a:moveTo>
                  <a:lnTo>
                    <a:pt x="1135" y="661"/>
                  </a:lnTo>
                  <a:lnTo>
                    <a:pt x="1139" y="661"/>
                  </a:lnTo>
                  <a:lnTo>
                    <a:pt x="1135" y="663"/>
                  </a:lnTo>
                  <a:lnTo>
                    <a:pt x="1135" y="663"/>
                  </a:lnTo>
                  <a:lnTo>
                    <a:pt x="1135" y="663"/>
                  </a:lnTo>
                  <a:lnTo>
                    <a:pt x="1135" y="663"/>
                  </a:lnTo>
                  <a:lnTo>
                    <a:pt x="1135" y="663"/>
                  </a:lnTo>
                  <a:close/>
                  <a:moveTo>
                    <a:pt x="1120" y="680"/>
                  </a:moveTo>
                  <a:lnTo>
                    <a:pt x="1124" y="678"/>
                  </a:lnTo>
                  <a:lnTo>
                    <a:pt x="1126" y="676"/>
                  </a:lnTo>
                  <a:lnTo>
                    <a:pt x="1128" y="676"/>
                  </a:lnTo>
                  <a:lnTo>
                    <a:pt x="1130" y="672"/>
                  </a:lnTo>
                  <a:lnTo>
                    <a:pt x="1130" y="672"/>
                  </a:lnTo>
                  <a:lnTo>
                    <a:pt x="1133" y="676"/>
                  </a:lnTo>
                  <a:lnTo>
                    <a:pt x="1130" y="676"/>
                  </a:lnTo>
                  <a:lnTo>
                    <a:pt x="1128" y="678"/>
                  </a:lnTo>
                  <a:lnTo>
                    <a:pt x="1126" y="680"/>
                  </a:lnTo>
                  <a:lnTo>
                    <a:pt x="1122" y="680"/>
                  </a:lnTo>
                  <a:lnTo>
                    <a:pt x="1120" y="680"/>
                  </a:lnTo>
                  <a:lnTo>
                    <a:pt x="1120" y="680"/>
                  </a:lnTo>
                  <a:lnTo>
                    <a:pt x="1120" y="680"/>
                  </a:lnTo>
                  <a:lnTo>
                    <a:pt x="1120" y="680"/>
                  </a:lnTo>
                  <a:close/>
                  <a:moveTo>
                    <a:pt x="1109" y="702"/>
                  </a:moveTo>
                  <a:lnTo>
                    <a:pt x="1115" y="697"/>
                  </a:lnTo>
                  <a:lnTo>
                    <a:pt x="1115" y="697"/>
                  </a:lnTo>
                  <a:lnTo>
                    <a:pt x="1118" y="697"/>
                  </a:lnTo>
                  <a:lnTo>
                    <a:pt x="1120" y="693"/>
                  </a:lnTo>
                  <a:lnTo>
                    <a:pt x="1124" y="687"/>
                  </a:lnTo>
                  <a:lnTo>
                    <a:pt x="1124" y="685"/>
                  </a:lnTo>
                  <a:lnTo>
                    <a:pt x="1122" y="685"/>
                  </a:lnTo>
                  <a:lnTo>
                    <a:pt x="1118" y="685"/>
                  </a:lnTo>
                  <a:lnTo>
                    <a:pt x="1118" y="687"/>
                  </a:lnTo>
                  <a:lnTo>
                    <a:pt x="1118" y="687"/>
                  </a:lnTo>
                  <a:lnTo>
                    <a:pt x="1115" y="693"/>
                  </a:lnTo>
                  <a:lnTo>
                    <a:pt x="1109" y="695"/>
                  </a:lnTo>
                  <a:lnTo>
                    <a:pt x="1105" y="695"/>
                  </a:lnTo>
                  <a:lnTo>
                    <a:pt x="1103" y="695"/>
                  </a:lnTo>
                  <a:lnTo>
                    <a:pt x="1101" y="697"/>
                  </a:lnTo>
                  <a:lnTo>
                    <a:pt x="1100" y="701"/>
                  </a:lnTo>
                  <a:lnTo>
                    <a:pt x="1100" y="702"/>
                  </a:lnTo>
                  <a:lnTo>
                    <a:pt x="1101" y="702"/>
                  </a:lnTo>
                  <a:lnTo>
                    <a:pt x="1105" y="702"/>
                  </a:lnTo>
                  <a:lnTo>
                    <a:pt x="1109" y="702"/>
                  </a:lnTo>
                  <a:lnTo>
                    <a:pt x="1109" y="702"/>
                  </a:lnTo>
                  <a:lnTo>
                    <a:pt x="1109" y="702"/>
                  </a:lnTo>
                  <a:lnTo>
                    <a:pt x="1109" y="702"/>
                  </a:lnTo>
                  <a:close/>
                  <a:moveTo>
                    <a:pt x="1135" y="701"/>
                  </a:moveTo>
                  <a:lnTo>
                    <a:pt x="1135" y="695"/>
                  </a:lnTo>
                  <a:lnTo>
                    <a:pt x="1139" y="693"/>
                  </a:lnTo>
                  <a:lnTo>
                    <a:pt x="1139" y="687"/>
                  </a:lnTo>
                  <a:lnTo>
                    <a:pt x="1143" y="687"/>
                  </a:lnTo>
                  <a:lnTo>
                    <a:pt x="1145" y="691"/>
                  </a:lnTo>
                  <a:lnTo>
                    <a:pt x="1145" y="695"/>
                  </a:lnTo>
                  <a:lnTo>
                    <a:pt x="1145" y="697"/>
                  </a:lnTo>
                  <a:lnTo>
                    <a:pt x="1143" y="697"/>
                  </a:lnTo>
                  <a:lnTo>
                    <a:pt x="1139" y="701"/>
                  </a:lnTo>
                  <a:lnTo>
                    <a:pt x="1135" y="701"/>
                  </a:lnTo>
                  <a:lnTo>
                    <a:pt x="1135" y="701"/>
                  </a:lnTo>
                  <a:lnTo>
                    <a:pt x="1135" y="701"/>
                  </a:lnTo>
                  <a:lnTo>
                    <a:pt x="1135" y="701"/>
                  </a:lnTo>
                  <a:close/>
                  <a:moveTo>
                    <a:pt x="1160" y="731"/>
                  </a:moveTo>
                  <a:lnTo>
                    <a:pt x="1160" y="725"/>
                  </a:lnTo>
                  <a:lnTo>
                    <a:pt x="1160" y="721"/>
                  </a:lnTo>
                  <a:lnTo>
                    <a:pt x="1160" y="717"/>
                  </a:lnTo>
                  <a:lnTo>
                    <a:pt x="1158" y="717"/>
                  </a:lnTo>
                  <a:lnTo>
                    <a:pt x="1158" y="721"/>
                  </a:lnTo>
                  <a:lnTo>
                    <a:pt x="1156" y="725"/>
                  </a:lnTo>
                  <a:lnTo>
                    <a:pt x="1156" y="727"/>
                  </a:lnTo>
                  <a:lnTo>
                    <a:pt x="1158" y="731"/>
                  </a:lnTo>
                  <a:lnTo>
                    <a:pt x="1158" y="733"/>
                  </a:lnTo>
                  <a:lnTo>
                    <a:pt x="1160" y="731"/>
                  </a:lnTo>
                  <a:lnTo>
                    <a:pt x="1160" y="731"/>
                  </a:lnTo>
                  <a:lnTo>
                    <a:pt x="1160" y="731"/>
                  </a:lnTo>
                  <a:lnTo>
                    <a:pt x="1160" y="731"/>
                  </a:lnTo>
                  <a:lnTo>
                    <a:pt x="1160" y="731"/>
                  </a:lnTo>
                  <a:close/>
                  <a:moveTo>
                    <a:pt x="1164" y="727"/>
                  </a:moveTo>
                  <a:lnTo>
                    <a:pt x="1164" y="725"/>
                  </a:lnTo>
                  <a:lnTo>
                    <a:pt x="1164" y="721"/>
                  </a:lnTo>
                  <a:lnTo>
                    <a:pt x="1164" y="725"/>
                  </a:lnTo>
                  <a:lnTo>
                    <a:pt x="1167" y="727"/>
                  </a:lnTo>
                  <a:lnTo>
                    <a:pt x="1164" y="727"/>
                  </a:lnTo>
                  <a:lnTo>
                    <a:pt x="1164" y="727"/>
                  </a:lnTo>
                  <a:lnTo>
                    <a:pt x="1164" y="727"/>
                  </a:lnTo>
                  <a:lnTo>
                    <a:pt x="1164" y="727"/>
                  </a:lnTo>
                  <a:lnTo>
                    <a:pt x="1164" y="727"/>
                  </a:lnTo>
                  <a:close/>
                  <a:moveTo>
                    <a:pt x="1169" y="734"/>
                  </a:moveTo>
                  <a:lnTo>
                    <a:pt x="1167" y="733"/>
                  </a:lnTo>
                  <a:lnTo>
                    <a:pt x="1167" y="731"/>
                  </a:lnTo>
                  <a:lnTo>
                    <a:pt x="1169" y="731"/>
                  </a:lnTo>
                  <a:lnTo>
                    <a:pt x="1169" y="734"/>
                  </a:lnTo>
                  <a:lnTo>
                    <a:pt x="1169" y="734"/>
                  </a:lnTo>
                  <a:lnTo>
                    <a:pt x="1169" y="734"/>
                  </a:lnTo>
                  <a:lnTo>
                    <a:pt x="1169" y="734"/>
                  </a:lnTo>
                  <a:lnTo>
                    <a:pt x="1169" y="734"/>
                  </a:lnTo>
                  <a:close/>
                  <a:moveTo>
                    <a:pt x="1158" y="742"/>
                  </a:moveTo>
                  <a:lnTo>
                    <a:pt x="1156" y="744"/>
                  </a:lnTo>
                  <a:lnTo>
                    <a:pt x="1158" y="748"/>
                  </a:lnTo>
                  <a:lnTo>
                    <a:pt x="1158" y="751"/>
                  </a:lnTo>
                  <a:lnTo>
                    <a:pt x="1160" y="751"/>
                  </a:lnTo>
                  <a:lnTo>
                    <a:pt x="1160" y="751"/>
                  </a:lnTo>
                  <a:lnTo>
                    <a:pt x="1164" y="751"/>
                  </a:lnTo>
                  <a:lnTo>
                    <a:pt x="1167" y="755"/>
                  </a:lnTo>
                  <a:lnTo>
                    <a:pt x="1169" y="755"/>
                  </a:lnTo>
                  <a:lnTo>
                    <a:pt x="1173" y="755"/>
                  </a:lnTo>
                  <a:lnTo>
                    <a:pt x="1173" y="751"/>
                  </a:lnTo>
                  <a:lnTo>
                    <a:pt x="1173" y="751"/>
                  </a:lnTo>
                  <a:lnTo>
                    <a:pt x="1173" y="746"/>
                  </a:lnTo>
                  <a:lnTo>
                    <a:pt x="1169" y="746"/>
                  </a:lnTo>
                  <a:lnTo>
                    <a:pt x="1167" y="744"/>
                  </a:lnTo>
                  <a:lnTo>
                    <a:pt x="1164" y="744"/>
                  </a:lnTo>
                  <a:lnTo>
                    <a:pt x="1164" y="744"/>
                  </a:lnTo>
                  <a:lnTo>
                    <a:pt x="1164" y="742"/>
                  </a:lnTo>
                  <a:lnTo>
                    <a:pt x="1164" y="740"/>
                  </a:lnTo>
                  <a:lnTo>
                    <a:pt x="1164" y="740"/>
                  </a:lnTo>
                  <a:lnTo>
                    <a:pt x="1160" y="742"/>
                  </a:lnTo>
                  <a:lnTo>
                    <a:pt x="1160" y="744"/>
                  </a:lnTo>
                  <a:lnTo>
                    <a:pt x="1158" y="742"/>
                  </a:lnTo>
                  <a:lnTo>
                    <a:pt x="1158" y="742"/>
                  </a:lnTo>
                  <a:lnTo>
                    <a:pt x="1158" y="742"/>
                  </a:lnTo>
                  <a:lnTo>
                    <a:pt x="1158" y="742"/>
                  </a:lnTo>
                  <a:close/>
                  <a:moveTo>
                    <a:pt x="1060" y="879"/>
                  </a:moveTo>
                  <a:lnTo>
                    <a:pt x="1064" y="879"/>
                  </a:lnTo>
                  <a:lnTo>
                    <a:pt x="1066" y="879"/>
                  </a:lnTo>
                  <a:lnTo>
                    <a:pt x="1064" y="876"/>
                  </a:lnTo>
                  <a:lnTo>
                    <a:pt x="1060" y="876"/>
                  </a:lnTo>
                  <a:lnTo>
                    <a:pt x="1060" y="879"/>
                  </a:lnTo>
                  <a:lnTo>
                    <a:pt x="1060" y="879"/>
                  </a:lnTo>
                  <a:lnTo>
                    <a:pt x="1060" y="879"/>
                  </a:lnTo>
                  <a:lnTo>
                    <a:pt x="1060" y="879"/>
                  </a:lnTo>
                  <a:close/>
                  <a:moveTo>
                    <a:pt x="1005" y="789"/>
                  </a:moveTo>
                  <a:lnTo>
                    <a:pt x="1009" y="791"/>
                  </a:lnTo>
                  <a:lnTo>
                    <a:pt x="1011" y="791"/>
                  </a:lnTo>
                  <a:lnTo>
                    <a:pt x="1011" y="789"/>
                  </a:lnTo>
                  <a:lnTo>
                    <a:pt x="1009" y="789"/>
                  </a:lnTo>
                  <a:lnTo>
                    <a:pt x="1007" y="789"/>
                  </a:lnTo>
                  <a:lnTo>
                    <a:pt x="1005" y="789"/>
                  </a:lnTo>
                  <a:lnTo>
                    <a:pt x="1005" y="789"/>
                  </a:lnTo>
                  <a:lnTo>
                    <a:pt x="1005" y="789"/>
                  </a:lnTo>
                  <a:lnTo>
                    <a:pt x="1005" y="789"/>
                  </a:lnTo>
                  <a:close/>
                  <a:moveTo>
                    <a:pt x="992" y="810"/>
                  </a:moveTo>
                  <a:lnTo>
                    <a:pt x="992" y="808"/>
                  </a:lnTo>
                  <a:lnTo>
                    <a:pt x="992" y="804"/>
                  </a:lnTo>
                  <a:lnTo>
                    <a:pt x="988" y="802"/>
                  </a:lnTo>
                  <a:lnTo>
                    <a:pt x="990" y="800"/>
                  </a:lnTo>
                  <a:lnTo>
                    <a:pt x="988" y="797"/>
                  </a:lnTo>
                  <a:lnTo>
                    <a:pt x="987" y="795"/>
                  </a:lnTo>
                  <a:lnTo>
                    <a:pt x="987" y="789"/>
                  </a:lnTo>
                  <a:lnTo>
                    <a:pt x="987" y="789"/>
                  </a:lnTo>
                  <a:lnTo>
                    <a:pt x="988" y="795"/>
                  </a:lnTo>
                  <a:lnTo>
                    <a:pt x="992" y="795"/>
                  </a:lnTo>
                  <a:lnTo>
                    <a:pt x="992" y="797"/>
                  </a:lnTo>
                  <a:lnTo>
                    <a:pt x="996" y="798"/>
                  </a:lnTo>
                  <a:lnTo>
                    <a:pt x="996" y="804"/>
                  </a:lnTo>
                  <a:lnTo>
                    <a:pt x="998" y="806"/>
                  </a:lnTo>
                  <a:lnTo>
                    <a:pt x="1002" y="806"/>
                  </a:lnTo>
                  <a:lnTo>
                    <a:pt x="1002" y="810"/>
                  </a:lnTo>
                  <a:lnTo>
                    <a:pt x="998" y="810"/>
                  </a:lnTo>
                  <a:lnTo>
                    <a:pt x="992" y="810"/>
                  </a:lnTo>
                  <a:lnTo>
                    <a:pt x="992" y="810"/>
                  </a:lnTo>
                  <a:lnTo>
                    <a:pt x="992" y="810"/>
                  </a:lnTo>
                  <a:lnTo>
                    <a:pt x="992" y="810"/>
                  </a:lnTo>
                  <a:close/>
                  <a:moveTo>
                    <a:pt x="972" y="808"/>
                  </a:moveTo>
                  <a:lnTo>
                    <a:pt x="972" y="804"/>
                  </a:lnTo>
                  <a:lnTo>
                    <a:pt x="972" y="802"/>
                  </a:lnTo>
                  <a:lnTo>
                    <a:pt x="972" y="800"/>
                  </a:lnTo>
                  <a:lnTo>
                    <a:pt x="972" y="795"/>
                  </a:lnTo>
                  <a:lnTo>
                    <a:pt x="973" y="791"/>
                  </a:lnTo>
                  <a:lnTo>
                    <a:pt x="975" y="795"/>
                  </a:lnTo>
                  <a:lnTo>
                    <a:pt x="977" y="795"/>
                  </a:lnTo>
                  <a:lnTo>
                    <a:pt x="975" y="797"/>
                  </a:lnTo>
                  <a:lnTo>
                    <a:pt x="975" y="798"/>
                  </a:lnTo>
                  <a:lnTo>
                    <a:pt x="977" y="802"/>
                  </a:lnTo>
                  <a:lnTo>
                    <a:pt x="973" y="808"/>
                  </a:lnTo>
                  <a:lnTo>
                    <a:pt x="972" y="808"/>
                  </a:lnTo>
                  <a:lnTo>
                    <a:pt x="972" y="808"/>
                  </a:lnTo>
                  <a:lnTo>
                    <a:pt x="972" y="808"/>
                  </a:lnTo>
                  <a:lnTo>
                    <a:pt x="972" y="808"/>
                  </a:lnTo>
                  <a:close/>
                  <a:moveTo>
                    <a:pt x="972" y="721"/>
                  </a:moveTo>
                  <a:lnTo>
                    <a:pt x="972" y="725"/>
                  </a:lnTo>
                  <a:lnTo>
                    <a:pt x="972" y="725"/>
                  </a:lnTo>
                  <a:lnTo>
                    <a:pt x="975" y="725"/>
                  </a:lnTo>
                  <a:lnTo>
                    <a:pt x="977" y="721"/>
                  </a:lnTo>
                  <a:lnTo>
                    <a:pt x="977" y="721"/>
                  </a:lnTo>
                  <a:lnTo>
                    <a:pt x="973" y="721"/>
                  </a:lnTo>
                  <a:lnTo>
                    <a:pt x="972" y="721"/>
                  </a:lnTo>
                  <a:lnTo>
                    <a:pt x="972" y="721"/>
                  </a:lnTo>
                  <a:lnTo>
                    <a:pt x="972" y="721"/>
                  </a:lnTo>
                  <a:lnTo>
                    <a:pt x="972" y="721"/>
                  </a:lnTo>
                  <a:close/>
                  <a:moveTo>
                    <a:pt x="972" y="719"/>
                  </a:moveTo>
                  <a:lnTo>
                    <a:pt x="973" y="716"/>
                  </a:lnTo>
                  <a:lnTo>
                    <a:pt x="973" y="712"/>
                  </a:lnTo>
                  <a:lnTo>
                    <a:pt x="977" y="708"/>
                  </a:lnTo>
                  <a:lnTo>
                    <a:pt x="981" y="706"/>
                  </a:lnTo>
                  <a:lnTo>
                    <a:pt x="981" y="706"/>
                  </a:lnTo>
                  <a:lnTo>
                    <a:pt x="981" y="710"/>
                  </a:lnTo>
                  <a:lnTo>
                    <a:pt x="981" y="716"/>
                  </a:lnTo>
                  <a:lnTo>
                    <a:pt x="981" y="717"/>
                  </a:lnTo>
                  <a:lnTo>
                    <a:pt x="975" y="719"/>
                  </a:lnTo>
                  <a:lnTo>
                    <a:pt x="972" y="719"/>
                  </a:lnTo>
                  <a:lnTo>
                    <a:pt x="972" y="719"/>
                  </a:lnTo>
                  <a:lnTo>
                    <a:pt x="972" y="719"/>
                  </a:lnTo>
                  <a:lnTo>
                    <a:pt x="972" y="719"/>
                  </a:lnTo>
                  <a:close/>
                  <a:moveTo>
                    <a:pt x="795" y="682"/>
                  </a:moveTo>
                  <a:lnTo>
                    <a:pt x="796" y="680"/>
                  </a:lnTo>
                  <a:lnTo>
                    <a:pt x="796" y="678"/>
                  </a:lnTo>
                  <a:lnTo>
                    <a:pt x="793" y="678"/>
                  </a:lnTo>
                  <a:lnTo>
                    <a:pt x="793" y="680"/>
                  </a:lnTo>
                  <a:lnTo>
                    <a:pt x="795" y="682"/>
                  </a:lnTo>
                  <a:lnTo>
                    <a:pt x="795" y="682"/>
                  </a:lnTo>
                  <a:lnTo>
                    <a:pt x="795" y="682"/>
                  </a:lnTo>
                  <a:lnTo>
                    <a:pt x="795" y="682"/>
                  </a:lnTo>
                  <a:close/>
                  <a:moveTo>
                    <a:pt x="644" y="638"/>
                  </a:moveTo>
                  <a:lnTo>
                    <a:pt x="644" y="636"/>
                  </a:lnTo>
                  <a:lnTo>
                    <a:pt x="648" y="636"/>
                  </a:lnTo>
                  <a:lnTo>
                    <a:pt x="646" y="638"/>
                  </a:lnTo>
                  <a:lnTo>
                    <a:pt x="646" y="638"/>
                  </a:lnTo>
                  <a:lnTo>
                    <a:pt x="644" y="638"/>
                  </a:lnTo>
                  <a:lnTo>
                    <a:pt x="644" y="638"/>
                  </a:lnTo>
                  <a:lnTo>
                    <a:pt x="644" y="638"/>
                  </a:lnTo>
                  <a:lnTo>
                    <a:pt x="644" y="638"/>
                  </a:lnTo>
                  <a:close/>
                  <a:moveTo>
                    <a:pt x="633" y="646"/>
                  </a:moveTo>
                  <a:lnTo>
                    <a:pt x="636" y="646"/>
                  </a:lnTo>
                  <a:lnTo>
                    <a:pt x="636" y="642"/>
                  </a:lnTo>
                  <a:lnTo>
                    <a:pt x="633" y="642"/>
                  </a:lnTo>
                  <a:lnTo>
                    <a:pt x="633" y="646"/>
                  </a:lnTo>
                  <a:lnTo>
                    <a:pt x="633" y="646"/>
                  </a:lnTo>
                  <a:lnTo>
                    <a:pt x="633" y="646"/>
                  </a:lnTo>
                  <a:lnTo>
                    <a:pt x="633" y="646"/>
                  </a:lnTo>
                  <a:close/>
                  <a:moveTo>
                    <a:pt x="638" y="659"/>
                  </a:moveTo>
                  <a:lnTo>
                    <a:pt x="636" y="657"/>
                  </a:lnTo>
                  <a:lnTo>
                    <a:pt x="638" y="655"/>
                  </a:lnTo>
                  <a:lnTo>
                    <a:pt x="638" y="659"/>
                  </a:lnTo>
                  <a:lnTo>
                    <a:pt x="638" y="659"/>
                  </a:lnTo>
                  <a:lnTo>
                    <a:pt x="638" y="659"/>
                  </a:lnTo>
                  <a:lnTo>
                    <a:pt x="638" y="659"/>
                  </a:lnTo>
                  <a:lnTo>
                    <a:pt x="638" y="659"/>
                  </a:lnTo>
                  <a:close/>
                  <a:moveTo>
                    <a:pt x="638" y="661"/>
                  </a:moveTo>
                  <a:lnTo>
                    <a:pt x="635" y="655"/>
                  </a:lnTo>
                  <a:lnTo>
                    <a:pt x="635" y="657"/>
                  </a:lnTo>
                  <a:lnTo>
                    <a:pt x="636" y="659"/>
                  </a:lnTo>
                  <a:lnTo>
                    <a:pt x="638" y="661"/>
                  </a:lnTo>
                  <a:lnTo>
                    <a:pt x="638" y="661"/>
                  </a:lnTo>
                  <a:lnTo>
                    <a:pt x="638" y="661"/>
                  </a:lnTo>
                  <a:lnTo>
                    <a:pt x="638" y="661"/>
                  </a:lnTo>
                  <a:close/>
                  <a:moveTo>
                    <a:pt x="642" y="667"/>
                  </a:moveTo>
                  <a:lnTo>
                    <a:pt x="644" y="672"/>
                  </a:lnTo>
                  <a:lnTo>
                    <a:pt x="646" y="672"/>
                  </a:lnTo>
                  <a:lnTo>
                    <a:pt x="648" y="670"/>
                  </a:lnTo>
                  <a:lnTo>
                    <a:pt x="648" y="670"/>
                  </a:lnTo>
                  <a:lnTo>
                    <a:pt x="650" y="667"/>
                  </a:lnTo>
                  <a:lnTo>
                    <a:pt x="646" y="667"/>
                  </a:lnTo>
                  <a:lnTo>
                    <a:pt x="646" y="670"/>
                  </a:lnTo>
                  <a:lnTo>
                    <a:pt x="644" y="667"/>
                  </a:lnTo>
                  <a:lnTo>
                    <a:pt x="642" y="667"/>
                  </a:lnTo>
                  <a:lnTo>
                    <a:pt x="642" y="667"/>
                  </a:lnTo>
                  <a:lnTo>
                    <a:pt x="642" y="667"/>
                  </a:lnTo>
                  <a:lnTo>
                    <a:pt x="642" y="667"/>
                  </a:lnTo>
                  <a:close/>
                  <a:moveTo>
                    <a:pt x="638" y="691"/>
                  </a:moveTo>
                  <a:lnTo>
                    <a:pt x="638" y="685"/>
                  </a:lnTo>
                  <a:lnTo>
                    <a:pt x="638" y="684"/>
                  </a:lnTo>
                  <a:lnTo>
                    <a:pt x="638" y="680"/>
                  </a:lnTo>
                  <a:lnTo>
                    <a:pt x="642" y="676"/>
                  </a:lnTo>
                  <a:lnTo>
                    <a:pt x="642" y="678"/>
                  </a:lnTo>
                  <a:lnTo>
                    <a:pt x="642" y="680"/>
                  </a:lnTo>
                  <a:lnTo>
                    <a:pt x="642" y="682"/>
                  </a:lnTo>
                  <a:lnTo>
                    <a:pt x="642" y="684"/>
                  </a:lnTo>
                  <a:lnTo>
                    <a:pt x="642" y="685"/>
                  </a:lnTo>
                  <a:lnTo>
                    <a:pt x="642" y="687"/>
                  </a:lnTo>
                  <a:lnTo>
                    <a:pt x="638" y="687"/>
                  </a:lnTo>
                  <a:lnTo>
                    <a:pt x="638" y="691"/>
                  </a:lnTo>
                  <a:lnTo>
                    <a:pt x="638" y="691"/>
                  </a:lnTo>
                  <a:lnTo>
                    <a:pt x="638" y="691"/>
                  </a:lnTo>
                  <a:lnTo>
                    <a:pt x="638" y="691"/>
                  </a:lnTo>
                  <a:close/>
                  <a:moveTo>
                    <a:pt x="776" y="606"/>
                  </a:moveTo>
                  <a:lnTo>
                    <a:pt x="776" y="603"/>
                  </a:lnTo>
                  <a:lnTo>
                    <a:pt x="776" y="603"/>
                  </a:lnTo>
                  <a:lnTo>
                    <a:pt x="776" y="603"/>
                  </a:lnTo>
                  <a:lnTo>
                    <a:pt x="776" y="606"/>
                  </a:lnTo>
                  <a:lnTo>
                    <a:pt x="776" y="606"/>
                  </a:lnTo>
                  <a:lnTo>
                    <a:pt x="776" y="606"/>
                  </a:lnTo>
                  <a:lnTo>
                    <a:pt x="776" y="606"/>
                  </a:lnTo>
                  <a:lnTo>
                    <a:pt x="776" y="606"/>
                  </a:lnTo>
                  <a:close/>
                  <a:moveTo>
                    <a:pt x="821" y="578"/>
                  </a:moveTo>
                  <a:lnTo>
                    <a:pt x="819" y="572"/>
                  </a:lnTo>
                  <a:lnTo>
                    <a:pt x="819" y="572"/>
                  </a:lnTo>
                  <a:lnTo>
                    <a:pt x="819" y="569"/>
                  </a:lnTo>
                  <a:lnTo>
                    <a:pt x="821" y="567"/>
                  </a:lnTo>
                  <a:lnTo>
                    <a:pt x="823" y="569"/>
                  </a:lnTo>
                  <a:lnTo>
                    <a:pt x="823" y="569"/>
                  </a:lnTo>
                  <a:lnTo>
                    <a:pt x="825" y="572"/>
                  </a:lnTo>
                  <a:lnTo>
                    <a:pt x="823" y="572"/>
                  </a:lnTo>
                  <a:lnTo>
                    <a:pt x="823" y="578"/>
                  </a:lnTo>
                  <a:lnTo>
                    <a:pt x="821" y="578"/>
                  </a:lnTo>
                  <a:lnTo>
                    <a:pt x="821" y="578"/>
                  </a:lnTo>
                  <a:lnTo>
                    <a:pt x="821" y="578"/>
                  </a:lnTo>
                  <a:lnTo>
                    <a:pt x="821" y="578"/>
                  </a:lnTo>
                  <a:close/>
                  <a:moveTo>
                    <a:pt x="770" y="633"/>
                  </a:moveTo>
                  <a:lnTo>
                    <a:pt x="770" y="633"/>
                  </a:lnTo>
                  <a:lnTo>
                    <a:pt x="770" y="631"/>
                  </a:lnTo>
                  <a:lnTo>
                    <a:pt x="772" y="629"/>
                  </a:lnTo>
                  <a:lnTo>
                    <a:pt x="772" y="627"/>
                  </a:lnTo>
                  <a:lnTo>
                    <a:pt x="774" y="625"/>
                  </a:lnTo>
                  <a:lnTo>
                    <a:pt x="774" y="621"/>
                  </a:lnTo>
                  <a:lnTo>
                    <a:pt x="770" y="621"/>
                  </a:lnTo>
                  <a:lnTo>
                    <a:pt x="770" y="620"/>
                  </a:lnTo>
                  <a:lnTo>
                    <a:pt x="770" y="616"/>
                  </a:lnTo>
                  <a:lnTo>
                    <a:pt x="774" y="616"/>
                  </a:lnTo>
                  <a:lnTo>
                    <a:pt x="774" y="612"/>
                  </a:lnTo>
                  <a:lnTo>
                    <a:pt x="770" y="612"/>
                  </a:lnTo>
                  <a:lnTo>
                    <a:pt x="768" y="612"/>
                  </a:lnTo>
                  <a:lnTo>
                    <a:pt x="768" y="612"/>
                  </a:lnTo>
                  <a:lnTo>
                    <a:pt x="766" y="614"/>
                  </a:lnTo>
                  <a:lnTo>
                    <a:pt x="764" y="612"/>
                  </a:lnTo>
                  <a:lnTo>
                    <a:pt x="759" y="612"/>
                  </a:lnTo>
                  <a:lnTo>
                    <a:pt x="755" y="618"/>
                  </a:lnTo>
                  <a:lnTo>
                    <a:pt x="751" y="620"/>
                  </a:lnTo>
                  <a:lnTo>
                    <a:pt x="751" y="618"/>
                  </a:lnTo>
                  <a:lnTo>
                    <a:pt x="755" y="616"/>
                  </a:lnTo>
                  <a:lnTo>
                    <a:pt x="757" y="612"/>
                  </a:lnTo>
                  <a:lnTo>
                    <a:pt x="757" y="608"/>
                  </a:lnTo>
                  <a:lnTo>
                    <a:pt x="755" y="612"/>
                  </a:lnTo>
                  <a:lnTo>
                    <a:pt x="755" y="612"/>
                  </a:lnTo>
                  <a:lnTo>
                    <a:pt x="755" y="606"/>
                  </a:lnTo>
                  <a:lnTo>
                    <a:pt x="757" y="606"/>
                  </a:lnTo>
                  <a:lnTo>
                    <a:pt x="755" y="603"/>
                  </a:lnTo>
                  <a:lnTo>
                    <a:pt x="757" y="599"/>
                  </a:lnTo>
                  <a:lnTo>
                    <a:pt x="759" y="599"/>
                  </a:lnTo>
                  <a:lnTo>
                    <a:pt x="759" y="601"/>
                  </a:lnTo>
                  <a:lnTo>
                    <a:pt x="761" y="606"/>
                  </a:lnTo>
                  <a:lnTo>
                    <a:pt x="763" y="606"/>
                  </a:lnTo>
                  <a:lnTo>
                    <a:pt x="764" y="606"/>
                  </a:lnTo>
                  <a:lnTo>
                    <a:pt x="768" y="606"/>
                  </a:lnTo>
                  <a:lnTo>
                    <a:pt x="770" y="603"/>
                  </a:lnTo>
                  <a:lnTo>
                    <a:pt x="768" y="603"/>
                  </a:lnTo>
                  <a:lnTo>
                    <a:pt x="768" y="601"/>
                  </a:lnTo>
                  <a:lnTo>
                    <a:pt x="772" y="601"/>
                  </a:lnTo>
                  <a:lnTo>
                    <a:pt x="772" y="601"/>
                  </a:lnTo>
                  <a:lnTo>
                    <a:pt x="774" y="601"/>
                  </a:lnTo>
                  <a:lnTo>
                    <a:pt x="776" y="597"/>
                  </a:lnTo>
                  <a:lnTo>
                    <a:pt x="780" y="593"/>
                  </a:lnTo>
                  <a:lnTo>
                    <a:pt x="780" y="597"/>
                  </a:lnTo>
                  <a:lnTo>
                    <a:pt x="780" y="597"/>
                  </a:lnTo>
                  <a:lnTo>
                    <a:pt x="785" y="595"/>
                  </a:lnTo>
                  <a:lnTo>
                    <a:pt x="780" y="601"/>
                  </a:lnTo>
                  <a:lnTo>
                    <a:pt x="780" y="606"/>
                  </a:lnTo>
                  <a:lnTo>
                    <a:pt x="781" y="603"/>
                  </a:lnTo>
                  <a:lnTo>
                    <a:pt x="785" y="606"/>
                  </a:lnTo>
                  <a:lnTo>
                    <a:pt x="781" y="606"/>
                  </a:lnTo>
                  <a:lnTo>
                    <a:pt x="785" y="606"/>
                  </a:lnTo>
                  <a:lnTo>
                    <a:pt x="785" y="603"/>
                  </a:lnTo>
                  <a:lnTo>
                    <a:pt x="787" y="603"/>
                  </a:lnTo>
                  <a:lnTo>
                    <a:pt x="791" y="597"/>
                  </a:lnTo>
                  <a:lnTo>
                    <a:pt x="793" y="597"/>
                  </a:lnTo>
                  <a:lnTo>
                    <a:pt x="793" y="601"/>
                  </a:lnTo>
                  <a:lnTo>
                    <a:pt x="789" y="603"/>
                  </a:lnTo>
                  <a:lnTo>
                    <a:pt x="789" y="608"/>
                  </a:lnTo>
                  <a:lnTo>
                    <a:pt x="793" y="608"/>
                  </a:lnTo>
                  <a:lnTo>
                    <a:pt x="795" y="612"/>
                  </a:lnTo>
                  <a:lnTo>
                    <a:pt x="796" y="608"/>
                  </a:lnTo>
                  <a:lnTo>
                    <a:pt x="800" y="603"/>
                  </a:lnTo>
                  <a:lnTo>
                    <a:pt x="800" y="599"/>
                  </a:lnTo>
                  <a:lnTo>
                    <a:pt x="804" y="595"/>
                  </a:lnTo>
                  <a:lnTo>
                    <a:pt x="804" y="591"/>
                  </a:lnTo>
                  <a:lnTo>
                    <a:pt x="804" y="589"/>
                  </a:lnTo>
                  <a:lnTo>
                    <a:pt x="804" y="587"/>
                  </a:lnTo>
                  <a:lnTo>
                    <a:pt x="800" y="587"/>
                  </a:lnTo>
                  <a:lnTo>
                    <a:pt x="800" y="587"/>
                  </a:lnTo>
                  <a:lnTo>
                    <a:pt x="798" y="589"/>
                  </a:lnTo>
                  <a:lnTo>
                    <a:pt x="798" y="584"/>
                  </a:lnTo>
                  <a:lnTo>
                    <a:pt x="800" y="584"/>
                  </a:lnTo>
                  <a:lnTo>
                    <a:pt x="798" y="582"/>
                  </a:lnTo>
                  <a:lnTo>
                    <a:pt x="795" y="582"/>
                  </a:lnTo>
                  <a:lnTo>
                    <a:pt x="795" y="582"/>
                  </a:lnTo>
                  <a:lnTo>
                    <a:pt x="791" y="578"/>
                  </a:lnTo>
                  <a:lnTo>
                    <a:pt x="791" y="576"/>
                  </a:lnTo>
                  <a:lnTo>
                    <a:pt x="787" y="569"/>
                  </a:lnTo>
                  <a:lnTo>
                    <a:pt x="787" y="565"/>
                  </a:lnTo>
                  <a:lnTo>
                    <a:pt x="789" y="561"/>
                  </a:lnTo>
                  <a:lnTo>
                    <a:pt x="787" y="555"/>
                  </a:lnTo>
                  <a:lnTo>
                    <a:pt x="785" y="559"/>
                  </a:lnTo>
                  <a:lnTo>
                    <a:pt x="785" y="563"/>
                  </a:lnTo>
                  <a:lnTo>
                    <a:pt x="781" y="559"/>
                  </a:lnTo>
                  <a:lnTo>
                    <a:pt x="780" y="557"/>
                  </a:lnTo>
                  <a:lnTo>
                    <a:pt x="780" y="552"/>
                  </a:lnTo>
                  <a:lnTo>
                    <a:pt x="776" y="548"/>
                  </a:lnTo>
                  <a:lnTo>
                    <a:pt x="776" y="542"/>
                  </a:lnTo>
                  <a:lnTo>
                    <a:pt x="774" y="539"/>
                  </a:lnTo>
                  <a:lnTo>
                    <a:pt x="772" y="537"/>
                  </a:lnTo>
                  <a:lnTo>
                    <a:pt x="772" y="533"/>
                  </a:lnTo>
                  <a:lnTo>
                    <a:pt x="772" y="531"/>
                  </a:lnTo>
                  <a:lnTo>
                    <a:pt x="776" y="531"/>
                  </a:lnTo>
                  <a:lnTo>
                    <a:pt x="776" y="525"/>
                  </a:lnTo>
                  <a:lnTo>
                    <a:pt x="780" y="525"/>
                  </a:lnTo>
                  <a:lnTo>
                    <a:pt x="780" y="527"/>
                  </a:lnTo>
                  <a:lnTo>
                    <a:pt x="781" y="525"/>
                  </a:lnTo>
                  <a:lnTo>
                    <a:pt x="781" y="522"/>
                  </a:lnTo>
                  <a:lnTo>
                    <a:pt x="785" y="514"/>
                  </a:lnTo>
                  <a:lnTo>
                    <a:pt x="785" y="510"/>
                  </a:lnTo>
                  <a:lnTo>
                    <a:pt x="785" y="508"/>
                  </a:lnTo>
                  <a:lnTo>
                    <a:pt x="781" y="503"/>
                  </a:lnTo>
                  <a:lnTo>
                    <a:pt x="785" y="499"/>
                  </a:lnTo>
                  <a:lnTo>
                    <a:pt x="787" y="497"/>
                  </a:lnTo>
                  <a:lnTo>
                    <a:pt x="787" y="493"/>
                  </a:lnTo>
                  <a:lnTo>
                    <a:pt x="791" y="488"/>
                  </a:lnTo>
                  <a:lnTo>
                    <a:pt x="791" y="484"/>
                  </a:lnTo>
                  <a:lnTo>
                    <a:pt x="793" y="482"/>
                  </a:lnTo>
                  <a:lnTo>
                    <a:pt x="793" y="474"/>
                  </a:lnTo>
                  <a:lnTo>
                    <a:pt x="795" y="474"/>
                  </a:lnTo>
                  <a:lnTo>
                    <a:pt x="795" y="471"/>
                  </a:lnTo>
                  <a:lnTo>
                    <a:pt x="800" y="465"/>
                  </a:lnTo>
                  <a:lnTo>
                    <a:pt x="798" y="463"/>
                  </a:lnTo>
                  <a:lnTo>
                    <a:pt x="800" y="459"/>
                  </a:lnTo>
                  <a:lnTo>
                    <a:pt x="800" y="459"/>
                  </a:lnTo>
                  <a:lnTo>
                    <a:pt x="800" y="454"/>
                  </a:lnTo>
                  <a:lnTo>
                    <a:pt x="800" y="450"/>
                  </a:lnTo>
                  <a:lnTo>
                    <a:pt x="800" y="450"/>
                  </a:lnTo>
                  <a:lnTo>
                    <a:pt x="800" y="446"/>
                  </a:lnTo>
                  <a:lnTo>
                    <a:pt x="798" y="444"/>
                  </a:lnTo>
                  <a:lnTo>
                    <a:pt x="796" y="439"/>
                  </a:lnTo>
                  <a:lnTo>
                    <a:pt x="796" y="437"/>
                  </a:lnTo>
                  <a:lnTo>
                    <a:pt x="795" y="431"/>
                  </a:lnTo>
                  <a:lnTo>
                    <a:pt x="791" y="429"/>
                  </a:lnTo>
                  <a:lnTo>
                    <a:pt x="789" y="429"/>
                  </a:lnTo>
                  <a:lnTo>
                    <a:pt x="787" y="429"/>
                  </a:lnTo>
                  <a:lnTo>
                    <a:pt x="787" y="433"/>
                  </a:lnTo>
                  <a:lnTo>
                    <a:pt x="785" y="433"/>
                  </a:lnTo>
                  <a:lnTo>
                    <a:pt x="781" y="425"/>
                  </a:lnTo>
                  <a:lnTo>
                    <a:pt x="780" y="425"/>
                  </a:lnTo>
                  <a:lnTo>
                    <a:pt x="776" y="424"/>
                  </a:lnTo>
                  <a:lnTo>
                    <a:pt x="776" y="425"/>
                  </a:lnTo>
                  <a:lnTo>
                    <a:pt x="776" y="429"/>
                  </a:lnTo>
                  <a:lnTo>
                    <a:pt x="774" y="429"/>
                  </a:lnTo>
                  <a:lnTo>
                    <a:pt x="772" y="429"/>
                  </a:lnTo>
                  <a:lnTo>
                    <a:pt x="770" y="433"/>
                  </a:lnTo>
                  <a:lnTo>
                    <a:pt x="770" y="437"/>
                  </a:lnTo>
                  <a:lnTo>
                    <a:pt x="768" y="437"/>
                  </a:lnTo>
                  <a:lnTo>
                    <a:pt x="764" y="446"/>
                  </a:lnTo>
                  <a:lnTo>
                    <a:pt x="764" y="450"/>
                  </a:lnTo>
                  <a:lnTo>
                    <a:pt x="763" y="454"/>
                  </a:lnTo>
                  <a:lnTo>
                    <a:pt x="763" y="459"/>
                  </a:lnTo>
                  <a:lnTo>
                    <a:pt x="761" y="459"/>
                  </a:lnTo>
                  <a:lnTo>
                    <a:pt x="761" y="463"/>
                  </a:lnTo>
                  <a:lnTo>
                    <a:pt x="757" y="463"/>
                  </a:lnTo>
                  <a:lnTo>
                    <a:pt x="757" y="471"/>
                  </a:lnTo>
                  <a:lnTo>
                    <a:pt x="755" y="473"/>
                  </a:lnTo>
                  <a:lnTo>
                    <a:pt x="755" y="473"/>
                  </a:lnTo>
                  <a:lnTo>
                    <a:pt x="751" y="478"/>
                  </a:lnTo>
                  <a:lnTo>
                    <a:pt x="751" y="480"/>
                  </a:lnTo>
                  <a:lnTo>
                    <a:pt x="751" y="484"/>
                  </a:lnTo>
                  <a:lnTo>
                    <a:pt x="751" y="488"/>
                  </a:lnTo>
                  <a:lnTo>
                    <a:pt x="748" y="490"/>
                  </a:lnTo>
                  <a:lnTo>
                    <a:pt x="751" y="493"/>
                  </a:lnTo>
                  <a:lnTo>
                    <a:pt x="749" y="497"/>
                  </a:lnTo>
                  <a:lnTo>
                    <a:pt x="746" y="497"/>
                  </a:lnTo>
                  <a:lnTo>
                    <a:pt x="748" y="499"/>
                  </a:lnTo>
                  <a:lnTo>
                    <a:pt x="751" y="499"/>
                  </a:lnTo>
                  <a:lnTo>
                    <a:pt x="751" y="503"/>
                  </a:lnTo>
                  <a:lnTo>
                    <a:pt x="748" y="503"/>
                  </a:lnTo>
                  <a:lnTo>
                    <a:pt x="746" y="503"/>
                  </a:lnTo>
                  <a:lnTo>
                    <a:pt x="742" y="505"/>
                  </a:lnTo>
                  <a:lnTo>
                    <a:pt x="740" y="505"/>
                  </a:lnTo>
                  <a:lnTo>
                    <a:pt x="738" y="506"/>
                  </a:lnTo>
                  <a:lnTo>
                    <a:pt x="738" y="510"/>
                  </a:lnTo>
                  <a:lnTo>
                    <a:pt x="736" y="510"/>
                  </a:lnTo>
                  <a:lnTo>
                    <a:pt x="734" y="510"/>
                  </a:lnTo>
                  <a:lnTo>
                    <a:pt x="734" y="506"/>
                  </a:lnTo>
                  <a:lnTo>
                    <a:pt x="734" y="503"/>
                  </a:lnTo>
                  <a:lnTo>
                    <a:pt x="732" y="501"/>
                  </a:lnTo>
                  <a:lnTo>
                    <a:pt x="732" y="493"/>
                  </a:lnTo>
                  <a:lnTo>
                    <a:pt x="736" y="488"/>
                  </a:lnTo>
                  <a:lnTo>
                    <a:pt x="736" y="484"/>
                  </a:lnTo>
                  <a:lnTo>
                    <a:pt x="740" y="484"/>
                  </a:lnTo>
                  <a:lnTo>
                    <a:pt x="740" y="480"/>
                  </a:lnTo>
                  <a:lnTo>
                    <a:pt x="740" y="476"/>
                  </a:lnTo>
                  <a:lnTo>
                    <a:pt x="742" y="469"/>
                  </a:lnTo>
                  <a:lnTo>
                    <a:pt x="748" y="467"/>
                  </a:lnTo>
                  <a:lnTo>
                    <a:pt x="748" y="463"/>
                  </a:lnTo>
                  <a:lnTo>
                    <a:pt x="746" y="463"/>
                  </a:lnTo>
                  <a:lnTo>
                    <a:pt x="742" y="463"/>
                  </a:lnTo>
                  <a:lnTo>
                    <a:pt x="742" y="459"/>
                  </a:lnTo>
                  <a:lnTo>
                    <a:pt x="746" y="458"/>
                  </a:lnTo>
                  <a:lnTo>
                    <a:pt x="746" y="450"/>
                  </a:lnTo>
                  <a:lnTo>
                    <a:pt x="742" y="448"/>
                  </a:lnTo>
                  <a:lnTo>
                    <a:pt x="742" y="444"/>
                  </a:lnTo>
                  <a:lnTo>
                    <a:pt x="742" y="442"/>
                  </a:lnTo>
                  <a:lnTo>
                    <a:pt x="742" y="437"/>
                  </a:lnTo>
                  <a:lnTo>
                    <a:pt x="742" y="437"/>
                  </a:lnTo>
                  <a:lnTo>
                    <a:pt x="738" y="433"/>
                  </a:lnTo>
                  <a:lnTo>
                    <a:pt x="732" y="435"/>
                  </a:lnTo>
                  <a:lnTo>
                    <a:pt x="731" y="439"/>
                  </a:lnTo>
                  <a:lnTo>
                    <a:pt x="734" y="441"/>
                  </a:lnTo>
                  <a:lnTo>
                    <a:pt x="734" y="444"/>
                  </a:lnTo>
                  <a:lnTo>
                    <a:pt x="736" y="446"/>
                  </a:lnTo>
                  <a:lnTo>
                    <a:pt x="736" y="450"/>
                  </a:lnTo>
                  <a:lnTo>
                    <a:pt x="734" y="450"/>
                  </a:lnTo>
                  <a:lnTo>
                    <a:pt x="732" y="446"/>
                  </a:lnTo>
                  <a:lnTo>
                    <a:pt x="731" y="446"/>
                  </a:lnTo>
                  <a:lnTo>
                    <a:pt x="731" y="450"/>
                  </a:lnTo>
                  <a:lnTo>
                    <a:pt x="731" y="450"/>
                  </a:lnTo>
                  <a:lnTo>
                    <a:pt x="732" y="454"/>
                  </a:lnTo>
                  <a:lnTo>
                    <a:pt x="732" y="459"/>
                  </a:lnTo>
                  <a:lnTo>
                    <a:pt x="731" y="459"/>
                  </a:lnTo>
                  <a:lnTo>
                    <a:pt x="731" y="459"/>
                  </a:lnTo>
                  <a:lnTo>
                    <a:pt x="731" y="458"/>
                  </a:lnTo>
                  <a:lnTo>
                    <a:pt x="731" y="463"/>
                  </a:lnTo>
                  <a:lnTo>
                    <a:pt x="727" y="459"/>
                  </a:lnTo>
                  <a:lnTo>
                    <a:pt x="727" y="454"/>
                  </a:lnTo>
                  <a:lnTo>
                    <a:pt x="725" y="458"/>
                  </a:lnTo>
                  <a:lnTo>
                    <a:pt x="721" y="459"/>
                  </a:lnTo>
                  <a:lnTo>
                    <a:pt x="721" y="459"/>
                  </a:lnTo>
                  <a:lnTo>
                    <a:pt x="721" y="454"/>
                  </a:lnTo>
                  <a:lnTo>
                    <a:pt x="721" y="454"/>
                  </a:lnTo>
                  <a:lnTo>
                    <a:pt x="721" y="450"/>
                  </a:lnTo>
                  <a:lnTo>
                    <a:pt x="717" y="454"/>
                  </a:lnTo>
                  <a:lnTo>
                    <a:pt x="712" y="459"/>
                  </a:lnTo>
                  <a:lnTo>
                    <a:pt x="710" y="454"/>
                  </a:lnTo>
                  <a:lnTo>
                    <a:pt x="706" y="454"/>
                  </a:lnTo>
                  <a:lnTo>
                    <a:pt x="704" y="458"/>
                  </a:lnTo>
                  <a:lnTo>
                    <a:pt x="700" y="458"/>
                  </a:lnTo>
                  <a:lnTo>
                    <a:pt x="700" y="454"/>
                  </a:lnTo>
                  <a:lnTo>
                    <a:pt x="697" y="454"/>
                  </a:lnTo>
                  <a:lnTo>
                    <a:pt x="693" y="454"/>
                  </a:lnTo>
                  <a:lnTo>
                    <a:pt x="697" y="450"/>
                  </a:lnTo>
                  <a:lnTo>
                    <a:pt x="700" y="450"/>
                  </a:lnTo>
                  <a:lnTo>
                    <a:pt x="704" y="450"/>
                  </a:lnTo>
                  <a:lnTo>
                    <a:pt x="708" y="450"/>
                  </a:lnTo>
                  <a:lnTo>
                    <a:pt x="708" y="448"/>
                  </a:lnTo>
                  <a:lnTo>
                    <a:pt x="710" y="446"/>
                  </a:lnTo>
                  <a:lnTo>
                    <a:pt x="714" y="448"/>
                  </a:lnTo>
                  <a:lnTo>
                    <a:pt x="717" y="444"/>
                  </a:lnTo>
                  <a:lnTo>
                    <a:pt x="717" y="441"/>
                  </a:lnTo>
                  <a:lnTo>
                    <a:pt x="717" y="439"/>
                  </a:lnTo>
                  <a:lnTo>
                    <a:pt x="716" y="437"/>
                  </a:lnTo>
                  <a:lnTo>
                    <a:pt x="712" y="429"/>
                  </a:lnTo>
                  <a:lnTo>
                    <a:pt x="708" y="429"/>
                  </a:lnTo>
                  <a:lnTo>
                    <a:pt x="708" y="425"/>
                  </a:lnTo>
                  <a:lnTo>
                    <a:pt x="700" y="420"/>
                  </a:lnTo>
                  <a:lnTo>
                    <a:pt x="700" y="420"/>
                  </a:lnTo>
                  <a:lnTo>
                    <a:pt x="697" y="420"/>
                  </a:lnTo>
                  <a:lnTo>
                    <a:pt x="693" y="424"/>
                  </a:lnTo>
                  <a:lnTo>
                    <a:pt x="693" y="424"/>
                  </a:lnTo>
                  <a:lnTo>
                    <a:pt x="685" y="429"/>
                  </a:lnTo>
                  <a:lnTo>
                    <a:pt x="687" y="429"/>
                  </a:lnTo>
                  <a:lnTo>
                    <a:pt x="687" y="433"/>
                  </a:lnTo>
                  <a:lnTo>
                    <a:pt x="685" y="433"/>
                  </a:lnTo>
                  <a:lnTo>
                    <a:pt x="682" y="435"/>
                  </a:lnTo>
                  <a:lnTo>
                    <a:pt x="682" y="433"/>
                  </a:lnTo>
                  <a:lnTo>
                    <a:pt x="680" y="433"/>
                  </a:lnTo>
                  <a:lnTo>
                    <a:pt x="676" y="431"/>
                  </a:lnTo>
                  <a:lnTo>
                    <a:pt x="672" y="431"/>
                  </a:lnTo>
                  <a:lnTo>
                    <a:pt x="672" y="433"/>
                  </a:lnTo>
                  <a:lnTo>
                    <a:pt x="668" y="433"/>
                  </a:lnTo>
                  <a:lnTo>
                    <a:pt x="667" y="431"/>
                  </a:lnTo>
                  <a:lnTo>
                    <a:pt x="668" y="429"/>
                  </a:lnTo>
                  <a:lnTo>
                    <a:pt x="672" y="429"/>
                  </a:lnTo>
                  <a:lnTo>
                    <a:pt x="676" y="425"/>
                  </a:lnTo>
                  <a:lnTo>
                    <a:pt x="678" y="425"/>
                  </a:lnTo>
                  <a:lnTo>
                    <a:pt x="680" y="425"/>
                  </a:lnTo>
                  <a:lnTo>
                    <a:pt x="682" y="420"/>
                  </a:lnTo>
                  <a:lnTo>
                    <a:pt x="684" y="418"/>
                  </a:lnTo>
                  <a:lnTo>
                    <a:pt x="684" y="416"/>
                  </a:lnTo>
                  <a:lnTo>
                    <a:pt x="687" y="416"/>
                  </a:lnTo>
                  <a:lnTo>
                    <a:pt x="691" y="410"/>
                  </a:lnTo>
                  <a:lnTo>
                    <a:pt x="689" y="405"/>
                  </a:lnTo>
                  <a:lnTo>
                    <a:pt x="691" y="401"/>
                  </a:lnTo>
                  <a:lnTo>
                    <a:pt x="689" y="399"/>
                  </a:lnTo>
                  <a:lnTo>
                    <a:pt x="685" y="399"/>
                  </a:lnTo>
                  <a:lnTo>
                    <a:pt x="680" y="399"/>
                  </a:lnTo>
                  <a:lnTo>
                    <a:pt x="672" y="401"/>
                  </a:lnTo>
                  <a:lnTo>
                    <a:pt x="667" y="405"/>
                  </a:lnTo>
                  <a:lnTo>
                    <a:pt x="653" y="407"/>
                  </a:lnTo>
                  <a:lnTo>
                    <a:pt x="638" y="412"/>
                  </a:lnTo>
                  <a:lnTo>
                    <a:pt x="633" y="418"/>
                  </a:lnTo>
                  <a:lnTo>
                    <a:pt x="621" y="420"/>
                  </a:lnTo>
                  <a:lnTo>
                    <a:pt x="610" y="425"/>
                  </a:lnTo>
                  <a:lnTo>
                    <a:pt x="604" y="429"/>
                  </a:lnTo>
                  <a:lnTo>
                    <a:pt x="604" y="433"/>
                  </a:lnTo>
                  <a:lnTo>
                    <a:pt x="608" y="433"/>
                  </a:lnTo>
                  <a:lnTo>
                    <a:pt x="610" y="433"/>
                  </a:lnTo>
                  <a:lnTo>
                    <a:pt x="606" y="437"/>
                  </a:lnTo>
                  <a:lnTo>
                    <a:pt x="603" y="437"/>
                  </a:lnTo>
                  <a:lnTo>
                    <a:pt x="595" y="442"/>
                  </a:lnTo>
                  <a:lnTo>
                    <a:pt x="589" y="442"/>
                  </a:lnTo>
                  <a:lnTo>
                    <a:pt x="588" y="444"/>
                  </a:lnTo>
                  <a:lnTo>
                    <a:pt x="588" y="448"/>
                  </a:lnTo>
                  <a:lnTo>
                    <a:pt x="584" y="450"/>
                  </a:lnTo>
                  <a:lnTo>
                    <a:pt x="580" y="454"/>
                  </a:lnTo>
                  <a:lnTo>
                    <a:pt x="580" y="459"/>
                  </a:lnTo>
                  <a:lnTo>
                    <a:pt x="584" y="459"/>
                  </a:lnTo>
                  <a:lnTo>
                    <a:pt x="584" y="459"/>
                  </a:lnTo>
                  <a:lnTo>
                    <a:pt x="584" y="463"/>
                  </a:lnTo>
                  <a:lnTo>
                    <a:pt x="584" y="463"/>
                  </a:lnTo>
                  <a:lnTo>
                    <a:pt x="588" y="463"/>
                  </a:lnTo>
                  <a:lnTo>
                    <a:pt x="589" y="459"/>
                  </a:lnTo>
                  <a:lnTo>
                    <a:pt x="593" y="463"/>
                  </a:lnTo>
                  <a:lnTo>
                    <a:pt x="597" y="463"/>
                  </a:lnTo>
                  <a:lnTo>
                    <a:pt x="595" y="465"/>
                  </a:lnTo>
                  <a:lnTo>
                    <a:pt x="593" y="467"/>
                  </a:lnTo>
                  <a:lnTo>
                    <a:pt x="588" y="465"/>
                  </a:lnTo>
                  <a:lnTo>
                    <a:pt x="584" y="467"/>
                  </a:lnTo>
                  <a:lnTo>
                    <a:pt x="584" y="471"/>
                  </a:lnTo>
                  <a:lnTo>
                    <a:pt x="593" y="474"/>
                  </a:lnTo>
                  <a:lnTo>
                    <a:pt x="593" y="473"/>
                  </a:lnTo>
                  <a:lnTo>
                    <a:pt x="593" y="469"/>
                  </a:lnTo>
                  <a:lnTo>
                    <a:pt x="597" y="469"/>
                  </a:lnTo>
                  <a:lnTo>
                    <a:pt x="597" y="471"/>
                  </a:lnTo>
                  <a:lnTo>
                    <a:pt x="597" y="474"/>
                  </a:lnTo>
                  <a:lnTo>
                    <a:pt x="599" y="474"/>
                  </a:lnTo>
                  <a:lnTo>
                    <a:pt x="606" y="474"/>
                  </a:lnTo>
                  <a:lnTo>
                    <a:pt x="612" y="473"/>
                  </a:lnTo>
                  <a:lnTo>
                    <a:pt x="614" y="473"/>
                  </a:lnTo>
                  <a:lnTo>
                    <a:pt x="620" y="476"/>
                  </a:lnTo>
                  <a:lnTo>
                    <a:pt x="623" y="474"/>
                  </a:lnTo>
                  <a:lnTo>
                    <a:pt x="627" y="476"/>
                  </a:lnTo>
                  <a:lnTo>
                    <a:pt x="629" y="480"/>
                  </a:lnTo>
                  <a:lnTo>
                    <a:pt x="633" y="480"/>
                  </a:lnTo>
                  <a:lnTo>
                    <a:pt x="631" y="482"/>
                  </a:lnTo>
                  <a:lnTo>
                    <a:pt x="629" y="482"/>
                  </a:lnTo>
                  <a:lnTo>
                    <a:pt x="623" y="478"/>
                  </a:lnTo>
                  <a:lnTo>
                    <a:pt x="618" y="478"/>
                  </a:lnTo>
                  <a:lnTo>
                    <a:pt x="614" y="480"/>
                  </a:lnTo>
                  <a:lnTo>
                    <a:pt x="620" y="482"/>
                  </a:lnTo>
                  <a:lnTo>
                    <a:pt x="620" y="484"/>
                  </a:lnTo>
                  <a:lnTo>
                    <a:pt x="614" y="484"/>
                  </a:lnTo>
                  <a:lnTo>
                    <a:pt x="612" y="482"/>
                  </a:lnTo>
                  <a:lnTo>
                    <a:pt x="604" y="482"/>
                  </a:lnTo>
                  <a:lnTo>
                    <a:pt x="603" y="484"/>
                  </a:lnTo>
                  <a:lnTo>
                    <a:pt x="599" y="482"/>
                  </a:lnTo>
                  <a:lnTo>
                    <a:pt x="597" y="482"/>
                  </a:lnTo>
                  <a:lnTo>
                    <a:pt x="593" y="484"/>
                  </a:lnTo>
                  <a:lnTo>
                    <a:pt x="593" y="484"/>
                  </a:lnTo>
                  <a:lnTo>
                    <a:pt x="584" y="484"/>
                  </a:lnTo>
                  <a:lnTo>
                    <a:pt x="582" y="484"/>
                  </a:lnTo>
                  <a:lnTo>
                    <a:pt x="574" y="484"/>
                  </a:lnTo>
                  <a:lnTo>
                    <a:pt x="572" y="490"/>
                  </a:lnTo>
                  <a:lnTo>
                    <a:pt x="574" y="499"/>
                  </a:lnTo>
                  <a:lnTo>
                    <a:pt x="576" y="501"/>
                  </a:lnTo>
                  <a:lnTo>
                    <a:pt x="574" y="506"/>
                  </a:lnTo>
                  <a:lnTo>
                    <a:pt x="574" y="506"/>
                  </a:lnTo>
                  <a:lnTo>
                    <a:pt x="574" y="510"/>
                  </a:lnTo>
                  <a:lnTo>
                    <a:pt x="576" y="512"/>
                  </a:lnTo>
                  <a:lnTo>
                    <a:pt x="580" y="510"/>
                  </a:lnTo>
                  <a:lnTo>
                    <a:pt x="582" y="510"/>
                  </a:lnTo>
                  <a:lnTo>
                    <a:pt x="584" y="512"/>
                  </a:lnTo>
                  <a:lnTo>
                    <a:pt x="588" y="512"/>
                  </a:lnTo>
                  <a:lnTo>
                    <a:pt x="588" y="510"/>
                  </a:lnTo>
                  <a:lnTo>
                    <a:pt x="588" y="510"/>
                  </a:lnTo>
                  <a:lnTo>
                    <a:pt x="589" y="512"/>
                  </a:lnTo>
                  <a:lnTo>
                    <a:pt x="593" y="514"/>
                  </a:lnTo>
                  <a:lnTo>
                    <a:pt x="593" y="512"/>
                  </a:lnTo>
                  <a:lnTo>
                    <a:pt x="595" y="514"/>
                  </a:lnTo>
                  <a:lnTo>
                    <a:pt x="595" y="514"/>
                  </a:lnTo>
                  <a:lnTo>
                    <a:pt x="599" y="518"/>
                  </a:lnTo>
                  <a:lnTo>
                    <a:pt x="601" y="514"/>
                  </a:lnTo>
                  <a:lnTo>
                    <a:pt x="603" y="514"/>
                  </a:lnTo>
                  <a:lnTo>
                    <a:pt x="604" y="518"/>
                  </a:lnTo>
                  <a:lnTo>
                    <a:pt x="610" y="518"/>
                  </a:lnTo>
                  <a:lnTo>
                    <a:pt x="612" y="518"/>
                  </a:lnTo>
                  <a:lnTo>
                    <a:pt x="614" y="518"/>
                  </a:lnTo>
                  <a:lnTo>
                    <a:pt x="618" y="518"/>
                  </a:lnTo>
                  <a:lnTo>
                    <a:pt x="620" y="518"/>
                  </a:lnTo>
                  <a:lnTo>
                    <a:pt x="623" y="518"/>
                  </a:lnTo>
                  <a:lnTo>
                    <a:pt x="627" y="518"/>
                  </a:lnTo>
                  <a:lnTo>
                    <a:pt x="631" y="518"/>
                  </a:lnTo>
                  <a:lnTo>
                    <a:pt x="633" y="520"/>
                  </a:lnTo>
                  <a:lnTo>
                    <a:pt x="635" y="520"/>
                  </a:lnTo>
                  <a:lnTo>
                    <a:pt x="635" y="522"/>
                  </a:lnTo>
                  <a:lnTo>
                    <a:pt x="638" y="525"/>
                  </a:lnTo>
                  <a:lnTo>
                    <a:pt x="638" y="527"/>
                  </a:lnTo>
                  <a:lnTo>
                    <a:pt x="638" y="529"/>
                  </a:lnTo>
                  <a:lnTo>
                    <a:pt x="642" y="529"/>
                  </a:lnTo>
                  <a:lnTo>
                    <a:pt x="644" y="529"/>
                  </a:lnTo>
                  <a:lnTo>
                    <a:pt x="646" y="533"/>
                  </a:lnTo>
                  <a:lnTo>
                    <a:pt x="648" y="533"/>
                  </a:lnTo>
                  <a:lnTo>
                    <a:pt x="650" y="535"/>
                  </a:lnTo>
                  <a:lnTo>
                    <a:pt x="650" y="537"/>
                  </a:lnTo>
                  <a:lnTo>
                    <a:pt x="648" y="539"/>
                  </a:lnTo>
                  <a:lnTo>
                    <a:pt x="652" y="542"/>
                  </a:lnTo>
                  <a:lnTo>
                    <a:pt x="657" y="544"/>
                  </a:lnTo>
                  <a:lnTo>
                    <a:pt x="657" y="548"/>
                  </a:lnTo>
                  <a:lnTo>
                    <a:pt x="655" y="548"/>
                  </a:lnTo>
                  <a:lnTo>
                    <a:pt x="657" y="552"/>
                  </a:lnTo>
                  <a:lnTo>
                    <a:pt x="655" y="548"/>
                  </a:lnTo>
                  <a:lnTo>
                    <a:pt x="648" y="548"/>
                  </a:lnTo>
                  <a:lnTo>
                    <a:pt x="642" y="548"/>
                  </a:lnTo>
                  <a:lnTo>
                    <a:pt x="642" y="548"/>
                  </a:lnTo>
                  <a:lnTo>
                    <a:pt x="638" y="548"/>
                  </a:lnTo>
                  <a:lnTo>
                    <a:pt x="638" y="548"/>
                  </a:lnTo>
                  <a:lnTo>
                    <a:pt x="635" y="548"/>
                  </a:lnTo>
                  <a:lnTo>
                    <a:pt x="633" y="544"/>
                  </a:lnTo>
                  <a:lnTo>
                    <a:pt x="629" y="544"/>
                  </a:lnTo>
                  <a:lnTo>
                    <a:pt x="627" y="542"/>
                  </a:lnTo>
                  <a:lnTo>
                    <a:pt x="625" y="539"/>
                  </a:lnTo>
                  <a:lnTo>
                    <a:pt x="621" y="542"/>
                  </a:lnTo>
                  <a:lnTo>
                    <a:pt x="620" y="539"/>
                  </a:lnTo>
                  <a:lnTo>
                    <a:pt x="618" y="539"/>
                  </a:lnTo>
                  <a:lnTo>
                    <a:pt x="614" y="537"/>
                  </a:lnTo>
                  <a:lnTo>
                    <a:pt x="614" y="535"/>
                  </a:lnTo>
                  <a:lnTo>
                    <a:pt x="614" y="535"/>
                  </a:lnTo>
                  <a:lnTo>
                    <a:pt x="610" y="533"/>
                  </a:lnTo>
                  <a:lnTo>
                    <a:pt x="606" y="535"/>
                  </a:lnTo>
                  <a:lnTo>
                    <a:pt x="604" y="533"/>
                  </a:lnTo>
                  <a:lnTo>
                    <a:pt x="597" y="533"/>
                  </a:lnTo>
                  <a:lnTo>
                    <a:pt x="593" y="533"/>
                  </a:lnTo>
                  <a:lnTo>
                    <a:pt x="588" y="531"/>
                  </a:lnTo>
                  <a:lnTo>
                    <a:pt x="574" y="531"/>
                  </a:lnTo>
                  <a:lnTo>
                    <a:pt x="571" y="533"/>
                  </a:lnTo>
                  <a:lnTo>
                    <a:pt x="567" y="533"/>
                  </a:lnTo>
                  <a:lnTo>
                    <a:pt x="565" y="537"/>
                  </a:lnTo>
                  <a:lnTo>
                    <a:pt x="563" y="542"/>
                  </a:lnTo>
                  <a:lnTo>
                    <a:pt x="563" y="548"/>
                  </a:lnTo>
                  <a:lnTo>
                    <a:pt x="563" y="552"/>
                  </a:lnTo>
                  <a:lnTo>
                    <a:pt x="563" y="554"/>
                  </a:lnTo>
                  <a:lnTo>
                    <a:pt x="563" y="557"/>
                  </a:lnTo>
                  <a:lnTo>
                    <a:pt x="563" y="557"/>
                  </a:lnTo>
                  <a:lnTo>
                    <a:pt x="563" y="559"/>
                  </a:lnTo>
                  <a:lnTo>
                    <a:pt x="563" y="561"/>
                  </a:lnTo>
                  <a:lnTo>
                    <a:pt x="565" y="569"/>
                  </a:lnTo>
                  <a:lnTo>
                    <a:pt x="567" y="569"/>
                  </a:lnTo>
                  <a:lnTo>
                    <a:pt x="569" y="572"/>
                  </a:lnTo>
                  <a:lnTo>
                    <a:pt x="574" y="576"/>
                  </a:lnTo>
                  <a:lnTo>
                    <a:pt x="576" y="578"/>
                  </a:lnTo>
                  <a:lnTo>
                    <a:pt x="578" y="578"/>
                  </a:lnTo>
                  <a:lnTo>
                    <a:pt x="580" y="578"/>
                  </a:lnTo>
                  <a:lnTo>
                    <a:pt x="584" y="578"/>
                  </a:lnTo>
                  <a:lnTo>
                    <a:pt x="588" y="578"/>
                  </a:lnTo>
                  <a:lnTo>
                    <a:pt x="588" y="578"/>
                  </a:lnTo>
                  <a:lnTo>
                    <a:pt x="593" y="582"/>
                  </a:lnTo>
                  <a:lnTo>
                    <a:pt x="595" y="582"/>
                  </a:lnTo>
                  <a:lnTo>
                    <a:pt x="597" y="584"/>
                  </a:lnTo>
                  <a:lnTo>
                    <a:pt x="601" y="586"/>
                  </a:lnTo>
                  <a:lnTo>
                    <a:pt x="601" y="587"/>
                  </a:lnTo>
                  <a:lnTo>
                    <a:pt x="597" y="589"/>
                  </a:lnTo>
                  <a:lnTo>
                    <a:pt x="597" y="591"/>
                  </a:lnTo>
                  <a:lnTo>
                    <a:pt x="595" y="593"/>
                  </a:lnTo>
                  <a:lnTo>
                    <a:pt x="595" y="595"/>
                  </a:lnTo>
                  <a:lnTo>
                    <a:pt x="593" y="597"/>
                  </a:lnTo>
                  <a:lnTo>
                    <a:pt x="589" y="601"/>
                  </a:lnTo>
                  <a:lnTo>
                    <a:pt x="589" y="603"/>
                  </a:lnTo>
                  <a:lnTo>
                    <a:pt x="588" y="603"/>
                  </a:lnTo>
                  <a:lnTo>
                    <a:pt x="593" y="606"/>
                  </a:lnTo>
                  <a:lnTo>
                    <a:pt x="593" y="608"/>
                  </a:lnTo>
                  <a:lnTo>
                    <a:pt x="593" y="614"/>
                  </a:lnTo>
                  <a:lnTo>
                    <a:pt x="593" y="616"/>
                  </a:lnTo>
                  <a:lnTo>
                    <a:pt x="588" y="618"/>
                  </a:lnTo>
                  <a:lnTo>
                    <a:pt x="589" y="620"/>
                  </a:lnTo>
                  <a:lnTo>
                    <a:pt x="595" y="620"/>
                  </a:lnTo>
                  <a:lnTo>
                    <a:pt x="599" y="620"/>
                  </a:lnTo>
                  <a:lnTo>
                    <a:pt x="601" y="620"/>
                  </a:lnTo>
                  <a:lnTo>
                    <a:pt x="601" y="621"/>
                  </a:lnTo>
                  <a:lnTo>
                    <a:pt x="603" y="620"/>
                  </a:lnTo>
                  <a:lnTo>
                    <a:pt x="604" y="618"/>
                  </a:lnTo>
                  <a:lnTo>
                    <a:pt x="606" y="620"/>
                  </a:lnTo>
                  <a:lnTo>
                    <a:pt x="612" y="620"/>
                  </a:lnTo>
                  <a:lnTo>
                    <a:pt x="618" y="621"/>
                  </a:lnTo>
                  <a:lnTo>
                    <a:pt x="618" y="620"/>
                  </a:lnTo>
                  <a:lnTo>
                    <a:pt x="623" y="620"/>
                  </a:lnTo>
                  <a:lnTo>
                    <a:pt x="625" y="621"/>
                  </a:lnTo>
                  <a:lnTo>
                    <a:pt x="625" y="621"/>
                  </a:lnTo>
                  <a:lnTo>
                    <a:pt x="627" y="621"/>
                  </a:lnTo>
                  <a:lnTo>
                    <a:pt x="629" y="620"/>
                  </a:lnTo>
                  <a:lnTo>
                    <a:pt x="631" y="621"/>
                  </a:lnTo>
                  <a:lnTo>
                    <a:pt x="633" y="623"/>
                  </a:lnTo>
                  <a:lnTo>
                    <a:pt x="635" y="623"/>
                  </a:lnTo>
                  <a:lnTo>
                    <a:pt x="636" y="621"/>
                  </a:lnTo>
                  <a:lnTo>
                    <a:pt x="638" y="623"/>
                  </a:lnTo>
                  <a:lnTo>
                    <a:pt x="638" y="625"/>
                  </a:lnTo>
                  <a:lnTo>
                    <a:pt x="638" y="625"/>
                  </a:lnTo>
                  <a:lnTo>
                    <a:pt x="642" y="623"/>
                  </a:lnTo>
                  <a:lnTo>
                    <a:pt x="644" y="623"/>
                  </a:lnTo>
                  <a:lnTo>
                    <a:pt x="648" y="621"/>
                  </a:lnTo>
                  <a:lnTo>
                    <a:pt x="650" y="620"/>
                  </a:lnTo>
                  <a:lnTo>
                    <a:pt x="653" y="620"/>
                  </a:lnTo>
                  <a:lnTo>
                    <a:pt x="657" y="616"/>
                  </a:lnTo>
                  <a:lnTo>
                    <a:pt x="661" y="614"/>
                  </a:lnTo>
                  <a:lnTo>
                    <a:pt x="663" y="614"/>
                  </a:lnTo>
                  <a:lnTo>
                    <a:pt x="667" y="612"/>
                  </a:lnTo>
                  <a:lnTo>
                    <a:pt x="668" y="612"/>
                  </a:lnTo>
                  <a:lnTo>
                    <a:pt x="672" y="612"/>
                  </a:lnTo>
                  <a:lnTo>
                    <a:pt x="676" y="612"/>
                  </a:lnTo>
                  <a:lnTo>
                    <a:pt x="676" y="614"/>
                  </a:lnTo>
                  <a:lnTo>
                    <a:pt x="684" y="614"/>
                  </a:lnTo>
                  <a:lnTo>
                    <a:pt x="691" y="608"/>
                  </a:lnTo>
                  <a:lnTo>
                    <a:pt x="693" y="606"/>
                  </a:lnTo>
                  <a:lnTo>
                    <a:pt x="693" y="606"/>
                  </a:lnTo>
                  <a:lnTo>
                    <a:pt x="693" y="606"/>
                  </a:lnTo>
                  <a:lnTo>
                    <a:pt x="697" y="606"/>
                  </a:lnTo>
                  <a:lnTo>
                    <a:pt x="697" y="603"/>
                  </a:lnTo>
                  <a:lnTo>
                    <a:pt x="697" y="603"/>
                  </a:lnTo>
                  <a:lnTo>
                    <a:pt x="700" y="601"/>
                  </a:lnTo>
                  <a:lnTo>
                    <a:pt x="700" y="603"/>
                  </a:lnTo>
                  <a:lnTo>
                    <a:pt x="702" y="601"/>
                  </a:lnTo>
                  <a:lnTo>
                    <a:pt x="704" y="599"/>
                  </a:lnTo>
                  <a:lnTo>
                    <a:pt x="704" y="597"/>
                  </a:lnTo>
                  <a:lnTo>
                    <a:pt x="706" y="599"/>
                  </a:lnTo>
                  <a:lnTo>
                    <a:pt x="706" y="597"/>
                  </a:lnTo>
                  <a:lnTo>
                    <a:pt x="708" y="601"/>
                  </a:lnTo>
                  <a:lnTo>
                    <a:pt x="708" y="603"/>
                  </a:lnTo>
                  <a:lnTo>
                    <a:pt x="710" y="603"/>
                  </a:lnTo>
                  <a:lnTo>
                    <a:pt x="706" y="606"/>
                  </a:lnTo>
                  <a:lnTo>
                    <a:pt x="706" y="606"/>
                  </a:lnTo>
                  <a:lnTo>
                    <a:pt x="704" y="608"/>
                  </a:lnTo>
                  <a:lnTo>
                    <a:pt x="702" y="612"/>
                  </a:lnTo>
                  <a:lnTo>
                    <a:pt x="704" y="612"/>
                  </a:lnTo>
                  <a:lnTo>
                    <a:pt x="706" y="612"/>
                  </a:lnTo>
                  <a:lnTo>
                    <a:pt x="710" y="614"/>
                  </a:lnTo>
                  <a:lnTo>
                    <a:pt x="710" y="614"/>
                  </a:lnTo>
                  <a:lnTo>
                    <a:pt x="712" y="614"/>
                  </a:lnTo>
                  <a:lnTo>
                    <a:pt x="716" y="614"/>
                  </a:lnTo>
                  <a:lnTo>
                    <a:pt x="717" y="618"/>
                  </a:lnTo>
                  <a:lnTo>
                    <a:pt x="717" y="620"/>
                  </a:lnTo>
                  <a:lnTo>
                    <a:pt x="717" y="618"/>
                  </a:lnTo>
                  <a:lnTo>
                    <a:pt x="717" y="618"/>
                  </a:lnTo>
                  <a:lnTo>
                    <a:pt x="721" y="618"/>
                  </a:lnTo>
                  <a:lnTo>
                    <a:pt x="721" y="620"/>
                  </a:lnTo>
                  <a:lnTo>
                    <a:pt x="717" y="623"/>
                  </a:lnTo>
                  <a:lnTo>
                    <a:pt x="717" y="623"/>
                  </a:lnTo>
                  <a:lnTo>
                    <a:pt x="716" y="625"/>
                  </a:lnTo>
                  <a:lnTo>
                    <a:pt x="716" y="627"/>
                  </a:lnTo>
                  <a:lnTo>
                    <a:pt x="717" y="627"/>
                  </a:lnTo>
                  <a:lnTo>
                    <a:pt x="717" y="627"/>
                  </a:lnTo>
                  <a:lnTo>
                    <a:pt x="721" y="631"/>
                  </a:lnTo>
                  <a:lnTo>
                    <a:pt x="725" y="629"/>
                  </a:lnTo>
                  <a:lnTo>
                    <a:pt x="727" y="625"/>
                  </a:lnTo>
                  <a:lnTo>
                    <a:pt x="727" y="625"/>
                  </a:lnTo>
                  <a:lnTo>
                    <a:pt x="727" y="629"/>
                  </a:lnTo>
                  <a:lnTo>
                    <a:pt x="731" y="633"/>
                  </a:lnTo>
                  <a:lnTo>
                    <a:pt x="732" y="633"/>
                  </a:lnTo>
                  <a:lnTo>
                    <a:pt x="734" y="633"/>
                  </a:lnTo>
                  <a:lnTo>
                    <a:pt x="736" y="633"/>
                  </a:lnTo>
                  <a:lnTo>
                    <a:pt x="738" y="633"/>
                  </a:lnTo>
                  <a:lnTo>
                    <a:pt x="742" y="633"/>
                  </a:lnTo>
                  <a:lnTo>
                    <a:pt x="742" y="636"/>
                  </a:lnTo>
                  <a:lnTo>
                    <a:pt x="742" y="636"/>
                  </a:lnTo>
                  <a:lnTo>
                    <a:pt x="742" y="633"/>
                  </a:lnTo>
                  <a:lnTo>
                    <a:pt x="746" y="633"/>
                  </a:lnTo>
                  <a:lnTo>
                    <a:pt x="749" y="633"/>
                  </a:lnTo>
                  <a:lnTo>
                    <a:pt x="751" y="633"/>
                  </a:lnTo>
                  <a:lnTo>
                    <a:pt x="751" y="636"/>
                  </a:lnTo>
                  <a:lnTo>
                    <a:pt x="751" y="636"/>
                  </a:lnTo>
                  <a:lnTo>
                    <a:pt x="755" y="636"/>
                  </a:lnTo>
                  <a:lnTo>
                    <a:pt x="755" y="633"/>
                  </a:lnTo>
                  <a:lnTo>
                    <a:pt x="757" y="633"/>
                  </a:lnTo>
                  <a:lnTo>
                    <a:pt x="757" y="636"/>
                  </a:lnTo>
                  <a:lnTo>
                    <a:pt x="759" y="636"/>
                  </a:lnTo>
                  <a:lnTo>
                    <a:pt x="761" y="636"/>
                  </a:lnTo>
                  <a:lnTo>
                    <a:pt x="761" y="633"/>
                  </a:lnTo>
                  <a:lnTo>
                    <a:pt x="763" y="633"/>
                  </a:lnTo>
                  <a:lnTo>
                    <a:pt x="766" y="633"/>
                  </a:lnTo>
                  <a:lnTo>
                    <a:pt x="766" y="633"/>
                  </a:lnTo>
                  <a:lnTo>
                    <a:pt x="768" y="633"/>
                  </a:lnTo>
                  <a:lnTo>
                    <a:pt x="770" y="633"/>
                  </a:lnTo>
                  <a:lnTo>
                    <a:pt x="770" y="633"/>
                  </a:lnTo>
                  <a:lnTo>
                    <a:pt x="770" y="633"/>
                  </a:lnTo>
                  <a:lnTo>
                    <a:pt x="770" y="633"/>
                  </a:lnTo>
                  <a:close/>
                  <a:moveTo>
                    <a:pt x="1115" y="765"/>
                  </a:moveTo>
                  <a:lnTo>
                    <a:pt x="1115" y="761"/>
                  </a:lnTo>
                  <a:lnTo>
                    <a:pt x="1115" y="761"/>
                  </a:lnTo>
                  <a:lnTo>
                    <a:pt x="1115" y="755"/>
                  </a:lnTo>
                  <a:lnTo>
                    <a:pt x="1115" y="751"/>
                  </a:lnTo>
                  <a:lnTo>
                    <a:pt x="1118" y="746"/>
                  </a:lnTo>
                  <a:lnTo>
                    <a:pt x="1120" y="742"/>
                  </a:lnTo>
                  <a:lnTo>
                    <a:pt x="1124" y="740"/>
                  </a:lnTo>
                  <a:lnTo>
                    <a:pt x="1130" y="731"/>
                  </a:lnTo>
                  <a:lnTo>
                    <a:pt x="1133" y="731"/>
                  </a:lnTo>
                  <a:lnTo>
                    <a:pt x="1135" y="731"/>
                  </a:lnTo>
                  <a:lnTo>
                    <a:pt x="1135" y="727"/>
                  </a:lnTo>
                  <a:lnTo>
                    <a:pt x="1139" y="731"/>
                  </a:lnTo>
                  <a:lnTo>
                    <a:pt x="1143" y="727"/>
                  </a:lnTo>
                  <a:lnTo>
                    <a:pt x="1145" y="731"/>
                  </a:lnTo>
                  <a:lnTo>
                    <a:pt x="1147" y="731"/>
                  </a:lnTo>
                  <a:lnTo>
                    <a:pt x="1148" y="731"/>
                  </a:lnTo>
                  <a:lnTo>
                    <a:pt x="1152" y="733"/>
                  </a:lnTo>
                  <a:lnTo>
                    <a:pt x="1154" y="738"/>
                  </a:lnTo>
                  <a:lnTo>
                    <a:pt x="1154" y="740"/>
                  </a:lnTo>
                  <a:lnTo>
                    <a:pt x="1150" y="744"/>
                  </a:lnTo>
                  <a:lnTo>
                    <a:pt x="1148" y="748"/>
                  </a:lnTo>
                  <a:lnTo>
                    <a:pt x="1148" y="751"/>
                  </a:lnTo>
                  <a:lnTo>
                    <a:pt x="1143" y="757"/>
                  </a:lnTo>
                  <a:lnTo>
                    <a:pt x="1143" y="761"/>
                  </a:lnTo>
                  <a:lnTo>
                    <a:pt x="1139" y="761"/>
                  </a:lnTo>
                  <a:lnTo>
                    <a:pt x="1135" y="765"/>
                  </a:lnTo>
                  <a:lnTo>
                    <a:pt x="1133" y="765"/>
                  </a:lnTo>
                  <a:lnTo>
                    <a:pt x="1130" y="765"/>
                  </a:lnTo>
                  <a:lnTo>
                    <a:pt x="1126" y="766"/>
                  </a:lnTo>
                  <a:lnTo>
                    <a:pt x="1124" y="765"/>
                  </a:lnTo>
                  <a:lnTo>
                    <a:pt x="1118" y="766"/>
                  </a:lnTo>
                  <a:lnTo>
                    <a:pt x="1118" y="765"/>
                  </a:lnTo>
                  <a:lnTo>
                    <a:pt x="1115" y="765"/>
                  </a:lnTo>
                  <a:lnTo>
                    <a:pt x="1115" y="765"/>
                  </a:lnTo>
                  <a:lnTo>
                    <a:pt x="1115" y="765"/>
                  </a:lnTo>
                  <a:lnTo>
                    <a:pt x="1115" y="765"/>
                  </a:lnTo>
                  <a:lnTo>
                    <a:pt x="1115" y="765"/>
                  </a:lnTo>
                  <a:close/>
                  <a:moveTo>
                    <a:pt x="787" y="621"/>
                  </a:moveTo>
                  <a:lnTo>
                    <a:pt x="785" y="620"/>
                  </a:lnTo>
                  <a:lnTo>
                    <a:pt x="787" y="618"/>
                  </a:lnTo>
                  <a:lnTo>
                    <a:pt x="789" y="618"/>
                  </a:lnTo>
                  <a:lnTo>
                    <a:pt x="787" y="614"/>
                  </a:lnTo>
                  <a:lnTo>
                    <a:pt x="789" y="612"/>
                  </a:lnTo>
                  <a:lnTo>
                    <a:pt x="791" y="612"/>
                  </a:lnTo>
                  <a:lnTo>
                    <a:pt x="791" y="614"/>
                  </a:lnTo>
                  <a:lnTo>
                    <a:pt x="793" y="616"/>
                  </a:lnTo>
                  <a:lnTo>
                    <a:pt x="793" y="618"/>
                  </a:lnTo>
                  <a:lnTo>
                    <a:pt x="791" y="621"/>
                  </a:lnTo>
                  <a:lnTo>
                    <a:pt x="789" y="620"/>
                  </a:lnTo>
                  <a:lnTo>
                    <a:pt x="787" y="623"/>
                  </a:lnTo>
                  <a:lnTo>
                    <a:pt x="787" y="621"/>
                  </a:lnTo>
                  <a:lnTo>
                    <a:pt x="787" y="621"/>
                  </a:lnTo>
                  <a:lnTo>
                    <a:pt x="787" y="621"/>
                  </a:lnTo>
                  <a:lnTo>
                    <a:pt x="787" y="621"/>
                  </a:lnTo>
                  <a:close/>
                  <a:moveTo>
                    <a:pt x="755" y="652"/>
                  </a:moveTo>
                  <a:lnTo>
                    <a:pt x="757" y="650"/>
                  </a:lnTo>
                  <a:lnTo>
                    <a:pt x="759" y="648"/>
                  </a:lnTo>
                  <a:lnTo>
                    <a:pt x="759" y="646"/>
                  </a:lnTo>
                  <a:lnTo>
                    <a:pt x="759" y="642"/>
                  </a:lnTo>
                  <a:lnTo>
                    <a:pt x="759" y="642"/>
                  </a:lnTo>
                  <a:lnTo>
                    <a:pt x="755" y="646"/>
                  </a:lnTo>
                  <a:lnTo>
                    <a:pt x="755" y="646"/>
                  </a:lnTo>
                  <a:lnTo>
                    <a:pt x="751" y="646"/>
                  </a:lnTo>
                  <a:lnTo>
                    <a:pt x="751" y="646"/>
                  </a:lnTo>
                  <a:lnTo>
                    <a:pt x="755" y="650"/>
                  </a:lnTo>
                  <a:lnTo>
                    <a:pt x="755" y="652"/>
                  </a:lnTo>
                  <a:lnTo>
                    <a:pt x="755" y="652"/>
                  </a:lnTo>
                  <a:lnTo>
                    <a:pt x="755" y="652"/>
                  </a:lnTo>
                  <a:lnTo>
                    <a:pt x="755" y="652"/>
                  </a:lnTo>
                  <a:close/>
                  <a:moveTo>
                    <a:pt x="793" y="646"/>
                  </a:moveTo>
                  <a:lnTo>
                    <a:pt x="789" y="646"/>
                  </a:lnTo>
                  <a:lnTo>
                    <a:pt x="787" y="648"/>
                  </a:lnTo>
                  <a:lnTo>
                    <a:pt x="787" y="650"/>
                  </a:lnTo>
                  <a:lnTo>
                    <a:pt x="785" y="646"/>
                  </a:lnTo>
                  <a:lnTo>
                    <a:pt x="785" y="646"/>
                  </a:lnTo>
                  <a:lnTo>
                    <a:pt x="787" y="638"/>
                  </a:lnTo>
                  <a:lnTo>
                    <a:pt x="787" y="636"/>
                  </a:lnTo>
                  <a:lnTo>
                    <a:pt x="789" y="636"/>
                  </a:lnTo>
                  <a:lnTo>
                    <a:pt x="791" y="636"/>
                  </a:lnTo>
                  <a:lnTo>
                    <a:pt x="791" y="636"/>
                  </a:lnTo>
                  <a:lnTo>
                    <a:pt x="795" y="640"/>
                  </a:lnTo>
                  <a:lnTo>
                    <a:pt x="793" y="646"/>
                  </a:lnTo>
                  <a:lnTo>
                    <a:pt x="793" y="646"/>
                  </a:lnTo>
                  <a:lnTo>
                    <a:pt x="793" y="646"/>
                  </a:lnTo>
                  <a:lnTo>
                    <a:pt x="793" y="646"/>
                  </a:lnTo>
                  <a:close/>
                  <a:moveTo>
                    <a:pt x="796" y="638"/>
                  </a:moveTo>
                  <a:lnTo>
                    <a:pt x="796" y="636"/>
                  </a:lnTo>
                  <a:lnTo>
                    <a:pt x="795" y="636"/>
                  </a:lnTo>
                  <a:lnTo>
                    <a:pt x="798" y="631"/>
                  </a:lnTo>
                  <a:lnTo>
                    <a:pt x="798" y="631"/>
                  </a:lnTo>
                  <a:lnTo>
                    <a:pt x="800" y="633"/>
                  </a:lnTo>
                  <a:lnTo>
                    <a:pt x="800" y="636"/>
                  </a:lnTo>
                  <a:lnTo>
                    <a:pt x="798" y="638"/>
                  </a:lnTo>
                  <a:lnTo>
                    <a:pt x="798" y="638"/>
                  </a:lnTo>
                  <a:lnTo>
                    <a:pt x="796" y="638"/>
                  </a:lnTo>
                  <a:lnTo>
                    <a:pt x="796" y="638"/>
                  </a:lnTo>
                  <a:lnTo>
                    <a:pt x="796" y="638"/>
                  </a:lnTo>
                  <a:lnTo>
                    <a:pt x="796" y="638"/>
                  </a:lnTo>
                  <a:close/>
                  <a:moveTo>
                    <a:pt x="864" y="640"/>
                  </a:moveTo>
                  <a:lnTo>
                    <a:pt x="868" y="636"/>
                  </a:lnTo>
                  <a:lnTo>
                    <a:pt x="870" y="631"/>
                  </a:lnTo>
                  <a:lnTo>
                    <a:pt x="874" y="633"/>
                  </a:lnTo>
                  <a:lnTo>
                    <a:pt x="874" y="636"/>
                  </a:lnTo>
                  <a:lnTo>
                    <a:pt x="870" y="642"/>
                  </a:lnTo>
                  <a:lnTo>
                    <a:pt x="868" y="642"/>
                  </a:lnTo>
                  <a:lnTo>
                    <a:pt x="868" y="640"/>
                  </a:lnTo>
                  <a:lnTo>
                    <a:pt x="868" y="636"/>
                  </a:lnTo>
                  <a:lnTo>
                    <a:pt x="868" y="638"/>
                  </a:lnTo>
                  <a:lnTo>
                    <a:pt x="868" y="640"/>
                  </a:lnTo>
                  <a:lnTo>
                    <a:pt x="868" y="640"/>
                  </a:lnTo>
                  <a:lnTo>
                    <a:pt x="864" y="640"/>
                  </a:lnTo>
                  <a:lnTo>
                    <a:pt x="864" y="640"/>
                  </a:lnTo>
                  <a:lnTo>
                    <a:pt x="864" y="640"/>
                  </a:lnTo>
                  <a:lnTo>
                    <a:pt x="864" y="640"/>
                  </a:lnTo>
                  <a:close/>
                  <a:moveTo>
                    <a:pt x="862" y="636"/>
                  </a:moveTo>
                  <a:lnTo>
                    <a:pt x="864" y="636"/>
                  </a:lnTo>
                  <a:lnTo>
                    <a:pt x="864" y="633"/>
                  </a:lnTo>
                  <a:lnTo>
                    <a:pt x="864" y="629"/>
                  </a:lnTo>
                  <a:lnTo>
                    <a:pt x="862" y="631"/>
                  </a:lnTo>
                  <a:lnTo>
                    <a:pt x="862" y="636"/>
                  </a:lnTo>
                  <a:lnTo>
                    <a:pt x="862" y="636"/>
                  </a:lnTo>
                  <a:lnTo>
                    <a:pt x="862" y="636"/>
                  </a:lnTo>
                  <a:lnTo>
                    <a:pt x="862" y="636"/>
                  </a:lnTo>
                  <a:close/>
                  <a:moveTo>
                    <a:pt x="859" y="670"/>
                  </a:moveTo>
                  <a:lnTo>
                    <a:pt x="862" y="667"/>
                  </a:lnTo>
                  <a:lnTo>
                    <a:pt x="868" y="663"/>
                  </a:lnTo>
                  <a:lnTo>
                    <a:pt x="868" y="661"/>
                  </a:lnTo>
                  <a:lnTo>
                    <a:pt x="862" y="663"/>
                  </a:lnTo>
                  <a:lnTo>
                    <a:pt x="859" y="659"/>
                  </a:lnTo>
                  <a:lnTo>
                    <a:pt x="864" y="652"/>
                  </a:lnTo>
                  <a:lnTo>
                    <a:pt x="864" y="648"/>
                  </a:lnTo>
                  <a:lnTo>
                    <a:pt x="862" y="650"/>
                  </a:lnTo>
                  <a:lnTo>
                    <a:pt x="859" y="655"/>
                  </a:lnTo>
                  <a:lnTo>
                    <a:pt x="859" y="652"/>
                  </a:lnTo>
                  <a:lnTo>
                    <a:pt x="862" y="642"/>
                  </a:lnTo>
                  <a:lnTo>
                    <a:pt x="859" y="633"/>
                  </a:lnTo>
                  <a:lnTo>
                    <a:pt x="855" y="629"/>
                  </a:lnTo>
                  <a:lnTo>
                    <a:pt x="855" y="623"/>
                  </a:lnTo>
                  <a:lnTo>
                    <a:pt x="851" y="623"/>
                  </a:lnTo>
                  <a:lnTo>
                    <a:pt x="847" y="627"/>
                  </a:lnTo>
                  <a:lnTo>
                    <a:pt x="847" y="623"/>
                  </a:lnTo>
                  <a:lnTo>
                    <a:pt x="851" y="621"/>
                  </a:lnTo>
                  <a:lnTo>
                    <a:pt x="849" y="618"/>
                  </a:lnTo>
                  <a:lnTo>
                    <a:pt x="849" y="614"/>
                  </a:lnTo>
                  <a:lnTo>
                    <a:pt x="849" y="612"/>
                  </a:lnTo>
                  <a:lnTo>
                    <a:pt x="844" y="612"/>
                  </a:lnTo>
                  <a:lnTo>
                    <a:pt x="838" y="616"/>
                  </a:lnTo>
                  <a:lnTo>
                    <a:pt x="836" y="623"/>
                  </a:lnTo>
                  <a:lnTo>
                    <a:pt x="838" y="629"/>
                  </a:lnTo>
                  <a:lnTo>
                    <a:pt x="834" y="627"/>
                  </a:lnTo>
                  <a:lnTo>
                    <a:pt x="834" y="623"/>
                  </a:lnTo>
                  <a:lnTo>
                    <a:pt x="830" y="621"/>
                  </a:lnTo>
                  <a:lnTo>
                    <a:pt x="830" y="627"/>
                  </a:lnTo>
                  <a:lnTo>
                    <a:pt x="830" y="627"/>
                  </a:lnTo>
                  <a:lnTo>
                    <a:pt x="830" y="631"/>
                  </a:lnTo>
                  <a:lnTo>
                    <a:pt x="828" y="633"/>
                  </a:lnTo>
                  <a:lnTo>
                    <a:pt x="827" y="633"/>
                  </a:lnTo>
                  <a:lnTo>
                    <a:pt x="825" y="636"/>
                  </a:lnTo>
                  <a:lnTo>
                    <a:pt x="817" y="636"/>
                  </a:lnTo>
                  <a:lnTo>
                    <a:pt x="815" y="636"/>
                  </a:lnTo>
                  <a:lnTo>
                    <a:pt x="813" y="636"/>
                  </a:lnTo>
                  <a:lnTo>
                    <a:pt x="806" y="640"/>
                  </a:lnTo>
                  <a:lnTo>
                    <a:pt x="806" y="646"/>
                  </a:lnTo>
                  <a:lnTo>
                    <a:pt x="810" y="650"/>
                  </a:lnTo>
                  <a:lnTo>
                    <a:pt x="812" y="648"/>
                  </a:lnTo>
                  <a:lnTo>
                    <a:pt x="812" y="646"/>
                  </a:lnTo>
                  <a:lnTo>
                    <a:pt x="812" y="642"/>
                  </a:lnTo>
                  <a:lnTo>
                    <a:pt x="815" y="646"/>
                  </a:lnTo>
                  <a:lnTo>
                    <a:pt x="815" y="652"/>
                  </a:lnTo>
                  <a:lnTo>
                    <a:pt x="819" y="655"/>
                  </a:lnTo>
                  <a:lnTo>
                    <a:pt x="821" y="652"/>
                  </a:lnTo>
                  <a:lnTo>
                    <a:pt x="823" y="653"/>
                  </a:lnTo>
                  <a:lnTo>
                    <a:pt x="821" y="657"/>
                  </a:lnTo>
                  <a:lnTo>
                    <a:pt x="825" y="663"/>
                  </a:lnTo>
                  <a:lnTo>
                    <a:pt x="828" y="663"/>
                  </a:lnTo>
                  <a:lnTo>
                    <a:pt x="830" y="667"/>
                  </a:lnTo>
                  <a:lnTo>
                    <a:pt x="834" y="670"/>
                  </a:lnTo>
                  <a:lnTo>
                    <a:pt x="836" y="667"/>
                  </a:lnTo>
                  <a:lnTo>
                    <a:pt x="836" y="670"/>
                  </a:lnTo>
                  <a:lnTo>
                    <a:pt x="840" y="672"/>
                  </a:lnTo>
                  <a:lnTo>
                    <a:pt x="844" y="672"/>
                  </a:lnTo>
                  <a:lnTo>
                    <a:pt x="847" y="672"/>
                  </a:lnTo>
                  <a:lnTo>
                    <a:pt x="851" y="670"/>
                  </a:lnTo>
                  <a:lnTo>
                    <a:pt x="853" y="670"/>
                  </a:lnTo>
                  <a:lnTo>
                    <a:pt x="859" y="667"/>
                  </a:lnTo>
                  <a:lnTo>
                    <a:pt x="859" y="670"/>
                  </a:lnTo>
                  <a:lnTo>
                    <a:pt x="859" y="670"/>
                  </a:lnTo>
                  <a:lnTo>
                    <a:pt x="859" y="670"/>
                  </a:lnTo>
                  <a:lnTo>
                    <a:pt x="859" y="670"/>
                  </a:lnTo>
                  <a:close/>
                  <a:moveTo>
                    <a:pt x="1237" y="642"/>
                  </a:moveTo>
                  <a:lnTo>
                    <a:pt x="1237" y="638"/>
                  </a:lnTo>
                  <a:lnTo>
                    <a:pt x="1235" y="636"/>
                  </a:lnTo>
                  <a:lnTo>
                    <a:pt x="1237" y="636"/>
                  </a:lnTo>
                  <a:lnTo>
                    <a:pt x="1241" y="633"/>
                  </a:lnTo>
                  <a:lnTo>
                    <a:pt x="1243" y="633"/>
                  </a:lnTo>
                  <a:lnTo>
                    <a:pt x="1243" y="636"/>
                  </a:lnTo>
                  <a:lnTo>
                    <a:pt x="1246" y="636"/>
                  </a:lnTo>
                  <a:lnTo>
                    <a:pt x="1246" y="636"/>
                  </a:lnTo>
                  <a:lnTo>
                    <a:pt x="1246" y="640"/>
                  </a:lnTo>
                  <a:lnTo>
                    <a:pt x="1243" y="640"/>
                  </a:lnTo>
                  <a:lnTo>
                    <a:pt x="1241" y="640"/>
                  </a:lnTo>
                  <a:lnTo>
                    <a:pt x="1239" y="640"/>
                  </a:lnTo>
                  <a:lnTo>
                    <a:pt x="1237" y="642"/>
                  </a:lnTo>
                  <a:lnTo>
                    <a:pt x="1237" y="642"/>
                  </a:lnTo>
                  <a:lnTo>
                    <a:pt x="1237" y="642"/>
                  </a:lnTo>
                  <a:lnTo>
                    <a:pt x="1237" y="642"/>
                  </a:lnTo>
                  <a:lnTo>
                    <a:pt x="1237" y="642"/>
                  </a:lnTo>
                  <a:lnTo>
                    <a:pt x="1237" y="642"/>
                  </a:lnTo>
                  <a:close/>
                  <a:moveTo>
                    <a:pt x="1228" y="968"/>
                  </a:moveTo>
                  <a:lnTo>
                    <a:pt x="1224" y="968"/>
                  </a:lnTo>
                  <a:lnTo>
                    <a:pt x="1222" y="964"/>
                  </a:lnTo>
                  <a:lnTo>
                    <a:pt x="1216" y="964"/>
                  </a:lnTo>
                  <a:lnTo>
                    <a:pt x="1214" y="962"/>
                  </a:lnTo>
                  <a:lnTo>
                    <a:pt x="1211" y="962"/>
                  </a:lnTo>
                  <a:lnTo>
                    <a:pt x="1205" y="957"/>
                  </a:lnTo>
                  <a:lnTo>
                    <a:pt x="1205" y="955"/>
                  </a:lnTo>
                  <a:lnTo>
                    <a:pt x="1201" y="953"/>
                  </a:lnTo>
                  <a:lnTo>
                    <a:pt x="1199" y="955"/>
                  </a:lnTo>
                  <a:lnTo>
                    <a:pt x="1197" y="953"/>
                  </a:lnTo>
                  <a:lnTo>
                    <a:pt x="1197" y="955"/>
                  </a:lnTo>
                  <a:lnTo>
                    <a:pt x="1192" y="951"/>
                  </a:lnTo>
                  <a:lnTo>
                    <a:pt x="1192" y="949"/>
                  </a:lnTo>
                  <a:lnTo>
                    <a:pt x="1188" y="947"/>
                  </a:lnTo>
                  <a:lnTo>
                    <a:pt x="1184" y="947"/>
                  </a:lnTo>
                  <a:lnTo>
                    <a:pt x="1182" y="943"/>
                  </a:lnTo>
                  <a:lnTo>
                    <a:pt x="1182" y="940"/>
                  </a:lnTo>
                  <a:lnTo>
                    <a:pt x="1180" y="940"/>
                  </a:lnTo>
                  <a:lnTo>
                    <a:pt x="1179" y="940"/>
                  </a:lnTo>
                  <a:lnTo>
                    <a:pt x="1177" y="938"/>
                  </a:lnTo>
                  <a:lnTo>
                    <a:pt x="1179" y="934"/>
                  </a:lnTo>
                  <a:lnTo>
                    <a:pt x="1180" y="934"/>
                  </a:lnTo>
                  <a:lnTo>
                    <a:pt x="1177" y="934"/>
                  </a:lnTo>
                  <a:lnTo>
                    <a:pt x="1175" y="934"/>
                  </a:lnTo>
                  <a:lnTo>
                    <a:pt x="1175" y="934"/>
                  </a:lnTo>
                  <a:lnTo>
                    <a:pt x="1173" y="934"/>
                  </a:lnTo>
                  <a:lnTo>
                    <a:pt x="1173" y="932"/>
                  </a:lnTo>
                  <a:lnTo>
                    <a:pt x="1169" y="932"/>
                  </a:lnTo>
                  <a:lnTo>
                    <a:pt x="1164" y="928"/>
                  </a:lnTo>
                  <a:lnTo>
                    <a:pt x="1160" y="928"/>
                  </a:lnTo>
                  <a:lnTo>
                    <a:pt x="1160" y="927"/>
                  </a:lnTo>
                  <a:lnTo>
                    <a:pt x="1156" y="923"/>
                  </a:lnTo>
                  <a:lnTo>
                    <a:pt x="1158" y="921"/>
                  </a:lnTo>
                  <a:lnTo>
                    <a:pt x="1154" y="921"/>
                  </a:lnTo>
                  <a:lnTo>
                    <a:pt x="1152" y="919"/>
                  </a:lnTo>
                  <a:lnTo>
                    <a:pt x="1150" y="915"/>
                  </a:lnTo>
                  <a:lnTo>
                    <a:pt x="1150" y="910"/>
                  </a:lnTo>
                  <a:lnTo>
                    <a:pt x="1147" y="910"/>
                  </a:lnTo>
                  <a:lnTo>
                    <a:pt x="1147" y="910"/>
                  </a:lnTo>
                  <a:lnTo>
                    <a:pt x="1152" y="910"/>
                  </a:lnTo>
                  <a:lnTo>
                    <a:pt x="1160" y="904"/>
                  </a:lnTo>
                  <a:lnTo>
                    <a:pt x="1160" y="902"/>
                  </a:lnTo>
                  <a:lnTo>
                    <a:pt x="1156" y="904"/>
                  </a:lnTo>
                  <a:lnTo>
                    <a:pt x="1152" y="898"/>
                  </a:lnTo>
                  <a:lnTo>
                    <a:pt x="1152" y="895"/>
                  </a:lnTo>
                  <a:lnTo>
                    <a:pt x="1152" y="893"/>
                  </a:lnTo>
                  <a:lnTo>
                    <a:pt x="1150" y="895"/>
                  </a:lnTo>
                  <a:lnTo>
                    <a:pt x="1148" y="898"/>
                  </a:lnTo>
                  <a:lnTo>
                    <a:pt x="1148" y="900"/>
                  </a:lnTo>
                  <a:lnTo>
                    <a:pt x="1145" y="896"/>
                  </a:lnTo>
                  <a:lnTo>
                    <a:pt x="1147" y="895"/>
                  </a:lnTo>
                  <a:lnTo>
                    <a:pt x="1147" y="889"/>
                  </a:lnTo>
                  <a:lnTo>
                    <a:pt x="1145" y="893"/>
                  </a:lnTo>
                  <a:lnTo>
                    <a:pt x="1143" y="891"/>
                  </a:lnTo>
                  <a:lnTo>
                    <a:pt x="1143" y="887"/>
                  </a:lnTo>
                  <a:lnTo>
                    <a:pt x="1143" y="887"/>
                  </a:lnTo>
                  <a:lnTo>
                    <a:pt x="1139" y="883"/>
                  </a:lnTo>
                  <a:lnTo>
                    <a:pt x="1139" y="883"/>
                  </a:lnTo>
                  <a:lnTo>
                    <a:pt x="1139" y="876"/>
                  </a:lnTo>
                  <a:lnTo>
                    <a:pt x="1135" y="876"/>
                  </a:lnTo>
                  <a:lnTo>
                    <a:pt x="1135" y="870"/>
                  </a:lnTo>
                  <a:lnTo>
                    <a:pt x="1139" y="868"/>
                  </a:lnTo>
                  <a:lnTo>
                    <a:pt x="1139" y="866"/>
                  </a:lnTo>
                  <a:lnTo>
                    <a:pt x="1133" y="870"/>
                  </a:lnTo>
                  <a:lnTo>
                    <a:pt x="1133" y="876"/>
                  </a:lnTo>
                  <a:lnTo>
                    <a:pt x="1130" y="874"/>
                  </a:lnTo>
                  <a:lnTo>
                    <a:pt x="1133" y="868"/>
                  </a:lnTo>
                  <a:lnTo>
                    <a:pt x="1130" y="868"/>
                  </a:lnTo>
                  <a:lnTo>
                    <a:pt x="1130" y="868"/>
                  </a:lnTo>
                  <a:lnTo>
                    <a:pt x="1128" y="868"/>
                  </a:lnTo>
                  <a:lnTo>
                    <a:pt x="1126" y="874"/>
                  </a:lnTo>
                  <a:lnTo>
                    <a:pt x="1122" y="876"/>
                  </a:lnTo>
                  <a:lnTo>
                    <a:pt x="1122" y="870"/>
                  </a:lnTo>
                  <a:lnTo>
                    <a:pt x="1126" y="868"/>
                  </a:lnTo>
                  <a:lnTo>
                    <a:pt x="1126" y="864"/>
                  </a:lnTo>
                  <a:lnTo>
                    <a:pt x="1126" y="862"/>
                  </a:lnTo>
                  <a:lnTo>
                    <a:pt x="1122" y="864"/>
                  </a:lnTo>
                  <a:lnTo>
                    <a:pt x="1120" y="866"/>
                  </a:lnTo>
                  <a:lnTo>
                    <a:pt x="1118" y="866"/>
                  </a:lnTo>
                  <a:lnTo>
                    <a:pt x="1115" y="870"/>
                  </a:lnTo>
                  <a:lnTo>
                    <a:pt x="1115" y="870"/>
                  </a:lnTo>
                  <a:lnTo>
                    <a:pt x="1109" y="870"/>
                  </a:lnTo>
                  <a:lnTo>
                    <a:pt x="1109" y="868"/>
                  </a:lnTo>
                  <a:lnTo>
                    <a:pt x="1105" y="868"/>
                  </a:lnTo>
                  <a:lnTo>
                    <a:pt x="1101" y="862"/>
                  </a:lnTo>
                  <a:lnTo>
                    <a:pt x="1101" y="862"/>
                  </a:lnTo>
                  <a:lnTo>
                    <a:pt x="1100" y="864"/>
                  </a:lnTo>
                  <a:lnTo>
                    <a:pt x="1100" y="868"/>
                  </a:lnTo>
                  <a:lnTo>
                    <a:pt x="1098" y="870"/>
                  </a:lnTo>
                  <a:lnTo>
                    <a:pt x="1094" y="870"/>
                  </a:lnTo>
                  <a:lnTo>
                    <a:pt x="1092" y="870"/>
                  </a:lnTo>
                  <a:lnTo>
                    <a:pt x="1088" y="870"/>
                  </a:lnTo>
                  <a:lnTo>
                    <a:pt x="1086" y="870"/>
                  </a:lnTo>
                  <a:lnTo>
                    <a:pt x="1084" y="870"/>
                  </a:lnTo>
                  <a:lnTo>
                    <a:pt x="1081" y="874"/>
                  </a:lnTo>
                  <a:lnTo>
                    <a:pt x="1079" y="870"/>
                  </a:lnTo>
                  <a:lnTo>
                    <a:pt x="1073" y="870"/>
                  </a:lnTo>
                  <a:lnTo>
                    <a:pt x="1075" y="870"/>
                  </a:lnTo>
                  <a:lnTo>
                    <a:pt x="1071" y="864"/>
                  </a:lnTo>
                  <a:lnTo>
                    <a:pt x="1069" y="866"/>
                  </a:lnTo>
                  <a:lnTo>
                    <a:pt x="1066" y="862"/>
                  </a:lnTo>
                  <a:lnTo>
                    <a:pt x="1062" y="855"/>
                  </a:lnTo>
                  <a:lnTo>
                    <a:pt x="1064" y="851"/>
                  </a:lnTo>
                  <a:lnTo>
                    <a:pt x="1068" y="849"/>
                  </a:lnTo>
                  <a:lnTo>
                    <a:pt x="1068" y="846"/>
                  </a:lnTo>
                  <a:lnTo>
                    <a:pt x="1069" y="844"/>
                  </a:lnTo>
                  <a:lnTo>
                    <a:pt x="1073" y="844"/>
                  </a:lnTo>
                  <a:lnTo>
                    <a:pt x="1077" y="840"/>
                  </a:lnTo>
                  <a:lnTo>
                    <a:pt x="1081" y="840"/>
                  </a:lnTo>
                  <a:lnTo>
                    <a:pt x="1081" y="840"/>
                  </a:lnTo>
                  <a:lnTo>
                    <a:pt x="1081" y="838"/>
                  </a:lnTo>
                  <a:lnTo>
                    <a:pt x="1081" y="836"/>
                  </a:lnTo>
                  <a:lnTo>
                    <a:pt x="1081" y="832"/>
                  </a:lnTo>
                  <a:lnTo>
                    <a:pt x="1081" y="832"/>
                  </a:lnTo>
                  <a:lnTo>
                    <a:pt x="1081" y="832"/>
                  </a:lnTo>
                  <a:lnTo>
                    <a:pt x="1084" y="830"/>
                  </a:lnTo>
                  <a:lnTo>
                    <a:pt x="1084" y="829"/>
                  </a:lnTo>
                  <a:lnTo>
                    <a:pt x="1084" y="827"/>
                  </a:lnTo>
                  <a:lnTo>
                    <a:pt x="1086" y="834"/>
                  </a:lnTo>
                  <a:lnTo>
                    <a:pt x="1092" y="834"/>
                  </a:lnTo>
                  <a:lnTo>
                    <a:pt x="1096" y="838"/>
                  </a:lnTo>
                  <a:lnTo>
                    <a:pt x="1098" y="840"/>
                  </a:lnTo>
                  <a:lnTo>
                    <a:pt x="1100" y="840"/>
                  </a:lnTo>
                  <a:lnTo>
                    <a:pt x="1105" y="844"/>
                  </a:lnTo>
                  <a:lnTo>
                    <a:pt x="1105" y="840"/>
                  </a:lnTo>
                  <a:lnTo>
                    <a:pt x="1109" y="840"/>
                  </a:lnTo>
                  <a:lnTo>
                    <a:pt x="1109" y="844"/>
                  </a:lnTo>
                  <a:lnTo>
                    <a:pt x="1115" y="844"/>
                  </a:lnTo>
                  <a:lnTo>
                    <a:pt x="1118" y="844"/>
                  </a:lnTo>
                  <a:lnTo>
                    <a:pt x="1118" y="840"/>
                  </a:lnTo>
                  <a:lnTo>
                    <a:pt x="1120" y="838"/>
                  </a:lnTo>
                  <a:lnTo>
                    <a:pt x="1126" y="838"/>
                  </a:lnTo>
                  <a:lnTo>
                    <a:pt x="1126" y="838"/>
                  </a:lnTo>
                  <a:lnTo>
                    <a:pt x="1124" y="840"/>
                  </a:lnTo>
                  <a:lnTo>
                    <a:pt x="1128" y="840"/>
                  </a:lnTo>
                  <a:lnTo>
                    <a:pt x="1130" y="838"/>
                  </a:lnTo>
                  <a:lnTo>
                    <a:pt x="1133" y="836"/>
                  </a:lnTo>
                  <a:lnTo>
                    <a:pt x="1135" y="832"/>
                  </a:lnTo>
                  <a:lnTo>
                    <a:pt x="1139" y="836"/>
                  </a:lnTo>
                  <a:lnTo>
                    <a:pt x="1139" y="840"/>
                  </a:lnTo>
                  <a:lnTo>
                    <a:pt x="1139" y="844"/>
                  </a:lnTo>
                  <a:lnTo>
                    <a:pt x="1139" y="840"/>
                  </a:lnTo>
                  <a:lnTo>
                    <a:pt x="1143" y="838"/>
                  </a:lnTo>
                  <a:lnTo>
                    <a:pt x="1143" y="840"/>
                  </a:lnTo>
                  <a:lnTo>
                    <a:pt x="1145" y="838"/>
                  </a:lnTo>
                  <a:lnTo>
                    <a:pt x="1143" y="829"/>
                  </a:lnTo>
                  <a:lnTo>
                    <a:pt x="1139" y="823"/>
                  </a:lnTo>
                  <a:lnTo>
                    <a:pt x="1139" y="819"/>
                  </a:lnTo>
                  <a:lnTo>
                    <a:pt x="1139" y="815"/>
                  </a:lnTo>
                  <a:lnTo>
                    <a:pt x="1139" y="814"/>
                  </a:lnTo>
                  <a:lnTo>
                    <a:pt x="1139" y="812"/>
                  </a:lnTo>
                  <a:lnTo>
                    <a:pt x="1143" y="812"/>
                  </a:lnTo>
                  <a:lnTo>
                    <a:pt x="1147" y="806"/>
                  </a:lnTo>
                  <a:lnTo>
                    <a:pt x="1154" y="802"/>
                  </a:lnTo>
                  <a:lnTo>
                    <a:pt x="1158" y="800"/>
                  </a:lnTo>
                  <a:lnTo>
                    <a:pt x="1160" y="797"/>
                  </a:lnTo>
                  <a:lnTo>
                    <a:pt x="1164" y="797"/>
                  </a:lnTo>
                  <a:lnTo>
                    <a:pt x="1164" y="798"/>
                  </a:lnTo>
                  <a:lnTo>
                    <a:pt x="1167" y="797"/>
                  </a:lnTo>
                  <a:lnTo>
                    <a:pt x="1169" y="797"/>
                  </a:lnTo>
                  <a:lnTo>
                    <a:pt x="1164" y="795"/>
                  </a:lnTo>
                  <a:lnTo>
                    <a:pt x="1164" y="791"/>
                  </a:lnTo>
                  <a:lnTo>
                    <a:pt x="1173" y="785"/>
                  </a:lnTo>
                  <a:lnTo>
                    <a:pt x="1173" y="785"/>
                  </a:lnTo>
                  <a:lnTo>
                    <a:pt x="1173" y="781"/>
                  </a:lnTo>
                  <a:lnTo>
                    <a:pt x="1179" y="785"/>
                  </a:lnTo>
                  <a:lnTo>
                    <a:pt x="1184" y="781"/>
                  </a:lnTo>
                  <a:lnTo>
                    <a:pt x="1184" y="780"/>
                  </a:lnTo>
                  <a:lnTo>
                    <a:pt x="1184" y="776"/>
                  </a:lnTo>
                  <a:lnTo>
                    <a:pt x="1184" y="774"/>
                  </a:lnTo>
                  <a:lnTo>
                    <a:pt x="1184" y="766"/>
                  </a:lnTo>
                  <a:lnTo>
                    <a:pt x="1184" y="765"/>
                  </a:lnTo>
                  <a:lnTo>
                    <a:pt x="1184" y="765"/>
                  </a:lnTo>
                  <a:lnTo>
                    <a:pt x="1184" y="761"/>
                  </a:lnTo>
                  <a:lnTo>
                    <a:pt x="1188" y="757"/>
                  </a:lnTo>
                  <a:lnTo>
                    <a:pt x="1188" y="755"/>
                  </a:lnTo>
                  <a:lnTo>
                    <a:pt x="1184" y="755"/>
                  </a:lnTo>
                  <a:lnTo>
                    <a:pt x="1184" y="751"/>
                  </a:lnTo>
                  <a:lnTo>
                    <a:pt x="1188" y="748"/>
                  </a:lnTo>
                  <a:lnTo>
                    <a:pt x="1188" y="748"/>
                  </a:lnTo>
                  <a:lnTo>
                    <a:pt x="1188" y="744"/>
                  </a:lnTo>
                  <a:lnTo>
                    <a:pt x="1192" y="740"/>
                  </a:lnTo>
                  <a:lnTo>
                    <a:pt x="1192" y="738"/>
                  </a:lnTo>
                  <a:lnTo>
                    <a:pt x="1188" y="738"/>
                  </a:lnTo>
                  <a:lnTo>
                    <a:pt x="1188" y="742"/>
                  </a:lnTo>
                  <a:lnTo>
                    <a:pt x="1188" y="744"/>
                  </a:lnTo>
                  <a:lnTo>
                    <a:pt x="1184" y="744"/>
                  </a:lnTo>
                  <a:lnTo>
                    <a:pt x="1184" y="742"/>
                  </a:lnTo>
                  <a:lnTo>
                    <a:pt x="1184" y="738"/>
                  </a:lnTo>
                  <a:lnTo>
                    <a:pt x="1184" y="736"/>
                  </a:lnTo>
                  <a:lnTo>
                    <a:pt x="1177" y="736"/>
                  </a:lnTo>
                  <a:lnTo>
                    <a:pt x="1175" y="734"/>
                  </a:lnTo>
                  <a:lnTo>
                    <a:pt x="1175" y="733"/>
                  </a:lnTo>
                  <a:lnTo>
                    <a:pt x="1180" y="731"/>
                  </a:lnTo>
                  <a:lnTo>
                    <a:pt x="1180" y="731"/>
                  </a:lnTo>
                  <a:lnTo>
                    <a:pt x="1177" y="727"/>
                  </a:lnTo>
                  <a:lnTo>
                    <a:pt x="1179" y="725"/>
                  </a:lnTo>
                  <a:lnTo>
                    <a:pt x="1179" y="721"/>
                  </a:lnTo>
                  <a:lnTo>
                    <a:pt x="1175" y="719"/>
                  </a:lnTo>
                  <a:lnTo>
                    <a:pt x="1173" y="719"/>
                  </a:lnTo>
                  <a:lnTo>
                    <a:pt x="1173" y="721"/>
                  </a:lnTo>
                  <a:lnTo>
                    <a:pt x="1175" y="725"/>
                  </a:lnTo>
                  <a:lnTo>
                    <a:pt x="1173" y="727"/>
                  </a:lnTo>
                  <a:lnTo>
                    <a:pt x="1169" y="727"/>
                  </a:lnTo>
                  <a:lnTo>
                    <a:pt x="1167" y="725"/>
                  </a:lnTo>
                  <a:lnTo>
                    <a:pt x="1167" y="725"/>
                  </a:lnTo>
                  <a:lnTo>
                    <a:pt x="1167" y="719"/>
                  </a:lnTo>
                  <a:lnTo>
                    <a:pt x="1167" y="716"/>
                  </a:lnTo>
                  <a:lnTo>
                    <a:pt x="1167" y="714"/>
                  </a:lnTo>
                  <a:lnTo>
                    <a:pt x="1164" y="714"/>
                  </a:lnTo>
                  <a:lnTo>
                    <a:pt x="1164" y="714"/>
                  </a:lnTo>
                  <a:lnTo>
                    <a:pt x="1167" y="712"/>
                  </a:lnTo>
                  <a:lnTo>
                    <a:pt x="1167" y="710"/>
                  </a:lnTo>
                  <a:lnTo>
                    <a:pt x="1167" y="710"/>
                  </a:lnTo>
                  <a:lnTo>
                    <a:pt x="1167" y="708"/>
                  </a:lnTo>
                  <a:lnTo>
                    <a:pt x="1169" y="706"/>
                  </a:lnTo>
                  <a:lnTo>
                    <a:pt x="1169" y="704"/>
                  </a:lnTo>
                  <a:lnTo>
                    <a:pt x="1167" y="702"/>
                  </a:lnTo>
                  <a:lnTo>
                    <a:pt x="1164" y="706"/>
                  </a:lnTo>
                  <a:lnTo>
                    <a:pt x="1164" y="710"/>
                  </a:lnTo>
                  <a:lnTo>
                    <a:pt x="1160" y="712"/>
                  </a:lnTo>
                  <a:lnTo>
                    <a:pt x="1160" y="710"/>
                  </a:lnTo>
                  <a:lnTo>
                    <a:pt x="1160" y="706"/>
                  </a:lnTo>
                  <a:lnTo>
                    <a:pt x="1158" y="708"/>
                  </a:lnTo>
                  <a:lnTo>
                    <a:pt x="1156" y="710"/>
                  </a:lnTo>
                  <a:lnTo>
                    <a:pt x="1152" y="710"/>
                  </a:lnTo>
                  <a:lnTo>
                    <a:pt x="1150" y="712"/>
                  </a:lnTo>
                  <a:lnTo>
                    <a:pt x="1147" y="712"/>
                  </a:lnTo>
                  <a:lnTo>
                    <a:pt x="1143" y="714"/>
                  </a:lnTo>
                  <a:lnTo>
                    <a:pt x="1143" y="716"/>
                  </a:lnTo>
                  <a:lnTo>
                    <a:pt x="1143" y="716"/>
                  </a:lnTo>
                  <a:lnTo>
                    <a:pt x="1143" y="712"/>
                  </a:lnTo>
                  <a:lnTo>
                    <a:pt x="1143" y="710"/>
                  </a:lnTo>
                  <a:lnTo>
                    <a:pt x="1143" y="708"/>
                  </a:lnTo>
                  <a:lnTo>
                    <a:pt x="1143" y="708"/>
                  </a:lnTo>
                  <a:lnTo>
                    <a:pt x="1143" y="704"/>
                  </a:lnTo>
                  <a:lnTo>
                    <a:pt x="1145" y="702"/>
                  </a:lnTo>
                  <a:lnTo>
                    <a:pt x="1148" y="704"/>
                  </a:lnTo>
                  <a:lnTo>
                    <a:pt x="1150" y="704"/>
                  </a:lnTo>
                  <a:lnTo>
                    <a:pt x="1152" y="704"/>
                  </a:lnTo>
                  <a:lnTo>
                    <a:pt x="1154" y="704"/>
                  </a:lnTo>
                  <a:lnTo>
                    <a:pt x="1158" y="701"/>
                  </a:lnTo>
                  <a:lnTo>
                    <a:pt x="1158" y="697"/>
                  </a:lnTo>
                  <a:lnTo>
                    <a:pt x="1158" y="697"/>
                  </a:lnTo>
                  <a:lnTo>
                    <a:pt x="1154" y="695"/>
                  </a:lnTo>
                  <a:lnTo>
                    <a:pt x="1150" y="693"/>
                  </a:lnTo>
                  <a:lnTo>
                    <a:pt x="1150" y="691"/>
                  </a:lnTo>
                  <a:lnTo>
                    <a:pt x="1148" y="687"/>
                  </a:lnTo>
                  <a:lnTo>
                    <a:pt x="1148" y="687"/>
                  </a:lnTo>
                  <a:lnTo>
                    <a:pt x="1148" y="684"/>
                  </a:lnTo>
                  <a:lnTo>
                    <a:pt x="1145" y="684"/>
                  </a:lnTo>
                  <a:lnTo>
                    <a:pt x="1145" y="684"/>
                  </a:lnTo>
                  <a:lnTo>
                    <a:pt x="1143" y="682"/>
                  </a:lnTo>
                  <a:lnTo>
                    <a:pt x="1143" y="680"/>
                  </a:lnTo>
                  <a:lnTo>
                    <a:pt x="1145" y="678"/>
                  </a:lnTo>
                  <a:lnTo>
                    <a:pt x="1145" y="680"/>
                  </a:lnTo>
                  <a:lnTo>
                    <a:pt x="1147" y="678"/>
                  </a:lnTo>
                  <a:lnTo>
                    <a:pt x="1147" y="676"/>
                  </a:lnTo>
                  <a:lnTo>
                    <a:pt x="1150" y="676"/>
                  </a:lnTo>
                  <a:lnTo>
                    <a:pt x="1147" y="676"/>
                  </a:lnTo>
                  <a:lnTo>
                    <a:pt x="1143" y="670"/>
                  </a:lnTo>
                  <a:lnTo>
                    <a:pt x="1143" y="670"/>
                  </a:lnTo>
                  <a:lnTo>
                    <a:pt x="1143" y="670"/>
                  </a:lnTo>
                  <a:lnTo>
                    <a:pt x="1139" y="670"/>
                  </a:lnTo>
                  <a:lnTo>
                    <a:pt x="1135" y="672"/>
                  </a:lnTo>
                  <a:lnTo>
                    <a:pt x="1135" y="672"/>
                  </a:lnTo>
                  <a:lnTo>
                    <a:pt x="1135" y="670"/>
                  </a:lnTo>
                  <a:lnTo>
                    <a:pt x="1139" y="667"/>
                  </a:lnTo>
                  <a:lnTo>
                    <a:pt x="1143" y="661"/>
                  </a:lnTo>
                  <a:lnTo>
                    <a:pt x="1143" y="659"/>
                  </a:lnTo>
                  <a:lnTo>
                    <a:pt x="1143" y="655"/>
                  </a:lnTo>
                  <a:lnTo>
                    <a:pt x="1143" y="652"/>
                  </a:lnTo>
                  <a:lnTo>
                    <a:pt x="1145" y="648"/>
                  </a:lnTo>
                  <a:lnTo>
                    <a:pt x="1143" y="646"/>
                  </a:lnTo>
                  <a:lnTo>
                    <a:pt x="1139" y="648"/>
                  </a:lnTo>
                  <a:lnTo>
                    <a:pt x="1139" y="648"/>
                  </a:lnTo>
                  <a:lnTo>
                    <a:pt x="1139" y="648"/>
                  </a:lnTo>
                  <a:lnTo>
                    <a:pt x="1135" y="650"/>
                  </a:lnTo>
                  <a:lnTo>
                    <a:pt x="1135" y="650"/>
                  </a:lnTo>
                  <a:lnTo>
                    <a:pt x="1130" y="646"/>
                  </a:lnTo>
                  <a:lnTo>
                    <a:pt x="1130" y="642"/>
                  </a:lnTo>
                  <a:lnTo>
                    <a:pt x="1130" y="638"/>
                  </a:lnTo>
                  <a:lnTo>
                    <a:pt x="1128" y="638"/>
                  </a:lnTo>
                  <a:lnTo>
                    <a:pt x="1128" y="636"/>
                  </a:lnTo>
                  <a:lnTo>
                    <a:pt x="1130" y="633"/>
                  </a:lnTo>
                  <a:lnTo>
                    <a:pt x="1130" y="633"/>
                  </a:lnTo>
                  <a:lnTo>
                    <a:pt x="1130" y="631"/>
                  </a:lnTo>
                  <a:lnTo>
                    <a:pt x="1130" y="627"/>
                  </a:lnTo>
                  <a:lnTo>
                    <a:pt x="1130" y="627"/>
                  </a:lnTo>
                  <a:lnTo>
                    <a:pt x="1126" y="629"/>
                  </a:lnTo>
                  <a:lnTo>
                    <a:pt x="1126" y="633"/>
                  </a:lnTo>
                  <a:lnTo>
                    <a:pt x="1124" y="636"/>
                  </a:lnTo>
                  <a:lnTo>
                    <a:pt x="1124" y="633"/>
                  </a:lnTo>
                  <a:lnTo>
                    <a:pt x="1122" y="633"/>
                  </a:lnTo>
                  <a:lnTo>
                    <a:pt x="1120" y="633"/>
                  </a:lnTo>
                  <a:lnTo>
                    <a:pt x="1120" y="636"/>
                  </a:lnTo>
                  <a:lnTo>
                    <a:pt x="1118" y="636"/>
                  </a:lnTo>
                  <a:lnTo>
                    <a:pt x="1118" y="638"/>
                  </a:lnTo>
                  <a:lnTo>
                    <a:pt x="1120" y="646"/>
                  </a:lnTo>
                  <a:lnTo>
                    <a:pt x="1124" y="642"/>
                  </a:lnTo>
                  <a:lnTo>
                    <a:pt x="1126" y="650"/>
                  </a:lnTo>
                  <a:lnTo>
                    <a:pt x="1128" y="652"/>
                  </a:lnTo>
                  <a:lnTo>
                    <a:pt x="1128" y="655"/>
                  </a:lnTo>
                  <a:lnTo>
                    <a:pt x="1126" y="659"/>
                  </a:lnTo>
                  <a:lnTo>
                    <a:pt x="1124" y="663"/>
                  </a:lnTo>
                  <a:lnTo>
                    <a:pt x="1122" y="663"/>
                  </a:lnTo>
                  <a:lnTo>
                    <a:pt x="1115" y="663"/>
                  </a:lnTo>
                  <a:lnTo>
                    <a:pt x="1111" y="663"/>
                  </a:lnTo>
                  <a:lnTo>
                    <a:pt x="1109" y="663"/>
                  </a:lnTo>
                  <a:lnTo>
                    <a:pt x="1105" y="661"/>
                  </a:lnTo>
                  <a:lnTo>
                    <a:pt x="1105" y="661"/>
                  </a:lnTo>
                  <a:lnTo>
                    <a:pt x="1105" y="657"/>
                  </a:lnTo>
                  <a:lnTo>
                    <a:pt x="1101" y="657"/>
                  </a:lnTo>
                  <a:lnTo>
                    <a:pt x="1094" y="653"/>
                  </a:lnTo>
                  <a:lnTo>
                    <a:pt x="1088" y="653"/>
                  </a:lnTo>
                  <a:lnTo>
                    <a:pt x="1092" y="659"/>
                  </a:lnTo>
                  <a:lnTo>
                    <a:pt x="1094" y="663"/>
                  </a:lnTo>
                  <a:lnTo>
                    <a:pt x="1092" y="663"/>
                  </a:lnTo>
                  <a:lnTo>
                    <a:pt x="1090" y="663"/>
                  </a:lnTo>
                  <a:lnTo>
                    <a:pt x="1088" y="661"/>
                  </a:lnTo>
                  <a:lnTo>
                    <a:pt x="1084" y="657"/>
                  </a:lnTo>
                  <a:lnTo>
                    <a:pt x="1084" y="657"/>
                  </a:lnTo>
                  <a:lnTo>
                    <a:pt x="1084" y="653"/>
                  </a:lnTo>
                  <a:lnTo>
                    <a:pt x="1081" y="650"/>
                  </a:lnTo>
                  <a:lnTo>
                    <a:pt x="1077" y="646"/>
                  </a:lnTo>
                  <a:lnTo>
                    <a:pt x="1077" y="646"/>
                  </a:lnTo>
                  <a:lnTo>
                    <a:pt x="1073" y="646"/>
                  </a:lnTo>
                  <a:lnTo>
                    <a:pt x="1071" y="640"/>
                  </a:lnTo>
                  <a:lnTo>
                    <a:pt x="1068" y="638"/>
                  </a:lnTo>
                  <a:lnTo>
                    <a:pt x="1068" y="638"/>
                  </a:lnTo>
                  <a:lnTo>
                    <a:pt x="1064" y="636"/>
                  </a:lnTo>
                  <a:lnTo>
                    <a:pt x="1066" y="638"/>
                  </a:lnTo>
                  <a:lnTo>
                    <a:pt x="1073" y="646"/>
                  </a:lnTo>
                  <a:lnTo>
                    <a:pt x="1073" y="648"/>
                  </a:lnTo>
                  <a:lnTo>
                    <a:pt x="1077" y="652"/>
                  </a:lnTo>
                  <a:lnTo>
                    <a:pt x="1079" y="653"/>
                  </a:lnTo>
                  <a:lnTo>
                    <a:pt x="1081" y="655"/>
                  </a:lnTo>
                  <a:lnTo>
                    <a:pt x="1079" y="659"/>
                  </a:lnTo>
                  <a:lnTo>
                    <a:pt x="1077" y="657"/>
                  </a:lnTo>
                  <a:lnTo>
                    <a:pt x="1075" y="659"/>
                  </a:lnTo>
                  <a:lnTo>
                    <a:pt x="1069" y="655"/>
                  </a:lnTo>
                  <a:lnTo>
                    <a:pt x="1068" y="655"/>
                  </a:lnTo>
                  <a:lnTo>
                    <a:pt x="1066" y="653"/>
                  </a:lnTo>
                  <a:lnTo>
                    <a:pt x="1062" y="652"/>
                  </a:lnTo>
                  <a:lnTo>
                    <a:pt x="1062" y="648"/>
                  </a:lnTo>
                  <a:lnTo>
                    <a:pt x="1056" y="650"/>
                  </a:lnTo>
                  <a:lnTo>
                    <a:pt x="1051" y="652"/>
                  </a:lnTo>
                  <a:lnTo>
                    <a:pt x="1051" y="650"/>
                  </a:lnTo>
                  <a:lnTo>
                    <a:pt x="1047" y="648"/>
                  </a:lnTo>
                  <a:lnTo>
                    <a:pt x="1043" y="648"/>
                  </a:lnTo>
                  <a:lnTo>
                    <a:pt x="1041" y="646"/>
                  </a:lnTo>
                  <a:lnTo>
                    <a:pt x="1036" y="642"/>
                  </a:lnTo>
                  <a:lnTo>
                    <a:pt x="1036" y="640"/>
                  </a:lnTo>
                  <a:lnTo>
                    <a:pt x="1041" y="636"/>
                  </a:lnTo>
                  <a:lnTo>
                    <a:pt x="1043" y="636"/>
                  </a:lnTo>
                  <a:lnTo>
                    <a:pt x="1043" y="633"/>
                  </a:lnTo>
                  <a:lnTo>
                    <a:pt x="1041" y="633"/>
                  </a:lnTo>
                  <a:lnTo>
                    <a:pt x="1037" y="636"/>
                  </a:lnTo>
                  <a:lnTo>
                    <a:pt x="1036" y="638"/>
                  </a:lnTo>
                  <a:lnTo>
                    <a:pt x="1034" y="640"/>
                  </a:lnTo>
                  <a:lnTo>
                    <a:pt x="1030" y="636"/>
                  </a:lnTo>
                  <a:lnTo>
                    <a:pt x="1026" y="636"/>
                  </a:lnTo>
                  <a:lnTo>
                    <a:pt x="1026" y="636"/>
                  </a:lnTo>
                  <a:lnTo>
                    <a:pt x="1030" y="640"/>
                  </a:lnTo>
                  <a:lnTo>
                    <a:pt x="1026" y="640"/>
                  </a:lnTo>
                  <a:lnTo>
                    <a:pt x="1022" y="640"/>
                  </a:lnTo>
                  <a:lnTo>
                    <a:pt x="1019" y="636"/>
                  </a:lnTo>
                  <a:lnTo>
                    <a:pt x="1017" y="633"/>
                  </a:lnTo>
                  <a:lnTo>
                    <a:pt x="1013" y="631"/>
                  </a:lnTo>
                  <a:lnTo>
                    <a:pt x="1015" y="627"/>
                  </a:lnTo>
                  <a:lnTo>
                    <a:pt x="1020" y="623"/>
                  </a:lnTo>
                  <a:lnTo>
                    <a:pt x="1022" y="621"/>
                  </a:lnTo>
                  <a:lnTo>
                    <a:pt x="1020" y="621"/>
                  </a:lnTo>
                  <a:lnTo>
                    <a:pt x="1019" y="623"/>
                  </a:lnTo>
                  <a:lnTo>
                    <a:pt x="1013" y="623"/>
                  </a:lnTo>
                  <a:lnTo>
                    <a:pt x="1011" y="627"/>
                  </a:lnTo>
                  <a:lnTo>
                    <a:pt x="1009" y="629"/>
                  </a:lnTo>
                  <a:lnTo>
                    <a:pt x="1009" y="625"/>
                  </a:lnTo>
                  <a:lnTo>
                    <a:pt x="1009" y="621"/>
                  </a:lnTo>
                  <a:lnTo>
                    <a:pt x="1009" y="621"/>
                  </a:lnTo>
                  <a:lnTo>
                    <a:pt x="1007" y="621"/>
                  </a:lnTo>
                  <a:lnTo>
                    <a:pt x="1005" y="623"/>
                  </a:lnTo>
                  <a:lnTo>
                    <a:pt x="1007" y="625"/>
                  </a:lnTo>
                  <a:lnTo>
                    <a:pt x="1005" y="627"/>
                  </a:lnTo>
                  <a:lnTo>
                    <a:pt x="1005" y="627"/>
                  </a:lnTo>
                  <a:lnTo>
                    <a:pt x="1002" y="625"/>
                  </a:lnTo>
                  <a:lnTo>
                    <a:pt x="998" y="623"/>
                  </a:lnTo>
                  <a:lnTo>
                    <a:pt x="996" y="625"/>
                  </a:lnTo>
                  <a:lnTo>
                    <a:pt x="996" y="627"/>
                  </a:lnTo>
                  <a:lnTo>
                    <a:pt x="992" y="627"/>
                  </a:lnTo>
                  <a:lnTo>
                    <a:pt x="992" y="623"/>
                  </a:lnTo>
                  <a:lnTo>
                    <a:pt x="990" y="621"/>
                  </a:lnTo>
                  <a:lnTo>
                    <a:pt x="992" y="621"/>
                  </a:lnTo>
                  <a:lnTo>
                    <a:pt x="992" y="621"/>
                  </a:lnTo>
                  <a:lnTo>
                    <a:pt x="992" y="621"/>
                  </a:lnTo>
                  <a:lnTo>
                    <a:pt x="990" y="618"/>
                  </a:lnTo>
                  <a:lnTo>
                    <a:pt x="985" y="614"/>
                  </a:lnTo>
                  <a:lnTo>
                    <a:pt x="985" y="612"/>
                  </a:lnTo>
                  <a:lnTo>
                    <a:pt x="985" y="606"/>
                  </a:lnTo>
                  <a:lnTo>
                    <a:pt x="985" y="603"/>
                  </a:lnTo>
                  <a:lnTo>
                    <a:pt x="983" y="599"/>
                  </a:lnTo>
                  <a:lnTo>
                    <a:pt x="985" y="595"/>
                  </a:lnTo>
                  <a:lnTo>
                    <a:pt x="987" y="595"/>
                  </a:lnTo>
                  <a:lnTo>
                    <a:pt x="987" y="593"/>
                  </a:lnTo>
                  <a:lnTo>
                    <a:pt x="985" y="589"/>
                  </a:lnTo>
                  <a:lnTo>
                    <a:pt x="985" y="587"/>
                  </a:lnTo>
                  <a:lnTo>
                    <a:pt x="988" y="587"/>
                  </a:lnTo>
                  <a:lnTo>
                    <a:pt x="990" y="589"/>
                  </a:lnTo>
                  <a:lnTo>
                    <a:pt x="998" y="589"/>
                  </a:lnTo>
                  <a:lnTo>
                    <a:pt x="998" y="593"/>
                  </a:lnTo>
                  <a:lnTo>
                    <a:pt x="1002" y="597"/>
                  </a:lnTo>
                  <a:lnTo>
                    <a:pt x="1007" y="599"/>
                  </a:lnTo>
                  <a:lnTo>
                    <a:pt x="1013" y="599"/>
                  </a:lnTo>
                  <a:lnTo>
                    <a:pt x="1015" y="599"/>
                  </a:lnTo>
                  <a:lnTo>
                    <a:pt x="1020" y="599"/>
                  </a:lnTo>
                  <a:lnTo>
                    <a:pt x="1019" y="597"/>
                  </a:lnTo>
                  <a:lnTo>
                    <a:pt x="1017" y="593"/>
                  </a:lnTo>
                  <a:lnTo>
                    <a:pt x="1013" y="591"/>
                  </a:lnTo>
                  <a:lnTo>
                    <a:pt x="1011" y="586"/>
                  </a:lnTo>
                  <a:lnTo>
                    <a:pt x="1007" y="586"/>
                  </a:lnTo>
                  <a:lnTo>
                    <a:pt x="1002" y="582"/>
                  </a:lnTo>
                  <a:lnTo>
                    <a:pt x="1002" y="582"/>
                  </a:lnTo>
                  <a:lnTo>
                    <a:pt x="996" y="582"/>
                  </a:lnTo>
                  <a:lnTo>
                    <a:pt x="992" y="582"/>
                  </a:lnTo>
                  <a:lnTo>
                    <a:pt x="987" y="578"/>
                  </a:lnTo>
                  <a:lnTo>
                    <a:pt x="985" y="572"/>
                  </a:lnTo>
                  <a:lnTo>
                    <a:pt x="985" y="567"/>
                  </a:lnTo>
                  <a:lnTo>
                    <a:pt x="988" y="565"/>
                  </a:lnTo>
                  <a:lnTo>
                    <a:pt x="988" y="563"/>
                  </a:lnTo>
                  <a:lnTo>
                    <a:pt x="990" y="557"/>
                  </a:lnTo>
                  <a:lnTo>
                    <a:pt x="992" y="557"/>
                  </a:lnTo>
                  <a:lnTo>
                    <a:pt x="992" y="554"/>
                  </a:lnTo>
                  <a:lnTo>
                    <a:pt x="992" y="548"/>
                  </a:lnTo>
                  <a:lnTo>
                    <a:pt x="996" y="544"/>
                  </a:lnTo>
                  <a:lnTo>
                    <a:pt x="998" y="544"/>
                  </a:lnTo>
                  <a:lnTo>
                    <a:pt x="998" y="542"/>
                  </a:lnTo>
                  <a:lnTo>
                    <a:pt x="1005" y="539"/>
                  </a:lnTo>
                  <a:lnTo>
                    <a:pt x="1005" y="539"/>
                  </a:lnTo>
                  <a:lnTo>
                    <a:pt x="1007" y="537"/>
                  </a:lnTo>
                  <a:lnTo>
                    <a:pt x="1005" y="537"/>
                  </a:lnTo>
                  <a:lnTo>
                    <a:pt x="1005" y="537"/>
                  </a:lnTo>
                  <a:lnTo>
                    <a:pt x="1005" y="535"/>
                  </a:lnTo>
                  <a:lnTo>
                    <a:pt x="1007" y="527"/>
                  </a:lnTo>
                  <a:lnTo>
                    <a:pt x="1011" y="522"/>
                  </a:lnTo>
                  <a:lnTo>
                    <a:pt x="1011" y="522"/>
                  </a:lnTo>
                  <a:lnTo>
                    <a:pt x="1015" y="518"/>
                  </a:lnTo>
                  <a:lnTo>
                    <a:pt x="1019" y="518"/>
                  </a:lnTo>
                  <a:lnTo>
                    <a:pt x="1019" y="518"/>
                  </a:lnTo>
                  <a:lnTo>
                    <a:pt x="1020" y="514"/>
                  </a:lnTo>
                  <a:lnTo>
                    <a:pt x="1022" y="514"/>
                  </a:lnTo>
                  <a:lnTo>
                    <a:pt x="1024" y="514"/>
                  </a:lnTo>
                  <a:lnTo>
                    <a:pt x="1026" y="514"/>
                  </a:lnTo>
                  <a:lnTo>
                    <a:pt x="1024" y="512"/>
                  </a:lnTo>
                  <a:lnTo>
                    <a:pt x="1030" y="505"/>
                  </a:lnTo>
                  <a:lnTo>
                    <a:pt x="1030" y="505"/>
                  </a:lnTo>
                  <a:lnTo>
                    <a:pt x="1030" y="501"/>
                  </a:lnTo>
                  <a:lnTo>
                    <a:pt x="1034" y="497"/>
                  </a:lnTo>
                  <a:lnTo>
                    <a:pt x="1037" y="497"/>
                  </a:lnTo>
                  <a:lnTo>
                    <a:pt x="1039" y="493"/>
                  </a:lnTo>
                  <a:lnTo>
                    <a:pt x="1043" y="493"/>
                  </a:lnTo>
                  <a:lnTo>
                    <a:pt x="1045" y="493"/>
                  </a:lnTo>
                  <a:lnTo>
                    <a:pt x="1045" y="493"/>
                  </a:lnTo>
                  <a:lnTo>
                    <a:pt x="1045" y="488"/>
                  </a:lnTo>
                  <a:lnTo>
                    <a:pt x="1051" y="484"/>
                  </a:lnTo>
                  <a:lnTo>
                    <a:pt x="1056" y="480"/>
                  </a:lnTo>
                  <a:lnTo>
                    <a:pt x="1068" y="476"/>
                  </a:lnTo>
                  <a:lnTo>
                    <a:pt x="1075" y="476"/>
                  </a:lnTo>
                  <a:lnTo>
                    <a:pt x="1077" y="474"/>
                  </a:lnTo>
                  <a:lnTo>
                    <a:pt x="1081" y="476"/>
                  </a:lnTo>
                  <a:lnTo>
                    <a:pt x="1084" y="474"/>
                  </a:lnTo>
                  <a:lnTo>
                    <a:pt x="1086" y="476"/>
                  </a:lnTo>
                  <a:lnTo>
                    <a:pt x="1092" y="476"/>
                  </a:lnTo>
                  <a:lnTo>
                    <a:pt x="1096" y="478"/>
                  </a:lnTo>
                  <a:lnTo>
                    <a:pt x="1105" y="482"/>
                  </a:lnTo>
                  <a:lnTo>
                    <a:pt x="1105" y="484"/>
                  </a:lnTo>
                  <a:lnTo>
                    <a:pt x="1103" y="488"/>
                  </a:lnTo>
                  <a:lnTo>
                    <a:pt x="1100" y="488"/>
                  </a:lnTo>
                  <a:lnTo>
                    <a:pt x="1092" y="493"/>
                  </a:lnTo>
                  <a:lnTo>
                    <a:pt x="1088" y="493"/>
                  </a:lnTo>
                  <a:lnTo>
                    <a:pt x="1086" y="493"/>
                  </a:lnTo>
                  <a:lnTo>
                    <a:pt x="1084" y="497"/>
                  </a:lnTo>
                  <a:lnTo>
                    <a:pt x="1081" y="499"/>
                  </a:lnTo>
                  <a:lnTo>
                    <a:pt x="1075" y="506"/>
                  </a:lnTo>
                  <a:lnTo>
                    <a:pt x="1068" y="514"/>
                  </a:lnTo>
                  <a:lnTo>
                    <a:pt x="1062" y="518"/>
                  </a:lnTo>
                  <a:lnTo>
                    <a:pt x="1060" y="518"/>
                  </a:lnTo>
                  <a:lnTo>
                    <a:pt x="1056" y="525"/>
                  </a:lnTo>
                  <a:lnTo>
                    <a:pt x="1056" y="529"/>
                  </a:lnTo>
                  <a:lnTo>
                    <a:pt x="1056" y="533"/>
                  </a:lnTo>
                  <a:lnTo>
                    <a:pt x="1060" y="537"/>
                  </a:lnTo>
                  <a:lnTo>
                    <a:pt x="1060" y="539"/>
                  </a:lnTo>
                  <a:lnTo>
                    <a:pt x="1056" y="542"/>
                  </a:lnTo>
                  <a:lnTo>
                    <a:pt x="1054" y="544"/>
                  </a:lnTo>
                  <a:lnTo>
                    <a:pt x="1051" y="548"/>
                  </a:lnTo>
                  <a:lnTo>
                    <a:pt x="1051" y="552"/>
                  </a:lnTo>
                  <a:lnTo>
                    <a:pt x="1049" y="555"/>
                  </a:lnTo>
                  <a:lnTo>
                    <a:pt x="1047" y="557"/>
                  </a:lnTo>
                  <a:lnTo>
                    <a:pt x="1045" y="561"/>
                  </a:lnTo>
                  <a:lnTo>
                    <a:pt x="1047" y="565"/>
                  </a:lnTo>
                  <a:lnTo>
                    <a:pt x="1049" y="569"/>
                  </a:lnTo>
                  <a:lnTo>
                    <a:pt x="1051" y="572"/>
                  </a:lnTo>
                  <a:lnTo>
                    <a:pt x="1051" y="578"/>
                  </a:lnTo>
                  <a:lnTo>
                    <a:pt x="1051" y="582"/>
                  </a:lnTo>
                  <a:lnTo>
                    <a:pt x="1054" y="582"/>
                  </a:lnTo>
                  <a:lnTo>
                    <a:pt x="1056" y="584"/>
                  </a:lnTo>
                  <a:lnTo>
                    <a:pt x="1056" y="587"/>
                  </a:lnTo>
                  <a:lnTo>
                    <a:pt x="1056" y="591"/>
                  </a:lnTo>
                  <a:lnTo>
                    <a:pt x="1054" y="589"/>
                  </a:lnTo>
                  <a:lnTo>
                    <a:pt x="1051" y="589"/>
                  </a:lnTo>
                  <a:lnTo>
                    <a:pt x="1051" y="591"/>
                  </a:lnTo>
                  <a:lnTo>
                    <a:pt x="1051" y="591"/>
                  </a:lnTo>
                  <a:lnTo>
                    <a:pt x="1047" y="591"/>
                  </a:lnTo>
                  <a:lnTo>
                    <a:pt x="1045" y="593"/>
                  </a:lnTo>
                  <a:lnTo>
                    <a:pt x="1047" y="593"/>
                  </a:lnTo>
                  <a:lnTo>
                    <a:pt x="1051" y="597"/>
                  </a:lnTo>
                  <a:lnTo>
                    <a:pt x="1051" y="597"/>
                  </a:lnTo>
                  <a:lnTo>
                    <a:pt x="1051" y="595"/>
                  </a:lnTo>
                  <a:lnTo>
                    <a:pt x="1054" y="597"/>
                  </a:lnTo>
                  <a:lnTo>
                    <a:pt x="1051" y="599"/>
                  </a:lnTo>
                  <a:lnTo>
                    <a:pt x="1051" y="603"/>
                  </a:lnTo>
                  <a:lnTo>
                    <a:pt x="1051" y="606"/>
                  </a:lnTo>
                  <a:lnTo>
                    <a:pt x="1049" y="612"/>
                  </a:lnTo>
                  <a:lnTo>
                    <a:pt x="1054" y="606"/>
                  </a:lnTo>
                  <a:lnTo>
                    <a:pt x="1054" y="603"/>
                  </a:lnTo>
                  <a:lnTo>
                    <a:pt x="1056" y="597"/>
                  </a:lnTo>
                  <a:lnTo>
                    <a:pt x="1060" y="595"/>
                  </a:lnTo>
                  <a:lnTo>
                    <a:pt x="1060" y="587"/>
                  </a:lnTo>
                  <a:lnTo>
                    <a:pt x="1060" y="586"/>
                  </a:lnTo>
                  <a:lnTo>
                    <a:pt x="1064" y="582"/>
                  </a:lnTo>
                  <a:lnTo>
                    <a:pt x="1064" y="582"/>
                  </a:lnTo>
                  <a:lnTo>
                    <a:pt x="1064" y="578"/>
                  </a:lnTo>
                  <a:lnTo>
                    <a:pt x="1064" y="576"/>
                  </a:lnTo>
                  <a:lnTo>
                    <a:pt x="1062" y="572"/>
                  </a:lnTo>
                  <a:lnTo>
                    <a:pt x="1060" y="572"/>
                  </a:lnTo>
                  <a:lnTo>
                    <a:pt x="1060" y="569"/>
                  </a:lnTo>
                  <a:lnTo>
                    <a:pt x="1060" y="567"/>
                  </a:lnTo>
                  <a:lnTo>
                    <a:pt x="1060" y="563"/>
                  </a:lnTo>
                  <a:lnTo>
                    <a:pt x="1056" y="559"/>
                  </a:lnTo>
                  <a:lnTo>
                    <a:pt x="1056" y="555"/>
                  </a:lnTo>
                  <a:lnTo>
                    <a:pt x="1056" y="554"/>
                  </a:lnTo>
                  <a:lnTo>
                    <a:pt x="1060" y="557"/>
                  </a:lnTo>
                  <a:lnTo>
                    <a:pt x="1060" y="555"/>
                  </a:lnTo>
                  <a:lnTo>
                    <a:pt x="1064" y="554"/>
                  </a:lnTo>
                  <a:lnTo>
                    <a:pt x="1066" y="552"/>
                  </a:lnTo>
                  <a:lnTo>
                    <a:pt x="1066" y="548"/>
                  </a:lnTo>
                  <a:lnTo>
                    <a:pt x="1068" y="548"/>
                  </a:lnTo>
                  <a:lnTo>
                    <a:pt x="1069" y="548"/>
                  </a:lnTo>
                  <a:lnTo>
                    <a:pt x="1073" y="552"/>
                  </a:lnTo>
                  <a:lnTo>
                    <a:pt x="1071" y="554"/>
                  </a:lnTo>
                  <a:lnTo>
                    <a:pt x="1073" y="555"/>
                  </a:lnTo>
                  <a:lnTo>
                    <a:pt x="1075" y="552"/>
                  </a:lnTo>
                  <a:lnTo>
                    <a:pt x="1075" y="548"/>
                  </a:lnTo>
                  <a:lnTo>
                    <a:pt x="1079" y="548"/>
                  </a:lnTo>
                  <a:lnTo>
                    <a:pt x="1081" y="548"/>
                  </a:lnTo>
                  <a:lnTo>
                    <a:pt x="1081" y="544"/>
                  </a:lnTo>
                  <a:lnTo>
                    <a:pt x="1081" y="544"/>
                  </a:lnTo>
                  <a:lnTo>
                    <a:pt x="1084" y="542"/>
                  </a:lnTo>
                  <a:lnTo>
                    <a:pt x="1084" y="539"/>
                  </a:lnTo>
                  <a:lnTo>
                    <a:pt x="1081" y="539"/>
                  </a:lnTo>
                  <a:lnTo>
                    <a:pt x="1075" y="544"/>
                  </a:lnTo>
                  <a:lnTo>
                    <a:pt x="1073" y="544"/>
                  </a:lnTo>
                  <a:lnTo>
                    <a:pt x="1071" y="539"/>
                  </a:lnTo>
                  <a:lnTo>
                    <a:pt x="1069" y="539"/>
                  </a:lnTo>
                  <a:lnTo>
                    <a:pt x="1069" y="537"/>
                  </a:lnTo>
                  <a:lnTo>
                    <a:pt x="1073" y="535"/>
                  </a:lnTo>
                  <a:lnTo>
                    <a:pt x="1071" y="531"/>
                  </a:lnTo>
                  <a:lnTo>
                    <a:pt x="1073" y="525"/>
                  </a:lnTo>
                  <a:lnTo>
                    <a:pt x="1075" y="522"/>
                  </a:lnTo>
                  <a:lnTo>
                    <a:pt x="1077" y="518"/>
                  </a:lnTo>
                  <a:lnTo>
                    <a:pt x="1079" y="514"/>
                  </a:lnTo>
                  <a:lnTo>
                    <a:pt x="1084" y="518"/>
                  </a:lnTo>
                  <a:lnTo>
                    <a:pt x="1084" y="520"/>
                  </a:lnTo>
                  <a:lnTo>
                    <a:pt x="1086" y="522"/>
                  </a:lnTo>
                  <a:lnTo>
                    <a:pt x="1090" y="523"/>
                  </a:lnTo>
                  <a:lnTo>
                    <a:pt x="1094" y="527"/>
                  </a:lnTo>
                  <a:lnTo>
                    <a:pt x="1098" y="527"/>
                  </a:lnTo>
                  <a:lnTo>
                    <a:pt x="1094" y="525"/>
                  </a:lnTo>
                  <a:lnTo>
                    <a:pt x="1094" y="523"/>
                  </a:lnTo>
                  <a:lnTo>
                    <a:pt x="1088" y="520"/>
                  </a:lnTo>
                  <a:lnTo>
                    <a:pt x="1086" y="518"/>
                  </a:lnTo>
                  <a:lnTo>
                    <a:pt x="1086" y="514"/>
                  </a:lnTo>
                  <a:lnTo>
                    <a:pt x="1084" y="514"/>
                  </a:lnTo>
                  <a:lnTo>
                    <a:pt x="1081" y="514"/>
                  </a:lnTo>
                  <a:lnTo>
                    <a:pt x="1081" y="512"/>
                  </a:lnTo>
                  <a:lnTo>
                    <a:pt x="1088" y="512"/>
                  </a:lnTo>
                  <a:lnTo>
                    <a:pt x="1088" y="510"/>
                  </a:lnTo>
                  <a:lnTo>
                    <a:pt x="1090" y="510"/>
                  </a:lnTo>
                  <a:lnTo>
                    <a:pt x="1098" y="518"/>
                  </a:lnTo>
                  <a:lnTo>
                    <a:pt x="1101" y="518"/>
                  </a:lnTo>
                  <a:lnTo>
                    <a:pt x="1103" y="518"/>
                  </a:lnTo>
                  <a:lnTo>
                    <a:pt x="1100" y="518"/>
                  </a:lnTo>
                  <a:lnTo>
                    <a:pt x="1096" y="512"/>
                  </a:lnTo>
                  <a:lnTo>
                    <a:pt x="1092" y="508"/>
                  </a:lnTo>
                  <a:lnTo>
                    <a:pt x="1090" y="506"/>
                  </a:lnTo>
                  <a:lnTo>
                    <a:pt x="1092" y="503"/>
                  </a:lnTo>
                  <a:lnTo>
                    <a:pt x="1098" y="501"/>
                  </a:lnTo>
                  <a:lnTo>
                    <a:pt x="1100" y="501"/>
                  </a:lnTo>
                  <a:lnTo>
                    <a:pt x="1100" y="505"/>
                  </a:lnTo>
                  <a:lnTo>
                    <a:pt x="1100" y="508"/>
                  </a:lnTo>
                  <a:lnTo>
                    <a:pt x="1101" y="506"/>
                  </a:lnTo>
                  <a:lnTo>
                    <a:pt x="1101" y="503"/>
                  </a:lnTo>
                  <a:lnTo>
                    <a:pt x="1103" y="501"/>
                  </a:lnTo>
                  <a:lnTo>
                    <a:pt x="1109" y="501"/>
                  </a:lnTo>
                  <a:lnTo>
                    <a:pt x="1109" y="505"/>
                  </a:lnTo>
                  <a:lnTo>
                    <a:pt x="1111" y="506"/>
                  </a:lnTo>
                  <a:lnTo>
                    <a:pt x="1115" y="512"/>
                  </a:lnTo>
                  <a:lnTo>
                    <a:pt x="1115" y="508"/>
                  </a:lnTo>
                  <a:lnTo>
                    <a:pt x="1115" y="506"/>
                  </a:lnTo>
                  <a:lnTo>
                    <a:pt x="1111" y="501"/>
                  </a:lnTo>
                  <a:lnTo>
                    <a:pt x="1111" y="499"/>
                  </a:lnTo>
                  <a:lnTo>
                    <a:pt x="1120" y="497"/>
                  </a:lnTo>
                  <a:lnTo>
                    <a:pt x="1126" y="495"/>
                  </a:lnTo>
                  <a:lnTo>
                    <a:pt x="1130" y="493"/>
                  </a:lnTo>
                  <a:lnTo>
                    <a:pt x="1135" y="493"/>
                  </a:lnTo>
                  <a:lnTo>
                    <a:pt x="1139" y="493"/>
                  </a:lnTo>
                  <a:lnTo>
                    <a:pt x="1147" y="493"/>
                  </a:lnTo>
                  <a:lnTo>
                    <a:pt x="1152" y="495"/>
                  </a:lnTo>
                  <a:lnTo>
                    <a:pt x="1152" y="497"/>
                  </a:lnTo>
                  <a:lnTo>
                    <a:pt x="1152" y="499"/>
                  </a:lnTo>
                  <a:lnTo>
                    <a:pt x="1150" y="506"/>
                  </a:lnTo>
                  <a:lnTo>
                    <a:pt x="1150" y="510"/>
                  </a:lnTo>
                  <a:lnTo>
                    <a:pt x="1147" y="512"/>
                  </a:lnTo>
                  <a:lnTo>
                    <a:pt x="1145" y="518"/>
                  </a:lnTo>
                  <a:lnTo>
                    <a:pt x="1145" y="518"/>
                  </a:lnTo>
                  <a:lnTo>
                    <a:pt x="1148" y="520"/>
                  </a:lnTo>
                  <a:lnTo>
                    <a:pt x="1150" y="522"/>
                  </a:lnTo>
                  <a:lnTo>
                    <a:pt x="1150" y="525"/>
                  </a:lnTo>
                  <a:lnTo>
                    <a:pt x="1145" y="531"/>
                  </a:lnTo>
                  <a:lnTo>
                    <a:pt x="1143" y="533"/>
                  </a:lnTo>
                  <a:lnTo>
                    <a:pt x="1143" y="537"/>
                  </a:lnTo>
                  <a:lnTo>
                    <a:pt x="1147" y="539"/>
                  </a:lnTo>
                  <a:lnTo>
                    <a:pt x="1147" y="542"/>
                  </a:lnTo>
                  <a:lnTo>
                    <a:pt x="1143" y="544"/>
                  </a:lnTo>
                  <a:lnTo>
                    <a:pt x="1143" y="544"/>
                  </a:lnTo>
                  <a:lnTo>
                    <a:pt x="1139" y="548"/>
                  </a:lnTo>
                  <a:lnTo>
                    <a:pt x="1135" y="548"/>
                  </a:lnTo>
                  <a:lnTo>
                    <a:pt x="1133" y="552"/>
                  </a:lnTo>
                  <a:lnTo>
                    <a:pt x="1130" y="554"/>
                  </a:lnTo>
                  <a:lnTo>
                    <a:pt x="1128" y="557"/>
                  </a:lnTo>
                  <a:lnTo>
                    <a:pt x="1130" y="557"/>
                  </a:lnTo>
                  <a:lnTo>
                    <a:pt x="1135" y="552"/>
                  </a:lnTo>
                  <a:lnTo>
                    <a:pt x="1139" y="548"/>
                  </a:lnTo>
                  <a:lnTo>
                    <a:pt x="1143" y="548"/>
                  </a:lnTo>
                  <a:lnTo>
                    <a:pt x="1143" y="548"/>
                  </a:lnTo>
                  <a:lnTo>
                    <a:pt x="1139" y="552"/>
                  </a:lnTo>
                  <a:lnTo>
                    <a:pt x="1139" y="554"/>
                  </a:lnTo>
                  <a:lnTo>
                    <a:pt x="1135" y="559"/>
                  </a:lnTo>
                  <a:lnTo>
                    <a:pt x="1130" y="561"/>
                  </a:lnTo>
                  <a:lnTo>
                    <a:pt x="1130" y="563"/>
                  </a:lnTo>
                  <a:lnTo>
                    <a:pt x="1130" y="565"/>
                  </a:lnTo>
                  <a:lnTo>
                    <a:pt x="1130" y="567"/>
                  </a:lnTo>
                  <a:lnTo>
                    <a:pt x="1128" y="565"/>
                  </a:lnTo>
                  <a:lnTo>
                    <a:pt x="1126" y="565"/>
                  </a:lnTo>
                  <a:lnTo>
                    <a:pt x="1126" y="569"/>
                  </a:lnTo>
                  <a:lnTo>
                    <a:pt x="1128" y="569"/>
                  </a:lnTo>
                  <a:lnTo>
                    <a:pt x="1130" y="569"/>
                  </a:lnTo>
                  <a:lnTo>
                    <a:pt x="1130" y="572"/>
                  </a:lnTo>
                  <a:lnTo>
                    <a:pt x="1126" y="572"/>
                  </a:lnTo>
                  <a:lnTo>
                    <a:pt x="1130" y="572"/>
                  </a:lnTo>
                  <a:lnTo>
                    <a:pt x="1130" y="572"/>
                  </a:lnTo>
                  <a:lnTo>
                    <a:pt x="1133" y="572"/>
                  </a:lnTo>
                  <a:lnTo>
                    <a:pt x="1135" y="569"/>
                  </a:lnTo>
                  <a:lnTo>
                    <a:pt x="1135" y="565"/>
                  </a:lnTo>
                  <a:lnTo>
                    <a:pt x="1139" y="563"/>
                  </a:lnTo>
                  <a:lnTo>
                    <a:pt x="1139" y="561"/>
                  </a:lnTo>
                  <a:lnTo>
                    <a:pt x="1143" y="561"/>
                  </a:lnTo>
                  <a:lnTo>
                    <a:pt x="1143" y="567"/>
                  </a:lnTo>
                  <a:lnTo>
                    <a:pt x="1143" y="569"/>
                  </a:lnTo>
                  <a:lnTo>
                    <a:pt x="1143" y="563"/>
                  </a:lnTo>
                  <a:lnTo>
                    <a:pt x="1143" y="559"/>
                  </a:lnTo>
                  <a:lnTo>
                    <a:pt x="1143" y="557"/>
                  </a:lnTo>
                  <a:lnTo>
                    <a:pt x="1145" y="555"/>
                  </a:lnTo>
                  <a:lnTo>
                    <a:pt x="1148" y="555"/>
                  </a:lnTo>
                  <a:lnTo>
                    <a:pt x="1148" y="561"/>
                  </a:lnTo>
                  <a:lnTo>
                    <a:pt x="1148" y="563"/>
                  </a:lnTo>
                  <a:lnTo>
                    <a:pt x="1150" y="561"/>
                  </a:lnTo>
                  <a:lnTo>
                    <a:pt x="1154" y="557"/>
                  </a:lnTo>
                  <a:lnTo>
                    <a:pt x="1156" y="559"/>
                  </a:lnTo>
                  <a:lnTo>
                    <a:pt x="1158" y="563"/>
                  </a:lnTo>
                  <a:lnTo>
                    <a:pt x="1158" y="567"/>
                  </a:lnTo>
                  <a:lnTo>
                    <a:pt x="1152" y="572"/>
                  </a:lnTo>
                  <a:lnTo>
                    <a:pt x="1148" y="576"/>
                  </a:lnTo>
                  <a:lnTo>
                    <a:pt x="1147" y="578"/>
                  </a:lnTo>
                  <a:lnTo>
                    <a:pt x="1150" y="578"/>
                  </a:lnTo>
                  <a:lnTo>
                    <a:pt x="1154" y="582"/>
                  </a:lnTo>
                  <a:lnTo>
                    <a:pt x="1156" y="578"/>
                  </a:lnTo>
                  <a:lnTo>
                    <a:pt x="1154" y="576"/>
                  </a:lnTo>
                  <a:lnTo>
                    <a:pt x="1156" y="572"/>
                  </a:lnTo>
                  <a:lnTo>
                    <a:pt x="1160" y="569"/>
                  </a:lnTo>
                  <a:lnTo>
                    <a:pt x="1160" y="572"/>
                  </a:lnTo>
                  <a:lnTo>
                    <a:pt x="1160" y="578"/>
                  </a:lnTo>
                  <a:lnTo>
                    <a:pt x="1164" y="576"/>
                  </a:lnTo>
                  <a:lnTo>
                    <a:pt x="1160" y="569"/>
                  </a:lnTo>
                  <a:lnTo>
                    <a:pt x="1160" y="567"/>
                  </a:lnTo>
                  <a:lnTo>
                    <a:pt x="1160" y="559"/>
                  </a:lnTo>
                  <a:lnTo>
                    <a:pt x="1160" y="559"/>
                  </a:lnTo>
                  <a:lnTo>
                    <a:pt x="1164" y="561"/>
                  </a:lnTo>
                  <a:lnTo>
                    <a:pt x="1164" y="565"/>
                  </a:lnTo>
                  <a:lnTo>
                    <a:pt x="1164" y="567"/>
                  </a:lnTo>
                  <a:lnTo>
                    <a:pt x="1164" y="567"/>
                  </a:lnTo>
                  <a:lnTo>
                    <a:pt x="1167" y="565"/>
                  </a:lnTo>
                  <a:lnTo>
                    <a:pt x="1173" y="572"/>
                  </a:lnTo>
                  <a:lnTo>
                    <a:pt x="1173" y="572"/>
                  </a:lnTo>
                  <a:lnTo>
                    <a:pt x="1179" y="572"/>
                  </a:lnTo>
                  <a:lnTo>
                    <a:pt x="1180" y="576"/>
                  </a:lnTo>
                  <a:lnTo>
                    <a:pt x="1182" y="576"/>
                  </a:lnTo>
                  <a:lnTo>
                    <a:pt x="1180" y="572"/>
                  </a:lnTo>
                  <a:lnTo>
                    <a:pt x="1179" y="569"/>
                  </a:lnTo>
                  <a:lnTo>
                    <a:pt x="1177" y="569"/>
                  </a:lnTo>
                  <a:lnTo>
                    <a:pt x="1169" y="563"/>
                  </a:lnTo>
                  <a:lnTo>
                    <a:pt x="1167" y="563"/>
                  </a:lnTo>
                  <a:lnTo>
                    <a:pt x="1167" y="561"/>
                  </a:lnTo>
                  <a:lnTo>
                    <a:pt x="1169" y="555"/>
                  </a:lnTo>
                  <a:lnTo>
                    <a:pt x="1175" y="555"/>
                  </a:lnTo>
                  <a:lnTo>
                    <a:pt x="1179" y="552"/>
                  </a:lnTo>
                  <a:lnTo>
                    <a:pt x="1184" y="552"/>
                  </a:lnTo>
                  <a:lnTo>
                    <a:pt x="1188" y="552"/>
                  </a:lnTo>
                  <a:lnTo>
                    <a:pt x="1188" y="552"/>
                  </a:lnTo>
                  <a:lnTo>
                    <a:pt x="1192" y="552"/>
                  </a:lnTo>
                  <a:lnTo>
                    <a:pt x="1197" y="555"/>
                  </a:lnTo>
                  <a:lnTo>
                    <a:pt x="1197" y="557"/>
                  </a:lnTo>
                  <a:lnTo>
                    <a:pt x="1199" y="559"/>
                  </a:lnTo>
                  <a:lnTo>
                    <a:pt x="1201" y="561"/>
                  </a:lnTo>
                  <a:lnTo>
                    <a:pt x="1201" y="563"/>
                  </a:lnTo>
                  <a:lnTo>
                    <a:pt x="1205" y="563"/>
                  </a:lnTo>
                  <a:lnTo>
                    <a:pt x="1205" y="563"/>
                  </a:lnTo>
                  <a:lnTo>
                    <a:pt x="1209" y="563"/>
                  </a:lnTo>
                  <a:lnTo>
                    <a:pt x="1209" y="567"/>
                  </a:lnTo>
                  <a:lnTo>
                    <a:pt x="1214" y="569"/>
                  </a:lnTo>
                  <a:lnTo>
                    <a:pt x="1214" y="569"/>
                  </a:lnTo>
                  <a:lnTo>
                    <a:pt x="1214" y="572"/>
                  </a:lnTo>
                  <a:lnTo>
                    <a:pt x="1214" y="572"/>
                  </a:lnTo>
                  <a:lnTo>
                    <a:pt x="1214" y="578"/>
                  </a:lnTo>
                  <a:lnTo>
                    <a:pt x="1212" y="582"/>
                  </a:lnTo>
                  <a:lnTo>
                    <a:pt x="1209" y="582"/>
                  </a:lnTo>
                  <a:lnTo>
                    <a:pt x="1205" y="578"/>
                  </a:lnTo>
                  <a:lnTo>
                    <a:pt x="1199" y="582"/>
                  </a:lnTo>
                  <a:lnTo>
                    <a:pt x="1194" y="586"/>
                  </a:lnTo>
                  <a:lnTo>
                    <a:pt x="1199" y="582"/>
                  </a:lnTo>
                  <a:lnTo>
                    <a:pt x="1207" y="582"/>
                  </a:lnTo>
                  <a:lnTo>
                    <a:pt x="1207" y="582"/>
                  </a:lnTo>
                  <a:lnTo>
                    <a:pt x="1205" y="586"/>
                  </a:lnTo>
                  <a:lnTo>
                    <a:pt x="1201" y="587"/>
                  </a:lnTo>
                  <a:lnTo>
                    <a:pt x="1197" y="595"/>
                  </a:lnTo>
                  <a:lnTo>
                    <a:pt x="1194" y="597"/>
                  </a:lnTo>
                  <a:lnTo>
                    <a:pt x="1194" y="597"/>
                  </a:lnTo>
                  <a:lnTo>
                    <a:pt x="1192" y="601"/>
                  </a:lnTo>
                  <a:lnTo>
                    <a:pt x="1194" y="601"/>
                  </a:lnTo>
                  <a:lnTo>
                    <a:pt x="1199" y="593"/>
                  </a:lnTo>
                  <a:lnTo>
                    <a:pt x="1203" y="589"/>
                  </a:lnTo>
                  <a:lnTo>
                    <a:pt x="1207" y="587"/>
                  </a:lnTo>
                  <a:lnTo>
                    <a:pt x="1212" y="582"/>
                  </a:lnTo>
                  <a:lnTo>
                    <a:pt x="1216" y="584"/>
                  </a:lnTo>
                  <a:lnTo>
                    <a:pt x="1218" y="586"/>
                  </a:lnTo>
                  <a:lnTo>
                    <a:pt x="1218" y="586"/>
                  </a:lnTo>
                  <a:lnTo>
                    <a:pt x="1218" y="589"/>
                  </a:lnTo>
                  <a:lnTo>
                    <a:pt x="1218" y="591"/>
                  </a:lnTo>
                  <a:lnTo>
                    <a:pt x="1218" y="595"/>
                  </a:lnTo>
                  <a:lnTo>
                    <a:pt x="1214" y="597"/>
                  </a:lnTo>
                  <a:lnTo>
                    <a:pt x="1212" y="601"/>
                  </a:lnTo>
                  <a:lnTo>
                    <a:pt x="1209" y="601"/>
                  </a:lnTo>
                  <a:lnTo>
                    <a:pt x="1207" y="599"/>
                  </a:lnTo>
                  <a:lnTo>
                    <a:pt x="1203" y="599"/>
                  </a:lnTo>
                  <a:lnTo>
                    <a:pt x="1201" y="601"/>
                  </a:lnTo>
                  <a:lnTo>
                    <a:pt x="1205" y="601"/>
                  </a:lnTo>
                  <a:lnTo>
                    <a:pt x="1207" y="603"/>
                  </a:lnTo>
                  <a:lnTo>
                    <a:pt x="1199" y="606"/>
                  </a:lnTo>
                  <a:lnTo>
                    <a:pt x="1201" y="606"/>
                  </a:lnTo>
                  <a:lnTo>
                    <a:pt x="1205" y="606"/>
                  </a:lnTo>
                  <a:lnTo>
                    <a:pt x="1209" y="603"/>
                  </a:lnTo>
                  <a:lnTo>
                    <a:pt x="1211" y="603"/>
                  </a:lnTo>
                  <a:lnTo>
                    <a:pt x="1211" y="603"/>
                  </a:lnTo>
                  <a:lnTo>
                    <a:pt x="1209" y="606"/>
                  </a:lnTo>
                  <a:lnTo>
                    <a:pt x="1205" y="606"/>
                  </a:lnTo>
                  <a:lnTo>
                    <a:pt x="1201" y="608"/>
                  </a:lnTo>
                  <a:lnTo>
                    <a:pt x="1205" y="608"/>
                  </a:lnTo>
                  <a:lnTo>
                    <a:pt x="1205" y="612"/>
                  </a:lnTo>
                  <a:lnTo>
                    <a:pt x="1203" y="612"/>
                  </a:lnTo>
                  <a:lnTo>
                    <a:pt x="1199" y="616"/>
                  </a:lnTo>
                  <a:lnTo>
                    <a:pt x="1197" y="620"/>
                  </a:lnTo>
                  <a:lnTo>
                    <a:pt x="1199" y="620"/>
                  </a:lnTo>
                  <a:lnTo>
                    <a:pt x="1203" y="616"/>
                  </a:lnTo>
                  <a:lnTo>
                    <a:pt x="1207" y="612"/>
                  </a:lnTo>
                  <a:lnTo>
                    <a:pt x="1209" y="606"/>
                  </a:lnTo>
                  <a:lnTo>
                    <a:pt x="1216" y="603"/>
                  </a:lnTo>
                  <a:lnTo>
                    <a:pt x="1216" y="606"/>
                  </a:lnTo>
                  <a:lnTo>
                    <a:pt x="1216" y="606"/>
                  </a:lnTo>
                  <a:lnTo>
                    <a:pt x="1218" y="606"/>
                  </a:lnTo>
                  <a:lnTo>
                    <a:pt x="1218" y="603"/>
                  </a:lnTo>
                  <a:lnTo>
                    <a:pt x="1224" y="601"/>
                  </a:lnTo>
                  <a:lnTo>
                    <a:pt x="1226" y="601"/>
                  </a:lnTo>
                  <a:lnTo>
                    <a:pt x="1226" y="603"/>
                  </a:lnTo>
                  <a:lnTo>
                    <a:pt x="1222" y="606"/>
                  </a:lnTo>
                  <a:lnTo>
                    <a:pt x="1214" y="612"/>
                  </a:lnTo>
                  <a:lnTo>
                    <a:pt x="1212" y="612"/>
                  </a:lnTo>
                  <a:lnTo>
                    <a:pt x="1212" y="614"/>
                  </a:lnTo>
                  <a:lnTo>
                    <a:pt x="1214" y="614"/>
                  </a:lnTo>
                  <a:lnTo>
                    <a:pt x="1212" y="618"/>
                  </a:lnTo>
                  <a:lnTo>
                    <a:pt x="1211" y="621"/>
                  </a:lnTo>
                  <a:lnTo>
                    <a:pt x="1212" y="621"/>
                  </a:lnTo>
                  <a:lnTo>
                    <a:pt x="1214" y="618"/>
                  </a:lnTo>
                  <a:lnTo>
                    <a:pt x="1214" y="616"/>
                  </a:lnTo>
                  <a:lnTo>
                    <a:pt x="1218" y="612"/>
                  </a:lnTo>
                  <a:lnTo>
                    <a:pt x="1222" y="608"/>
                  </a:lnTo>
                  <a:lnTo>
                    <a:pt x="1222" y="612"/>
                  </a:lnTo>
                  <a:lnTo>
                    <a:pt x="1224" y="612"/>
                  </a:lnTo>
                  <a:lnTo>
                    <a:pt x="1222" y="616"/>
                  </a:lnTo>
                  <a:lnTo>
                    <a:pt x="1218" y="620"/>
                  </a:lnTo>
                  <a:lnTo>
                    <a:pt x="1218" y="621"/>
                  </a:lnTo>
                  <a:lnTo>
                    <a:pt x="1214" y="627"/>
                  </a:lnTo>
                  <a:lnTo>
                    <a:pt x="1212" y="629"/>
                  </a:lnTo>
                  <a:lnTo>
                    <a:pt x="1212" y="631"/>
                  </a:lnTo>
                  <a:lnTo>
                    <a:pt x="1216" y="629"/>
                  </a:lnTo>
                  <a:lnTo>
                    <a:pt x="1218" y="627"/>
                  </a:lnTo>
                  <a:lnTo>
                    <a:pt x="1222" y="620"/>
                  </a:lnTo>
                  <a:lnTo>
                    <a:pt x="1224" y="618"/>
                  </a:lnTo>
                  <a:lnTo>
                    <a:pt x="1226" y="621"/>
                  </a:lnTo>
                  <a:lnTo>
                    <a:pt x="1226" y="621"/>
                  </a:lnTo>
                  <a:lnTo>
                    <a:pt x="1226" y="623"/>
                  </a:lnTo>
                  <a:lnTo>
                    <a:pt x="1224" y="625"/>
                  </a:lnTo>
                  <a:lnTo>
                    <a:pt x="1222" y="631"/>
                  </a:lnTo>
                  <a:lnTo>
                    <a:pt x="1222" y="633"/>
                  </a:lnTo>
                  <a:lnTo>
                    <a:pt x="1222" y="633"/>
                  </a:lnTo>
                  <a:lnTo>
                    <a:pt x="1222" y="633"/>
                  </a:lnTo>
                  <a:lnTo>
                    <a:pt x="1224" y="629"/>
                  </a:lnTo>
                  <a:lnTo>
                    <a:pt x="1226" y="625"/>
                  </a:lnTo>
                  <a:lnTo>
                    <a:pt x="1229" y="623"/>
                  </a:lnTo>
                  <a:lnTo>
                    <a:pt x="1229" y="620"/>
                  </a:lnTo>
                  <a:lnTo>
                    <a:pt x="1231" y="618"/>
                  </a:lnTo>
                  <a:lnTo>
                    <a:pt x="1235" y="616"/>
                  </a:lnTo>
                  <a:lnTo>
                    <a:pt x="1235" y="612"/>
                  </a:lnTo>
                  <a:lnTo>
                    <a:pt x="1235" y="612"/>
                  </a:lnTo>
                  <a:lnTo>
                    <a:pt x="1237" y="612"/>
                  </a:lnTo>
                  <a:lnTo>
                    <a:pt x="1239" y="608"/>
                  </a:lnTo>
                  <a:lnTo>
                    <a:pt x="1239" y="606"/>
                  </a:lnTo>
                  <a:lnTo>
                    <a:pt x="1241" y="606"/>
                  </a:lnTo>
                  <a:lnTo>
                    <a:pt x="1243" y="612"/>
                  </a:lnTo>
                  <a:lnTo>
                    <a:pt x="1246" y="612"/>
                  </a:lnTo>
                  <a:lnTo>
                    <a:pt x="1248" y="616"/>
                  </a:lnTo>
                  <a:lnTo>
                    <a:pt x="1248" y="618"/>
                  </a:lnTo>
                  <a:lnTo>
                    <a:pt x="1252" y="621"/>
                  </a:lnTo>
                  <a:lnTo>
                    <a:pt x="1254" y="627"/>
                  </a:lnTo>
                  <a:lnTo>
                    <a:pt x="1254" y="629"/>
                  </a:lnTo>
                  <a:lnTo>
                    <a:pt x="1252" y="631"/>
                  </a:lnTo>
                  <a:lnTo>
                    <a:pt x="1248" y="633"/>
                  </a:lnTo>
                  <a:lnTo>
                    <a:pt x="1246" y="633"/>
                  </a:lnTo>
                  <a:lnTo>
                    <a:pt x="1243" y="633"/>
                  </a:lnTo>
                  <a:lnTo>
                    <a:pt x="1241" y="631"/>
                  </a:lnTo>
                  <a:lnTo>
                    <a:pt x="1239" y="631"/>
                  </a:lnTo>
                  <a:lnTo>
                    <a:pt x="1237" y="633"/>
                  </a:lnTo>
                  <a:lnTo>
                    <a:pt x="1235" y="633"/>
                  </a:lnTo>
                  <a:lnTo>
                    <a:pt x="1233" y="636"/>
                  </a:lnTo>
                  <a:lnTo>
                    <a:pt x="1231" y="636"/>
                  </a:lnTo>
                  <a:lnTo>
                    <a:pt x="1228" y="636"/>
                  </a:lnTo>
                  <a:lnTo>
                    <a:pt x="1226" y="638"/>
                  </a:lnTo>
                  <a:lnTo>
                    <a:pt x="1231" y="638"/>
                  </a:lnTo>
                  <a:lnTo>
                    <a:pt x="1233" y="638"/>
                  </a:lnTo>
                  <a:lnTo>
                    <a:pt x="1233" y="640"/>
                  </a:lnTo>
                  <a:lnTo>
                    <a:pt x="1231" y="646"/>
                  </a:lnTo>
                  <a:lnTo>
                    <a:pt x="1228" y="646"/>
                  </a:lnTo>
                  <a:lnTo>
                    <a:pt x="1224" y="648"/>
                  </a:lnTo>
                  <a:lnTo>
                    <a:pt x="1229" y="648"/>
                  </a:lnTo>
                  <a:lnTo>
                    <a:pt x="1231" y="646"/>
                  </a:lnTo>
                  <a:lnTo>
                    <a:pt x="1237" y="646"/>
                  </a:lnTo>
                  <a:lnTo>
                    <a:pt x="1239" y="646"/>
                  </a:lnTo>
                  <a:lnTo>
                    <a:pt x="1243" y="642"/>
                  </a:lnTo>
                  <a:lnTo>
                    <a:pt x="1246" y="642"/>
                  </a:lnTo>
                  <a:lnTo>
                    <a:pt x="1246" y="646"/>
                  </a:lnTo>
                  <a:lnTo>
                    <a:pt x="1246" y="646"/>
                  </a:lnTo>
                  <a:lnTo>
                    <a:pt x="1246" y="648"/>
                  </a:lnTo>
                  <a:lnTo>
                    <a:pt x="1248" y="646"/>
                  </a:lnTo>
                  <a:lnTo>
                    <a:pt x="1248" y="642"/>
                  </a:lnTo>
                  <a:lnTo>
                    <a:pt x="1248" y="638"/>
                  </a:lnTo>
                  <a:lnTo>
                    <a:pt x="1252" y="636"/>
                  </a:lnTo>
                  <a:lnTo>
                    <a:pt x="1256" y="633"/>
                  </a:lnTo>
                  <a:lnTo>
                    <a:pt x="1258" y="636"/>
                  </a:lnTo>
                  <a:lnTo>
                    <a:pt x="1256" y="636"/>
                  </a:lnTo>
                  <a:lnTo>
                    <a:pt x="1258" y="640"/>
                  </a:lnTo>
                  <a:lnTo>
                    <a:pt x="1256" y="646"/>
                  </a:lnTo>
                  <a:lnTo>
                    <a:pt x="1252" y="648"/>
                  </a:lnTo>
                  <a:lnTo>
                    <a:pt x="1248" y="650"/>
                  </a:lnTo>
                  <a:lnTo>
                    <a:pt x="1246" y="652"/>
                  </a:lnTo>
                  <a:lnTo>
                    <a:pt x="1246" y="653"/>
                  </a:lnTo>
                  <a:lnTo>
                    <a:pt x="1243" y="653"/>
                  </a:lnTo>
                  <a:lnTo>
                    <a:pt x="1241" y="653"/>
                  </a:lnTo>
                  <a:lnTo>
                    <a:pt x="1239" y="653"/>
                  </a:lnTo>
                  <a:lnTo>
                    <a:pt x="1237" y="655"/>
                  </a:lnTo>
                  <a:lnTo>
                    <a:pt x="1237" y="657"/>
                  </a:lnTo>
                  <a:lnTo>
                    <a:pt x="1233" y="661"/>
                  </a:lnTo>
                  <a:lnTo>
                    <a:pt x="1233" y="663"/>
                  </a:lnTo>
                  <a:lnTo>
                    <a:pt x="1231" y="667"/>
                  </a:lnTo>
                  <a:lnTo>
                    <a:pt x="1233" y="663"/>
                  </a:lnTo>
                  <a:lnTo>
                    <a:pt x="1237" y="661"/>
                  </a:lnTo>
                  <a:lnTo>
                    <a:pt x="1241" y="655"/>
                  </a:lnTo>
                  <a:lnTo>
                    <a:pt x="1243" y="655"/>
                  </a:lnTo>
                  <a:lnTo>
                    <a:pt x="1243" y="655"/>
                  </a:lnTo>
                  <a:lnTo>
                    <a:pt x="1243" y="655"/>
                  </a:lnTo>
                  <a:lnTo>
                    <a:pt x="1246" y="657"/>
                  </a:lnTo>
                  <a:lnTo>
                    <a:pt x="1243" y="659"/>
                  </a:lnTo>
                  <a:lnTo>
                    <a:pt x="1241" y="663"/>
                  </a:lnTo>
                  <a:lnTo>
                    <a:pt x="1237" y="667"/>
                  </a:lnTo>
                  <a:lnTo>
                    <a:pt x="1233" y="670"/>
                  </a:lnTo>
                  <a:lnTo>
                    <a:pt x="1233" y="670"/>
                  </a:lnTo>
                  <a:lnTo>
                    <a:pt x="1241" y="670"/>
                  </a:lnTo>
                  <a:lnTo>
                    <a:pt x="1246" y="663"/>
                  </a:lnTo>
                  <a:lnTo>
                    <a:pt x="1246" y="655"/>
                  </a:lnTo>
                  <a:lnTo>
                    <a:pt x="1248" y="653"/>
                  </a:lnTo>
                  <a:lnTo>
                    <a:pt x="1252" y="652"/>
                  </a:lnTo>
                  <a:lnTo>
                    <a:pt x="1252" y="652"/>
                  </a:lnTo>
                  <a:lnTo>
                    <a:pt x="1258" y="648"/>
                  </a:lnTo>
                  <a:lnTo>
                    <a:pt x="1261" y="646"/>
                  </a:lnTo>
                  <a:lnTo>
                    <a:pt x="1265" y="646"/>
                  </a:lnTo>
                  <a:lnTo>
                    <a:pt x="1265" y="646"/>
                  </a:lnTo>
                  <a:lnTo>
                    <a:pt x="1263" y="648"/>
                  </a:lnTo>
                  <a:lnTo>
                    <a:pt x="1260" y="652"/>
                  </a:lnTo>
                  <a:lnTo>
                    <a:pt x="1256" y="652"/>
                  </a:lnTo>
                  <a:lnTo>
                    <a:pt x="1254" y="655"/>
                  </a:lnTo>
                  <a:lnTo>
                    <a:pt x="1254" y="657"/>
                  </a:lnTo>
                  <a:lnTo>
                    <a:pt x="1254" y="659"/>
                  </a:lnTo>
                  <a:lnTo>
                    <a:pt x="1256" y="655"/>
                  </a:lnTo>
                  <a:lnTo>
                    <a:pt x="1261" y="655"/>
                  </a:lnTo>
                  <a:lnTo>
                    <a:pt x="1263" y="652"/>
                  </a:lnTo>
                  <a:lnTo>
                    <a:pt x="1267" y="652"/>
                  </a:lnTo>
                  <a:lnTo>
                    <a:pt x="1267" y="650"/>
                  </a:lnTo>
                  <a:lnTo>
                    <a:pt x="1271" y="648"/>
                  </a:lnTo>
                  <a:lnTo>
                    <a:pt x="1273" y="648"/>
                  </a:lnTo>
                  <a:lnTo>
                    <a:pt x="1276" y="652"/>
                  </a:lnTo>
                  <a:lnTo>
                    <a:pt x="1280" y="657"/>
                  </a:lnTo>
                  <a:lnTo>
                    <a:pt x="1280" y="659"/>
                  </a:lnTo>
                  <a:lnTo>
                    <a:pt x="1284" y="661"/>
                  </a:lnTo>
                  <a:lnTo>
                    <a:pt x="1284" y="663"/>
                  </a:lnTo>
                  <a:lnTo>
                    <a:pt x="1284" y="667"/>
                  </a:lnTo>
                  <a:lnTo>
                    <a:pt x="1280" y="670"/>
                  </a:lnTo>
                  <a:lnTo>
                    <a:pt x="1280" y="670"/>
                  </a:lnTo>
                  <a:lnTo>
                    <a:pt x="1280" y="667"/>
                  </a:lnTo>
                  <a:lnTo>
                    <a:pt x="1276" y="667"/>
                  </a:lnTo>
                  <a:lnTo>
                    <a:pt x="1276" y="667"/>
                  </a:lnTo>
                  <a:lnTo>
                    <a:pt x="1276" y="670"/>
                  </a:lnTo>
                  <a:lnTo>
                    <a:pt x="1273" y="670"/>
                  </a:lnTo>
                  <a:lnTo>
                    <a:pt x="1267" y="672"/>
                  </a:lnTo>
                  <a:lnTo>
                    <a:pt x="1263" y="672"/>
                  </a:lnTo>
                  <a:lnTo>
                    <a:pt x="1260" y="672"/>
                  </a:lnTo>
                  <a:lnTo>
                    <a:pt x="1254" y="676"/>
                  </a:lnTo>
                  <a:lnTo>
                    <a:pt x="1252" y="676"/>
                  </a:lnTo>
                  <a:lnTo>
                    <a:pt x="1246" y="680"/>
                  </a:lnTo>
                  <a:lnTo>
                    <a:pt x="1252" y="680"/>
                  </a:lnTo>
                  <a:lnTo>
                    <a:pt x="1252" y="680"/>
                  </a:lnTo>
                  <a:lnTo>
                    <a:pt x="1252" y="682"/>
                  </a:lnTo>
                  <a:lnTo>
                    <a:pt x="1246" y="684"/>
                  </a:lnTo>
                  <a:lnTo>
                    <a:pt x="1246" y="685"/>
                  </a:lnTo>
                  <a:lnTo>
                    <a:pt x="1252" y="684"/>
                  </a:lnTo>
                  <a:lnTo>
                    <a:pt x="1254" y="680"/>
                  </a:lnTo>
                  <a:lnTo>
                    <a:pt x="1260" y="676"/>
                  </a:lnTo>
                  <a:lnTo>
                    <a:pt x="1265" y="676"/>
                  </a:lnTo>
                  <a:lnTo>
                    <a:pt x="1267" y="676"/>
                  </a:lnTo>
                  <a:lnTo>
                    <a:pt x="1271" y="676"/>
                  </a:lnTo>
                  <a:lnTo>
                    <a:pt x="1273" y="676"/>
                  </a:lnTo>
                  <a:lnTo>
                    <a:pt x="1273" y="676"/>
                  </a:lnTo>
                  <a:lnTo>
                    <a:pt x="1273" y="680"/>
                  </a:lnTo>
                  <a:lnTo>
                    <a:pt x="1267" y="682"/>
                  </a:lnTo>
                  <a:lnTo>
                    <a:pt x="1267" y="684"/>
                  </a:lnTo>
                  <a:lnTo>
                    <a:pt x="1263" y="684"/>
                  </a:lnTo>
                  <a:lnTo>
                    <a:pt x="1261" y="685"/>
                  </a:lnTo>
                  <a:lnTo>
                    <a:pt x="1260" y="687"/>
                  </a:lnTo>
                  <a:lnTo>
                    <a:pt x="1256" y="691"/>
                  </a:lnTo>
                  <a:lnTo>
                    <a:pt x="1252" y="687"/>
                  </a:lnTo>
                  <a:lnTo>
                    <a:pt x="1252" y="687"/>
                  </a:lnTo>
                  <a:lnTo>
                    <a:pt x="1248" y="693"/>
                  </a:lnTo>
                  <a:lnTo>
                    <a:pt x="1252" y="693"/>
                  </a:lnTo>
                  <a:lnTo>
                    <a:pt x="1252" y="691"/>
                  </a:lnTo>
                  <a:lnTo>
                    <a:pt x="1256" y="691"/>
                  </a:lnTo>
                  <a:lnTo>
                    <a:pt x="1258" y="693"/>
                  </a:lnTo>
                  <a:lnTo>
                    <a:pt x="1261" y="687"/>
                  </a:lnTo>
                  <a:lnTo>
                    <a:pt x="1263" y="685"/>
                  </a:lnTo>
                  <a:lnTo>
                    <a:pt x="1267" y="685"/>
                  </a:lnTo>
                  <a:lnTo>
                    <a:pt x="1267" y="685"/>
                  </a:lnTo>
                  <a:lnTo>
                    <a:pt x="1273" y="687"/>
                  </a:lnTo>
                  <a:lnTo>
                    <a:pt x="1276" y="684"/>
                  </a:lnTo>
                  <a:lnTo>
                    <a:pt x="1280" y="682"/>
                  </a:lnTo>
                  <a:lnTo>
                    <a:pt x="1280" y="682"/>
                  </a:lnTo>
                  <a:lnTo>
                    <a:pt x="1280" y="678"/>
                  </a:lnTo>
                  <a:lnTo>
                    <a:pt x="1280" y="678"/>
                  </a:lnTo>
                  <a:lnTo>
                    <a:pt x="1280" y="676"/>
                  </a:lnTo>
                  <a:lnTo>
                    <a:pt x="1280" y="672"/>
                  </a:lnTo>
                  <a:lnTo>
                    <a:pt x="1282" y="672"/>
                  </a:lnTo>
                  <a:lnTo>
                    <a:pt x="1284" y="672"/>
                  </a:lnTo>
                  <a:lnTo>
                    <a:pt x="1284" y="672"/>
                  </a:lnTo>
                  <a:lnTo>
                    <a:pt x="1286" y="676"/>
                  </a:lnTo>
                  <a:lnTo>
                    <a:pt x="1290" y="684"/>
                  </a:lnTo>
                  <a:lnTo>
                    <a:pt x="1290" y="687"/>
                  </a:lnTo>
                  <a:lnTo>
                    <a:pt x="1293" y="691"/>
                  </a:lnTo>
                  <a:lnTo>
                    <a:pt x="1292" y="695"/>
                  </a:lnTo>
                  <a:lnTo>
                    <a:pt x="1290" y="697"/>
                  </a:lnTo>
                  <a:lnTo>
                    <a:pt x="1286" y="697"/>
                  </a:lnTo>
                  <a:lnTo>
                    <a:pt x="1284" y="695"/>
                  </a:lnTo>
                  <a:lnTo>
                    <a:pt x="1280" y="695"/>
                  </a:lnTo>
                  <a:lnTo>
                    <a:pt x="1276" y="697"/>
                  </a:lnTo>
                  <a:lnTo>
                    <a:pt x="1273" y="697"/>
                  </a:lnTo>
                  <a:lnTo>
                    <a:pt x="1271" y="697"/>
                  </a:lnTo>
                  <a:lnTo>
                    <a:pt x="1271" y="697"/>
                  </a:lnTo>
                  <a:lnTo>
                    <a:pt x="1267" y="697"/>
                  </a:lnTo>
                  <a:lnTo>
                    <a:pt x="1265" y="701"/>
                  </a:lnTo>
                  <a:lnTo>
                    <a:pt x="1260" y="701"/>
                  </a:lnTo>
                  <a:lnTo>
                    <a:pt x="1261" y="701"/>
                  </a:lnTo>
                  <a:lnTo>
                    <a:pt x="1267" y="701"/>
                  </a:lnTo>
                  <a:lnTo>
                    <a:pt x="1273" y="701"/>
                  </a:lnTo>
                  <a:lnTo>
                    <a:pt x="1276" y="704"/>
                  </a:lnTo>
                  <a:lnTo>
                    <a:pt x="1280" y="706"/>
                  </a:lnTo>
                  <a:lnTo>
                    <a:pt x="1280" y="704"/>
                  </a:lnTo>
                  <a:lnTo>
                    <a:pt x="1282" y="704"/>
                  </a:lnTo>
                  <a:lnTo>
                    <a:pt x="1284" y="706"/>
                  </a:lnTo>
                  <a:lnTo>
                    <a:pt x="1288" y="708"/>
                  </a:lnTo>
                  <a:lnTo>
                    <a:pt x="1292" y="710"/>
                  </a:lnTo>
                  <a:lnTo>
                    <a:pt x="1292" y="712"/>
                  </a:lnTo>
                  <a:lnTo>
                    <a:pt x="1293" y="716"/>
                  </a:lnTo>
                  <a:lnTo>
                    <a:pt x="1293" y="719"/>
                  </a:lnTo>
                  <a:lnTo>
                    <a:pt x="1292" y="721"/>
                  </a:lnTo>
                  <a:lnTo>
                    <a:pt x="1290" y="721"/>
                  </a:lnTo>
                  <a:lnTo>
                    <a:pt x="1288" y="717"/>
                  </a:lnTo>
                  <a:lnTo>
                    <a:pt x="1286" y="717"/>
                  </a:lnTo>
                  <a:lnTo>
                    <a:pt x="1284" y="719"/>
                  </a:lnTo>
                  <a:lnTo>
                    <a:pt x="1282" y="719"/>
                  </a:lnTo>
                  <a:lnTo>
                    <a:pt x="1282" y="717"/>
                  </a:lnTo>
                  <a:lnTo>
                    <a:pt x="1280" y="717"/>
                  </a:lnTo>
                  <a:lnTo>
                    <a:pt x="1276" y="717"/>
                  </a:lnTo>
                  <a:lnTo>
                    <a:pt x="1273" y="712"/>
                  </a:lnTo>
                  <a:lnTo>
                    <a:pt x="1273" y="712"/>
                  </a:lnTo>
                  <a:lnTo>
                    <a:pt x="1271" y="712"/>
                  </a:lnTo>
                  <a:lnTo>
                    <a:pt x="1267" y="712"/>
                  </a:lnTo>
                  <a:lnTo>
                    <a:pt x="1263" y="710"/>
                  </a:lnTo>
                  <a:lnTo>
                    <a:pt x="1265" y="712"/>
                  </a:lnTo>
                  <a:lnTo>
                    <a:pt x="1267" y="714"/>
                  </a:lnTo>
                  <a:lnTo>
                    <a:pt x="1273" y="714"/>
                  </a:lnTo>
                  <a:lnTo>
                    <a:pt x="1271" y="716"/>
                  </a:lnTo>
                  <a:lnTo>
                    <a:pt x="1265" y="716"/>
                  </a:lnTo>
                  <a:lnTo>
                    <a:pt x="1263" y="717"/>
                  </a:lnTo>
                  <a:lnTo>
                    <a:pt x="1260" y="717"/>
                  </a:lnTo>
                  <a:lnTo>
                    <a:pt x="1256" y="719"/>
                  </a:lnTo>
                  <a:lnTo>
                    <a:pt x="1258" y="721"/>
                  </a:lnTo>
                  <a:lnTo>
                    <a:pt x="1260" y="721"/>
                  </a:lnTo>
                  <a:lnTo>
                    <a:pt x="1260" y="719"/>
                  </a:lnTo>
                  <a:lnTo>
                    <a:pt x="1265" y="719"/>
                  </a:lnTo>
                  <a:lnTo>
                    <a:pt x="1267" y="717"/>
                  </a:lnTo>
                  <a:lnTo>
                    <a:pt x="1271" y="717"/>
                  </a:lnTo>
                  <a:lnTo>
                    <a:pt x="1273" y="721"/>
                  </a:lnTo>
                  <a:lnTo>
                    <a:pt x="1273" y="721"/>
                  </a:lnTo>
                  <a:lnTo>
                    <a:pt x="1273" y="721"/>
                  </a:lnTo>
                  <a:lnTo>
                    <a:pt x="1276" y="725"/>
                  </a:lnTo>
                  <a:lnTo>
                    <a:pt x="1273" y="725"/>
                  </a:lnTo>
                  <a:lnTo>
                    <a:pt x="1271" y="725"/>
                  </a:lnTo>
                  <a:lnTo>
                    <a:pt x="1267" y="727"/>
                  </a:lnTo>
                  <a:lnTo>
                    <a:pt x="1267" y="725"/>
                  </a:lnTo>
                  <a:lnTo>
                    <a:pt x="1267" y="721"/>
                  </a:lnTo>
                  <a:lnTo>
                    <a:pt x="1265" y="721"/>
                  </a:lnTo>
                  <a:lnTo>
                    <a:pt x="1263" y="725"/>
                  </a:lnTo>
                  <a:lnTo>
                    <a:pt x="1267" y="727"/>
                  </a:lnTo>
                  <a:lnTo>
                    <a:pt x="1267" y="727"/>
                  </a:lnTo>
                  <a:lnTo>
                    <a:pt x="1271" y="727"/>
                  </a:lnTo>
                  <a:lnTo>
                    <a:pt x="1271" y="731"/>
                  </a:lnTo>
                  <a:lnTo>
                    <a:pt x="1273" y="733"/>
                  </a:lnTo>
                  <a:lnTo>
                    <a:pt x="1267" y="733"/>
                  </a:lnTo>
                  <a:lnTo>
                    <a:pt x="1261" y="731"/>
                  </a:lnTo>
                  <a:lnTo>
                    <a:pt x="1258" y="731"/>
                  </a:lnTo>
                  <a:lnTo>
                    <a:pt x="1252" y="727"/>
                  </a:lnTo>
                  <a:lnTo>
                    <a:pt x="1248" y="727"/>
                  </a:lnTo>
                  <a:lnTo>
                    <a:pt x="1248" y="731"/>
                  </a:lnTo>
                  <a:lnTo>
                    <a:pt x="1252" y="731"/>
                  </a:lnTo>
                  <a:lnTo>
                    <a:pt x="1263" y="734"/>
                  </a:lnTo>
                  <a:lnTo>
                    <a:pt x="1263" y="736"/>
                  </a:lnTo>
                  <a:lnTo>
                    <a:pt x="1261" y="738"/>
                  </a:lnTo>
                  <a:lnTo>
                    <a:pt x="1256" y="734"/>
                  </a:lnTo>
                  <a:lnTo>
                    <a:pt x="1254" y="734"/>
                  </a:lnTo>
                  <a:lnTo>
                    <a:pt x="1252" y="738"/>
                  </a:lnTo>
                  <a:lnTo>
                    <a:pt x="1254" y="736"/>
                  </a:lnTo>
                  <a:lnTo>
                    <a:pt x="1256" y="738"/>
                  </a:lnTo>
                  <a:lnTo>
                    <a:pt x="1258" y="740"/>
                  </a:lnTo>
                  <a:lnTo>
                    <a:pt x="1260" y="740"/>
                  </a:lnTo>
                  <a:lnTo>
                    <a:pt x="1261" y="740"/>
                  </a:lnTo>
                  <a:lnTo>
                    <a:pt x="1261" y="742"/>
                  </a:lnTo>
                  <a:lnTo>
                    <a:pt x="1263" y="746"/>
                  </a:lnTo>
                  <a:lnTo>
                    <a:pt x="1263" y="744"/>
                  </a:lnTo>
                  <a:lnTo>
                    <a:pt x="1265" y="742"/>
                  </a:lnTo>
                  <a:lnTo>
                    <a:pt x="1267" y="742"/>
                  </a:lnTo>
                  <a:lnTo>
                    <a:pt x="1267" y="744"/>
                  </a:lnTo>
                  <a:lnTo>
                    <a:pt x="1267" y="746"/>
                  </a:lnTo>
                  <a:lnTo>
                    <a:pt x="1267" y="748"/>
                  </a:lnTo>
                  <a:lnTo>
                    <a:pt x="1267" y="748"/>
                  </a:lnTo>
                  <a:lnTo>
                    <a:pt x="1267" y="744"/>
                  </a:lnTo>
                  <a:lnTo>
                    <a:pt x="1271" y="744"/>
                  </a:lnTo>
                  <a:lnTo>
                    <a:pt x="1273" y="746"/>
                  </a:lnTo>
                  <a:lnTo>
                    <a:pt x="1276" y="746"/>
                  </a:lnTo>
                  <a:lnTo>
                    <a:pt x="1280" y="746"/>
                  </a:lnTo>
                  <a:lnTo>
                    <a:pt x="1280" y="749"/>
                  </a:lnTo>
                  <a:lnTo>
                    <a:pt x="1280" y="751"/>
                  </a:lnTo>
                  <a:lnTo>
                    <a:pt x="1276" y="749"/>
                  </a:lnTo>
                  <a:lnTo>
                    <a:pt x="1273" y="748"/>
                  </a:lnTo>
                  <a:lnTo>
                    <a:pt x="1267" y="749"/>
                  </a:lnTo>
                  <a:lnTo>
                    <a:pt x="1263" y="751"/>
                  </a:lnTo>
                  <a:lnTo>
                    <a:pt x="1263" y="755"/>
                  </a:lnTo>
                  <a:lnTo>
                    <a:pt x="1267" y="751"/>
                  </a:lnTo>
                  <a:lnTo>
                    <a:pt x="1271" y="751"/>
                  </a:lnTo>
                  <a:lnTo>
                    <a:pt x="1273" y="751"/>
                  </a:lnTo>
                  <a:lnTo>
                    <a:pt x="1271" y="751"/>
                  </a:lnTo>
                  <a:lnTo>
                    <a:pt x="1271" y="755"/>
                  </a:lnTo>
                  <a:lnTo>
                    <a:pt x="1273" y="755"/>
                  </a:lnTo>
                  <a:lnTo>
                    <a:pt x="1276" y="755"/>
                  </a:lnTo>
                  <a:lnTo>
                    <a:pt x="1276" y="755"/>
                  </a:lnTo>
                  <a:lnTo>
                    <a:pt x="1276" y="757"/>
                  </a:lnTo>
                  <a:lnTo>
                    <a:pt x="1280" y="757"/>
                  </a:lnTo>
                  <a:lnTo>
                    <a:pt x="1280" y="761"/>
                  </a:lnTo>
                  <a:lnTo>
                    <a:pt x="1280" y="765"/>
                  </a:lnTo>
                  <a:lnTo>
                    <a:pt x="1280" y="766"/>
                  </a:lnTo>
                  <a:lnTo>
                    <a:pt x="1280" y="768"/>
                  </a:lnTo>
                  <a:lnTo>
                    <a:pt x="1280" y="768"/>
                  </a:lnTo>
                  <a:lnTo>
                    <a:pt x="1280" y="765"/>
                  </a:lnTo>
                  <a:lnTo>
                    <a:pt x="1282" y="765"/>
                  </a:lnTo>
                  <a:lnTo>
                    <a:pt x="1286" y="765"/>
                  </a:lnTo>
                  <a:lnTo>
                    <a:pt x="1286" y="765"/>
                  </a:lnTo>
                  <a:lnTo>
                    <a:pt x="1284" y="766"/>
                  </a:lnTo>
                  <a:lnTo>
                    <a:pt x="1280" y="774"/>
                  </a:lnTo>
                  <a:lnTo>
                    <a:pt x="1280" y="776"/>
                  </a:lnTo>
                  <a:lnTo>
                    <a:pt x="1280" y="780"/>
                  </a:lnTo>
                  <a:lnTo>
                    <a:pt x="1280" y="778"/>
                  </a:lnTo>
                  <a:lnTo>
                    <a:pt x="1284" y="774"/>
                  </a:lnTo>
                  <a:lnTo>
                    <a:pt x="1284" y="772"/>
                  </a:lnTo>
                  <a:lnTo>
                    <a:pt x="1286" y="768"/>
                  </a:lnTo>
                  <a:lnTo>
                    <a:pt x="1290" y="766"/>
                  </a:lnTo>
                  <a:lnTo>
                    <a:pt x="1290" y="766"/>
                  </a:lnTo>
                  <a:lnTo>
                    <a:pt x="1290" y="765"/>
                  </a:lnTo>
                  <a:lnTo>
                    <a:pt x="1293" y="761"/>
                  </a:lnTo>
                  <a:lnTo>
                    <a:pt x="1293" y="765"/>
                  </a:lnTo>
                  <a:lnTo>
                    <a:pt x="1293" y="765"/>
                  </a:lnTo>
                  <a:lnTo>
                    <a:pt x="1290" y="770"/>
                  </a:lnTo>
                  <a:lnTo>
                    <a:pt x="1288" y="772"/>
                  </a:lnTo>
                  <a:lnTo>
                    <a:pt x="1288" y="776"/>
                  </a:lnTo>
                  <a:lnTo>
                    <a:pt x="1288" y="780"/>
                  </a:lnTo>
                  <a:lnTo>
                    <a:pt x="1290" y="780"/>
                  </a:lnTo>
                  <a:lnTo>
                    <a:pt x="1290" y="776"/>
                  </a:lnTo>
                  <a:lnTo>
                    <a:pt x="1290" y="772"/>
                  </a:lnTo>
                  <a:lnTo>
                    <a:pt x="1292" y="770"/>
                  </a:lnTo>
                  <a:lnTo>
                    <a:pt x="1293" y="768"/>
                  </a:lnTo>
                  <a:lnTo>
                    <a:pt x="1297" y="765"/>
                  </a:lnTo>
                  <a:lnTo>
                    <a:pt x="1301" y="765"/>
                  </a:lnTo>
                  <a:lnTo>
                    <a:pt x="1301" y="765"/>
                  </a:lnTo>
                  <a:lnTo>
                    <a:pt x="1301" y="768"/>
                  </a:lnTo>
                  <a:lnTo>
                    <a:pt x="1301" y="770"/>
                  </a:lnTo>
                  <a:lnTo>
                    <a:pt x="1297" y="770"/>
                  </a:lnTo>
                  <a:lnTo>
                    <a:pt x="1295" y="774"/>
                  </a:lnTo>
                  <a:lnTo>
                    <a:pt x="1295" y="776"/>
                  </a:lnTo>
                  <a:lnTo>
                    <a:pt x="1295" y="778"/>
                  </a:lnTo>
                  <a:lnTo>
                    <a:pt x="1297" y="776"/>
                  </a:lnTo>
                  <a:lnTo>
                    <a:pt x="1297" y="778"/>
                  </a:lnTo>
                  <a:lnTo>
                    <a:pt x="1301" y="776"/>
                  </a:lnTo>
                  <a:lnTo>
                    <a:pt x="1305" y="774"/>
                  </a:lnTo>
                  <a:lnTo>
                    <a:pt x="1305" y="776"/>
                  </a:lnTo>
                  <a:lnTo>
                    <a:pt x="1305" y="781"/>
                  </a:lnTo>
                  <a:lnTo>
                    <a:pt x="1305" y="781"/>
                  </a:lnTo>
                  <a:lnTo>
                    <a:pt x="1305" y="785"/>
                  </a:lnTo>
                  <a:lnTo>
                    <a:pt x="1305" y="785"/>
                  </a:lnTo>
                  <a:lnTo>
                    <a:pt x="1305" y="785"/>
                  </a:lnTo>
                  <a:lnTo>
                    <a:pt x="1307" y="789"/>
                  </a:lnTo>
                  <a:lnTo>
                    <a:pt x="1305" y="789"/>
                  </a:lnTo>
                  <a:lnTo>
                    <a:pt x="1301" y="789"/>
                  </a:lnTo>
                  <a:lnTo>
                    <a:pt x="1305" y="789"/>
                  </a:lnTo>
                  <a:lnTo>
                    <a:pt x="1307" y="791"/>
                  </a:lnTo>
                  <a:lnTo>
                    <a:pt x="1301" y="795"/>
                  </a:lnTo>
                  <a:lnTo>
                    <a:pt x="1297" y="795"/>
                  </a:lnTo>
                  <a:lnTo>
                    <a:pt x="1297" y="795"/>
                  </a:lnTo>
                  <a:lnTo>
                    <a:pt x="1301" y="795"/>
                  </a:lnTo>
                  <a:lnTo>
                    <a:pt x="1307" y="795"/>
                  </a:lnTo>
                  <a:lnTo>
                    <a:pt x="1310" y="795"/>
                  </a:lnTo>
                  <a:lnTo>
                    <a:pt x="1312" y="795"/>
                  </a:lnTo>
                  <a:lnTo>
                    <a:pt x="1312" y="795"/>
                  </a:lnTo>
                  <a:lnTo>
                    <a:pt x="1310" y="797"/>
                  </a:lnTo>
                  <a:lnTo>
                    <a:pt x="1310" y="800"/>
                  </a:lnTo>
                  <a:lnTo>
                    <a:pt x="1310" y="797"/>
                  </a:lnTo>
                  <a:lnTo>
                    <a:pt x="1314" y="797"/>
                  </a:lnTo>
                  <a:lnTo>
                    <a:pt x="1316" y="795"/>
                  </a:lnTo>
                  <a:lnTo>
                    <a:pt x="1320" y="791"/>
                  </a:lnTo>
                  <a:lnTo>
                    <a:pt x="1322" y="795"/>
                  </a:lnTo>
                  <a:lnTo>
                    <a:pt x="1322" y="795"/>
                  </a:lnTo>
                  <a:lnTo>
                    <a:pt x="1320" y="797"/>
                  </a:lnTo>
                  <a:lnTo>
                    <a:pt x="1318" y="797"/>
                  </a:lnTo>
                  <a:lnTo>
                    <a:pt x="1316" y="800"/>
                  </a:lnTo>
                  <a:lnTo>
                    <a:pt x="1314" y="804"/>
                  </a:lnTo>
                  <a:lnTo>
                    <a:pt x="1310" y="806"/>
                  </a:lnTo>
                  <a:lnTo>
                    <a:pt x="1310" y="808"/>
                  </a:lnTo>
                  <a:lnTo>
                    <a:pt x="1310" y="812"/>
                  </a:lnTo>
                  <a:lnTo>
                    <a:pt x="1310" y="812"/>
                  </a:lnTo>
                  <a:lnTo>
                    <a:pt x="1314" y="808"/>
                  </a:lnTo>
                  <a:lnTo>
                    <a:pt x="1314" y="806"/>
                  </a:lnTo>
                  <a:lnTo>
                    <a:pt x="1318" y="802"/>
                  </a:lnTo>
                  <a:lnTo>
                    <a:pt x="1322" y="800"/>
                  </a:lnTo>
                  <a:lnTo>
                    <a:pt x="1322" y="804"/>
                  </a:lnTo>
                  <a:lnTo>
                    <a:pt x="1318" y="808"/>
                  </a:lnTo>
                  <a:lnTo>
                    <a:pt x="1318" y="812"/>
                  </a:lnTo>
                  <a:lnTo>
                    <a:pt x="1316" y="815"/>
                  </a:lnTo>
                  <a:lnTo>
                    <a:pt x="1320" y="814"/>
                  </a:lnTo>
                  <a:lnTo>
                    <a:pt x="1322" y="808"/>
                  </a:lnTo>
                  <a:lnTo>
                    <a:pt x="1322" y="806"/>
                  </a:lnTo>
                  <a:lnTo>
                    <a:pt x="1322" y="804"/>
                  </a:lnTo>
                  <a:lnTo>
                    <a:pt x="1322" y="806"/>
                  </a:lnTo>
                  <a:lnTo>
                    <a:pt x="1325" y="812"/>
                  </a:lnTo>
                  <a:lnTo>
                    <a:pt x="1325" y="814"/>
                  </a:lnTo>
                  <a:lnTo>
                    <a:pt x="1325" y="814"/>
                  </a:lnTo>
                  <a:lnTo>
                    <a:pt x="1325" y="808"/>
                  </a:lnTo>
                  <a:lnTo>
                    <a:pt x="1329" y="806"/>
                  </a:lnTo>
                  <a:lnTo>
                    <a:pt x="1331" y="804"/>
                  </a:lnTo>
                  <a:lnTo>
                    <a:pt x="1335" y="804"/>
                  </a:lnTo>
                  <a:lnTo>
                    <a:pt x="1331" y="808"/>
                  </a:lnTo>
                  <a:lnTo>
                    <a:pt x="1335" y="808"/>
                  </a:lnTo>
                  <a:lnTo>
                    <a:pt x="1335" y="808"/>
                  </a:lnTo>
                  <a:lnTo>
                    <a:pt x="1337" y="810"/>
                  </a:lnTo>
                  <a:lnTo>
                    <a:pt x="1337" y="814"/>
                  </a:lnTo>
                  <a:lnTo>
                    <a:pt x="1339" y="814"/>
                  </a:lnTo>
                  <a:lnTo>
                    <a:pt x="1340" y="815"/>
                  </a:lnTo>
                  <a:lnTo>
                    <a:pt x="1340" y="815"/>
                  </a:lnTo>
                  <a:lnTo>
                    <a:pt x="1342" y="819"/>
                  </a:lnTo>
                  <a:lnTo>
                    <a:pt x="1344" y="821"/>
                  </a:lnTo>
                  <a:lnTo>
                    <a:pt x="1342" y="821"/>
                  </a:lnTo>
                  <a:lnTo>
                    <a:pt x="1340" y="823"/>
                  </a:lnTo>
                  <a:lnTo>
                    <a:pt x="1337" y="823"/>
                  </a:lnTo>
                  <a:lnTo>
                    <a:pt x="1337" y="821"/>
                  </a:lnTo>
                  <a:lnTo>
                    <a:pt x="1335" y="819"/>
                  </a:lnTo>
                  <a:lnTo>
                    <a:pt x="1335" y="819"/>
                  </a:lnTo>
                  <a:lnTo>
                    <a:pt x="1335" y="815"/>
                  </a:lnTo>
                  <a:lnTo>
                    <a:pt x="1331" y="819"/>
                  </a:lnTo>
                  <a:lnTo>
                    <a:pt x="1331" y="819"/>
                  </a:lnTo>
                  <a:lnTo>
                    <a:pt x="1331" y="819"/>
                  </a:lnTo>
                  <a:lnTo>
                    <a:pt x="1335" y="819"/>
                  </a:lnTo>
                  <a:lnTo>
                    <a:pt x="1335" y="821"/>
                  </a:lnTo>
                  <a:lnTo>
                    <a:pt x="1335" y="821"/>
                  </a:lnTo>
                  <a:lnTo>
                    <a:pt x="1335" y="823"/>
                  </a:lnTo>
                  <a:lnTo>
                    <a:pt x="1335" y="825"/>
                  </a:lnTo>
                  <a:lnTo>
                    <a:pt x="1335" y="825"/>
                  </a:lnTo>
                  <a:lnTo>
                    <a:pt x="1331" y="825"/>
                  </a:lnTo>
                  <a:lnTo>
                    <a:pt x="1331" y="827"/>
                  </a:lnTo>
                  <a:lnTo>
                    <a:pt x="1331" y="827"/>
                  </a:lnTo>
                  <a:lnTo>
                    <a:pt x="1335" y="827"/>
                  </a:lnTo>
                  <a:lnTo>
                    <a:pt x="1337" y="827"/>
                  </a:lnTo>
                  <a:lnTo>
                    <a:pt x="1337" y="829"/>
                  </a:lnTo>
                  <a:lnTo>
                    <a:pt x="1335" y="830"/>
                  </a:lnTo>
                  <a:lnTo>
                    <a:pt x="1335" y="830"/>
                  </a:lnTo>
                  <a:lnTo>
                    <a:pt x="1331" y="832"/>
                  </a:lnTo>
                  <a:lnTo>
                    <a:pt x="1325" y="830"/>
                  </a:lnTo>
                  <a:lnTo>
                    <a:pt x="1322" y="830"/>
                  </a:lnTo>
                  <a:lnTo>
                    <a:pt x="1325" y="827"/>
                  </a:lnTo>
                  <a:lnTo>
                    <a:pt x="1325" y="827"/>
                  </a:lnTo>
                  <a:lnTo>
                    <a:pt x="1322" y="825"/>
                  </a:lnTo>
                  <a:lnTo>
                    <a:pt x="1322" y="823"/>
                  </a:lnTo>
                  <a:lnTo>
                    <a:pt x="1320" y="823"/>
                  </a:lnTo>
                  <a:lnTo>
                    <a:pt x="1320" y="825"/>
                  </a:lnTo>
                  <a:lnTo>
                    <a:pt x="1322" y="827"/>
                  </a:lnTo>
                  <a:lnTo>
                    <a:pt x="1322" y="830"/>
                  </a:lnTo>
                  <a:lnTo>
                    <a:pt x="1322" y="832"/>
                  </a:lnTo>
                  <a:lnTo>
                    <a:pt x="1320" y="832"/>
                  </a:lnTo>
                  <a:lnTo>
                    <a:pt x="1316" y="830"/>
                  </a:lnTo>
                  <a:lnTo>
                    <a:pt x="1316" y="829"/>
                  </a:lnTo>
                  <a:lnTo>
                    <a:pt x="1316" y="832"/>
                  </a:lnTo>
                  <a:lnTo>
                    <a:pt x="1318" y="834"/>
                  </a:lnTo>
                  <a:lnTo>
                    <a:pt x="1322" y="834"/>
                  </a:lnTo>
                  <a:lnTo>
                    <a:pt x="1322" y="836"/>
                  </a:lnTo>
                  <a:lnTo>
                    <a:pt x="1325" y="836"/>
                  </a:lnTo>
                  <a:lnTo>
                    <a:pt x="1325" y="838"/>
                  </a:lnTo>
                  <a:lnTo>
                    <a:pt x="1325" y="840"/>
                  </a:lnTo>
                  <a:lnTo>
                    <a:pt x="1320" y="840"/>
                  </a:lnTo>
                  <a:lnTo>
                    <a:pt x="1318" y="838"/>
                  </a:lnTo>
                  <a:lnTo>
                    <a:pt x="1314" y="836"/>
                  </a:lnTo>
                  <a:lnTo>
                    <a:pt x="1312" y="834"/>
                  </a:lnTo>
                  <a:lnTo>
                    <a:pt x="1312" y="834"/>
                  </a:lnTo>
                  <a:lnTo>
                    <a:pt x="1312" y="836"/>
                  </a:lnTo>
                  <a:lnTo>
                    <a:pt x="1316" y="840"/>
                  </a:lnTo>
                  <a:lnTo>
                    <a:pt x="1318" y="840"/>
                  </a:lnTo>
                  <a:lnTo>
                    <a:pt x="1318" y="846"/>
                  </a:lnTo>
                  <a:lnTo>
                    <a:pt x="1316" y="849"/>
                  </a:lnTo>
                  <a:lnTo>
                    <a:pt x="1314" y="846"/>
                  </a:lnTo>
                  <a:lnTo>
                    <a:pt x="1314" y="846"/>
                  </a:lnTo>
                  <a:lnTo>
                    <a:pt x="1312" y="844"/>
                  </a:lnTo>
                  <a:lnTo>
                    <a:pt x="1310" y="840"/>
                  </a:lnTo>
                  <a:lnTo>
                    <a:pt x="1310" y="844"/>
                  </a:lnTo>
                  <a:lnTo>
                    <a:pt x="1310" y="846"/>
                  </a:lnTo>
                  <a:lnTo>
                    <a:pt x="1310" y="849"/>
                  </a:lnTo>
                  <a:lnTo>
                    <a:pt x="1310" y="851"/>
                  </a:lnTo>
                  <a:lnTo>
                    <a:pt x="1310" y="851"/>
                  </a:lnTo>
                  <a:lnTo>
                    <a:pt x="1310" y="851"/>
                  </a:lnTo>
                  <a:lnTo>
                    <a:pt x="1307" y="851"/>
                  </a:lnTo>
                  <a:lnTo>
                    <a:pt x="1307" y="849"/>
                  </a:lnTo>
                  <a:lnTo>
                    <a:pt x="1305" y="849"/>
                  </a:lnTo>
                  <a:lnTo>
                    <a:pt x="1305" y="849"/>
                  </a:lnTo>
                  <a:lnTo>
                    <a:pt x="1305" y="851"/>
                  </a:lnTo>
                  <a:lnTo>
                    <a:pt x="1301" y="849"/>
                  </a:lnTo>
                  <a:lnTo>
                    <a:pt x="1301" y="849"/>
                  </a:lnTo>
                  <a:lnTo>
                    <a:pt x="1301" y="846"/>
                  </a:lnTo>
                  <a:lnTo>
                    <a:pt x="1301" y="844"/>
                  </a:lnTo>
                  <a:lnTo>
                    <a:pt x="1301" y="840"/>
                  </a:lnTo>
                  <a:lnTo>
                    <a:pt x="1297" y="844"/>
                  </a:lnTo>
                  <a:lnTo>
                    <a:pt x="1297" y="849"/>
                  </a:lnTo>
                  <a:lnTo>
                    <a:pt x="1297" y="849"/>
                  </a:lnTo>
                  <a:lnTo>
                    <a:pt x="1295" y="849"/>
                  </a:lnTo>
                  <a:lnTo>
                    <a:pt x="1297" y="849"/>
                  </a:lnTo>
                  <a:lnTo>
                    <a:pt x="1297" y="851"/>
                  </a:lnTo>
                  <a:lnTo>
                    <a:pt x="1297" y="851"/>
                  </a:lnTo>
                  <a:lnTo>
                    <a:pt x="1297" y="853"/>
                  </a:lnTo>
                  <a:lnTo>
                    <a:pt x="1295" y="853"/>
                  </a:lnTo>
                  <a:lnTo>
                    <a:pt x="1293" y="853"/>
                  </a:lnTo>
                  <a:lnTo>
                    <a:pt x="1293" y="853"/>
                  </a:lnTo>
                  <a:lnTo>
                    <a:pt x="1295" y="855"/>
                  </a:lnTo>
                  <a:lnTo>
                    <a:pt x="1297" y="855"/>
                  </a:lnTo>
                  <a:lnTo>
                    <a:pt x="1297" y="857"/>
                  </a:lnTo>
                  <a:lnTo>
                    <a:pt x="1297" y="859"/>
                  </a:lnTo>
                  <a:lnTo>
                    <a:pt x="1295" y="861"/>
                  </a:lnTo>
                  <a:lnTo>
                    <a:pt x="1295" y="862"/>
                  </a:lnTo>
                  <a:lnTo>
                    <a:pt x="1297" y="864"/>
                  </a:lnTo>
                  <a:lnTo>
                    <a:pt x="1297" y="866"/>
                  </a:lnTo>
                  <a:lnTo>
                    <a:pt x="1295" y="866"/>
                  </a:lnTo>
                  <a:lnTo>
                    <a:pt x="1293" y="866"/>
                  </a:lnTo>
                  <a:lnTo>
                    <a:pt x="1293" y="866"/>
                  </a:lnTo>
                  <a:lnTo>
                    <a:pt x="1295" y="868"/>
                  </a:lnTo>
                  <a:lnTo>
                    <a:pt x="1297" y="870"/>
                  </a:lnTo>
                  <a:lnTo>
                    <a:pt x="1295" y="874"/>
                  </a:lnTo>
                  <a:lnTo>
                    <a:pt x="1292" y="876"/>
                  </a:lnTo>
                  <a:lnTo>
                    <a:pt x="1292" y="876"/>
                  </a:lnTo>
                  <a:lnTo>
                    <a:pt x="1290" y="876"/>
                  </a:lnTo>
                  <a:lnTo>
                    <a:pt x="1290" y="874"/>
                  </a:lnTo>
                  <a:lnTo>
                    <a:pt x="1288" y="874"/>
                  </a:lnTo>
                  <a:lnTo>
                    <a:pt x="1288" y="870"/>
                  </a:lnTo>
                  <a:lnTo>
                    <a:pt x="1286" y="870"/>
                  </a:lnTo>
                  <a:lnTo>
                    <a:pt x="1286" y="870"/>
                  </a:lnTo>
                  <a:lnTo>
                    <a:pt x="1288" y="868"/>
                  </a:lnTo>
                  <a:lnTo>
                    <a:pt x="1288" y="866"/>
                  </a:lnTo>
                  <a:lnTo>
                    <a:pt x="1286" y="866"/>
                  </a:lnTo>
                  <a:lnTo>
                    <a:pt x="1284" y="868"/>
                  </a:lnTo>
                  <a:lnTo>
                    <a:pt x="1282" y="870"/>
                  </a:lnTo>
                  <a:lnTo>
                    <a:pt x="1282" y="870"/>
                  </a:lnTo>
                  <a:lnTo>
                    <a:pt x="1280" y="868"/>
                  </a:lnTo>
                  <a:lnTo>
                    <a:pt x="1280" y="866"/>
                  </a:lnTo>
                  <a:lnTo>
                    <a:pt x="1280" y="864"/>
                  </a:lnTo>
                  <a:lnTo>
                    <a:pt x="1280" y="862"/>
                  </a:lnTo>
                  <a:lnTo>
                    <a:pt x="1280" y="861"/>
                  </a:lnTo>
                  <a:lnTo>
                    <a:pt x="1280" y="861"/>
                  </a:lnTo>
                  <a:lnTo>
                    <a:pt x="1282" y="859"/>
                  </a:lnTo>
                  <a:lnTo>
                    <a:pt x="1280" y="857"/>
                  </a:lnTo>
                  <a:lnTo>
                    <a:pt x="1280" y="861"/>
                  </a:lnTo>
                  <a:lnTo>
                    <a:pt x="1276" y="862"/>
                  </a:lnTo>
                  <a:lnTo>
                    <a:pt x="1276" y="866"/>
                  </a:lnTo>
                  <a:lnTo>
                    <a:pt x="1276" y="864"/>
                  </a:lnTo>
                  <a:lnTo>
                    <a:pt x="1276" y="862"/>
                  </a:lnTo>
                  <a:lnTo>
                    <a:pt x="1273" y="861"/>
                  </a:lnTo>
                  <a:lnTo>
                    <a:pt x="1273" y="859"/>
                  </a:lnTo>
                  <a:lnTo>
                    <a:pt x="1273" y="857"/>
                  </a:lnTo>
                  <a:lnTo>
                    <a:pt x="1276" y="855"/>
                  </a:lnTo>
                  <a:lnTo>
                    <a:pt x="1276" y="855"/>
                  </a:lnTo>
                  <a:lnTo>
                    <a:pt x="1280" y="853"/>
                  </a:lnTo>
                  <a:lnTo>
                    <a:pt x="1280" y="853"/>
                  </a:lnTo>
                  <a:lnTo>
                    <a:pt x="1276" y="853"/>
                  </a:lnTo>
                  <a:lnTo>
                    <a:pt x="1273" y="853"/>
                  </a:lnTo>
                  <a:lnTo>
                    <a:pt x="1273" y="853"/>
                  </a:lnTo>
                  <a:lnTo>
                    <a:pt x="1273" y="851"/>
                  </a:lnTo>
                  <a:lnTo>
                    <a:pt x="1273" y="849"/>
                  </a:lnTo>
                  <a:lnTo>
                    <a:pt x="1276" y="849"/>
                  </a:lnTo>
                  <a:lnTo>
                    <a:pt x="1276" y="846"/>
                  </a:lnTo>
                  <a:lnTo>
                    <a:pt x="1276" y="846"/>
                  </a:lnTo>
                  <a:lnTo>
                    <a:pt x="1273" y="849"/>
                  </a:lnTo>
                  <a:lnTo>
                    <a:pt x="1273" y="846"/>
                  </a:lnTo>
                  <a:lnTo>
                    <a:pt x="1273" y="846"/>
                  </a:lnTo>
                  <a:lnTo>
                    <a:pt x="1273" y="846"/>
                  </a:lnTo>
                  <a:lnTo>
                    <a:pt x="1276" y="844"/>
                  </a:lnTo>
                  <a:lnTo>
                    <a:pt x="1280" y="844"/>
                  </a:lnTo>
                  <a:lnTo>
                    <a:pt x="1276" y="840"/>
                  </a:lnTo>
                  <a:lnTo>
                    <a:pt x="1273" y="840"/>
                  </a:lnTo>
                  <a:lnTo>
                    <a:pt x="1273" y="844"/>
                  </a:lnTo>
                  <a:lnTo>
                    <a:pt x="1271" y="840"/>
                  </a:lnTo>
                  <a:lnTo>
                    <a:pt x="1271" y="840"/>
                  </a:lnTo>
                  <a:lnTo>
                    <a:pt x="1273" y="836"/>
                  </a:lnTo>
                  <a:lnTo>
                    <a:pt x="1276" y="836"/>
                  </a:lnTo>
                  <a:lnTo>
                    <a:pt x="1280" y="836"/>
                  </a:lnTo>
                  <a:lnTo>
                    <a:pt x="1282" y="832"/>
                  </a:lnTo>
                  <a:lnTo>
                    <a:pt x="1284" y="830"/>
                  </a:lnTo>
                  <a:lnTo>
                    <a:pt x="1286" y="829"/>
                  </a:lnTo>
                  <a:lnTo>
                    <a:pt x="1288" y="825"/>
                  </a:lnTo>
                  <a:lnTo>
                    <a:pt x="1290" y="825"/>
                  </a:lnTo>
                  <a:lnTo>
                    <a:pt x="1290" y="823"/>
                  </a:lnTo>
                  <a:lnTo>
                    <a:pt x="1288" y="823"/>
                  </a:lnTo>
                  <a:lnTo>
                    <a:pt x="1284" y="825"/>
                  </a:lnTo>
                  <a:lnTo>
                    <a:pt x="1282" y="827"/>
                  </a:lnTo>
                  <a:lnTo>
                    <a:pt x="1280" y="830"/>
                  </a:lnTo>
                  <a:lnTo>
                    <a:pt x="1276" y="832"/>
                  </a:lnTo>
                  <a:lnTo>
                    <a:pt x="1273" y="832"/>
                  </a:lnTo>
                  <a:lnTo>
                    <a:pt x="1271" y="836"/>
                  </a:lnTo>
                  <a:lnTo>
                    <a:pt x="1267" y="836"/>
                  </a:lnTo>
                  <a:lnTo>
                    <a:pt x="1265" y="834"/>
                  </a:lnTo>
                  <a:lnTo>
                    <a:pt x="1265" y="834"/>
                  </a:lnTo>
                  <a:lnTo>
                    <a:pt x="1267" y="829"/>
                  </a:lnTo>
                  <a:lnTo>
                    <a:pt x="1273" y="825"/>
                  </a:lnTo>
                  <a:lnTo>
                    <a:pt x="1273" y="825"/>
                  </a:lnTo>
                  <a:lnTo>
                    <a:pt x="1276" y="823"/>
                  </a:lnTo>
                  <a:lnTo>
                    <a:pt x="1276" y="819"/>
                  </a:lnTo>
                  <a:lnTo>
                    <a:pt x="1273" y="823"/>
                  </a:lnTo>
                  <a:lnTo>
                    <a:pt x="1265" y="829"/>
                  </a:lnTo>
                  <a:lnTo>
                    <a:pt x="1263" y="829"/>
                  </a:lnTo>
                  <a:lnTo>
                    <a:pt x="1261" y="829"/>
                  </a:lnTo>
                  <a:lnTo>
                    <a:pt x="1261" y="827"/>
                  </a:lnTo>
                  <a:lnTo>
                    <a:pt x="1261" y="825"/>
                  </a:lnTo>
                  <a:lnTo>
                    <a:pt x="1260" y="823"/>
                  </a:lnTo>
                  <a:lnTo>
                    <a:pt x="1258" y="825"/>
                  </a:lnTo>
                  <a:lnTo>
                    <a:pt x="1256" y="823"/>
                  </a:lnTo>
                  <a:lnTo>
                    <a:pt x="1258" y="821"/>
                  </a:lnTo>
                  <a:lnTo>
                    <a:pt x="1260" y="821"/>
                  </a:lnTo>
                  <a:lnTo>
                    <a:pt x="1260" y="819"/>
                  </a:lnTo>
                  <a:lnTo>
                    <a:pt x="1258" y="819"/>
                  </a:lnTo>
                  <a:lnTo>
                    <a:pt x="1256" y="819"/>
                  </a:lnTo>
                  <a:lnTo>
                    <a:pt x="1256" y="819"/>
                  </a:lnTo>
                  <a:lnTo>
                    <a:pt x="1256" y="815"/>
                  </a:lnTo>
                  <a:lnTo>
                    <a:pt x="1258" y="814"/>
                  </a:lnTo>
                  <a:lnTo>
                    <a:pt x="1258" y="812"/>
                  </a:lnTo>
                  <a:lnTo>
                    <a:pt x="1256" y="812"/>
                  </a:lnTo>
                  <a:lnTo>
                    <a:pt x="1254" y="810"/>
                  </a:lnTo>
                  <a:lnTo>
                    <a:pt x="1252" y="810"/>
                  </a:lnTo>
                  <a:lnTo>
                    <a:pt x="1252" y="812"/>
                  </a:lnTo>
                  <a:lnTo>
                    <a:pt x="1254" y="814"/>
                  </a:lnTo>
                  <a:lnTo>
                    <a:pt x="1252" y="815"/>
                  </a:lnTo>
                  <a:lnTo>
                    <a:pt x="1248" y="814"/>
                  </a:lnTo>
                  <a:lnTo>
                    <a:pt x="1246" y="812"/>
                  </a:lnTo>
                  <a:lnTo>
                    <a:pt x="1243" y="812"/>
                  </a:lnTo>
                  <a:lnTo>
                    <a:pt x="1246" y="814"/>
                  </a:lnTo>
                  <a:lnTo>
                    <a:pt x="1248" y="815"/>
                  </a:lnTo>
                  <a:lnTo>
                    <a:pt x="1252" y="819"/>
                  </a:lnTo>
                  <a:lnTo>
                    <a:pt x="1246" y="819"/>
                  </a:lnTo>
                  <a:lnTo>
                    <a:pt x="1246" y="819"/>
                  </a:lnTo>
                  <a:lnTo>
                    <a:pt x="1246" y="821"/>
                  </a:lnTo>
                  <a:lnTo>
                    <a:pt x="1246" y="821"/>
                  </a:lnTo>
                  <a:lnTo>
                    <a:pt x="1243" y="819"/>
                  </a:lnTo>
                  <a:lnTo>
                    <a:pt x="1243" y="815"/>
                  </a:lnTo>
                  <a:lnTo>
                    <a:pt x="1243" y="815"/>
                  </a:lnTo>
                  <a:lnTo>
                    <a:pt x="1241" y="815"/>
                  </a:lnTo>
                  <a:lnTo>
                    <a:pt x="1243" y="819"/>
                  </a:lnTo>
                  <a:lnTo>
                    <a:pt x="1243" y="819"/>
                  </a:lnTo>
                  <a:lnTo>
                    <a:pt x="1243" y="823"/>
                  </a:lnTo>
                  <a:lnTo>
                    <a:pt x="1243" y="823"/>
                  </a:lnTo>
                  <a:lnTo>
                    <a:pt x="1246" y="825"/>
                  </a:lnTo>
                  <a:lnTo>
                    <a:pt x="1246" y="829"/>
                  </a:lnTo>
                  <a:lnTo>
                    <a:pt x="1246" y="830"/>
                  </a:lnTo>
                  <a:lnTo>
                    <a:pt x="1246" y="832"/>
                  </a:lnTo>
                  <a:lnTo>
                    <a:pt x="1246" y="834"/>
                  </a:lnTo>
                  <a:lnTo>
                    <a:pt x="1246" y="834"/>
                  </a:lnTo>
                  <a:lnTo>
                    <a:pt x="1243" y="834"/>
                  </a:lnTo>
                  <a:lnTo>
                    <a:pt x="1241" y="832"/>
                  </a:lnTo>
                  <a:lnTo>
                    <a:pt x="1241" y="834"/>
                  </a:lnTo>
                  <a:lnTo>
                    <a:pt x="1239" y="834"/>
                  </a:lnTo>
                  <a:lnTo>
                    <a:pt x="1235" y="830"/>
                  </a:lnTo>
                  <a:lnTo>
                    <a:pt x="1235" y="829"/>
                  </a:lnTo>
                  <a:lnTo>
                    <a:pt x="1235" y="827"/>
                  </a:lnTo>
                  <a:lnTo>
                    <a:pt x="1235" y="823"/>
                  </a:lnTo>
                  <a:lnTo>
                    <a:pt x="1231" y="821"/>
                  </a:lnTo>
                  <a:lnTo>
                    <a:pt x="1229" y="821"/>
                  </a:lnTo>
                  <a:lnTo>
                    <a:pt x="1228" y="819"/>
                  </a:lnTo>
                  <a:lnTo>
                    <a:pt x="1228" y="819"/>
                  </a:lnTo>
                  <a:lnTo>
                    <a:pt x="1226" y="819"/>
                  </a:lnTo>
                  <a:lnTo>
                    <a:pt x="1222" y="819"/>
                  </a:lnTo>
                  <a:lnTo>
                    <a:pt x="1218" y="819"/>
                  </a:lnTo>
                  <a:lnTo>
                    <a:pt x="1218" y="821"/>
                  </a:lnTo>
                  <a:lnTo>
                    <a:pt x="1224" y="821"/>
                  </a:lnTo>
                  <a:lnTo>
                    <a:pt x="1226" y="823"/>
                  </a:lnTo>
                  <a:lnTo>
                    <a:pt x="1231" y="825"/>
                  </a:lnTo>
                  <a:lnTo>
                    <a:pt x="1231" y="829"/>
                  </a:lnTo>
                  <a:lnTo>
                    <a:pt x="1228" y="830"/>
                  </a:lnTo>
                  <a:lnTo>
                    <a:pt x="1228" y="832"/>
                  </a:lnTo>
                  <a:lnTo>
                    <a:pt x="1231" y="832"/>
                  </a:lnTo>
                  <a:lnTo>
                    <a:pt x="1231" y="834"/>
                  </a:lnTo>
                  <a:lnTo>
                    <a:pt x="1231" y="836"/>
                  </a:lnTo>
                  <a:lnTo>
                    <a:pt x="1231" y="836"/>
                  </a:lnTo>
                  <a:lnTo>
                    <a:pt x="1235" y="836"/>
                  </a:lnTo>
                  <a:lnTo>
                    <a:pt x="1235" y="838"/>
                  </a:lnTo>
                  <a:lnTo>
                    <a:pt x="1233" y="840"/>
                  </a:lnTo>
                  <a:lnTo>
                    <a:pt x="1228" y="846"/>
                  </a:lnTo>
                  <a:lnTo>
                    <a:pt x="1226" y="849"/>
                  </a:lnTo>
                  <a:lnTo>
                    <a:pt x="1231" y="846"/>
                  </a:lnTo>
                  <a:lnTo>
                    <a:pt x="1233" y="846"/>
                  </a:lnTo>
                  <a:lnTo>
                    <a:pt x="1235" y="844"/>
                  </a:lnTo>
                  <a:lnTo>
                    <a:pt x="1241" y="844"/>
                  </a:lnTo>
                  <a:lnTo>
                    <a:pt x="1243" y="846"/>
                  </a:lnTo>
                  <a:lnTo>
                    <a:pt x="1243" y="846"/>
                  </a:lnTo>
                  <a:lnTo>
                    <a:pt x="1239" y="849"/>
                  </a:lnTo>
                  <a:lnTo>
                    <a:pt x="1237" y="849"/>
                  </a:lnTo>
                  <a:lnTo>
                    <a:pt x="1239" y="849"/>
                  </a:lnTo>
                  <a:lnTo>
                    <a:pt x="1241" y="851"/>
                  </a:lnTo>
                  <a:lnTo>
                    <a:pt x="1243" y="853"/>
                  </a:lnTo>
                  <a:lnTo>
                    <a:pt x="1243" y="853"/>
                  </a:lnTo>
                  <a:lnTo>
                    <a:pt x="1239" y="855"/>
                  </a:lnTo>
                  <a:lnTo>
                    <a:pt x="1237" y="855"/>
                  </a:lnTo>
                  <a:lnTo>
                    <a:pt x="1239" y="857"/>
                  </a:lnTo>
                  <a:lnTo>
                    <a:pt x="1239" y="859"/>
                  </a:lnTo>
                  <a:lnTo>
                    <a:pt x="1239" y="859"/>
                  </a:lnTo>
                  <a:lnTo>
                    <a:pt x="1239" y="861"/>
                  </a:lnTo>
                  <a:lnTo>
                    <a:pt x="1241" y="861"/>
                  </a:lnTo>
                  <a:lnTo>
                    <a:pt x="1241" y="864"/>
                  </a:lnTo>
                  <a:lnTo>
                    <a:pt x="1243" y="864"/>
                  </a:lnTo>
                  <a:lnTo>
                    <a:pt x="1243" y="866"/>
                  </a:lnTo>
                  <a:lnTo>
                    <a:pt x="1243" y="870"/>
                  </a:lnTo>
                  <a:lnTo>
                    <a:pt x="1243" y="870"/>
                  </a:lnTo>
                  <a:lnTo>
                    <a:pt x="1243" y="870"/>
                  </a:lnTo>
                  <a:lnTo>
                    <a:pt x="1243" y="866"/>
                  </a:lnTo>
                  <a:lnTo>
                    <a:pt x="1246" y="864"/>
                  </a:lnTo>
                  <a:lnTo>
                    <a:pt x="1248" y="866"/>
                  </a:lnTo>
                  <a:lnTo>
                    <a:pt x="1248" y="870"/>
                  </a:lnTo>
                  <a:lnTo>
                    <a:pt x="1252" y="874"/>
                  </a:lnTo>
                  <a:lnTo>
                    <a:pt x="1248" y="874"/>
                  </a:lnTo>
                  <a:lnTo>
                    <a:pt x="1246" y="876"/>
                  </a:lnTo>
                  <a:lnTo>
                    <a:pt x="1246" y="876"/>
                  </a:lnTo>
                  <a:lnTo>
                    <a:pt x="1252" y="876"/>
                  </a:lnTo>
                  <a:lnTo>
                    <a:pt x="1252" y="876"/>
                  </a:lnTo>
                  <a:lnTo>
                    <a:pt x="1252" y="876"/>
                  </a:lnTo>
                  <a:lnTo>
                    <a:pt x="1254" y="876"/>
                  </a:lnTo>
                  <a:lnTo>
                    <a:pt x="1254" y="874"/>
                  </a:lnTo>
                  <a:lnTo>
                    <a:pt x="1256" y="874"/>
                  </a:lnTo>
                  <a:lnTo>
                    <a:pt x="1258" y="876"/>
                  </a:lnTo>
                  <a:lnTo>
                    <a:pt x="1258" y="879"/>
                  </a:lnTo>
                  <a:lnTo>
                    <a:pt x="1256" y="883"/>
                  </a:lnTo>
                  <a:lnTo>
                    <a:pt x="1254" y="883"/>
                  </a:lnTo>
                  <a:lnTo>
                    <a:pt x="1254" y="885"/>
                  </a:lnTo>
                  <a:lnTo>
                    <a:pt x="1256" y="885"/>
                  </a:lnTo>
                  <a:lnTo>
                    <a:pt x="1260" y="885"/>
                  </a:lnTo>
                  <a:lnTo>
                    <a:pt x="1263" y="885"/>
                  </a:lnTo>
                  <a:lnTo>
                    <a:pt x="1263" y="885"/>
                  </a:lnTo>
                  <a:lnTo>
                    <a:pt x="1261" y="889"/>
                  </a:lnTo>
                  <a:lnTo>
                    <a:pt x="1260" y="889"/>
                  </a:lnTo>
                  <a:lnTo>
                    <a:pt x="1256" y="891"/>
                  </a:lnTo>
                  <a:lnTo>
                    <a:pt x="1258" y="893"/>
                  </a:lnTo>
                  <a:lnTo>
                    <a:pt x="1261" y="896"/>
                  </a:lnTo>
                  <a:lnTo>
                    <a:pt x="1260" y="900"/>
                  </a:lnTo>
                  <a:lnTo>
                    <a:pt x="1261" y="900"/>
                  </a:lnTo>
                  <a:lnTo>
                    <a:pt x="1261" y="904"/>
                  </a:lnTo>
                  <a:lnTo>
                    <a:pt x="1267" y="910"/>
                  </a:lnTo>
                  <a:lnTo>
                    <a:pt x="1267" y="913"/>
                  </a:lnTo>
                  <a:lnTo>
                    <a:pt x="1265" y="913"/>
                  </a:lnTo>
                  <a:lnTo>
                    <a:pt x="1265" y="917"/>
                  </a:lnTo>
                  <a:lnTo>
                    <a:pt x="1263" y="923"/>
                  </a:lnTo>
                  <a:lnTo>
                    <a:pt x="1263" y="927"/>
                  </a:lnTo>
                  <a:lnTo>
                    <a:pt x="1263" y="927"/>
                  </a:lnTo>
                  <a:lnTo>
                    <a:pt x="1258" y="921"/>
                  </a:lnTo>
                  <a:lnTo>
                    <a:pt x="1256" y="917"/>
                  </a:lnTo>
                  <a:lnTo>
                    <a:pt x="1258" y="913"/>
                  </a:lnTo>
                  <a:lnTo>
                    <a:pt x="1256" y="910"/>
                  </a:lnTo>
                  <a:lnTo>
                    <a:pt x="1256" y="913"/>
                  </a:lnTo>
                  <a:lnTo>
                    <a:pt x="1254" y="919"/>
                  </a:lnTo>
                  <a:lnTo>
                    <a:pt x="1258" y="925"/>
                  </a:lnTo>
                  <a:lnTo>
                    <a:pt x="1258" y="930"/>
                  </a:lnTo>
                  <a:lnTo>
                    <a:pt x="1256" y="934"/>
                  </a:lnTo>
                  <a:lnTo>
                    <a:pt x="1258" y="938"/>
                  </a:lnTo>
                  <a:lnTo>
                    <a:pt x="1256" y="938"/>
                  </a:lnTo>
                  <a:lnTo>
                    <a:pt x="1254" y="938"/>
                  </a:lnTo>
                  <a:lnTo>
                    <a:pt x="1252" y="934"/>
                  </a:lnTo>
                  <a:lnTo>
                    <a:pt x="1248" y="934"/>
                  </a:lnTo>
                  <a:lnTo>
                    <a:pt x="1252" y="943"/>
                  </a:lnTo>
                  <a:lnTo>
                    <a:pt x="1252" y="945"/>
                  </a:lnTo>
                  <a:lnTo>
                    <a:pt x="1252" y="947"/>
                  </a:lnTo>
                  <a:lnTo>
                    <a:pt x="1252" y="949"/>
                  </a:lnTo>
                  <a:lnTo>
                    <a:pt x="1248" y="949"/>
                  </a:lnTo>
                  <a:lnTo>
                    <a:pt x="1246" y="947"/>
                  </a:lnTo>
                  <a:lnTo>
                    <a:pt x="1246" y="940"/>
                  </a:lnTo>
                  <a:lnTo>
                    <a:pt x="1246" y="938"/>
                  </a:lnTo>
                  <a:lnTo>
                    <a:pt x="1246" y="934"/>
                  </a:lnTo>
                  <a:lnTo>
                    <a:pt x="1246" y="938"/>
                  </a:lnTo>
                  <a:lnTo>
                    <a:pt x="1243" y="938"/>
                  </a:lnTo>
                  <a:lnTo>
                    <a:pt x="1241" y="934"/>
                  </a:lnTo>
                  <a:lnTo>
                    <a:pt x="1241" y="930"/>
                  </a:lnTo>
                  <a:lnTo>
                    <a:pt x="1239" y="932"/>
                  </a:lnTo>
                  <a:lnTo>
                    <a:pt x="1239" y="934"/>
                  </a:lnTo>
                  <a:lnTo>
                    <a:pt x="1239" y="934"/>
                  </a:lnTo>
                  <a:lnTo>
                    <a:pt x="1239" y="932"/>
                  </a:lnTo>
                  <a:lnTo>
                    <a:pt x="1237" y="928"/>
                  </a:lnTo>
                  <a:lnTo>
                    <a:pt x="1235" y="927"/>
                  </a:lnTo>
                  <a:lnTo>
                    <a:pt x="1235" y="928"/>
                  </a:lnTo>
                  <a:lnTo>
                    <a:pt x="1235" y="930"/>
                  </a:lnTo>
                  <a:lnTo>
                    <a:pt x="1235" y="932"/>
                  </a:lnTo>
                  <a:lnTo>
                    <a:pt x="1233" y="932"/>
                  </a:lnTo>
                  <a:lnTo>
                    <a:pt x="1231" y="930"/>
                  </a:lnTo>
                  <a:lnTo>
                    <a:pt x="1229" y="928"/>
                  </a:lnTo>
                  <a:lnTo>
                    <a:pt x="1231" y="925"/>
                  </a:lnTo>
                  <a:lnTo>
                    <a:pt x="1228" y="919"/>
                  </a:lnTo>
                  <a:lnTo>
                    <a:pt x="1228" y="915"/>
                  </a:lnTo>
                  <a:lnTo>
                    <a:pt x="1228" y="919"/>
                  </a:lnTo>
                  <a:lnTo>
                    <a:pt x="1228" y="925"/>
                  </a:lnTo>
                  <a:lnTo>
                    <a:pt x="1229" y="928"/>
                  </a:lnTo>
                  <a:lnTo>
                    <a:pt x="1226" y="930"/>
                  </a:lnTo>
                  <a:lnTo>
                    <a:pt x="1224" y="925"/>
                  </a:lnTo>
                  <a:lnTo>
                    <a:pt x="1222" y="923"/>
                  </a:lnTo>
                  <a:lnTo>
                    <a:pt x="1222" y="921"/>
                  </a:lnTo>
                  <a:lnTo>
                    <a:pt x="1218" y="919"/>
                  </a:lnTo>
                  <a:lnTo>
                    <a:pt x="1218" y="913"/>
                  </a:lnTo>
                  <a:lnTo>
                    <a:pt x="1216" y="913"/>
                  </a:lnTo>
                  <a:lnTo>
                    <a:pt x="1216" y="910"/>
                  </a:lnTo>
                  <a:lnTo>
                    <a:pt x="1214" y="910"/>
                  </a:lnTo>
                  <a:lnTo>
                    <a:pt x="1212" y="910"/>
                  </a:lnTo>
                  <a:lnTo>
                    <a:pt x="1212" y="910"/>
                  </a:lnTo>
                  <a:lnTo>
                    <a:pt x="1214" y="915"/>
                  </a:lnTo>
                  <a:lnTo>
                    <a:pt x="1214" y="917"/>
                  </a:lnTo>
                  <a:lnTo>
                    <a:pt x="1212" y="915"/>
                  </a:lnTo>
                  <a:lnTo>
                    <a:pt x="1212" y="913"/>
                  </a:lnTo>
                  <a:lnTo>
                    <a:pt x="1211" y="913"/>
                  </a:lnTo>
                  <a:lnTo>
                    <a:pt x="1207" y="910"/>
                  </a:lnTo>
                  <a:lnTo>
                    <a:pt x="1205" y="904"/>
                  </a:lnTo>
                  <a:lnTo>
                    <a:pt x="1203" y="902"/>
                  </a:lnTo>
                  <a:lnTo>
                    <a:pt x="1199" y="902"/>
                  </a:lnTo>
                  <a:lnTo>
                    <a:pt x="1197" y="904"/>
                  </a:lnTo>
                  <a:lnTo>
                    <a:pt x="1197" y="902"/>
                  </a:lnTo>
                  <a:lnTo>
                    <a:pt x="1197" y="904"/>
                  </a:lnTo>
                  <a:lnTo>
                    <a:pt x="1197" y="910"/>
                  </a:lnTo>
                  <a:lnTo>
                    <a:pt x="1201" y="913"/>
                  </a:lnTo>
                  <a:lnTo>
                    <a:pt x="1201" y="915"/>
                  </a:lnTo>
                  <a:lnTo>
                    <a:pt x="1203" y="919"/>
                  </a:lnTo>
                  <a:lnTo>
                    <a:pt x="1203" y="923"/>
                  </a:lnTo>
                  <a:lnTo>
                    <a:pt x="1205" y="923"/>
                  </a:lnTo>
                  <a:lnTo>
                    <a:pt x="1209" y="923"/>
                  </a:lnTo>
                  <a:lnTo>
                    <a:pt x="1211" y="927"/>
                  </a:lnTo>
                  <a:lnTo>
                    <a:pt x="1211" y="928"/>
                  </a:lnTo>
                  <a:lnTo>
                    <a:pt x="1212" y="928"/>
                  </a:lnTo>
                  <a:lnTo>
                    <a:pt x="1214" y="928"/>
                  </a:lnTo>
                  <a:lnTo>
                    <a:pt x="1212" y="932"/>
                  </a:lnTo>
                  <a:lnTo>
                    <a:pt x="1216" y="932"/>
                  </a:lnTo>
                  <a:lnTo>
                    <a:pt x="1218" y="934"/>
                  </a:lnTo>
                  <a:lnTo>
                    <a:pt x="1218" y="938"/>
                  </a:lnTo>
                  <a:lnTo>
                    <a:pt x="1218" y="940"/>
                  </a:lnTo>
                  <a:lnTo>
                    <a:pt x="1222" y="940"/>
                  </a:lnTo>
                  <a:lnTo>
                    <a:pt x="1222" y="940"/>
                  </a:lnTo>
                  <a:lnTo>
                    <a:pt x="1222" y="945"/>
                  </a:lnTo>
                  <a:lnTo>
                    <a:pt x="1222" y="949"/>
                  </a:lnTo>
                  <a:lnTo>
                    <a:pt x="1222" y="947"/>
                  </a:lnTo>
                  <a:lnTo>
                    <a:pt x="1222" y="951"/>
                  </a:lnTo>
                  <a:lnTo>
                    <a:pt x="1222" y="953"/>
                  </a:lnTo>
                  <a:lnTo>
                    <a:pt x="1226" y="949"/>
                  </a:lnTo>
                  <a:lnTo>
                    <a:pt x="1228" y="951"/>
                  </a:lnTo>
                  <a:lnTo>
                    <a:pt x="1226" y="955"/>
                  </a:lnTo>
                  <a:lnTo>
                    <a:pt x="1228" y="957"/>
                  </a:lnTo>
                  <a:lnTo>
                    <a:pt x="1229" y="955"/>
                  </a:lnTo>
                  <a:lnTo>
                    <a:pt x="1231" y="957"/>
                  </a:lnTo>
                  <a:lnTo>
                    <a:pt x="1229" y="960"/>
                  </a:lnTo>
                  <a:lnTo>
                    <a:pt x="1226" y="959"/>
                  </a:lnTo>
                  <a:lnTo>
                    <a:pt x="1226" y="960"/>
                  </a:lnTo>
                  <a:lnTo>
                    <a:pt x="1226" y="962"/>
                  </a:lnTo>
                  <a:lnTo>
                    <a:pt x="1229" y="964"/>
                  </a:lnTo>
                  <a:lnTo>
                    <a:pt x="1229" y="968"/>
                  </a:lnTo>
                  <a:lnTo>
                    <a:pt x="1228" y="968"/>
                  </a:lnTo>
                  <a:lnTo>
                    <a:pt x="1228" y="968"/>
                  </a:lnTo>
                  <a:lnTo>
                    <a:pt x="1228" y="968"/>
                  </a:lnTo>
                  <a:lnTo>
                    <a:pt x="1228" y="968"/>
                  </a:lnTo>
                  <a:close/>
                  <a:moveTo>
                    <a:pt x="919" y="876"/>
                  </a:moveTo>
                  <a:lnTo>
                    <a:pt x="919" y="876"/>
                  </a:lnTo>
                  <a:lnTo>
                    <a:pt x="923" y="876"/>
                  </a:lnTo>
                  <a:lnTo>
                    <a:pt x="923" y="874"/>
                  </a:lnTo>
                  <a:lnTo>
                    <a:pt x="924" y="874"/>
                  </a:lnTo>
                  <a:lnTo>
                    <a:pt x="924" y="874"/>
                  </a:lnTo>
                  <a:lnTo>
                    <a:pt x="928" y="876"/>
                  </a:lnTo>
                  <a:lnTo>
                    <a:pt x="930" y="876"/>
                  </a:lnTo>
                  <a:lnTo>
                    <a:pt x="932" y="874"/>
                  </a:lnTo>
                  <a:lnTo>
                    <a:pt x="934" y="874"/>
                  </a:lnTo>
                  <a:lnTo>
                    <a:pt x="936" y="876"/>
                  </a:lnTo>
                  <a:lnTo>
                    <a:pt x="936" y="876"/>
                  </a:lnTo>
                  <a:lnTo>
                    <a:pt x="934" y="879"/>
                  </a:lnTo>
                  <a:lnTo>
                    <a:pt x="934" y="883"/>
                  </a:lnTo>
                  <a:lnTo>
                    <a:pt x="932" y="887"/>
                  </a:lnTo>
                  <a:lnTo>
                    <a:pt x="932" y="893"/>
                  </a:lnTo>
                  <a:lnTo>
                    <a:pt x="932" y="893"/>
                  </a:lnTo>
                  <a:lnTo>
                    <a:pt x="936" y="893"/>
                  </a:lnTo>
                  <a:lnTo>
                    <a:pt x="936" y="893"/>
                  </a:lnTo>
                  <a:lnTo>
                    <a:pt x="940" y="895"/>
                  </a:lnTo>
                  <a:lnTo>
                    <a:pt x="941" y="893"/>
                  </a:lnTo>
                  <a:lnTo>
                    <a:pt x="943" y="893"/>
                  </a:lnTo>
                  <a:lnTo>
                    <a:pt x="943" y="891"/>
                  </a:lnTo>
                  <a:lnTo>
                    <a:pt x="947" y="889"/>
                  </a:lnTo>
                  <a:lnTo>
                    <a:pt x="949" y="889"/>
                  </a:lnTo>
                  <a:lnTo>
                    <a:pt x="953" y="887"/>
                  </a:lnTo>
                  <a:lnTo>
                    <a:pt x="953" y="883"/>
                  </a:lnTo>
                  <a:lnTo>
                    <a:pt x="956" y="879"/>
                  </a:lnTo>
                  <a:lnTo>
                    <a:pt x="958" y="879"/>
                  </a:lnTo>
                  <a:lnTo>
                    <a:pt x="960" y="876"/>
                  </a:lnTo>
                  <a:lnTo>
                    <a:pt x="962" y="879"/>
                  </a:lnTo>
                  <a:lnTo>
                    <a:pt x="964" y="876"/>
                  </a:lnTo>
                  <a:lnTo>
                    <a:pt x="966" y="876"/>
                  </a:lnTo>
                  <a:lnTo>
                    <a:pt x="968" y="876"/>
                  </a:lnTo>
                  <a:lnTo>
                    <a:pt x="968" y="870"/>
                  </a:lnTo>
                  <a:lnTo>
                    <a:pt x="968" y="868"/>
                  </a:lnTo>
                  <a:lnTo>
                    <a:pt x="972" y="864"/>
                  </a:lnTo>
                  <a:lnTo>
                    <a:pt x="972" y="862"/>
                  </a:lnTo>
                  <a:lnTo>
                    <a:pt x="975" y="862"/>
                  </a:lnTo>
                  <a:lnTo>
                    <a:pt x="977" y="864"/>
                  </a:lnTo>
                  <a:lnTo>
                    <a:pt x="981" y="862"/>
                  </a:lnTo>
                  <a:lnTo>
                    <a:pt x="981" y="861"/>
                  </a:lnTo>
                  <a:lnTo>
                    <a:pt x="983" y="862"/>
                  </a:lnTo>
                  <a:lnTo>
                    <a:pt x="983" y="866"/>
                  </a:lnTo>
                  <a:lnTo>
                    <a:pt x="981" y="868"/>
                  </a:lnTo>
                  <a:lnTo>
                    <a:pt x="981" y="870"/>
                  </a:lnTo>
                  <a:lnTo>
                    <a:pt x="983" y="870"/>
                  </a:lnTo>
                  <a:lnTo>
                    <a:pt x="987" y="870"/>
                  </a:lnTo>
                  <a:lnTo>
                    <a:pt x="990" y="870"/>
                  </a:lnTo>
                  <a:lnTo>
                    <a:pt x="990" y="876"/>
                  </a:lnTo>
                  <a:lnTo>
                    <a:pt x="988" y="879"/>
                  </a:lnTo>
                  <a:lnTo>
                    <a:pt x="987" y="879"/>
                  </a:lnTo>
                  <a:lnTo>
                    <a:pt x="987" y="883"/>
                  </a:lnTo>
                  <a:lnTo>
                    <a:pt x="988" y="883"/>
                  </a:lnTo>
                  <a:lnTo>
                    <a:pt x="990" y="883"/>
                  </a:lnTo>
                  <a:lnTo>
                    <a:pt x="992" y="883"/>
                  </a:lnTo>
                  <a:lnTo>
                    <a:pt x="992" y="883"/>
                  </a:lnTo>
                  <a:lnTo>
                    <a:pt x="996" y="883"/>
                  </a:lnTo>
                  <a:lnTo>
                    <a:pt x="998" y="885"/>
                  </a:lnTo>
                  <a:lnTo>
                    <a:pt x="1002" y="885"/>
                  </a:lnTo>
                  <a:lnTo>
                    <a:pt x="1002" y="887"/>
                  </a:lnTo>
                  <a:lnTo>
                    <a:pt x="1005" y="887"/>
                  </a:lnTo>
                  <a:lnTo>
                    <a:pt x="1007" y="891"/>
                  </a:lnTo>
                  <a:lnTo>
                    <a:pt x="1009" y="889"/>
                  </a:lnTo>
                  <a:lnTo>
                    <a:pt x="1011" y="885"/>
                  </a:lnTo>
                  <a:lnTo>
                    <a:pt x="1015" y="885"/>
                  </a:lnTo>
                  <a:lnTo>
                    <a:pt x="1017" y="883"/>
                  </a:lnTo>
                  <a:lnTo>
                    <a:pt x="1020" y="883"/>
                  </a:lnTo>
                  <a:lnTo>
                    <a:pt x="1020" y="879"/>
                  </a:lnTo>
                  <a:lnTo>
                    <a:pt x="1019" y="879"/>
                  </a:lnTo>
                  <a:lnTo>
                    <a:pt x="1017" y="876"/>
                  </a:lnTo>
                  <a:lnTo>
                    <a:pt x="1019" y="876"/>
                  </a:lnTo>
                  <a:lnTo>
                    <a:pt x="1020" y="874"/>
                  </a:lnTo>
                  <a:lnTo>
                    <a:pt x="1019" y="874"/>
                  </a:lnTo>
                  <a:lnTo>
                    <a:pt x="1017" y="870"/>
                  </a:lnTo>
                  <a:lnTo>
                    <a:pt x="1015" y="870"/>
                  </a:lnTo>
                  <a:lnTo>
                    <a:pt x="1015" y="874"/>
                  </a:lnTo>
                  <a:lnTo>
                    <a:pt x="1013" y="874"/>
                  </a:lnTo>
                  <a:lnTo>
                    <a:pt x="1013" y="874"/>
                  </a:lnTo>
                  <a:lnTo>
                    <a:pt x="1009" y="870"/>
                  </a:lnTo>
                  <a:lnTo>
                    <a:pt x="1009" y="870"/>
                  </a:lnTo>
                  <a:lnTo>
                    <a:pt x="1007" y="870"/>
                  </a:lnTo>
                  <a:lnTo>
                    <a:pt x="1005" y="870"/>
                  </a:lnTo>
                  <a:lnTo>
                    <a:pt x="998" y="870"/>
                  </a:lnTo>
                  <a:lnTo>
                    <a:pt x="998" y="870"/>
                  </a:lnTo>
                  <a:lnTo>
                    <a:pt x="1002" y="868"/>
                  </a:lnTo>
                  <a:lnTo>
                    <a:pt x="1002" y="868"/>
                  </a:lnTo>
                  <a:lnTo>
                    <a:pt x="1005" y="866"/>
                  </a:lnTo>
                  <a:lnTo>
                    <a:pt x="1005" y="864"/>
                  </a:lnTo>
                  <a:lnTo>
                    <a:pt x="1005" y="862"/>
                  </a:lnTo>
                  <a:lnTo>
                    <a:pt x="1005" y="859"/>
                  </a:lnTo>
                  <a:lnTo>
                    <a:pt x="1005" y="857"/>
                  </a:lnTo>
                  <a:lnTo>
                    <a:pt x="1005" y="853"/>
                  </a:lnTo>
                  <a:lnTo>
                    <a:pt x="1005" y="851"/>
                  </a:lnTo>
                  <a:lnTo>
                    <a:pt x="1005" y="849"/>
                  </a:lnTo>
                  <a:lnTo>
                    <a:pt x="998" y="846"/>
                  </a:lnTo>
                  <a:lnTo>
                    <a:pt x="992" y="844"/>
                  </a:lnTo>
                  <a:lnTo>
                    <a:pt x="992" y="840"/>
                  </a:lnTo>
                  <a:lnTo>
                    <a:pt x="992" y="838"/>
                  </a:lnTo>
                  <a:lnTo>
                    <a:pt x="990" y="838"/>
                  </a:lnTo>
                  <a:lnTo>
                    <a:pt x="988" y="834"/>
                  </a:lnTo>
                  <a:lnTo>
                    <a:pt x="990" y="830"/>
                  </a:lnTo>
                  <a:lnTo>
                    <a:pt x="988" y="827"/>
                  </a:lnTo>
                  <a:lnTo>
                    <a:pt x="983" y="827"/>
                  </a:lnTo>
                  <a:lnTo>
                    <a:pt x="977" y="825"/>
                  </a:lnTo>
                  <a:lnTo>
                    <a:pt x="975" y="821"/>
                  </a:lnTo>
                  <a:lnTo>
                    <a:pt x="977" y="819"/>
                  </a:lnTo>
                  <a:lnTo>
                    <a:pt x="977" y="819"/>
                  </a:lnTo>
                  <a:lnTo>
                    <a:pt x="973" y="815"/>
                  </a:lnTo>
                  <a:lnTo>
                    <a:pt x="973" y="814"/>
                  </a:lnTo>
                  <a:lnTo>
                    <a:pt x="972" y="814"/>
                  </a:lnTo>
                  <a:lnTo>
                    <a:pt x="968" y="815"/>
                  </a:lnTo>
                  <a:lnTo>
                    <a:pt x="968" y="819"/>
                  </a:lnTo>
                  <a:lnTo>
                    <a:pt x="968" y="821"/>
                  </a:lnTo>
                  <a:lnTo>
                    <a:pt x="966" y="819"/>
                  </a:lnTo>
                  <a:lnTo>
                    <a:pt x="966" y="815"/>
                  </a:lnTo>
                  <a:lnTo>
                    <a:pt x="964" y="814"/>
                  </a:lnTo>
                  <a:lnTo>
                    <a:pt x="966" y="812"/>
                  </a:lnTo>
                  <a:lnTo>
                    <a:pt x="968" y="812"/>
                  </a:lnTo>
                  <a:lnTo>
                    <a:pt x="968" y="812"/>
                  </a:lnTo>
                  <a:lnTo>
                    <a:pt x="968" y="808"/>
                  </a:lnTo>
                  <a:lnTo>
                    <a:pt x="968" y="806"/>
                  </a:lnTo>
                  <a:lnTo>
                    <a:pt x="968" y="802"/>
                  </a:lnTo>
                  <a:lnTo>
                    <a:pt x="966" y="802"/>
                  </a:lnTo>
                  <a:lnTo>
                    <a:pt x="966" y="800"/>
                  </a:lnTo>
                  <a:lnTo>
                    <a:pt x="968" y="797"/>
                  </a:lnTo>
                  <a:lnTo>
                    <a:pt x="966" y="797"/>
                  </a:lnTo>
                  <a:lnTo>
                    <a:pt x="958" y="798"/>
                  </a:lnTo>
                  <a:lnTo>
                    <a:pt x="955" y="802"/>
                  </a:lnTo>
                  <a:lnTo>
                    <a:pt x="953" y="810"/>
                  </a:lnTo>
                  <a:lnTo>
                    <a:pt x="949" y="815"/>
                  </a:lnTo>
                  <a:lnTo>
                    <a:pt x="949" y="815"/>
                  </a:lnTo>
                  <a:lnTo>
                    <a:pt x="947" y="819"/>
                  </a:lnTo>
                  <a:lnTo>
                    <a:pt x="947" y="821"/>
                  </a:lnTo>
                  <a:lnTo>
                    <a:pt x="943" y="829"/>
                  </a:lnTo>
                  <a:lnTo>
                    <a:pt x="943" y="830"/>
                  </a:lnTo>
                  <a:lnTo>
                    <a:pt x="943" y="832"/>
                  </a:lnTo>
                  <a:lnTo>
                    <a:pt x="941" y="836"/>
                  </a:lnTo>
                  <a:lnTo>
                    <a:pt x="941" y="838"/>
                  </a:lnTo>
                  <a:lnTo>
                    <a:pt x="936" y="844"/>
                  </a:lnTo>
                  <a:lnTo>
                    <a:pt x="936" y="846"/>
                  </a:lnTo>
                  <a:lnTo>
                    <a:pt x="936" y="849"/>
                  </a:lnTo>
                  <a:lnTo>
                    <a:pt x="934" y="851"/>
                  </a:lnTo>
                  <a:lnTo>
                    <a:pt x="934" y="857"/>
                  </a:lnTo>
                  <a:lnTo>
                    <a:pt x="932" y="861"/>
                  </a:lnTo>
                  <a:lnTo>
                    <a:pt x="926" y="861"/>
                  </a:lnTo>
                  <a:lnTo>
                    <a:pt x="923" y="862"/>
                  </a:lnTo>
                  <a:lnTo>
                    <a:pt x="923" y="866"/>
                  </a:lnTo>
                  <a:lnTo>
                    <a:pt x="919" y="874"/>
                  </a:lnTo>
                  <a:lnTo>
                    <a:pt x="919" y="876"/>
                  </a:lnTo>
                  <a:lnTo>
                    <a:pt x="919" y="876"/>
                  </a:lnTo>
                  <a:lnTo>
                    <a:pt x="919" y="876"/>
                  </a:lnTo>
                  <a:lnTo>
                    <a:pt x="919" y="876"/>
                  </a:lnTo>
                  <a:close/>
                  <a:moveTo>
                    <a:pt x="949" y="930"/>
                  </a:moveTo>
                  <a:lnTo>
                    <a:pt x="949" y="930"/>
                  </a:lnTo>
                  <a:lnTo>
                    <a:pt x="951" y="932"/>
                  </a:lnTo>
                  <a:lnTo>
                    <a:pt x="951" y="930"/>
                  </a:lnTo>
                  <a:lnTo>
                    <a:pt x="955" y="927"/>
                  </a:lnTo>
                  <a:lnTo>
                    <a:pt x="958" y="927"/>
                  </a:lnTo>
                  <a:lnTo>
                    <a:pt x="960" y="927"/>
                  </a:lnTo>
                  <a:lnTo>
                    <a:pt x="960" y="928"/>
                  </a:lnTo>
                  <a:lnTo>
                    <a:pt x="962" y="928"/>
                  </a:lnTo>
                  <a:lnTo>
                    <a:pt x="968" y="925"/>
                  </a:lnTo>
                  <a:lnTo>
                    <a:pt x="972" y="925"/>
                  </a:lnTo>
                  <a:lnTo>
                    <a:pt x="973" y="921"/>
                  </a:lnTo>
                  <a:lnTo>
                    <a:pt x="975" y="917"/>
                  </a:lnTo>
                  <a:lnTo>
                    <a:pt x="981" y="917"/>
                  </a:lnTo>
                  <a:lnTo>
                    <a:pt x="983" y="913"/>
                  </a:lnTo>
                  <a:lnTo>
                    <a:pt x="983" y="913"/>
                  </a:lnTo>
                  <a:lnTo>
                    <a:pt x="987" y="910"/>
                  </a:lnTo>
                  <a:lnTo>
                    <a:pt x="985" y="908"/>
                  </a:lnTo>
                  <a:lnTo>
                    <a:pt x="983" y="908"/>
                  </a:lnTo>
                  <a:lnTo>
                    <a:pt x="981" y="908"/>
                  </a:lnTo>
                  <a:lnTo>
                    <a:pt x="977" y="908"/>
                  </a:lnTo>
                  <a:lnTo>
                    <a:pt x="975" y="908"/>
                  </a:lnTo>
                  <a:lnTo>
                    <a:pt x="973" y="908"/>
                  </a:lnTo>
                  <a:lnTo>
                    <a:pt x="972" y="908"/>
                  </a:lnTo>
                  <a:lnTo>
                    <a:pt x="968" y="910"/>
                  </a:lnTo>
                  <a:lnTo>
                    <a:pt x="968" y="910"/>
                  </a:lnTo>
                  <a:lnTo>
                    <a:pt x="966" y="904"/>
                  </a:lnTo>
                  <a:lnTo>
                    <a:pt x="964" y="904"/>
                  </a:lnTo>
                  <a:lnTo>
                    <a:pt x="962" y="908"/>
                  </a:lnTo>
                  <a:lnTo>
                    <a:pt x="956" y="913"/>
                  </a:lnTo>
                  <a:lnTo>
                    <a:pt x="956" y="913"/>
                  </a:lnTo>
                  <a:lnTo>
                    <a:pt x="955" y="915"/>
                  </a:lnTo>
                  <a:lnTo>
                    <a:pt x="949" y="917"/>
                  </a:lnTo>
                  <a:lnTo>
                    <a:pt x="947" y="919"/>
                  </a:lnTo>
                  <a:lnTo>
                    <a:pt x="949" y="921"/>
                  </a:lnTo>
                  <a:lnTo>
                    <a:pt x="951" y="925"/>
                  </a:lnTo>
                  <a:lnTo>
                    <a:pt x="949" y="927"/>
                  </a:lnTo>
                  <a:lnTo>
                    <a:pt x="949" y="930"/>
                  </a:lnTo>
                  <a:lnTo>
                    <a:pt x="949" y="930"/>
                  </a:lnTo>
                  <a:lnTo>
                    <a:pt x="949" y="930"/>
                  </a:lnTo>
                  <a:lnTo>
                    <a:pt x="949" y="930"/>
                  </a:lnTo>
                  <a:close/>
                  <a:moveTo>
                    <a:pt x="1246" y="955"/>
                  </a:moveTo>
                  <a:lnTo>
                    <a:pt x="1246" y="955"/>
                  </a:lnTo>
                  <a:lnTo>
                    <a:pt x="1252" y="955"/>
                  </a:lnTo>
                  <a:lnTo>
                    <a:pt x="1254" y="959"/>
                  </a:lnTo>
                  <a:lnTo>
                    <a:pt x="1256" y="957"/>
                  </a:lnTo>
                  <a:lnTo>
                    <a:pt x="1256" y="955"/>
                  </a:lnTo>
                  <a:lnTo>
                    <a:pt x="1258" y="953"/>
                  </a:lnTo>
                  <a:lnTo>
                    <a:pt x="1258" y="951"/>
                  </a:lnTo>
                  <a:lnTo>
                    <a:pt x="1256" y="951"/>
                  </a:lnTo>
                  <a:lnTo>
                    <a:pt x="1252" y="951"/>
                  </a:lnTo>
                  <a:lnTo>
                    <a:pt x="1248" y="953"/>
                  </a:lnTo>
                  <a:lnTo>
                    <a:pt x="1246" y="955"/>
                  </a:lnTo>
                  <a:lnTo>
                    <a:pt x="1246" y="955"/>
                  </a:lnTo>
                  <a:lnTo>
                    <a:pt x="1246" y="955"/>
                  </a:lnTo>
                  <a:lnTo>
                    <a:pt x="1246" y="955"/>
                  </a:lnTo>
                  <a:close/>
                  <a:moveTo>
                    <a:pt x="1154" y="930"/>
                  </a:moveTo>
                  <a:lnTo>
                    <a:pt x="1156" y="930"/>
                  </a:lnTo>
                  <a:lnTo>
                    <a:pt x="1160" y="932"/>
                  </a:lnTo>
                  <a:lnTo>
                    <a:pt x="1160" y="934"/>
                  </a:lnTo>
                  <a:lnTo>
                    <a:pt x="1160" y="934"/>
                  </a:lnTo>
                  <a:lnTo>
                    <a:pt x="1160" y="938"/>
                  </a:lnTo>
                  <a:lnTo>
                    <a:pt x="1164" y="938"/>
                  </a:lnTo>
                  <a:lnTo>
                    <a:pt x="1164" y="938"/>
                  </a:lnTo>
                  <a:lnTo>
                    <a:pt x="1167" y="938"/>
                  </a:lnTo>
                  <a:lnTo>
                    <a:pt x="1167" y="938"/>
                  </a:lnTo>
                  <a:lnTo>
                    <a:pt x="1167" y="938"/>
                  </a:lnTo>
                  <a:lnTo>
                    <a:pt x="1167" y="934"/>
                  </a:lnTo>
                  <a:lnTo>
                    <a:pt x="1164" y="934"/>
                  </a:lnTo>
                  <a:lnTo>
                    <a:pt x="1164" y="932"/>
                  </a:lnTo>
                  <a:lnTo>
                    <a:pt x="1160" y="932"/>
                  </a:lnTo>
                  <a:lnTo>
                    <a:pt x="1158" y="930"/>
                  </a:lnTo>
                  <a:lnTo>
                    <a:pt x="1156" y="930"/>
                  </a:lnTo>
                  <a:lnTo>
                    <a:pt x="1154" y="930"/>
                  </a:lnTo>
                  <a:lnTo>
                    <a:pt x="1154" y="930"/>
                  </a:lnTo>
                  <a:lnTo>
                    <a:pt x="1154" y="930"/>
                  </a:lnTo>
                  <a:lnTo>
                    <a:pt x="1154" y="930"/>
                  </a:lnTo>
                  <a:close/>
                  <a:moveTo>
                    <a:pt x="1243" y="977"/>
                  </a:moveTo>
                  <a:lnTo>
                    <a:pt x="1241" y="977"/>
                  </a:lnTo>
                  <a:lnTo>
                    <a:pt x="1241" y="974"/>
                  </a:lnTo>
                  <a:lnTo>
                    <a:pt x="1239" y="972"/>
                  </a:lnTo>
                  <a:lnTo>
                    <a:pt x="1239" y="972"/>
                  </a:lnTo>
                  <a:lnTo>
                    <a:pt x="1241" y="968"/>
                  </a:lnTo>
                  <a:lnTo>
                    <a:pt x="1243" y="972"/>
                  </a:lnTo>
                  <a:lnTo>
                    <a:pt x="1243" y="972"/>
                  </a:lnTo>
                  <a:lnTo>
                    <a:pt x="1243" y="974"/>
                  </a:lnTo>
                  <a:lnTo>
                    <a:pt x="1243" y="977"/>
                  </a:lnTo>
                  <a:lnTo>
                    <a:pt x="1243" y="977"/>
                  </a:lnTo>
                  <a:lnTo>
                    <a:pt x="1243" y="977"/>
                  </a:lnTo>
                  <a:lnTo>
                    <a:pt x="1243" y="977"/>
                  </a:lnTo>
                  <a:lnTo>
                    <a:pt x="1243" y="977"/>
                  </a:lnTo>
                  <a:close/>
                  <a:moveTo>
                    <a:pt x="1241" y="989"/>
                  </a:moveTo>
                  <a:lnTo>
                    <a:pt x="1239" y="989"/>
                  </a:lnTo>
                  <a:lnTo>
                    <a:pt x="1239" y="987"/>
                  </a:lnTo>
                  <a:lnTo>
                    <a:pt x="1237" y="985"/>
                  </a:lnTo>
                  <a:lnTo>
                    <a:pt x="1235" y="985"/>
                  </a:lnTo>
                  <a:lnTo>
                    <a:pt x="1233" y="981"/>
                  </a:lnTo>
                  <a:lnTo>
                    <a:pt x="1233" y="979"/>
                  </a:lnTo>
                  <a:lnTo>
                    <a:pt x="1235" y="979"/>
                  </a:lnTo>
                  <a:lnTo>
                    <a:pt x="1237" y="977"/>
                  </a:lnTo>
                  <a:lnTo>
                    <a:pt x="1243" y="979"/>
                  </a:lnTo>
                  <a:lnTo>
                    <a:pt x="1246" y="981"/>
                  </a:lnTo>
                  <a:lnTo>
                    <a:pt x="1246" y="983"/>
                  </a:lnTo>
                  <a:lnTo>
                    <a:pt x="1243" y="985"/>
                  </a:lnTo>
                  <a:lnTo>
                    <a:pt x="1243" y="987"/>
                  </a:lnTo>
                  <a:lnTo>
                    <a:pt x="1243" y="987"/>
                  </a:lnTo>
                  <a:lnTo>
                    <a:pt x="1241" y="989"/>
                  </a:lnTo>
                  <a:lnTo>
                    <a:pt x="1241" y="989"/>
                  </a:lnTo>
                  <a:lnTo>
                    <a:pt x="1241" y="989"/>
                  </a:lnTo>
                  <a:lnTo>
                    <a:pt x="1241" y="989"/>
                  </a:lnTo>
                  <a:lnTo>
                    <a:pt x="1241" y="989"/>
                  </a:lnTo>
                  <a:close/>
                  <a:moveTo>
                    <a:pt x="1148" y="1045"/>
                  </a:moveTo>
                  <a:lnTo>
                    <a:pt x="1148" y="1047"/>
                  </a:lnTo>
                  <a:lnTo>
                    <a:pt x="1148" y="1047"/>
                  </a:lnTo>
                  <a:lnTo>
                    <a:pt x="1148" y="1045"/>
                  </a:lnTo>
                  <a:lnTo>
                    <a:pt x="1148" y="1045"/>
                  </a:lnTo>
                  <a:lnTo>
                    <a:pt x="1148" y="1045"/>
                  </a:lnTo>
                  <a:lnTo>
                    <a:pt x="1148" y="1045"/>
                  </a:lnTo>
                  <a:close/>
                  <a:moveTo>
                    <a:pt x="1150" y="1045"/>
                  </a:moveTo>
                  <a:lnTo>
                    <a:pt x="1150" y="1049"/>
                  </a:lnTo>
                  <a:lnTo>
                    <a:pt x="1150" y="1049"/>
                  </a:lnTo>
                  <a:lnTo>
                    <a:pt x="1150" y="1045"/>
                  </a:lnTo>
                  <a:lnTo>
                    <a:pt x="1150" y="1045"/>
                  </a:lnTo>
                  <a:lnTo>
                    <a:pt x="1150" y="1045"/>
                  </a:lnTo>
                  <a:lnTo>
                    <a:pt x="1150" y="1045"/>
                  </a:lnTo>
                  <a:close/>
                  <a:moveTo>
                    <a:pt x="1152" y="1045"/>
                  </a:moveTo>
                  <a:lnTo>
                    <a:pt x="1152" y="1047"/>
                  </a:lnTo>
                  <a:lnTo>
                    <a:pt x="1152" y="1051"/>
                  </a:lnTo>
                  <a:lnTo>
                    <a:pt x="1152" y="1053"/>
                  </a:lnTo>
                  <a:lnTo>
                    <a:pt x="1154" y="1053"/>
                  </a:lnTo>
                  <a:lnTo>
                    <a:pt x="1154" y="1049"/>
                  </a:lnTo>
                  <a:lnTo>
                    <a:pt x="1152" y="1045"/>
                  </a:lnTo>
                  <a:lnTo>
                    <a:pt x="1152" y="1045"/>
                  </a:lnTo>
                  <a:lnTo>
                    <a:pt x="1152" y="1045"/>
                  </a:lnTo>
                  <a:lnTo>
                    <a:pt x="1152" y="1045"/>
                  </a:lnTo>
                  <a:close/>
                  <a:moveTo>
                    <a:pt x="1177" y="1019"/>
                  </a:moveTo>
                  <a:lnTo>
                    <a:pt x="1177" y="1015"/>
                  </a:lnTo>
                  <a:lnTo>
                    <a:pt x="1177" y="1013"/>
                  </a:lnTo>
                  <a:lnTo>
                    <a:pt x="1179" y="1011"/>
                  </a:lnTo>
                  <a:lnTo>
                    <a:pt x="1179" y="1009"/>
                  </a:lnTo>
                  <a:lnTo>
                    <a:pt x="1184" y="1006"/>
                  </a:lnTo>
                  <a:lnTo>
                    <a:pt x="1188" y="1006"/>
                  </a:lnTo>
                  <a:lnTo>
                    <a:pt x="1188" y="1006"/>
                  </a:lnTo>
                  <a:lnTo>
                    <a:pt x="1188" y="1008"/>
                  </a:lnTo>
                  <a:lnTo>
                    <a:pt x="1188" y="1009"/>
                  </a:lnTo>
                  <a:lnTo>
                    <a:pt x="1188" y="1011"/>
                  </a:lnTo>
                  <a:lnTo>
                    <a:pt x="1184" y="1013"/>
                  </a:lnTo>
                  <a:lnTo>
                    <a:pt x="1184" y="1015"/>
                  </a:lnTo>
                  <a:lnTo>
                    <a:pt x="1182" y="1015"/>
                  </a:lnTo>
                  <a:lnTo>
                    <a:pt x="1179" y="1019"/>
                  </a:lnTo>
                  <a:lnTo>
                    <a:pt x="1177" y="1019"/>
                  </a:lnTo>
                  <a:lnTo>
                    <a:pt x="1177" y="1019"/>
                  </a:lnTo>
                  <a:lnTo>
                    <a:pt x="1177" y="1019"/>
                  </a:lnTo>
                  <a:lnTo>
                    <a:pt x="1177" y="1019"/>
                  </a:lnTo>
                  <a:close/>
                  <a:moveTo>
                    <a:pt x="1096" y="927"/>
                  </a:moveTo>
                  <a:lnTo>
                    <a:pt x="1100" y="928"/>
                  </a:lnTo>
                  <a:lnTo>
                    <a:pt x="1101" y="930"/>
                  </a:lnTo>
                  <a:lnTo>
                    <a:pt x="1105" y="932"/>
                  </a:lnTo>
                  <a:lnTo>
                    <a:pt x="1109" y="932"/>
                  </a:lnTo>
                  <a:lnTo>
                    <a:pt x="1105" y="932"/>
                  </a:lnTo>
                  <a:lnTo>
                    <a:pt x="1105" y="930"/>
                  </a:lnTo>
                  <a:lnTo>
                    <a:pt x="1100" y="927"/>
                  </a:lnTo>
                  <a:lnTo>
                    <a:pt x="1098" y="927"/>
                  </a:lnTo>
                  <a:lnTo>
                    <a:pt x="1096" y="927"/>
                  </a:lnTo>
                  <a:lnTo>
                    <a:pt x="1096" y="927"/>
                  </a:lnTo>
                  <a:lnTo>
                    <a:pt x="1096" y="927"/>
                  </a:lnTo>
                  <a:lnTo>
                    <a:pt x="1096" y="927"/>
                  </a:lnTo>
                  <a:close/>
                  <a:moveTo>
                    <a:pt x="1069" y="902"/>
                  </a:moveTo>
                  <a:lnTo>
                    <a:pt x="1069" y="902"/>
                  </a:lnTo>
                  <a:lnTo>
                    <a:pt x="1071" y="902"/>
                  </a:lnTo>
                  <a:lnTo>
                    <a:pt x="1073" y="904"/>
                  </a:lnTo>
                  <a:lnTo>
                    <a:pt x="1075" y="902"/>
                  </a:lnTo>
                  <a:lnTo>
                    <a:pt x="1075" y="902"/>
                  </a:lnTo>
                  <a:lnTo>
                    <a:pt x="1077" y="902"/>
                  </a:lnTo>
                  <a:lnTo>
                    <a:pt x="1077" y="900"/>
                  </a:lnTo>
                  <a:lnTo>
                    <a:pt x="1075" y="898"/>
                  </a:lnTo>
                  <a:lnTo>
                    <a:pt x="1077" y="896"/>
                  </a:lnTo>
                  <a:lnTo>
                    <a:pt x="1077" y="896"/>
                  </a:lnTo>
                  <a:lnTo>
                    <a:pt x="1073" y="893"/>
                  </a:lnTo>
                  <a:lnTo>
                    <a:pt x="1071" y="893"/>
                  </a:lnTo>
                  <a:lnTo>
                    <a:pt x="1069" y="891"/>
                  </a:lnTo>
                  <a:lnTo>
                    <a:pt x="1069" y="891"/>
                  </a:lnTo>
                  <a:lnTo>
                    <a:pt x="1068" y="891"/>
                  </a:lnTo>
                  <a:lnTo>
                    <a:pt x="1066" y="889"/>
                  </a:lnTo>
                  <a:lnTo>
                    <a:pt x="1064" y="891"/>
                  </a:lnTo>
                  <a:lnTo>
                    <a:pt x="1062" y="891"/>
                  </a:lnTo>
                  <a:lnTo>
                    <a:pt x="1064" y="895"/>
                  </a:lnTo>
                  <a:lnTo>
                    <a:pt x="1064" y="895"/>
                  </a:lnTo>
                  <a:lnTo>
                    <a:pt x="1066" y="895"/>
                  </a:lnTo>
                  <a:lnTo>
                    <a:pt x="1068" y="896"/>
                  </a:lnTo>
                  <a:lnTo>
                    <a:pt x="1069" y="898"/>
                  </a:lnTo>
                  <a:lnTo>
                    <a:pt x="1069" y="902"/>
                  </a:lnTo>
                  <a:lnTo>
                    <a:pt x="1069" y="902"/>
                  </a:lnTo>
                  <a:lnTo>
                    <a:pt x="1069" y="902"/>
                  </a:lnTo>
                  <a:lnTo>
                    <a:pt x="1069" y="902"/>
                  </a:lnTo>
                  <a:close/>
                  <a:moveTo>
                    <a:pt x="1051" y="910"/>
                  </a:moveTo>
                  <a:lnTo>
                    <a:pt x="1054" y="910"/>
                  </a:lnTo>
                  <a:lnTo>
                    <a:pt x="1056" y="910"/>
                  </a:lnTo>
                  <a:lnTo>
                    <a:pt x="1056" y="910"/>
                  </a:lnTo>
                  <a:lnTo>
                    <a:pt x="1060" y="908"/>
                  </a:lnTo>
                  <a:lnTo>
                    <a:pt x="1060" y="904"/>
                  </a:lnTo>
                  <a:lnTo>
                    <a:pt x="1060" y="904"/>
                  </a:lnTo>
                  <a:lnTo>
                    <a:pt x="1060" y="900"/>
                  </a:lnTo>
                  <a:lnTo>
                    <a:pt x="1056" y="898"/>
                  </a:lnTo>
                  <a:lnTo>
                    <a:pt x="1051" y="898"/>
                  </a:lnTo>
                  <a:lnTo>
                    <a:pt x="1051" y="896"/>
                  </a:lnTo>
                  <a:lnTo>
                    <a:pt x="1049" y="895"/>
                  </a:lnTo>
                  <a:lnTo>
                    <a:pt x="1047" y="895"/>
                  </a:lnTo>
                  <a:lnTo>
                    <a:pt x="1045" y="895"/>
                  </a:lnTo>
                  <a:lnTo>
                    <a:pt x="1043" y="895"/>
                  </a:lnTo>
                  <a:lnTo>
                    <a:pt x="1041" y="896"/>
                  </a:lnTo>
                  <a:lnTo>
                    <a:pt x="1043" y="900"/>
                  </a:lnTo>
                  <a:lnTo>
                    <a:pt x="1045" y="902"/>
                  </a:lnTo>
                  <a:lnTo>
                    <a:pt x="1047" y="904"/>
                  </a:lnTo>
                  <a:lnTo>
                    <a:pt x="1049" y="908"/>
                  </a:lnTo>
                  <a:lnTo>
                    <a:pt x="1049" y="910"/>
                  </a:lnTo>
                  <a:lnTo>
                    <a:pt x="1051" y="910"/>
                  </a:lnTo>
                  <a:lnTo>
                    <a:pt x="1051" y="910"/>
                  </a:lnTo>
                  <a:lnTo>
                    <a:pt x="1051" y="910"/>
                  </a:lnTo>
                  <a:lnTo>
                    <a:pt x="1051" y="910"/>
                  </a:lnTo>
                  <a:close/>
                  <a:moveTo>
                    <a:pt x="1047" y="927"/>
                  </a:moveTo>
                  <a:lnTo>
                    <a:pt x="1047" y="927"/>
                  </a:lnTo>
                  <a:lnTo>
                    <a:pt x="1049" y="925"/>
                  </a:lnTo>
                  <a:lnTo>
                    <a:pt x="1043" y="925"/>
                  </a:lnTo>
                  <a:lnTo>
                    <a:pt x="1043" y="925"/>
                  </a:lnTo>
                  <a:lnTo>
                    <a:pt x="1043" y="927"/>
                  </a:lnTo>
                  <a:lnTo>
                    <a:pt x="1047" y="927"/>
                  </a:lnTo>
                  <a:lnTo>
                    <a:pt x="1047" y="927"/>
                  </a:lnTo>
                  <a:lnTo>
                    <a:pt x="1047" y="927"/>
                  </a:lnTo>
                  <a:lnTo>
                    <a:pt x="1047" y="927"/>
                  </a:lnTo>
                  <a:close/>
                  <a:moveTo>
                    <a:pt x="1005" y="955"/>
                  </a:moveTo>
                  <a:lnTo>
                    <a:pt x="1005" y="955"/>
                  </a:lnTo>
                  <a:lnTo>
                    <a:pt x="1007" y="953"/>
                  </a:lnTo>
                  <a:lnTo>
                    <a:pt x="1007" y="951"/>
                  </a:lnTo>
                  <a:lnTo>
                    <a:pt x="1009" y="949"/>
                  </a:lnTo>
                  <a:lnTo>
                    <a:pt x="1009" y="949"/>
                  </a:lnTo>
                  <a:lnTo>
                    <a:pt x="1009" y="947"/>
                  </a:lnTo>
                  <a:lnTo>
                    <a:pt x="1009" y="945"/>
                  </a:lnTo>
                  <a:lnTo>
                    <a:pt x="1013" y="943"/>
                  </a:lnTo>
                  <a:lnTo>
                    <a:pt x="1015" y="940"/>
                  </a:lnTo>
                  <a:lnTo>
                    <a:pt x="1017" y="940"/>
                  </a:lnTo>
                  <a:lnTo>
                    <a:pt x="1019" y="938"/>
                  </a:lnTo>
                  <a:lnTo>
                    <a:pt x="1017" y="938"/>
                  </a:lnTo>
                  <a:lnTo>
                    <a:pt x="1017" y="934"/>
                  </a:lnTo>
                  <a:lnTo>
                    <a:pt x="1019" y="934"/>
                  </a:lnTo>
                  <a:lnTo>
                    <a:pt x="1020" y="932"/>
                  </a:lnTo>
                  <a:lnTo>
                    <a:pt x="1020" y="930"/>
                  </a:lnTo>
                  <a:lnTo>
                    <a:pt x="1020" y="928"/>
                  </a:lnTo>
                  <a:lnTo>
                    <a:pt x="1019" y="927"/>
                  </a:lnTo>
                  <a:lnTo>
                    <a:pt x="1017" y="927"/>
                  </a:lnTo>
                  <a:lnTo>
                    <a:pt x="1015" y="927"/>
                  </a:lnTo>
                  <a:lnTo>
                    <a:pt x="1013" y="925"/>
                  </a:lnTo>
                  <a:lnTo>
                    <a:pt x="1011" y="925"/>
                  </a:lnTo>
                  <a:lnTo>
                    <a:pt x="1011" y="927"/>
                  </a:lnTo>
                  <a:lnTo>
                    <a:pt x="1007" y="930"/>
                  </a:lnTo>
                  <a:lnTo>
                    <a:pt x="1005" y="930"/>
                  </a:lnTo>
                  <a:lnTo>
                    <a:pt x="1005" y="932"/>
                  </a:lnTo>
                  <a:lnTo>
                    <a:pt x="1002" y="934"/>
                  </a:lnTo>
                  <a:lnTo>
                    <a:pt x="1005" y="938"/>
                  </a:lnTo>
                  <a:lnTo>
                    <a:pt x="1002" y="938"/>
                  </a:lnTo>
                  <a:lnTo>
                    <a:pt x="1002" y="943"/>
                  </a:lnTo>
                  <a:lnTo>
                    <a:pt x="1002" y="943"/>
                  </a:lnTo>
                  <a:lnTo>
                    <a:pt x="998" y="947"/>
                  </a:lnTo>
                  <a:lnTo>
                    <a:pt x="1002" y="947"/>
                  </a:lnTo>
                  <a:lnTo>
                    <a:pt x="1002" y="949"/>
                  </a:lnTo>
                  <a:lnTo>
                    <a:pt x="1005" y="951"/>
                  </a:lnTo>
                  <a:lnTo>
                    <a:pt x="1005" y="951"/>
                  </a:lnTo>
                  <a:lnTo>
                    <a:pt x="1005" y="955"/>
                  </a:lnTo>
                  <a:lnTo>
                    <a:pt x="1005" y="955"/>
                  </a:lnTo>
                  <a:lnTo>
                    <a:pt x="1005" y="955"/>
                  </a:lnTo>
                  <a:lnTo>
                    <a:pt x="1005" y="955"/>
                  </a:lnTo>
                  <a:close/>
                  <a:moveTo>
                    <a:pt x="968" y="1111"/>
                  </a:moveTo>
                  <a:lnTo>
                    <a:pt x="968" y="1111"/>
                  </a:lnTo>
                  <a:lnTo>
                    <a:pt x="972" y="1111"/>
                  </a:lnTo>
                  <a:lnTo>
                    <a:pt x="972" y="1109"/>
                  </a:lnTo>
                  <a:lnTo>
                    <a:pt x="968" y="1111"/>
                  </a:lnTo>
                  <a:lnTo>
                    <a:pt x="968" y="1111"/>
                  </a:lnTo>
                  <a:lnTo>
                    <a:pt x="968" y="1111"/>
                  </a:lnTo>
                  <a:lnTo>
                    <a:pt x="968" y="1111"/>
                  </a:lnTo>
                  <a:close/>
                  <a:moveTo>
                    <a:pt x="972" y="1126"/>
                  </a:moveTo>
                  <a:lnTo>
                    <a:pt x="973" y="1122"/>
                  </a:lnTo>
                  <a:lnTo>
                    <a:pt x="973" y="1121"/>
                  </a:lnTo>
                  <a:lnTo>
                    <a:pt x="975" y="1121"/>
                  </a:lnTo>
                  <a:lnTo>
                    <a:pt x="975" y="1122"/>
                  </a:lnTo>
                  <a:lnTo>
                    <a:pt x="972" y="1126"/>
                  </a:lnTo>
                  <a:lnTo>
                    <a:pt x="972" y="1126"/>
                  </a:lnTo>
                  <a:lnTo>
                    <a:pt x="972" y="1126"/>
                  </a:lnTo>
                  <a:lnTo>
                    <a:pt x="972" y="1126"/>
                  </a:lnTo>
                  <a:lnTo>
                    <a:pt x="972" y="1126"/>
                  </a:lnTo>
                  <a:lnTo>
                    <a:pt x="972" y="1126"/>
                  </a:lnTo>
                  <a:close/>
                  <a:moveTo>
                    <a:pt x="949" y="1121"/>
                  </a:moveTo>
                  <a:lnTo>
                    <a:pt x="951" y="1117"/>
                  </a:lnTo>
                  <a:lnTo>
                    <a:pt x="953" y="1117"/>
                  </a:lnTo>
                  <a:lnTo>
                    <a:pt x="955" y="1117"/>
                  </a:lnTo>
                  <a:lnTo>
                    <a:pt x="956" y="1117"/>
                  </a:lnTo>
                  <a:lnTo>
                    <a:pt x="958" y="1115"/>
                  </a:lnTo>
                  <a:lnTo>
                    <a:pt x="960" y="1113"/>
                  </a:lnTo>
                  <a:lnTo>
                    <a:pt x="958" y="1117"/>
                  </a:lnTo>
                  <a:lnTo>
                    <a:pt x="953" y="1121"/>
                  </a:lnTo>
                  <a:lnTo>
                    <a:pt x="949" y="1121"/>
                  </a:lnTo>
                  <a:lnTo>
                    <a:pt x="949" y="1121"/>
                  </a:lnTo>
                  <a:lnTo>
                    <a:pt x="949" y="1121"/>
                  </a:lnTo>
                  <a:lnTo>
                    <a:pt x="949" y="1121"/>
                  </a:lnTo>
                  <a:lnTo>
                    <a:pt x="949" y="1121"/>
                  </a:lnTo>
                  <a:close/>
                  <a:moveTo>
                    <a:pt x="964" y="1128"/>
                  </a:moveTo>
                  <a:lnTo>
                    <a:pt x="968" y="1121"/>
                  </a:lnTo>
                  <a:lnTo>
                    <a:pt x="968" y="1121"/>
                  </a:lnTo>
                  <a:lnTo>
                    <a:pt x="972" y="1121"/>
                  </a:lnTo>
                  <a:lnTo>
                    <a:pt x="972" y="1121"/>
                  </a:lnTo>
                  <a:lnTo>
                    <a:pt x="966" y="1126"/>
                  </a:lnTo>
                  <a:lnTo>
                    <a:pt x="966" y="1130"/>
                  </a:lnTo>
                  <a:lnTo>
                    <a:pt x="968" y="1128"/>
                  </a:lnTo>
                  <a:lnTo>
                    <a:pt x="972" y="1122"/>
                  </a:lnTo>
                  <a:lnTo>
                    <a:pt x="972" y="1121"/>
                  </a:lnTo>
                  <a:lnTo>
                    <a:pt x="972" y="1117"/>
                  </a:lnTo>
                  <a:lnTo>
                    <a:pt x="972" y="1117"/>
                  </a:lnTo>
                  <a:lnTo>
                    <a:pt x="972" y="1117"/>
                  </a:lnTo>
                  <a:lnTo>
                    <a:pt x="972" y="1115"/>
                  </a:lnTo>
                  <a:lnTo>
                    <a:pt x="968" y="1113"/>
                  </a:lnTo>
                  <a:lnTo>
                    <a:pt x="968" y="1115"/>
                  </a:lnTo>
                  <a:lnTo>
                    <a:pt x="966" y="1121"/>
                  </a:lnTo>
                  <a:lnTo>
                    <a:pt x="962" y="1121"/>
                  </a:lnTo>
                  <a:lnTo>
                    <a:pt x="960" y="1122"/>
                  </a:lnTo>
                  <a:lnTo>
                    <a:pt x="960" y="1121"/>
                  </a:lnTo>
                  <a:lnTo>
                    <a:pt x="964" y="1117"/>
                  </a:lnTo>
                  <a:lnTo>
                    <a:pt x="964" y="1115"/>
                  </a:lnTo>
                  <a:lnTo>
                    <a:pt x="964" y="1115"/>
                  </a:lnTo>
                  <a:lnTo>
                    <a:pt x="962" y="1117"/>
                  </a:lnTo>
                  <a:lnTo>
                    <a:pt x="958" y="1121"/>
                  </a:lnTo>
                  <a:lnTo>
                    <a:pt x="955" y="1126"/>
                  </a:lnTo>
                  <a:lnTo>
                    <a:pt x="955" y="1126"/>
                  </a:lnTo>
                  <a:lnTo>
                    <a:pt x="951" y="1130"/>
                  </a:lnTo>
                  <a:lnTo>
                    <a:pt x="953" y="1132"/>
                  </a:lnTo>
                  <a:lnTo>
                    <a:pt x="953" y="1132"/>
                  </a:lnTo>
                  <a:lnTo>
                    <a:pt x="956" y="1126"/>
                  </a:lnTo>
                  <a:lnTo>
                    <a:pt x="960" y="1126"/>
                  </a:lnTo>
                  <a:lnTo>
                    <a:pt x="958" y="1128"/>
                  </a:lnTo>
                  <a:lnTo>
                    <a:pt x="956" y="1132"/>
                  </a:lnTo>
                  <a:lnTo>
                    <a:pt x="956" y="1132"/>
                  </a:lnTo>
                  <a:lnTo>
                    <a:pt x="960" y="1130"/>
                  </a:lnTo>
                  <a:lnTo>
                    <a:pt x="962" y="1130"/>
                  </a:lnTo>
                  <a:lnTo>
                    <a:pt x="962" y="1130"/>
                  </a:lnTo>
                  <a:lnTo>
                    <a:pt x="964" y="1128"/>
                  </a:lnTo>
                  <a:lnTo>
                    <a:pt x="964" y="1128"/>
                  </a:lnTo>
                  <a:lnTo>
                    <a:pt x="964" y="1128"/>
                  </a:lnTo>
                  <a:lnTo>
                    <a:pt x="964" y="1128"/>
                  </a:lnTo>
                  <a:close/>
                  <a:moveTo>
                    <a:pt x="960" y="1128"/>
                  </a:moveTo>
                  <a:lnTo>
                    <a:pt x="962" y="1126"/>
                  </a:lnTo>
                  <a:lnTo>
                    <a:pt x="966" y="1121"/>
                  </a:lnTo>
                  <a:lnTo>
                    <a:pt x="964" y="1126"/>
                  </a:lnTo>
                  <a:lnTo>
                    <a:pt x="962" y="1126"/>
                  </a:lnTo>
                  <a:lnTo>
                    <a:pt x="960" y="1128"/>
                  </a:lnTo>
                  <a:lnTo>
                    <a:pt x="960" y="1128"/>
                  </a:lnTo>
                  <a:lnTo>
                    <a:pt x="960" y="1128"/>
                  </a:lnTo>
                  <a:lnTo>
                    <a:pt x="960" y="1128"/>
                  </a:lnTo>
                  <a:close/>
                  <a:moveTo>
                    <a:pt x="1209" y="1382"/>
                  </a:moveTo>
                  <a:lnTo>
                    <a:pt x="1209" y="1382"/>
                  </a:lnTo>
                  <a:lnTo>
                    <a:pt x="1207" y="1380"/>
                  </a:lnTo>
                  <a:lnTo>
                    <a:pt x="1209" y="1380"/>
                  </a:lnTo>
                  <a:lnTo>
                    <a:pt x="1209" y="1377"/>
                  </a:lnTo>
                  <a:lnTo>
                    <a:pt x="1212" y="1375"/>
                  </a:lnTo>
                  <a:lnTo>
                    <a:pt x="1212" y="1375"/>
                  </a:lnTo>
                  <a:lnTo>
                    <a:pt x="1212" y="1375"/>
                  </a:lnTo>
                  <a:lnTo>
                    <a:pt x="1212" y="1375"/>
                  </a:lnTo>
                  <a:lnTo>
                    <a:pt x="1209" y="1377"/>
                  </a:lnTo>
                  <a:lnTo>
                    <a:pt x="1207" y="1380"/>
                  </a:lnTo>
                  <a:lnTo>
                    <a:pt x="1207" y="1382"/>
                  </a:lnTo>
                  <a:lnTo>
                    <a:pt x="1209" y="1382"/>
                  </a:lnTo>
                  <a:lnTo>
                    <a:pt x="1209" y="1382"/>
                  </a:lnTo>
                  <a:lnTo>
                    <a:pt x="1209" y="1382"/>
                  </a:lnTo>
                  <a:lnTo>
                    <a:pt x="1209" y="1382"/>
                  </a:lnTo>
                  <a:lnTo>
                    <a:pt x="1209" y="1382"/>
                  </a:lnTo>
                  <a:close/>
                  <a:moveTo>
                    <a:pt x="1301" y="1397"/>
                  </a:moveTo>
                  <a:lnTo>
                    <a:pt x="1301" y="1397"/>
                  </a:lnTo>
                  <a:lnTo>
                    <a:pt x="1301" y="1394"/>
                  </a:lnTo>
                  <a:lnTo>
                    <a:pt x="1301" y="1390"/>
                  </a:lnTo>
                  <a:lnTo>
                    <a:pt x="1297" y="1388"/>
                  </a:lnTo>
                  <a:lnTo>
                    <a:pt x="1301" y="1388"/>
                  </a:lnTo>
                  <a:lnTo>
                    <a:pt x="1301" y="1384"/>
                  </a:lnTo>
                  <a:lnTo>
                    <a:pt x="1301" y="1388"/>
                  </a:lnTo>
                  <a:lnTo>
                    <a:pt x="1301" y="1388"/>
                  </a:lnTo>
                  <a:lnTo>
                    <a:pt x="1301" y="1390"/>
                  </a:lnTo>
                  <a:lnTo>
                    <a:pt x="1301" y="1394"/>
                  </a:lnTo>
                  <a:lnTo>
                    <a:pt x="1301" y="1394"/>
                  </a:lnTo>
                  <a:lnTo>
                    <a:pt x="1301" y="1394"/>
                  </a:lnTo>
                  <a:lnTo>
                    <a:pt x="1301" y="1397"/>
                  </a:lnTo>
                  <a:lnTo>
                    <a:pt x="1301" y="1397"/>
                  </a:lnTo>
                  <a:lnTo>
                    <a:pt x="1301" y="1397"/>
                  </a:lnTo>
                  <a:lnTo>
                    <a:pt x="1301" y="1397"/>
                  </a:lnTo>
                  <a:lnTo>
                    <a:pt x="1301" y="1397"/>
                  </a:lnTo>
                  <a:lnTo>
                    <a:pt x="1301" y="1397"/>
                  </a:lnTo>
                  <a:close/>
                  <a:moveTo>
                    <a:pt x="1305" y="1399"/>
                  </a:moveTo>
                  <a:lnTo>
                    <a:pt x="1305" y="1397"/>
                  </a:lnTo>
                  <a:lnTo>
                    <a:pt x="1305" y="1397"/>
                  </a:lnTo>
                  <a:lnTo>
                    <a:pt x="1305" y="1399"/>
                  </a:lnTo>
                  <a:lnTo>
                    <a:pt x="1305" y="1401"/>
                  </a:lnTo>
                  <a:lnTo>
                    <a:pt x="1305" y="1399"/>
                  </a:lnTo>
                  <a:lnTo>
                    <a:pt x="1305" y="1399"/>
                  </a:lnTo>
                  <a:lnTo>
                    <a:pt x="1305" y="1399"/>
                  </a:lnTo>
                  <a:lnTo>
                    <a:pt x="1305" y="1399"/>
                  </a:lnTo>
                  <a:close/>
                  <a:moveTo>
                    <a:pt x="1339" y="1269"/>
                  </a:moveTo>
                  <a:lnTo>
                    <a:pt x="1340" y="1266"/>
                  </a:lnTo>
                  <a:lnTo>
                    <a:pt x="1342" y="1266"/>
                  </a:lnTo>
                  <a:lnTo>
                    <a:pt x="1342" y="1266"/>
                  </a:lnTo>
                  <a:lnTo>
                    <a:pt x="1342" y="1269"/>
                  </a:lnTo>
                  <a:lnTo>
                    <a:pt x="1340" y="1269"/>
                  </a:lnTo>
                  <a:lnTo>
                    <a:pt x="1340" y="1269"/>
                  </a:lnTo>
                  <a:lnTo>
                    <a:pt x="1339" y="1269"/>
                  </a:lnTo>
                  <a:lnTo>
                    <a:pt x="1339" y="1269"/>
                  </a:lnTo>
                  <a:lnTo>
                    <a:pt x="1339" y="1269"/>
                  </a:lnTo>
                  <a:lnTo>
                    <a:pt x="1339" y="1269"/>
                  </a:lnTo>
                  <a:close/>
                  <a:moveTo>
                    <a:pt x="1329" y="1296"/>
                  </a:moveTo>
                  <a:lnTo>
                    <a:pt x="1329" y="1300"/>
                  </a:lnTo>
                  <a:lnTo>
                    <a:pt x="1331" y="1300"/>
                  </a:lnTo>
                  <a:lnTo>
                    <a:pt x="1331" y="1300"/>
                  </a:lnTo>
                  <a:lnTo>
                    <a:pt x="1331" y="1300"/>
                  </a:lnTo>
                  <a:lnTo>
                    <a:pt x="1331" y="1296"/>
                  </a:lnTo>
                  <a:lnTo>
                    <a:pt x="1331" y="1296"/>
                  </a:lnTo>
                  <a:lnTo>
                    <a:pt x="1329" y="1296"/>
                  </a:lnTo>
                  <a:lnTo>
                    <a:pt x="1329" y="1296"/>
                  </a:lnTo>
                  <a:lnTo>
                    <a:pt x="1329" y="1296"/>
                  </a:lnTo>
                  <a:lnTo>
                    <a:pt x="1329" y="1296"/>
                  </a:lnTo>
                  <a:close/>
                  <a:moveTo>
                    <a:pt x="1348" y="1330"/>
                  </a:moveTo>
                  <a:lnTo>
                    <a:pt x="1346" y="1324"/>
                  </a:lnTo>
                  <a:lnTo>
                    <a:pt x="1346" y="1324"/>
                  </a:lnTo>
                  <a:lnTo>
                    <a:pt x="1348" y="1324"/>
                  </a:lnTo>
                  <a:lnTo>
                    <a:pt x="1350" y="1324"/>
                  </a:lnTo>
                  <a:lnTo>
                    <a:pt x="1350" y="1324"/>
                  </a:lnTo>
                  <a:lnTo>
                    <a:pt x="1352" y="1324"/>
                  </a:lnTo>
                  <a:lnTo>
                    <a:pt x="1352" y="1328"/>
                  </a:lnTo>
                  <a:lnTo>
                    <a:pt x="1350" y="1330"/>
                  </a:lnTo>
                  <a:lnTo>
                    <a:pt x="1350" y="1330"/>
                  </a:lnTo>
                  <a:lnTo>
                    <a:pt x="1348" y="1330"/>
                  </a:lnTo>
                  <a:lnTo>
                    <a:pt x="1348" y="1330"/>
                  </a:lnTo>
                  <a:lnTo>
                    <a:pt x="1348" y="1330"/>
                  </a:lnTo>
                  <a:lnTo>
                    <a:pt x="1348" y="1330"/>
                  </a:lnTo>
                  <a:close/>
                  <a:moveTo>
                    <a:pt x="1339" y="1328"/>
                  </a:moveTo>
                  <a:lnTo>
                    <a:pt x="1340" y="1330"/>
                  </a:lnTo>
                  <a:lnTo>
                    <a:pt x="1342" y="1328"/>
                  </a:lnTo>
                  <a:lnTo>
                    <a:pt x="1342" y="1324"/>
                  </a:lnTo>
                  <a:lnTo>
                    <a:pt x="1342" y="1324"/>
                  </a:lnTo>
                  <a:lnTo>
                    <a:pt x="1342" y="1324"/>
                  </a:lnTo>
                  <a:lnTo>
                    <a:pt x="1344" y="1328"/>
                  </a:lnTo>
                  <a:lnTo>
                    <a:pt x="1342" y="1330"/>
                  </a:lnTo>
                  <a:lnTo>
                    <a:pt x="1339" y="1330"/>
                  </a:lnTo>
                  <a:lnTo>
                    <a:pt x="1337" y="1330"/>
                  </a:lnTo>
                  <a:lnTo>
                    <a:pt x="1337" y="1330"/>
                  </a:lnTo>
                  <a:lnTo>
                    <a:pt x="1339" y="1328"/>
                  </a:lnTo>
                  <a:lnTo>
                    <a:pt x="1339" y="1328"/>
                  </a:lnTo>
                  <a:lnTo>
                    <a:pt x="1339" y="1328"/>
                  </a:lnTo>
                  <a:lnTo>
                    <a:pt x="1339" y="1328"/>
                  </a:lnTo>
                  <a:close/>
                  <a:moveTo>
                    <a:pt x="1310" y="1375"/>
                  </a:moveTo>
                  <a:lnTo>
                    <a:pt x="1310" y="1373"/>
                  </a:lnTo>
                  <a:lnTo>
                    <a:pt x="1310" y="1375"/>
                  </a:lnTo>
                  <a:lnTo>
                    <a:pt x="1310" y="1375"/>
                  </a:lnTo>
                  <a:lnTo>
                    <a:pt x="1310" y="1375"/>
                  </a:lnTo>
                  <a:lnTo>
                    <a:pt x="1310" y="1375"/>
                  </a:lnTo>
                  <a:lnTo>
                    <a:pt x="1310" y="1375"/>
                  </a:lnTo>
                  <a:lnTo>
                    <a:pt x="1310" y="1375"/>
                  </a:lnTo>
                  <a:close/>
                  <a:moveTo>
                    <a:pt x="1348" y="1364"/>
                  </a:moveTo>
                  <a:lnTo>
                    <a:pt x="1348" y="1365"/>
                  </a:lnTo>
                  <a:lnTo>
                    <a:pt x="1350" y="1365"/>
                  </a:lnTo>
                  <a:lnTo>
                    <a:pt x="1354" y="1365"/>
                  </a:lnTo>
                  <a:lnTo>
                    <a:pt x="1354" y="1365"/>
                  </a:lnTo>
                  <a:lnTo>
                    <a:pt x="1350" y="1364"/>
                  </a:lnTo>
                  <a:lnTo>
                    <a:pt x="1348" y="1364"/>
                  </a:lnTo>
                  <a:lnTo>
                    <a:pt x="1348" y="1364"/>
                  </a:lnTo>
                  <a:lnTo>
                    <a:pt x="1348" y="1364"/>
                  </a:lnTo>
                  <a:lnTo>
                    <a:pt x="1348" y="1364"/>
                  </a:lnTo>
                  <a:close/>
                  <a:moveTo>
                    <a:pt x="1307" y="1294"/>
                  </a:moveTo>
                  <a:lnTo>
                    <a:pt x="1305" y="1296"/>
                  </a:lnTo>
                  <a:lnTo>
                    <a:pt x="1301" y="1300"/>
                  </a:lnTo>
                  <a:lnTo>
                    <a:pt x="1301" y="1300"/>
                  </a:lnTo>
                  <a:lnTo>
                    <a:pt x="1301" y="1300"/>
                  </a:lnTo>
                  <a:lnTo>
                    <a:pt x="1301" y="1303"/>
                  </a:lnTo>
                  <a:lnTo>
                    <a:pt x="1297" y="1303"/>
                  </a:lnTo>
                  <a:lnTo>
                    <a:pt x="1297" y="1303"/>
                  </a:lnTo>
                  <a:lnTo>
                    <a:pt x="1297" y="1303"/>
                  </a:lnTo>
                  <a:lnTo>
                    <a:pt x="1297" y="1305"/>
                  </a:lnTo>
                  <a:lnTo>
                    <a:pt x="1295" y="1305"/>
                  </a:lnTo>
                  <a:lnTo>
                    <a:pt x="1293" y="1307"/>
                  </a:lnTo>
                  <a:lnTo>
                    <a:pt x="1293" y="1309"/>
                  </a:lnTo>
                  <a:lnTo>
                    <a:pt x="1295" y="1309"/>
                  </a:lnTo>
                  <a:lnTo>
                    <a:pt x="1295" y="1311"/>
                  </a:lnTo>
                  <a:lnTo>
                    <a:pt x="1293" y="1311"/>
                  </a:lnTo>
                  <a:lnTo>
                    <a:pt x="1292" y="1311"/>
                  </a:lnTo>
                  <a:lnTo>
                    <a:pt x="1290" y="1315"/>
                  </a:lnTo>
                  <a:lnTo>
                    <a:pt x="1290" y="1316"/>
                  </a:lnTo>
                  <a:lnTo>
                    <a:pt x="1286" y="1324"/>
                  </a:lnTo>
                  <a:lnTo>
                    <a:pt x="1286" y="1324"/>
                  </a:lnTo>
                  <a:lnTo>
                    <a:pt x="1286" y="1324"/>
                  </a:lnTo>
                  <a:lnTo>
                    <a:pt x="1286" y="1328"/>
                  </a:lnTo>
                  <a:lnTo>
                    <a:pt x="1286" y="1330"/>
                  </a:lnTo>
                  <a:lnTo>
                    <a:pt x="1284" y="1328"/>
                  </a:lnTo>
                  <a:lnTo>
                    <a:pt x="1284" y="1328"/>
                  </a:lnTo>
                  <a:lnTo>
                    <a:pt x="1280" y="1330"/>
                  </a:lnTo>
                  <a:lnTo>
                    <a:pt x="1280" y="1330"/>
                  </a:lnTo>
                  <a:lnTo>
                    <a:pt x="1280" y="1333"/>
                  </a:lnTo>
                  <a:lnTo>
                    <a:pt x="1280" y="1333"/>
                  </a:lnTo>
                  <a:lnTo>
                    <a:pt x="1282" y="1333"/>
                  </a:lnTo>
                  <a:lnTo>
                    <a:pt x="1280" y="1335"/>
                  </a:lnTo>
                  <a:lnTo>
                    <a:pt x="1280" y="1337"/>
                  </a:lnTo>
                  <a:lnTo>
                    <a:pt x="1280" y="1339"/>
                  </a:lnTo>
                  <a:lnTo>
                    <a:pt x="1276" y="1337"/>
                  </a:lnTo>
                  <a:lnTo>
                    <a:pt x="1273" y="1339"/>
                  </a:lnTo>
                  <a:lnTo>
                    <a:pt x="1273" y="1341"/>
                  </a:lnTo>
                  <a:lnTo>
                    <a:pt x="1273" y="1343"/>
                  </a:lnTo>
                  <a:lnTo>
                    <a:pt x="1271" y="1347"/>
                  </a:lnTo>
                  <a:lnTo>
                    <a:pt x="1267" y="1348"/>
                  </a:lnTo>
                  <a:lnTo>
                    <a:pt x="1267" y="1348"/>
                  </a:lnTo>
                  <a:lnTo>
                    <a:pt x="1267" y="1347"/>
                  </a:lnTo>
                  <a:lnTo>
                    <a:pt x="1265" y="1348"/>
                  </a:lnTo>
                  <a:lnTo>
                    <a:pt x="1265" y="1347"/>
                  </a:lnTo>
                  <a:lnTo>
                    <a:pt x="1265" y="1345"/>
                  </a:lnTo>
                  <a:lnTo>
                    <a:pt x="1267" y="1343"/>
                  </a:lnTo>
                  <a:lnTo>
                    <a:pt x="1267" y="1341"/>
                  </a:lnTo>
                  <a:lnTo>
                    <a:pt x="1267" y="1343"/>
                  </a:lnTo>
                  <a:lnTo>
                    <a:pt x="1265" y="1345"/>
                  </a:lnTo>
                  <a:lnTo>
                    <a:pt x="1260" y="1347"/>
                  </a:lnTo>
                  <a:lnTo>
                    <a:pt x="1258" y="1352"/>
                  </a:lnTo>
                  <a:lnTo>
                    <a:pt x="1260" y="1352"/>
                  </a:lnTo>
                  <a:lnTo>
                    <a:pt x="1261" y="1350"/>
                  </a:lnTo>
                  <a:lnTo>
                    <a:pt x="1267" y="1350"/>
                  </a:lnTo>
                  <a:lnTo>
                    <a:pt x="1273" y="1350"/>
                  </a:lnTo>
                  <a:lnTo>
                    <a:pt x="1267" y="1352"/>
                  </a:lnTo>
                  <a:lnTo>
                    <a:pt x="1265" y="1358"/>
                  </a:lnTo>
                  <a:lnTo>
                    <a:pt x="1263" y="1360"/>
                  </a:lnTo>
                  <a:lnTo>
                    <a:pt x="1260" y="1364"/>
                  </a:lnTo>
                  <a:lnTo>
                    <a:pt x="1256" y="1365"/>
                  </a:lnTo>
                  <a:lnTo>
                    <a:pt x="1252" y="1365"/>
                  </a:lnTo>
                  <a:lnTo>
                    <a:pt x="1252" y="1367"/>
                  </a:lnTo>
                  <a:lnTo>
                    <a:pt x="1252" y="1369"/>
                  </a:lnTo>
                  <a:lnTo>
                    <a:pt x="1252" y="1371"/>
                  </a:lnTo>
                  <a:lnTo>
                    <a:pt x="1252" y="1373"/>
                  </a:lnTo>
                  <a:lnTo>
                    <a:pt x="1256" y="1373"/>
                  </a:lnTo>
                  <a:lnTo>
                    <a:pt x="1260" y="1375"/>
                  </a:lnTo>
                  <a:lnTo>
                    <a:pt x="1263" y="1375"/>
                  </a:lnTo>
                  <a:lnTo>
                    <a:pt x="1265" y="1373"/>
                  </a:lnTo>
                  <a:lnTo>
                    <a:pt x="1267" y="1371"/>
                  </a:lnTo>
                  <a:lnTo>
                    <a:pt x="1271" y="1369"/>
                  </a:lnTo>
                  <a:lnTo>
                    <a:pt x="1273" y="1367"/>
                  </a:lnTo>
                  <a:lnTo>
                    <a:pt x="1273" y="1369"/>
                  </a:lnTo>
                  <a:lnTo>
                    <a:pt x="1271" y="1371"/>
                  </a:lnTo>
                  <a:lnTo>
                    <a:pt x="1273" y="1373"/>
                  </a:lnTo>
                  <a:lnTo>
                    <a:pt x="1276" y="1371"/>
                  </a:lnTo>
                  <a:lnTo>
                    <a:pt x="1276" y="1373"/>
                  </a:lnTo>
                  <a:lnTo>
                    <a:pt x="1282" y="1373"/>
                  </a:lnTo>
                  <a:lnTo>
                    <a:pt x="1286" y="1373"/>
                  </a:lnTo>
                  <a:lnTo>
                    <a:pt x="1286" y="1375"/>
                  </a:lnTo>
                  <a:lnTo>
                    <a:pt x="1288" y="1377"/>
                  </a:lnTo>
                  <a:lnTo>
                    <a:pt x="1292" y="1377"/>
                  </a:lnTo>
                  <a:lnTo>
                    <a:pt x="1292" y="1375"/>
                  </a:lnTo>
                  <a:lnTo>
                    <a:pt x="1293" y="1377"/>
                  </a:lnTo>
                  <a:lnTo>
                    <a:pt x="1295" y="1377"/>
                  </a:lnTo>
                  <a:lnTo>
                    <a:pt x="1297" y="1375"/>
                  </a:lnTo>
                  <a:lnTo>
                    <a:pt x="1297" y="1375"/>
                  </a:lnTo>
                  <a:lnTo>
                    <a:pt x="1297" y="1375"/>
                  </a:lnTo>
                  <a:lnTo>
                    <a:pt x="1301" y="1375"/>
                  </a:lnTo>
                  <a:lnTo>
                    <a:pt x="1301" y="1375"/>
                  </a:lnTo>
                  <a:lnTo>
                    <a:pt x="1305" y="1373"/>
                  </a:lnTo>
                  <a:lnTo>
                    <a:pt x="1305" y="1373"/>
                  </a:lnTo>
                  <a:lnTo>
                    <a:pt x="1307" y="1375"/>
                  </a:lnTo>
                  <a:lnTo>
                    <a:pt x="1307" y="1373"/>
                  </a:lnTo>
                  <a:lnTo>
                    <a:pt x="1307" y="1371"/>
                  </a:lnTo>
                  <a:lnTo>
                    <a:pt x="1307" y="1369"/>
                  </a:lnTo>
                  <a:lnTo>
                    <a:pt x="1307" y="1369"/>
                  </a:lnTo>
                  <a:lnTo>
                    <a:pt x="1310" y="1367"/>
                  </a:lnTo>
                  <a:lnTo>
                    <a:pt x="1310" y="1367"/>
                  </a:lnTo>
                  <a:lnTo>
                    <a:pt x="1310" y="1367"/>
                  </a:lnTo>
                  <a:lnTo>
                    <a:pt x="1310" y="1371"/>
                  </a:lnTo>
                  <a:lnTo>
                    <a:pt x="1310" y="1373"/>
                  </a:lnTo>
                  <a:lnTo>
                    <a:pt x="1310" y="1371"/>
                  </a:lnTo>
                  <a:lnTo>
                    <a:pt x="1312" y="1369"/>
                  </a:lnTo>
                  <a:lnTo>
                    <a:pt x="1312" y="1367"/>
                  </a:lnTo>
                  <a:lnTo>
                    <a:pt x="1312" y="1371"/>
                  </a:lnTo>
                  <a:lnTo>
                    <a:pt x="1312" y="1373"/>
                  </a:lnTo>
                  <a:lnTo>
                    <a:pt x="1312" y="1375"/>
                  </a:lnTo>
                  <a:lnTo>
                    <a:pt x="1314" y="1373"/>
                  </a:lnTo>
                  <a:lnTo>
                    <a:pt x="1314" y="1373"/>
                  </a:lnTo>
                  <a:lnTo>
                    <a:pt x="1314" y="1375"/>
                  </a:lnTo>
                  <a:lnTo>
                    <a:pt x="1310" y="1377"/>
                  </a:lnTo>
                  <a:lnTo>
                    <a:pt x="1307" y="1379"/>
                  </a:lnTo>
                  <a:lnTo>
                    <a:pt x="1310" y="1379"/>
                  </a:lnTo>
                  <a:lnTo>
                    <a:pt x="1310" y="1379"/>
                  </a:lnTo>
                  <a:lnTo>
                    <a:pt x="1312" y="1379"/>
                  </a:lnTo>
                  <a:lnTo>
                    <a:pt x="1312" y="1379"/>
                  </a:lnTo>
                  <a:lnTo>
                    <a:pt x="1314" y="1379"/>
                  </a:lnTo>
                  <a:lnTo>
                    <a:pt x="1316" y="1380"/>
                  </a:lnTo>
                  <a:lnTo>
                    <a:pt x="1316" y="1379"/>
                  </a:lnTo>
                  <a:lnTo>
                    <a:pt x="1320" y="1379"/>
                  </a:lnTo>
                  <a:lnTo>
                    <a:pt x="1320" y="1377"/>
                  </a:lnTo>
                  <a:lnTo>
                    <a:pt x="1320" y="1373"/>
                  </a:lnTo>
                  <a:lnTo>
                    <a:pt x="1322" y="1375"/>
                  </a:lnTo>
                  <a:lnTo>
                    <a:pt x="1325" y="1375"/>
                  </a:lnTo>
                  <a:lnTo>
                    <a:pt x="1325" y="1377"/>
                  </a:lnTo>
                  <a:lnTo>
                    <a:pt x="1325" y="1377"/>
                  </a:lnTo>
                  <a:lnTo>
                    <a:pt x="1329" y="1375"/>
                  </a:lnTo>
                  <a:lnTo>
                    <a:pt x="1331" y="1377"/>
                  </a:lnTo>
                  <a:lnTo>
                    <a:pt x="1331" y="1377"/>
                  </a:lnTo>
                  <a:lnTo>
                    <a:pt x="1331" y="1379"/>
                  </a:lnTo>
                  <a:lnTo>
                    <a:pt x="1325" y="1380"/>
                  </a:lnTo>
                  <a:lnTo>
                    <a:pt x="1322" y="1380"/>
                  </a:lnTo>
                  <a:lnTo>
                    <a:pt x="1322" y="1382"/>
                  </a:lnTo>
                  <a:lnTo>
                    <a:pt x="1322" y="1384"/>
                  </a:lnTo>
                  <a:lnTo>
                    <a:pt x="1320" y="1384"/>
                  </a:lnTo>
                  <a:lnTo>
                    <a:pt x="1320" y="1384"/>
                  </a:lnTo>
                  <a:lnTo>
                    <a:pt x="1318" y="1384"/>
                  </a:lnTo>
                  <a:lnTo>
                    <a:pt x="1316" y="1384"/>
                  </a:lnTo>
                  <a:lnTo>
                    <a:pt x="1316" y="1388"/>
                  </a:lnTo>
                  <a:lnTo>
                    <a:pt x="1314" y="1388"/>
                  </a:lnTo>
                  <a:lnTo>
                    <a:pt x="1310" y="1388"/>
                  </a:lnTo>
                  <a:lnTo>
                    <a:pt x="1310" y="1390"/>
                  </a:lnTo>
                  <a:lnTo>
                    <a:pt x="1307" y="1394"/>
                  </a:lnTo>
                  <a:lnTo>
                    <a:pt x="1310" y="1394"/>
                  </a:lnTo>
                  <a:lnTo>
                    <a:pt x="1310" y="1394"/>
                  </a:lnTo>
                  <a:lnTo>
                    <a:pt x="1312" y="1394"/>
                  </a:lnTo>
                  <a:lnTo>
                    <a:pt x="1312" y="1394"/>
                  </a:lnTo>
                  <a:lnTo>
                    <a:pt x="1314" y="1394"/>
                  </a:lnTo>
                  <a:lnTo>
                    <a:pt x="1316" y="1394"/>
                  </a:lnTo>
                  <a:lnTo>
                    <a:pt x="1316" y="1394"/>
                  </a:lnTo>
                  <a:lnTo>
                    <a:pt x="1316" y="1394"/>
                  </a:lnTo>
                  <a:lnTo>
                    <a:pt x="1320" y="1394"/>
                  </a:lnTo>
                  <a:lnTo>
                    <a:pt x="1322" y="1394"/>
                  </a:lnTo>
                  <a:lnTo>
                    <a:pt x="1322" y="1390"/>
                  </a:lnTo>
                  <a:lnTo>
                    <a:pt x="1322" y="1390"/>
                  </a:lnTo>
                  <a:lnTo>
                    <a:pt x="1322" y="1388"/>
                  </a:lnTo>
                  <a:lnTo>
                    <a:pt x="1322" y="1384"/>
                  </a:lnTo>
                  <a:lnTo>
                    <a:pt x="1325" y="1384"/>
                  </a:lnTo>
                  <a:lnTo>
                    <a:pt x="1329" y="1382"/>
                  </a:lnTo>
                  <a:lnTo>
                    <a:pt x="1331" y="1380"/>
                  </a:lnTo>
                  <a:lnTo>
                    <a:pt x="1331" y="1382"/>
                  </a:lnTo>
                  <a:lnTo>
                    <a:pt x="1335" y="1382"/>
                  </a:lnTo>
                  <a:lnTo>
                    <a:pt x="1331" y="1384"/>
                  </a:lnTo>
                  <a:lnTo>
                    <a:pt x="1335" y="1384"/>
                  </a:lnTo>
                  <a:lnTo>
                    <a:pt x="1335" y="1382"/>
                  </a:lnTo>
                  <a:lnTo>
                    <a:pt x="1337" y="1379"/>
                  </a:lnTo>
                  <a:lnTo>
                    <a:pt x="1339" y="1375"/>
                  </a:lnTo>
                  <a:lnTo>
                    <a:pt x="1339" y="1371"/>
                  </a:lnTo>
                  <a:lnTo>
                    <a:pt x="1339" y="1369"/>
                  </a:lnTo>
                  <a:lnTo>
                    <a:pt x="1340" y="1369"/>
                  </a:lnTo>
                  <a:lnTo>
                    <a:pt x="1340" y="1371"/>
                  </a:lnTo>
                  <a:lnTo>
                    <a:pt x="1342" y="1371"/>
                  </a:lnTo>
                  <a:lnTo>
                    <a:pt x="1344" y="1373"/>
                  </a:lnTo>
                  <a:lnTo>
                    <a:pt x="1344" y="1377"/>
                  </a:lnTo>
                  <a:lnTo>
                    <a:pt x="1344" y="1379"/>
                  </a:lnTo>
                  <a:lnTo>
                    <a:pt x="1344" y="1380"/>
                  </a:lnTo>
                  <a:lnTo>
                    <a:pt x="1344" y="1382"/>
                  </a:lnTo>
                  <a:lnTo>
                    <a:pt x="1344" y="1384"/>
                  </a:lnTo>
                  <a:lnTo>
                    <a:pt x="1340" y="1388"/>
                  </a:lnTo>
                  <a:lnTo>
                    <a:pt x="1339" y="1394"/>
                  </a:lnTo>
                  <a:lnTo>
                    <a:pt x="1339" y="1394"/>
                  </a:lnTo>
                  <a:lnTo>
                    <a:pt x="1337" y="1397"/>
                  </a:lnTo>
                  <a:lnTo>
                    <a:pt x="1337" y="1397"/>
                  </a:lnTo>
                  <a:lnTo>
                    <a:pt x="1339" y="1397"/>
                  </a:lnTo>
                  <a:lnTo>
                    <a:pt x="1342" y="1397"/>
                  </a:lnTo>
                  <a:lnTo>
                    <a:pt x="1344" y="1394"/>
                  </a:lnTo>
                  <a:lnTo>
                    <a:pt x="1346" y="1394"/>
                  </a:lnTo>
                  <a:lnTo>
                    <a:pt x="1348" y="1388"/>
                  </a:lnTo>
                  <a:lnTo>
                    <a:pt x="1350" y="1388"/>
                  </a:lnTo>
                  <a:lnTo>
                    <a:pt x="1350" y="1388"/>
                  </a:lnTo>
                  <a:lnTo>
                    <a:pt x="1354" y="1388"/>
                  </a:lnTo>
                  <a:lnTo>
                    <a:pt x="1354" y="1388"/>
                  </a:lnTo>
                  <a:lnTo>
                    <a:pt x="1352" y="1388"/>
                  </a:lnTo>
                  <a:lnTo>
                    <a:pt x="1348" y="1394"/>
                  </a:lnTo>
                  <a:lnTo>
                    <a:pt x="1348" y="1394"/>
                  </a:lnTo>
                  <a:lnTo>
                    <a:pt x="1348" y="1397"/>
                  </a:lnTo>
                  <a:lnTo>
                    <a:pt x="1348" y="1397"/>
                  </a:lnTo>
                  <a:lnTo>
                    <a:pt x="1348" y="1401"/>
                  </a:lnTo>
                  <a:lnTo>
                    <a:pt x="1350" y="1403"/>
                  </a:lnTo>
                  <a:lnTo>
                    <a:pt x="1352" y="1401"/>
                  </a:lnTo>
                  <a:lnTo>
                    <a:pt x="1354" y="1399"/>
                  </a:lnTo>
                  <a:lnTo>
                    <a:pt x="1354" y="1399"/>
                  </a:lnTo>
                  <a:lnTo>
                    <a:pt x="1356" y="1399"/>
                  </a:lnTo>
                  <a:lnTo>
                    <a:pt x="1356" y="1399"/>
                  </a:lnTo>
                  <a:lnTo>
                    <a:pt x="1356" y="1401"/>
                  </a:lnTo>
                  <a:lnTo>
                    <a:pt x="1356" y="1401"/>
                  </a:lnTo>
                  <a:lnTo>
                    <a:pt x="1359" y="1401"/>
                  </a:lnTo>
                  <a:lnTo>
                    <a:pt x="1359" y="1399"/>
                  </a:lnTo>
                  <a:lnTo>
                    <a:pt x="1359" y="1397"/>
                  </a:lnTo>
                  <a:lnTo>
                    <a:pt x="1361" y="1397"/>
                  </a:lnTo>
                  <a:lnTo>
                    <a:pt x="1361" y="1394"/>
                  </a:lnTo>
                  <a:lnTo>
                    <a:pt x="1361" y="1394"/>
                  </a:lnTo>
                  <a:lnTo>
                    <a:pt x="1361" y="1394"/>
                  </a:lnTo>
                  <a:lnTo>
                    <a:pt x="1361" y="1390"/>
                  </a:lnTo>
                  <a:lnTo>
                    <a:pt x="1361" y="1388"/>
                  </a:lnTo>
                  <a:lnTo>
                    <a:pt x="1365" y="1384"/>
                  </a:lnTo>
                  <a:lnTo>
                    <a:pt x="1367" y="1380"/>
                  </a:lnTo>
                  <a:lnTo>
                    <a:pt x="1367" y="1375"/>
                  </a:lnTo>
                  <a:lnTo>
                    <a:pt x="1367" y="1373"/>
                  </a:lnTo>
                  <a:lnTo>
                    <a:pt x="1365" y="1373"/>
                  </a:lnTo>
                  <a:lnTo>
                    <a:pt x="1365" y="1375"/>
                  </a:lnTo>
                  <a:lnTo>
                    <a:pt x="1365" y="1377"/>
                  </a:lnTo>
                  <a:lnTo>
                    <a:pt x="1361" y="1379"/>
                  </a:lnTo>
                  <a:lnTo>
                    <a:pt x="1359" y="1382"/>
                  </a:lnTo>
                  <a:lnTo>
                    <a:pt x="1359" y="1382"/>
                  </a:lnTo>
                  <a:lnTo>
                    <a:pt x="1356" y="1380"/>
                  </a:lnTo>
                  <a:lnTo>
                    <a:pt x="1359" y="1377"/>
                  </a:lnTo>
                  <a:lnTo>
                    <a:pt x="1359" y="1375"/>
                  </a:lnTo>
                  <a:lnTo>
                    <a:pt x="1359" y="1371"/>
                  </a:lnTo>
                  <a:lnTo>
                    <a:pt x="1361" y="1371"/>
                  </a:lnTo>
                  <a:lnTo>
                    <a:pt x="1363" y="1367"/>
                  </a:lnTo>
                  <a:lnTo>
                    <a:pt x="1365" y="1367"/>
                  </a:lnTo>
                  <a:lnTo>
                    <a:pt x="1367" y="1367"/>
                  </a:lnTo>
                  <a:lnTo>
                    <a:pt x="1365" y="1365"/>
                  </a:lnTo>
                  <a:lnTo>
                    <a:pt x="1363" y="1367"/>
                  </a:lnTo>
                  <a:lnTo>
                    <a:pt x="1363" y="1367"/>
                  </a:lnTo>
                  <a:lnTo>
                    <a:pt x="1359" y="1367"/>
                  </a:lnTo>
                  <a:lnTo>
                    <a:pt x="1359" y="1369"/>
                  </a:lnTo>
                  <a:lnTo>
                    <a:pt x="1356" y="1371"/>
                  </a:lnTo>
                  <a:lnTo>
                    <a:pt x="1356" y="1373"/>
                  </a:lnTo>
                  <a:lnTo>
                    <a:pt x="1352" y="1375"/>
                  </a:lnTo>
                  <a:lnTo>
                    <a:pt x="1352" y="1377"/>
                  </a:lnTo>
                  <a:lnTo>
                    <a:pt x="1350" y="1379"/>
                  </a:lnTo>
                  <a:lnTo>
                    <a:pt x="1348" y="1377"/>
                  </a:lnTo>
                  <a:lnTo>
                    <a:pt x="1348" y="1375"/>
                  </a:lnTo>
                  <a:lnTo>
                    <a:pt x="1346" y="1371"/>
                  </a:lnTo>
                  <a:lnTo>
                    <a:pt x="1346" y="1369"/>
                  </a:lnTo>
                  <a:lnTo>
                    <a:pt x="1348" y="1371"/>
                  </a:lnTo>
                  <a:lnTo>
                    <a:pt x="1348" y="1371"/>
                  </a:lnTo>
                  <a:lnTo>
                    <a:pt x="1352" y="1367"/>
                  </a:lnTo>
                  <a:lnTo>
                    <a:pt x="1350" y="1369"/>
                  </a:lnTo>
                  <a:lnTo>
                    <a:pt x="1346" y="1367"/>
                  </a:lnTo>
                  <a:lnTo>
                    <a:pt x="1348" y="1367"/>
                  </a:lnTo>
                  <a:lnTo>
                    <a:pt x="1352" y="1367"/>
                  </a:lnTo>
                  <a:lnTo>
                    <a:pt x="1348" y="1367"/>
                  </a:lnTo>
                  <a:lnTo>
                    <a:pt x="1348" y="1365"/>
                  </a:lnTo>
                  <a:lnTo>
                    <a:pt x="1348" y="1364"/>
                  </a:lnTo>
                  <a:lnTo>
                    <a:pt x="1348" y="1364"/>
                  </a:lnTo>
                  <a:lnTo>
                    <a:pt x="1352" y="1364"/>
                  </a:lnTo>
                  <a:lnTo>
                    <a:pt x="1352" y="1364"/>
                  </a:lnTo>
                  <a:lnTo>
                    <a:pt x="1356" y="1360"/>
                  </a:lnTo>
                  <a:lnTo>
                    <a:pt x="1356" y="1358"/>
                  </a:lnTo>
                  <a:lnTo>
                    <a:pt x="1359" y="1358"/>
                  </a:lnTo>
                  <a:lnTo>
                    <a:pt x="1359" y="1360"/>
                  </a:lnTo>
                  <a:lnTo>
                    <a:pt x="1363" y="1354"/>
                  </a:lnTo>
                  <a:lnTo>
                    <a:pt x="1363" y="1354"/>
                  </a:lnTo>
                  <a:lnTo>
                    <a:pt x="1363" y="1352"/>
                  </a:lnTo>
                  <a:lnTo>
                    <a:pt x="1363" y="1348"/>
                  </a:lnTo>
                  <a:lnTo>
                    <a:pt x="1359" y="1352"/>
                  </a:lnTo>
                  <a:lnTo>
                    <a:pt x="1359" y="1354"/>
                  </a:lnTo>
                  <a:lnTo>
                    <a:pt x="1359" y="1352"/>
                  </a:lnTo>
                  <a:lnTo>
                    <a:pt x="1356" y="1352"/>
                  </a:lnTo>
                  <a:lnTo>
                    <a:pt x="1356" y="1354"/>
                  </a:lnTo>
                  <a:lnTo>
                    <a:pt x="1356" y="1354"/>
                  </a:lnTo>
                  <a:lnTo>
                    <a:pt x="1356" y="1354"/>
                  </a:lnTo>
                  <a:lnTo>
                    <a:pt x="1354" y="1354"/>
                  </a:lnTo>
                  <a:lnTo>
                    <a:pt x="1352" y="1358"/>
                  </a:lnTo>
                  <a:lnTo>
                    <a:pt x="1350" y="1360"/>
                  </a:lnTo>
                  <a:lnTo>
                    <a:pt x="1350" y="1360"/>
                  </a:lnTo>
                  <a:lnTo>
                    <a:pt x="1348" y="1360"/>
                  </a:lnTo>
                  <a:lnTo>
                    <a:pt x="1348" y="1360"/>
                  </a:lnTo>
                  <a:lnTo>
                    <a:pt x="1348" y="1358"/>
                  </a:lnTo>
                  <a:lnTo>
                    <a:pt x="1348" y="1360"/>
                  </a:lnTo>
                  <a:lnTo>
                    <a:pt x="1346" y="1360"/>
                  </a:lnTo>
                  <a:lnTo>
                    <a:pt x="1348" y="1358"/>
                  </a:lnTo>
                  <a:lnTo>
                    <a:pt x="1350" y="1354"/>
                  </a:lnTo>
                  <a:lnTo>
                    <a:pt x="1350" y="1354"/>
                  </a:lnTo>
                  <a:lnTo>
                    <a:pt x="1348" y="1354"/>
                  </a:lnTo>
                  <a:lnTo>
                    <a:pt x="1350" y="1352"/>
                  </a:lnTo>
                  <a:lnTo>
                    <a:pt x="1352" y="1350"/>
                  </a:lnTo>
                  <a:lnTo>
                    <a:pt x="1350" y="1348"/>
                  </a:lnTo>
                  <a:lnTo>
                    <a:pt x="1348" y="1350"/>
                  </a:lnTo>
                  <a:lnTo>
                    <a:pt x="1350" y="1348"/>
                  </a:lnTo>
                  <a:lnTo>
                    <a:pt x="1350" y="1347"/>
                  </a:lnTo>
                  <a:lnTo>
                    <a:pt x="1348" y="1347"/>
                  </a:lnTo>
                  <a:lnTo>
                    <a:pt x="1346" y="1347"/>
                  </a:lnTo>
                  <a:lnTo>
                    <a:pt x="1342" y="1347"/>
                  </a:lnTo>
                  <a:lnTo>
                    <a:pt x="1346" y="1347"/>
                  </a:lnTo>
                  <a:lnTo>
                    <a:pt x="1348" y="1347"/>
                  </a:lnTo>
                  <a:lnTo>
                    <a:pt x="1350" y="1345"/>
                  </a:lnTo>
                  <a:lnTo>
                    <a:pt x="1354" y="1345"/>
                  </a:lnTo>
                  <a:lnTo>
                    <a:pt x="1354" y="1343"/>
                  </a:lnTo>
                  <a:lnTo>
                    <a:pt x="1356" y="1343"/>
                  </a:lnTo>
                  <a:lnTo>
                    <a:pt x="1356" y="1341"/>
                  </a:lnTo>
                  <a:lnTo>
                    <a:pt x="1356" y="1339"/>
                  </a:lnTo>
                  <a:lnTo>
                    <a:pt x="1359" y="1337"/>
                  </a:lnTo>
                  <a:lnTo>
                    <a:pt x="1359" y="1335"/>
                  </a:lnTo>
                  <a:lnTo>
                    <a:pt x="1356" y="1333"/>
                  </a:lnTo>
                  <a:lnTo>
                    <a:pt x="1354" y="1330"/>
                  </a:lnTo>
                  <a:lnTo>
                    <a:pt x="1352" y="1330"/>
                  </a:lnTo>
                  <a:lnTo>
                    <a:pt x="1348" y="1333"/>
                  </a:lnTo>
                  <a:lnTo>
                    <a:pt x="1346" y="1333"/>
                  </a:lnTo>
                  <a:lnTo>
                    <a:pt x="1346" y="1333"/>
                  </a:lnTo>
                  <a:lnTo>
                    <a:pt x="1344" y="1335"/>
                  </a:lnTo>
                  <a:lnTo>
                    <a:pt x="1344" y="1339"/>
                  </a:lnTo>
                  <a:lnTo>
                    <a:pt x="1342" y="1341"/>
                  </a:lnTo>
                  <a:lnTo>
                    <a:pt x="1342" y="1339"/>
                  </a:lnTo>
                  <a:lnTo>
                    <a:pt x="1344" y="1335"/>
                  </a:lnTo>
                  <a:lnTo>
                    <a:pt x="1342" y="1333"/>
                  </a:lnTo>
                  <a:lnTo>
                    <a:pt x="1344" y="1333"/>
                  </a:lnTo>
                  <a:lnTo>
                    <a:pt x="1344" y="1330"/>
                  </a:lnTo>
                  <a:lnTo>
                    <a:pt x="1344" y="1330"/>
                  </a:lnTo>
                  <a:lnTo>
                    <a:pt x="1340" y="1333"/>
                  </a:lnTo>
                  <a:lnTo>
                    <a:pt x="1340" y="1333"/>
                  </a:lnTo>
                  <a:lnTo>
                    <a:pt x="1339" y="1335"/>
                  </a:lnTo>
                  <a:lnTo>
                    <a:pt x="1337" y="1333"/>
                  </a:lnTo>
                  <a:lnTo>
                    <a:pt x="1335" y="1335"/>
                  </a:lnTo>
                  <a:lnTo>
                    <a:pt x="1335" y="1335"/>
                  </a:lnTo>
                  <a:lnTo>
                    <a:pt x="1335" y="1333"/>
                  </a:lnTo>
                  <a:lnTo>
                    <a:pt x="1331" y="1335"/>
                  </a:lnTo>
                  <a:lnTo>
                    <a:pt x="1331" y="1339"/>
                  </a:lnTo>
                  <a:lnTo>
                    <a:pt x="1329" y="1341"/>
                  </a:lnTo>
                  <a:lnTo>
                    <a:pt x="1331" y="1339"/>
                  </a:lnTo>
                  <a:lnTo>
                    <a:pt x="1331" y="1335"/>
                  </a:lnTo>
                  <a:lnTo>
                    <a:pt x="1331" y="1333"/>
                  </a:lnTo>
                  <a:lnTo>
                    <a:pt x="1331" y="1333"/>
                  </a:lnTo>
                  <a:lnTo>
                    <a:pt x="1331" y="1333"/>
                  </a:lnTo>
                  <a:lnTo>
                    <a:pt x="1329" y="1333"/>
                  </a:lnTo>
                  <a:lnTo>
                    <a:pt x="1325" y="1335"/>
                  </a:lnTo>
                  <a:lnTo>
                    <a:pt x="1325" y="1335"/>
                  </a:lnTo>
                  <a:lnTo>
                    <a:pt x="1325" y="1333"/>
                  </a:lnTo>
                  <a:lnTo>
                    <a:pt x="1329" y="1333"/>
                  </a:lnTo>
                  <a:lnTo>
                    <a:pt x="1325" y="1330"/>
                  </a:lnTo>
                  <a:lnTo>
                    <a:pt x="1325" y="1333"/>
                  </a:lnTo>
                  <a:lnTo>
                    <a:pt x="1322" y="1333"/>
                  </a:lnTo>
                  <a:lnTo>
                    <a:pt x="1322" y="1333"/>
                  </a:lnTo>
                  <a:lnTo>
                    <a:pt x="1320" y="1330"/>
                  </a:lnTo>
                  <a:lnTo>
                    <a:pt x="1320" y="1330"/>
                  </a:lnTo>
                  <a:lnTo>
                    <a:pt x="1316" y="1333"/>
                  </a:lnTo>
                  <a:lnTo>
                    <a:pt x="1314" y="1333"/>
                  </a:lnTo>
                  <a:lnTo>
                    <a:pt x="1314" y="1333"/>
                  </a:lnTo>
                  <a:lnTo>
                    <a:pt x="1318" y="1330"/>
                  </a:lnTo>
                  <a:lnTo>
                    <a:pt x="1320" y="1328"/>
                  </a:lnTo>
                  <a:lnTo>
                    <a:pt x="1320" y="1324"/>
                  </a:lnTo>
                  <a:lnTo>
                    <a:pt x="1320" y="1324"/>
                  </a:lnTo>
                  <a:lnTo>
                    <a:pt x="1318" y="1324"/>
                  </a:lnTo>
                  <a:lnTo>
                    <a:pt x="1314" y="1328"/>
                  </a:lnTo>
                  <a:lnTo>
                    <a:pt x="1316" y="1324"/>
                  </a:lnTo>
                  <a:lnTo>
                    <a:pt x="1320" y="1322"/>
                  </a:lnTo>
                  <a:lnTo>
                    <a:pt x="1322" y="1322"/>
                  </a:lnTo>
                  <a:lnTo>
                    <a:pt x="1322" y="1322"/>
                  </a:lnTo>
                  <a:lnTo>
                    <a:pt x="1325" y="1320"/>
                  </a:lnTo>
                  <a:lnTo>
                    <a:pt x="1329" y="1318"/>
                  </a:lnTo>
                  <a:lnTo>
                    <a:pt x="1329" y="1316"/>
                  </a:lnTo>
                  <a:lnTo>
                    <a:pt x="1325" y="1318"/>
                  </a:lnTo>
                  <a:lnTo>
                    <a:pt x="1322" y="1318"/>
                  </a:lnTo>
                  <a:lnTo>
                    <a:pt x="1322" y="1318"/>
                  </a:lnTo>
                  <a:lnTo>
                    <a:pt x="1320" y="1316"/>
                  </a:lnTo>
                  <a:lnTo>
                    <a:pt x="1318" y="1316"/>
                  </a:lnTo>
                  <a:lnTo>
                    <a:pt x="1316" y="1318"/>
                  </a:lnTo>
                  <a:lnTo>
                    <a:pt x="1318" y="1315"/>
                  </a:lnTo>
                  <a:lnTo>
                    <a:pt x="1320" y="1313"/>
                  </a:lnTo>
                  <a:lnTo>
                    <a:pt x="1318" y="1313"/>
                  </a:lnTo>
                  <a:lnTo>
                    <a:pt x="1316" y="1313"/>
                  </a:lnTo>
                  <a:lnTo>
                    <a:pt x="1314" y="1315"/>
                  </a:lnTo>
                  <a:lnTo>
                    <a:pt x="1312" y="1316"/>
                  </a:lnTo>
                  <a:lnTo>
                    <a:pt x="1310" y="1320"/>
                  </a:lnTo>
                  <a:lnTo>
                    <a:pt x="1310" y="1320"/>
                  </a:lnTo>
                  <a:lnTo>
                    <a:pt x="1310" y="1322"/>
                  </a:lnTo>
                  <a:lnTo>
                    <a:pt x="1305" y="1324"/>
                  </a:lnTo>
                  <a:lnTo>
                    <a:pt x="1305" y="1328"/>
                  </a:lnTo>
                  <a:lnTo>
                    <a:pt x="1305" y="1324"/>
                  </a:lnTo>
                  <a:lnTo>
                    <a:pt x="1305" y="1322"/>
                  </a:lnTo>
                  <a:lnTo>
                    <a:pt x="1305" y="1318"/>
                  </a:lnTo>
                  <a:lnTo>
                    <a:pt x="1305" y="1316"/>
                  </a:lnTo>
                  <a:lnTo>
                    <a:pt x="1307" y="1313"/>
                  </a:lnTo>
                  <a:lnTo>
                    <a:pt x="1310" y="1311"/>
                  </a:lnTo>
                  <a:lnTo>
                    <a:pt x="1310" y="1309"/>
                  </a:lnTo>
                  <a:lnTo>
                    <a:pt x="1310" y="1307"/>
                  </a:lnTo>
                  <a:lnTo>
                    <a:pt x="1312" y="1307"/>
                  </a:lnTo>
                  <a:lnTo>
                    <a:pt x="1314" y="1303"/>
                  </a:lnTo>
                  <a:lnTo>
                    <a:pt x="1316" y="1303"/>
                  </a:lnTo>
                  <a:lnTo>
                    <a:pt x="1318" y="1300"/>
                  </a:lnTo>
                  <a:lnTo>
                    <a:pt x="1320" y="1300"/>
                  </a:lnTo>
                  <a:lnTo>
                    <a:pt x="1320" y="1300"/>
                  </a:lnTo>
                  <a:lnTo>
                    <a:pt x="1320" y="1296"/>
                  </a:lnTo>
                  <a:lnTo>
                    <a:pt x="1322" y="1296"/>
                  </a:lnTo>
                  <a:lnTo>
                    <a:pt x="1322" y="1294"/>
                  </a:lnTo>
                  <a:lnTo>
                    <a:pt x="1322" y="1296"/>
                  </a:lnTo>
                  <a:lnTo>
                    <a:pt x="1322" y="1296"/>
                  </a:lnTo>
                  <a:lnTo>
                    <a:pt x="1322" y="1300"/>
                  </a:lnTo>
                  <a:lnTo>
                    <a:pt x="1325" y="1296"/>
                  </a:lnTo>
                  <a:lnTo>
                    <a:pt x="1329" y="1290"/>
                  </a:lnTo>
                  <a:lnTo>
                    <a:pt x="1329" y="1290"/>
                  </a:lnTo>
                  <a:lnTo>
                    <a:pt x="1329" y="1288"/>
                  </a:lnTo>
                  <a:lnTo>
                    <a:pt x="1325" y="1288"/>
                  </a:lnTo>
                  <a:lnTo>
                    <a:pt x="1325" y="1288"/>
                  </a:lnTo>
                  <a:lnTo>
                    <a:pt x="1325" y="1286"/>
                  </a:lnTo>
                  <a:lnTo>
                    <a:pt x="1322" y="1284"/>
                  </a:lnTo>
                  <a:lnTo>
                    <a:pt x="1325" y="1283"/>
                  </a:lnTo>
                  <a:lnTo>
                    <a:pt x="1325" y="1283"/>
                  </a:lnTo>
                  <a:lnTo>
                    <a:pt x="1329" y="1283"/>
                  </a:lnTo>
                  <a:lnTo>
                    <a:pt x="1331" y="1284"/>
                  </a:lnTo>
                  <a:lnTo>
                    <a:pt x="1331" y="1284"/>
                  </a:lnTo>
                  <a:lnTo>
                    <a:pt x="1335" y="1283"/>
                  </a:lnTo>
                  <a:lnTo>
                    <a:pt x="1335" y="1279"/>
                  </a:lnTo>
                  <a:lnTo>
                    <a:pt x="1331" y="1279"/>
                  </a:lnTo>
                  <a:lnTo>
                    <a:pt x="1331" y="1279"/>
                  </a:lnTo>
                  <a:lnTo>
                    <a:pt x="1331" y="1279"/>
                  </a:lnTo>
                  <a:lnTo>
                    <a:pt x="1329" y="1279"/>
                  </a:lnTo>
                  <a:lnTo>
                    <a:pt x="1329" y="1279"/>
                  </a:lnTo>
                  <a:lnTo>
                    <a:pt x="1329" y="1279"/>
                  </a:lnTo>
                  <a:lnTo>
                    <a:pt x="1325" y="1279"/>
                  </a:lnTo>
                  <a:lnTo>
                    <a:pt x="1325" y="1279"/>
                  </a:lnTo>
                  <a:lnTo>
                    <a:pt x="1322" y="1279"/>
                  </a:lnTo>
                  <a:lnTo>
                    <a:pt x="1322" y="1281"/>
                  </a:lnTo>
                  <a:lnTo>
                    <a:pt x="1320" y="1283"/>
                  </a:lnTo>
                  <a:lnTo>
                    <a:pt x="1316" y="1283"/>
                  </a:lnTo>
                  <a:lnTo>
                    <a:pt x="1312" y="1284"/>
                  </a:lnTo>
                  <a:lnTo>
                    <a:pt x="1310" y="1288"/>
                  </a:lnTo>
                  <a:lnTo>
                    <a:pt x="1310" y="1290"/>
                  </a:lnTo>
                  <a:lnTo>
                    <a:pt x="1307" y="1290"/>
                  </a:lnTo>
                  <a:lnTo>
                    <a:pt x="1305" y="1290"/>
                  </a:lnTo>
                  <a:lnTo>
                    <a:pt x="1305" y="1290"/>
                  </a:lnTo>
                  <a:lnTo>
                    <a:pt x="1307" y="1290"/>
                  </a:lnTo>
                  <a:lnTo>
                    <a:pt x="1307" y="1294"/>
                  </a:lnTo>
                  <a:lnTo>
                    <a:pt x="1307" y="1294"/>
                  </a:lnTo>
                  <a:lnTo>
                    <a:pt x="1307" y="1294"/>
                  </a:lnTo>
                  <a:lnTo>
                    <a:pt x="1307" y="1294"/>
                  </a:lnTo>
                  <a:close/>
                  <a:moveTo>
                    <a:pt x="1188" y="1328"/>
                  </a:moveTo>
                  <a:lnTo>
                    <a:pt x="1192" y="1330"/>
                  </a:lnTo>
                  <a:lnTo>
                    <a:pt x="1197" y="1333"/>
                  </a:lnTo>
                  <a:lnTo>
                    <a:pt x="1201" y="1333"/>
                  </a:lnTo>
                  <a:lnTo>
                    <a:pt x="1207" y="1333"/>
                  </a:lnTo>
                  <a:lnTo>
                    <a:pt x="1209" y="1335"/>
                  </a:lnTo>
                  <a:lnTo>
                    <a:pt x="1212" y="1335"/>
                  </a:lnTo>
                  <a:lnTo>
                    <a:pt x="1214" y="1337"/>
                  </a:lnTo>
                  <a:lnTo>
                    <a:pt x="1218" y="1335"/>
                  </a:lnTo>
                  <a:lnTo>
                    <a:pt x="1218" y="1333"/>
                  </a:lnTo>
                  <a:lnTo>
                    <a:pt x="1218" y="1333"/>
                  </a:lnTo>
                  <a:lnTo>
                    <a:pt x="1216" y="1330"/>
                  </a:lnTo>
                  <a:lnTo>
                    <a:pt x="1214" y="1330"/>
                  </a:lnTo>
                  <a:lnTo>
                    <a:pt x="1212" y="1330"/>
                  </a:lnTo>
                  <a:lnTo>
                    <a:pt x="1209" y="1324"/>
                  </a:lnTo>
                  <a:lnTo>
                    <a:pt x="1205" y="1322"/>
                  </a:lnTo>
                  <a:lnTo>
                    <a:pt x="1203" y="1322"/>
                  </a:lnTo>
                  <a:lnTo>
                    <a:pt x="1199" y="1318"/>
                  </a:lnTo>
                  <a:lnTo>
                    <a:pt x="1197" y="1316"/>
                  </a:lnTo>
                  <a:lnTo>
                    <a:pt x="1192" y="1316"/>
                  </a:lnTo>
                  <a:lnTo>
                    <a:pt x="1182" y="1313"/>
                  </a:lnTo>
                  <a:lnTo>
                    <a:pt x="1179" y="1311"/>
                  </a:lnTo>
                  <a:lnTo>
                    <a:pt x="1175" y="1313"/>
                  </a:lnTo>
                  <a:lnTo>
                    <a:pt x="1177" y="1316"/>
                  </a:lnTo>
                  <a:lnTo>
                    <a:pt x="1180" y="1318"/>
                  </a:lnTo>
                  <a:lnTo>
                    <a:pt x="1184" y="1324"/>
                  </a:lnTo>
                  <a:lnTo>
                    <a:pt x="1188" y="1328"/>
                  </a:lnTo>
                  <a:lnTo>
                    <a:pt x="1188" y="1328"/>
                  </a:lnTo>
                  <a:lnTo>
                    <a:pt x="1188" y="1328"/>
                  </a:lnTo>
                  <a:lnTo>
                    <a:pt x="1188" y="1328"/>
                  </a:lnTo>
                  <a:lnTo>
                    <a:pt x="1188" y="1328"/>
                  </a:lnTo>
                  <a:close/>
                  <a:moveTo>
                    <a:pt x="1188" y="1413"/>
                  </a:moveTo>
                  <a:lnTo>
                    <a:pt x="1184" y="1411"/>
                  </a:lnTo>
                  <a:lnTo>
                    <a:pt x="1184" y="1407"/>
                  </a:lnTo>
                  <a:lnTo>
                    <a:pt x="1175" y="1405"/>
                  </a:lnTo>
                  <a:lnTo>
                    <a:pt x="1173" y="1405"/>
                  </a:lnTo>
                  <a:lnTo>
                    <a:pt x="1173" y="1401"/>
                  </a:lnTo>
                  <a:lnTo>
                    <a:pt x="1173" y="1399"/>
                  </a:lnTo>
                  <a:lnTo>
                    <a:pt x="1169" y="1399"/>
                  </a:lnTo>
                  <a:lnTo>
                    <a:pt x="1167" y="1397"/>
                  </a:lnTo>
                  <a:lnTo>
                    <a:pt x="1167" y="1397"/>
                  </a:lnTo>
                  <a:lnTo>
                    <a:pt x="1167" y="1394"/>
                  </a:lnTo>
                  <a:lnTo>
                    <a:pt x="1164" y="1394"/>
                  </a:lnTo>
                  <a:lnTo>
                    <a:pt x="1164" y="1394"/>
                  </a:lnTo>
                  <a:lnTo>
                    <a:pt x="1164" y="1394"/>
                  </a:lnTo>
                  <a:lnTo>
                    <a:pt x="1164" y="1388"/>
                  </a:lnTo>
                  <a:lnTo>
                    <a:pt x="1169" y="1384"/>
                  </a:lnTo>
                  <a:lnTo>
                    <a:pt x="1173" y="1388"/>
                  </a:lnTo>
                  <a:lnTo>
                    <a:pt x="1167" y="1388"/>
                  </a:lnTo>
                  <a:lnTo>
                    <a:pt x="1167" y="1390"/>
                  </a:lnTo>
                  <a:lnTo>
                    <a:pt x="1169" y="1394"/>
                  </a:lnTo>
                  <a:lnTo>
                    <a:pt x="1169" y="1397"/>
                  </a:lnTo>
                  <a:lnTo>
                    <a:pt x="1173" y="1397"/>
                  </a:lnTo>
                  <a:lnTo>
                    <a:pt x="1173" y="1397"/>
                  </a:lnTo>
                  <a:lnTo>
                    <a:pt x="1177" y="1397"/>
                  </a:lnTo>
                  <a:lnTo>
                    <a:pt x="1180" y="1399"/>
                  </a:lnTo>
                  <a:lnTo>
                    <a:pt x="1182" y="1399"/>
                  </a:lnTo>
                  <a:lnTo>
                    <a:pt x="1184" y="1401"/>
                  </a:lnTo>
                  <a:lnTo>
                    <a:pt x="1188" y="1401"/>
                  </a:lnTo>
                  <a:lnTo>
                    <a:pt x="1192" y="1399"/>
                  </a:lnTo>
                  <a:lnTo>
                    <a:pt x="1194" y="1399"/>
                  </a:lnTo>
                  <a:lnTo>
                    <a:pt x="1199" y="1399"/>
                  </a:lnTo>
                  <a:lnTo>
                    <a:pt x="1197" y="1401"/>
                  </a:lnTo>
                  <a:lnTo>
                    <a:pt x="1194" y="1401"/>
                  </a:lnTo>
                  <a:lnTo>
                    <a:pt x="1194" y="1405"/>
                  </a:lnTo>
                  <a:lnTo>
                    <a:pt x="1194" y="1409"/>
                  </a:lnTo>
                  <a:lnTo>
                    <a:pt x="1194" y="1413"/>
                  </a:lnTo>
                  <a:lnTo>
                    <a:pt x="1188" y="1413"/>
                  </a:lnTo>
                  <a:lnTo>
                    <a:pt x="1188" y="1413"/>
                  </a:lnTo>
                  <a:lnTo>
                    <a:pt x="1188" y="1413"/>
                  </a:lnTo>
                  <a:lnTo>
                    <a:pt x="1188" y="1413"/>
                  </a:lnTo>
                  <a:close/>
                  <a:moveTo>
                    <a:pt x="1216" y="1424"/>
                  </a:moveTo>
                  <a:lnTo>
                    <a:pt x="1216" y="1422"/>
                  </a:lnTo>
                  <a:lnTo>
                    <a:pt x="1209" y="1418"/>
                  </a:lnTo>
                  <a:lnTo>
                    <a:pt x="1209" y="1414"/>
                  </a:lnTo>
                  <a:lnTo>
                    <a:pt x="1207" y="1413"/>
                  </a:lnTo>
                  <a:lnTo>
                    <a:pt x="1209" y="1409"/>
                  </a:lnTo>
                  <a:lnTo>
                    <a:pt x="1214" y="1407"/>
                  </a:lnTo>
                  <a:lnTo>
                    <a:pt x="1218" y="1401"/>
                  </a:lnTo>
                  <a:lnTo>
                    <a:pt x="1218" y="1399"/>
                  </a:lnTo>
                  <a:lnTo>
                    <a:pt x="1222" y="1394"/>
                  </a:lnTo>
                  <a:lnTo>
                    <a:pt x="1226" y="1390"/>
                  </a:lnTo>
                  <a:lnTo>
                    <a:pt x="1228" y="1388"/>
                  </a:lnTo>
                  <a:lnTo>
                    <a:pt x="1229" y="1388"/>
                  </a:lnTo>
                  <a:lnTo>
                    <a:pt x="1229" y="1388"/>
                  </a:lnTo>
                  <a:lnTo>
                    <a:pt x="1229" y="1394"/>
                  </a:lnTo>
                  <a:lnTo>
                    <a:pt x="1231" y="1394"/>
                  </a:lnTo>
                  <a:lnTo>
                    <a:pt x="1231" y="1394"/>
                  </a:lnTo>
                  <a:lnTo>
                    <a:pt x="1228" y="1401"/>
                  </a:lnTo>
                  <a:lnTo>
                    <a:pt x="1226" y="1405"/>
                  </a:lnTo>
                  <a:lnTo>
                    <a:pt x="1229" y="1405"/>
                  </a:lnTo>
                  <a:lnTo>
                    <a:pt x="1231" y="1409"/>
                  </a:lnTo>
                  <a:lnTo>
                    <a:pt x="1229" y="1411"/>
                  </a:lnTo>
                  <a:lnTo>
                    <a:pt x="1229" y="1413"/>
                  </a:lnTo>
                  <a:lnTo>
                    <a:pt x="1233" y="1411"/>
                  </a:lnTo>
                  <a:lnTo>
                    <a:pt x="1233" y="1409"/>
                  </a:lnTo>
                  <a:lnTo>
                    <a:pt x="1235" y="1407"/>
                  </a:lnTo>
                  <a:lnTo>
                    <a:pt x="1239" y="1409"/>
                  </a:lnTo>
                  <a:lnTo>
                    <a:pt x="1239" y="1413"/>
                  </a:lnTo>
                  <a:lnTo>
                    <a:pt x="1241" y="1414"/>
                  </a:lnTo>
                  <a:lnTo>
                    <a:pt x="1237" y="1416"/>
                  </a:lnTo>
                  <a:lnTo>
                    <a:pt x="1235" y="1418"/>
                  </a:lnTo>
                  <a:lnTo>
                    <a:pt x="1229" y="1418"/>
                  </a:lnTo>
                  <a:lnTo>
                    <a:pt x="1224" y="1422"/>
                  </a:lnTo>
                  <a:lnTo>
                    <a:pt x="1222" y="1422"/>
                  </a:lnTo>
                  <a:lnTo>
                    <a:pt x="1218" y="1422"/>
                  </a:lnTo>
                  <a:lnTo>
                    <a:pt x="1218" y="1422"/>
                  </a:lnTo>
                  <a:lnTo>
                    <a:pt x="1218" y="1424"/>
                  </a:lnTo>
                  <a:lnTo>
                    <a:pt x="1216" y="1424"/>
                  </a:lnTo>
                  <a:lnTo>
                    <a:pt x="1216" y="1424"/>
                  </a:lnTo>
                  <a:lnTo>
                    <a:pt x="1216" y="1424"/>
                  </a:lnTo>
                  <a:lnTo>
                    <a:pt x="1216" y="1424"/>
                  </a:lnTo>
                  <a:close/>
                  <a:moveTo>
                    <a:pt x="930" y="1202"/>
                  </a:moveTo>
                  <a:lnTo>
                    <a:pt x="930" y="1205"/>
                  </a:lnTo>
                  <a:lnTo>
                    <a:pt x="932" y="1205"/>
                  </a:lnTo>
                  <a:lnTo>
                    <a:pt x="932" y="1205"/>
                  </a:lnTo>
                  <a:lnTo>
                    <a:pt x="932" y="1200"/>
                  </a:lnTo>
                  <a:lnTo>
                    <a:pt x="932" y="1202"/>
                  </a:lnTo>
                  <a:lnTo>
                    <a:pt x="930" y="1202"/>
                  </a:lnTo>
                  <a:lnTo>
                    <a:pt x="930" y="1202"/>
                  </a:lnTo>
                  <a:lnTo>
                    <a:pt x="930" y="1202"/>
                  </a:lnTo>
                  <a:lnTo>
                    <a:pt x="930" y="1202"/>
                  </a:lnTo>
                  <a:close/>
                  <a:moveTo>
                    <a:pt x="930" y="1241"/>
                  </a:moveTo>
                  <a:lnTo>
                    <a:pt x="932" y="1239"/>
                  </a:lnTo>
                  <a:lnTo>
                    <a:pt x="934" y="1239"/>
                  </a:lnTo>
                  <a:lnTo>
                    <a:pt x="936" y="1239"/>
                  </a:lnTo>
                  <a:lnTo>
                    <a:pt x="936" y="1239"/>
                  </a:lnTo>
                  <a:lnTo>
                    <a:pt x="932" y="1245"/>
                  </a:lnTo>
                  <a:lnTo>
                    <a:pt x="930" y="1241"/>
                  </a:lnTo>
                  <a:lnTo>
                    <a:pt x="930" y="1241"/>
                  </a:lnTo>
                  <a:lnTo>
                    <a:pt x="930" y="1241"/>
                  </a:lnTo>
                  <a:lnTo>
                    <a:pt x="930" y="1241"/>
                  </a:lnTo>
                  <a:close/>
                  <a:moveTo>
                    <a:pt x="896" y="1215"/>
                  </a:moveTo>
                  <a:lnTo>
                    <a:pt x="900" y="1209"/>
                  </a:lnTo>
                  <a:lnTo>
                    <a:pt x="902" y="1209"/>
                  </a:lnTo>
                  <a:lnTo>
                    <a:pt x="902" y="1205"/>
                  </a:lnTo>
                  <a:lnTo>
                    <a:pt x="904" y="1205"/>
                  </a:lnTo>
                  <a:lnTo>
                    <a:pt x="908" y="1205"/>
                  </a:lnTo>
                  <a:lnTo>
                    <a:pt x="909" y="1205"/>
                  </a:lnTo>
                  <a:lnTo>
                    <a:pt x="913" y="1205"/>
                  </a:lnTo>
                  <a:lnTo>
                    <a:pt x="917" y="1211"/>
                  </a:lnTo>
                  <a:lnTo>
                    <a:pt x="917" y="1215"/>
                  </a:lnTo>
                  <a:lnTo>
                    <a:pt x="917" y="1215"/>
                  </a:lnTo>
                  <a:lnTo>
                    <a:pt x="917" y="1219"/>
                  </a:lnTo>
                  <a:lnTo>
                    <a:pt x="909" y="1217"/>
                  </a:lnTo>
                  <a:lnTo>
                    <a:pt x="906" y="1215"/>
                  </a:lnTo>
                  <a:lnTo>
                    <a:pt x="902" y="1215"/>
                  </a:lnTo>
                  <a:lnTo>
                    <a:pt x="902" y="1217"/>
                  </a:lnTo>
                  <a:lnTo>
                    <a:pt x="902" y="1217"/>
                  </a:lnTo>
                  <a:lnTo>
                    <a:pt x="900" y="1215"/>
                  </a:lnTo>
                  <a:lnTo>
                    <a:pt x="900" y="1215"/>
                  </a:lnTo>
                  <a:lnTo>
                    <a:pt x="896" y="1215"/>
                  </a:lnTo>
                  <a:lnTo>
                    <a:pt x="896" y="1215"/>
                  </a:lnTo>
                  <a:lnTo>
                    <a:pt x="896" y="1215"/>
                  </a:lnTo>
                  <a:lnTo>
                    <a:pt x="896" y="1215"/>
                  </a:lnTo>
                  <a:lnTo>
                    <a:pt x="896" y="1215"/>
                  </a:lnTo>
                  <a:close/>
                  <a:moveTo>
                    <a:pt x="141" y="1228"/>
                  </a:moveTo>
                  <a:lnTo>
                    <a:pt x="145" y="1232"/>
                  </a:lnTo>
                  <a:lnTo>
                    <a:pt x="147" y="1235"/>
                  </a:lnTo>
                  <a:lnTo>
                    <a:pt x="147" y="1239"/>
                  </a:lnTo>
                  <a:lnTo>
                    <a:pt x="141" y="1234"/>
                  </a:lnTo>
                  <a:lnTo>
                    <a:pt x="141" y="1228"/>
                  </a:lnTo>
                  <a:lnTo>
                    <a:pt x="141" y="1228"/>
                  </a:lnTo>
                  <a:lnTo>
                    <a:pt x="141" y="1228"/>
                  </a:lnTo>
                  <a:lnTo>
                    <a:pt x="141" y="1228"/>
                  </a:lnTo>
                  <a:close/>
                  <a:moveTo>
                    <a:pt x="134" y="1219"/>
                  </a:moveTo>
                  <a:lnTo>
                    <a:pt x="134" y="1215"/>
                  </a:lnTo>
                  <a:lnTo>
                    <a:pt x="136" y="1215"/>
                  </a:lnTo>
                  <a:lnTo>
                    <a:pt x="134" y="1219"/>
                  </a:lnTo>
                  <a:lnTo>
                    <a:pt x="134" y="1219"/>
                  </a:lnTo>
                  <a:lnTo>
                    <a:pt x="134" y="1219"/>
                  </a:lnTo>
                  <a:lnTo>
                    <a:pt x="134" y="1219"/>
                  </a:lnTo>
                  <a:close/>
                  <a:moveTo>
                    <a:pt x="113" y="1202"/>
                  </a:moveTo>
                  <a:lnTo>
                    <a:pt x="121" y="1205"/>
                  </a:lnTo>
                  <a:lnTo>
                    <a:pt x="121" y="1202"/>
                  </a:lnTo>
                  <a:lnTo>
                    <a:pt x="113" y="1202"/>
                  </a:lnTo>
                  <a:lnTo>
                    <a:pt x="113" y="1202"/>
                  </a:lnTo>
                  <a:lnTo>
                    <a:pt x="113" y="1202"/>
                  </a:lnTo>
                  <a:lnTo>
                    <a:pt x="113" y="1202"/>
                  </a:lnTo>
                  <a:close/>
                  <a:moveTo>
                    <a:pt x="83" y="1188"/>
                  </a:moveTo>
                  <a:lnTo>
                    <a:pt x="83" y="1194"/>
                  </a:lnTo>
                  <a:lnTo>
                    <a:pt x="87" y="1194"/>
                  </a:lnTo>
                  <a:lnTo>
                    <a:pt x="89" y="1198"/>
                  </a:lnTo>
                  <a:lnTo>
                    <a:pt x="96" y="1200"/>
                  </a:lnTo>
                  <a:lnTo>
                    <a:pt x="93" y="1202"/>
                  </a:lnTo>
                  <a:lnTo>
                    <a:pt x="89" y="1202"/>
                  </a:lnTo>
                  <a:lnTo>
                    <a:pt x="87" y="1205"/>
                  </a:lnTo>
                  <a:lnTo>
                    <a:pt x="89" y="1205"/>
                  </a:lnTo>
                  <a:lnTo>
                    <a:pt x="87" y="1211"/>
                  </a:lnTo>
                  <a:lnTo>
                    <a:pt x="89" y="1211"/>
                  </a:lnTo>
                  <a:lnTo>
                    <a:pt x="93" y="1211"/>
                  </a:lnTo>
                  <a:lnTo>
                    <a:pt x="93" y="1215"/>
                  </a:lnTo>
                  <a:lnTo>
                    <a:pt x="96" y="1215"/>
                  </a:lnTo>
                  <a:lnTo>
                    <a:pt x="96" y="1217"/>
                  </a:lnTo>
                  <a:lnTo>
                    <a:pt x="100" y="1220"/>
                  </a:lnTo>
                  <a:lnTo>
                    <a:pt x="104" y="1219"/>
                  </a:lnTo>
                  <a:lnTo>
                    <a:pt x="98" y="1224"/>
                  </a:lnTo>
                  <a:lnTo>
                    <a:pt x="102" y="1228"/>
                  </a:lnTo>
                  <a:lnTo>
                    <a:pt x="104" y="1228"/>
                  </a:lnTo>
                  <a:lnTo>
                    <a:pt x="104" y="1224"/>
                  </a:lnTo>
                  <a:lnTo>
                    <a:pt x="109" y="1222"/>
                  </a:lnTo>
                  <a:lnTo>
                    <a:pt x="108" y="1228"/>
                  </a:lnTo>
                  <a:lnTo>
                    <a:pt x="106" y="1230"/>
                  </a:lnTo>
                  <a:lnTo>
                    <a:pt x="106" y="1234"/>
                  </a:lnTo>
                  <a:lnTo>
                    <a:pt x="108" y="1234"/>
                  </a:lnTo>
                  <a:lnTo>
                    <a:pt x="108" y="1235"/>
                  </a:lnTo>
                  <a:lnTo>
                    <a:pt x="113" y="1235"/>
                  </a:lnTo>
                  <a:lnTo>
                    <a:pt x="113" y="1239"/>
                  </a:lnTo>
                  <a:lnTo>
                    <a:pt x="117" y="1239"/>
                  </a:lnTo>
                  <a:lnTo>
                    <a:pt x="117" y="1245"/>
                  </a:lnTo>
                  <a:lnTo>
                    <a:pt x="117" y="1247"/>
                  </a:lnTo>
                  <a:lnTo>
                    <a:pt x="121" y="1251"/>
                  </a:lnTo>
                  <a:lnTo>
                    <a:pt x="123" y="1247"/>
                  </a:lnTo>
                  <a:lnTo>
                    <a:pt x="126" y="1249"/>
                  </a:lnTo>
                  <a:lnTo>
                    <a:pt x="128" y="1249"/>
                  </a:lnTo>
                  <a:lnTo>
                    <a:pt x="123" y="1254"/>
                  </a:lnTo>
                  <a:lnTo>
                    <a:pt x="130" y="1262"/>
                  </a:lnTo>
                  <a:lnTo>
                    <a:pt x="132" y="1264"/>
                  </a:lnTo>
                  <a:lnTo>
                    <a:pt x="134" y="1266"/>
                  </a:lnTo>
                  <a:lnTo>
                    <a:pt x="147" y="1271"/>
                  </a:lnTo>
                  <a:lnTo>
                    <a:pt x="147" y="1269"/>
                  </a:lnTo>
                  <a:lnTo>
                    <a:pt x="151" y="1269"/>
                  </a:lnTo>
                  <a:lnTo>
                    <a:pt x="147" y="1262"/>
                  </a:lnTo>
                  <a:lnTo>
                    <a:pt x="147" y="1256"/>
                  </a:lnTo>
                  <a:lnTo>
                    <a:pt x="147" y="1254"/>
                  </a:lnTo>
                  <a:lnTo>
                    <a:pt x="147" y="1247"/>
                  </a:lnTo>
                  <a:lnTo>
                    <a:pt x="145" y="1241"/>
                  </a:lnTo>
                  <a:lnTo>
                    <a:pt x="138" y="1235"/>
                  </a:lnTo>
                  <a:lnTo>
                    <a:pt x="136" y="1226"/>
                  </a:lnTo>
                  <a:lnTo>
                    <a:pt x="132" y="1219"/>
                  </a:lnTo>
                  <a:lnTo>
                    <a:pt x="132" y="1215"/>
                  </a:lnTo>
                  <a:lnTo>
                    <a:pt x="128" y="1211"/>
                  </a:lnTo>
                  <a:lnTo>
                    <a:pt x="126" y="1211"/>
                  </a:lnTo>
                  <a:lnTo>
                    <a:pt x="121" y="1205"/>
                  </a:lnTo>
                  <a:lnTo>
                    <a:pt x="117" y="1205"/>
                  </a:lnTo>
                  <a:lnTo>
                    <a:pt x="111" y="1205"/>
                  </a:lnTo>
                  <a:lnTo>
                    <a:pt x="109" y="1202"/>
                  </a:lnTo>
                  <a:lnTo>
                    <a:pt x="104" y="1200"/>
                  </a:lnTo>
                  <a:lnTo>
                    <a:pt x="100" y="1196"/>
                  </a:lnTo>
                  <a:lnTo>
                    <a:pt x="100" y="1192"/>
                  </a:lnTo>
                  <a:lnTo>
                    <a:pt x="96" y="1192"/>
                  </a:lnTo>
                  <a:lnTo>
                    <a:pt x="93" y="1188"/>
                  </a:lnTo>
                  <a:lnTo>
                    <a:pt x="89" y="1186"/>
                  </a:lnTo>
                  <a:lnTo>
                    <a:pt x="89" y="1188"/>
                  </a:lnTo>
                  <a:lnTo>
                    <a:pt x="83" y="1188"/>
                  </a:lnTo>
                  <a:lnTo>
                    <a:pt x="83" y="1188"/>
                  </a:lnTo>
                  <a:lnTo>
                    <a:pt x="83" y="1188"/>
                  </a:lnTo>
                  <a:lnTo>
                    <a:pt x="83" y="1188"/>
                  </a:lnTo>
                  <a:close/>
                  <a:moveTo>
                    <a:pt x="117" y="1196"/>
                  </a:moveTo>
                  <a:lnTo>
                    <a:pt x="121" y="1196"/>
                  </a:lnTo>
                  <a:lnTo>
                    <a:pt x="121" y="1194"/>
                  </a:lnTo>
                  <a:lnTo>
                    <a:pt x="123" y="1196"/>
                  </a:lnTo>
                  <a:lnTo>
                    <a:pt x="121" y="1200"/>
                  </a:lnTo>
                  <a:lnTo>
                    <a:pt x="117" y="1200"/>
                  </a:lnTo>
                  <a:lnTo>
                    <a:pt x="117" y="1196"/>
                  </a:lnTo>
                  <a:lnTo>
                    <a:pt x="117" y="1196"/>
                  </a:lnTo>
                  <a:lnTo>
                    <a:pt x="117" y="1196"/>
                  </a:lnTo>
                  <a:lnTo>
                    <a:pt x="117" y="1196"/>
                  </a:lnTo>
                  <a:close/>
                  <a:moveTo>
                    <a:pt x="113" y="1194"/>
                  </a:moveTo>
                  <a:lnTo>
                    <a:pt x="117" y="1190"/>
                  </a:lnTo>
                  <a:lnTo>
                    <a:pt x="117" y="1194"/>
                  </a:lnTo>
                  <a:lnTo>
                    <a:pt x="113" y="1194"/>
                  </a:lnTo>
                  <a:lnTo>
                    <a:pt x="113" y="1194"/>
                  </a:lnTo>
                  <a:lnTo>
                    <a:pt x="113" y="1194"/>
                  </a:lnTo>
                  <a:lnTo>
                    <a:pt x="113" y="1194"/>
                  </a:lnTo>
                  <a:close/>
                  <a:moveTo>
                    <a:pt x="93" y="1113"/>
                  </a:moveTo>
                  <a:lnTo>
                    <a:pt x="93" y="1117"/>
                  </a:lnTo>
                  <a:lnTo>
                    <a:pt x="96" y="1115"/>
                  </a:lnTo>
                  <a:lnTo>
                    <a:pt x="93" y="1113"/>
                  </a:lnTo>
                  <a:lnTo>
                    <a:pt x="93" y="1113"/>
                  </a:lnTo>
                  <a:lnTo>
                    <a:pt x="93" y="1113"/>
                  </a:lnTo>
                  <a:lnTo>
                    <a:pt x="93" y="1113"/>
                  </a:lnTo>
                  <a:close/>
                  <a:moveTo>
                    <a:pt x="102" y="1151"/>
                  </a:moveTo>
                  <a:lnTo>
                    <a:pt x="102" y="1147"/>
                  </a:lnTo>
                  <a:lnTo>
                    <a:pt x="104" y="1147"/>
                  </a:lnTo>
                  <a:lnTo>
                    <a:pt x="104" y="1147"/>
                  </a:lnTo>
                  <a:lnTo>
                    <a:pt x="104" y="1151"/>
                  </a:lnTo>
                  <a:lnTo>
                    <a:pt x="102" y="1151"/>
                  </a:lnTo>
                  <a:lnTo>
                    <a:pt x="102" y="1151"/>
                  </a:lnTo>
                  <a:lnTo>
                    <a:pt x="102" y="1151"/>
                  </a:lnTo>
                  <a:lnTo>
                    <a:pt x="102" y="1151"/>
                  </a:lnTo>
                  <a:close/>
                  <a:moveTo>
                    <a:pt x="100" y="1162"/>
                  </a:moveTo>
                  <a:lnTo>
                    <a:pt x="98" y="1164"/>
                  </a:lnTo>
                  <a:lnTo>
                    <a:pt x="98" y="1168"/>
                  </a:lnTo>
                  <a:lnTo>
                    <a:pt x="100" y="1170"/>
                  </a:lnTo>
                  <a:lnTo>
                    <a:pt x="102" y="1164"/>
                  </a:lnTo>
                  <a:lnTo>
                    <a:pt x="100" y="1162"/>
                  </a:lnTo>
                  <a:lnTo>
                    <a:pt x="100" y="1162"/>
                  </a:lnTo>
                  <a:lnTo>
                    <a:pt x="100" y="1162"/>
                  </a:lnTo>
                  <a:lnTo>
                    <a:pt x="100" y="1162"/>
                  </a:lnTo>
                  <a:close/>
                  <a:moveTo>
                    <a:pt x="104" y="1156"/>
                  </a:moveTo>
                  <a:lnTo>
                    <a:pt x="108" y="1153"/>
                  </a:lnTo>
                  <a:lnTo>
                    <a:pt x="106" y="1151"/>
                  </a:lnTo>
                  <a:lnTo>
                    <a:pt x="100" y="1153"/>
                  </a:lnTo>
                  <a:lnTo>
                    <a:pt x="100" y="1156"/>
                  </a:lnTo>
                  <a:lnTo>
                    <a:pt x="102" y="1156"/>
                  </a:lnTo>
                  <a:lnTo>
                    <a:pt x="102" y="1156"/>
                  </a:lnTo>
                  <a:lnTo>
                    <a:pt x="104" y="1156"/>
                  </a:lnTo>
                  <a:lnTo>
                    <a:pt x="104" y="1156"/>
                  </a:lnTo>
                  <a:lnTo>
                    <a:pt x="104" y="1156"/>
                  </a:lnTo>
                  <a:lnTo>
                    <a:pt x="104" y="1156"/>
                  </a:lnTo>
                  <a:close/>
                  <a:moveTo>
                    <a:pt x="108" y="1153"/>
                  </a:moveTo>
                  <a:lnTo>
                    <a:pt x="113" y="1147"/>
                  </a:lnTo>
                  <a:lnTo>
                    <a:pt x="113" y="1147"/>
                  </a:lnTo>
                  <a:lnTo>
                    <a:pt x="117" y="1145"/>
                  </a:lnTo>
                  <a:lnTo>
                    <a:pt x="123" y="1143"/>
                  </a:lnTo>
                  <a:lnTo>
                    <a:pt x="121" y="1145"/>
                  </a:lnTo>
                  <a:lnTo>
                    <a:pt x="117" y="1151"/>
                  </a:lnTo>
                  <a:lnTo>
                    <a:pt x="113" y="1151"/>
                  </a:lnTo>
                  <a:lnTo>
                    <a:pt x="109" y="1153"/>
                  </a:lnTo>
                  <a:lnTo>
                    <a:pt x="108" y="1153"/>
                  </a:lnTo>
                  <a:lnTo>
                    <a:pt x="108" y="1153"/>
                  </a:lnTo>
                  <a:lnTo>
                    <a:pt x="108" y="1153"/>
                  </a:lnTo>
                  <a:lnTo>
                    <a:pt x="108" y="1153"/>
                  </a:lnTo>
                  <a:close/>
                  <a:moveTo>
                    <a:pt x="106" y="1134"/>
                  </a:moveTo>
                  <a:lnTo>
                    <a:pt x="106" y="1130"/>
                  </a:lnTo>
                  <a:lnTo>
                    <a:pt x="108" y="1126"/>
                  </a:lnTo>
                  <a:lnTo>
                    <a:pt x="109" y="1130"/>
                  </a:lnTo>
                  <a:lnTo>
                    <a:pt x="106" y="1132"/>
                  </a:lnTo>
                  <a:lnTo>
                    <a:pt x="106" y="1132"/>
                  </a:lnTo>
                  <a:lnTo>
                    <a:pt x="106" y="1134"/>
                  </a:lnTo>
                  <a:lnTo>
                    <a:pt x="106" y="1134"/>
                  </a:lnTo>
                  <a:lnTo>
                    <a:pt x="106" y="1134"/>
                  </a:lnTo>
                  <a:lnTo>
                    <a:pt x="106" y="1134"/>
                  </a:lnTo>
                  <a:close/>
                  <a:moveTo>
                    <a:pt x="96" y="1132"/>
                  </a:moveTo>
                  <a:lnTo>
                    <a:pt x="102" y="1134"/>
                  </a:lnTo>
                  <a:lnTo>
                    <a:pt x="102" y="1132"/>
                  </a:lnTo>
                  <a:lnTo>
                    <a:pt x="102" y="1130"/>
                  </a:lnTo>
                  <a:lnTo>
                    <a:pt x="96" y="1132"/>
                  </a:lnTo>
                  <a:lnTo>
                    <a:pt x="96" y="1132"/>
                  </a:lnTo>
                  <a:lnTo>
                    <a:pt x="96" y="1132"/>
                  </a:lnTo>
                  <a:lnTo>
                    <a:pt x="96" y="1132"/>
                  </a:lnTo>
                  <a:close/>
                  <a:moveTo>
                    <a:pt x="93" y="1121"/>
                  </a:moveTo>
                  <a:lnTo>
                    <a:pt x="93" y="1128"/>
                  </a:lnTo>
                  <a:lnTo>
                    <a:pt x="93" y="1130"/>
                  </a:lnTo>
                  <a:lnTo>
                    <a:pt x="93" y="1132"/>
                  </a:lnTo>
                  <a:lnTo>
                    <a:pt x="96" y="1128"/>
                  </a:lnTo>
                  <a:lnTo>
                    <a:pt x="96" y="1126"/>
                  </a:lnTo>
                  <a:lnTo>
                    <a:pt x="93" y="1121"/>
                  </a:lnTo>
                  <a:lnTo>
                    <a:pt x="93" y="1121"/>
                  </a:lnTo>
                  <a:lnTo>
                    <a:pt x="93" y="1121"/>
                  </a:lnTo>
                  <a:lnTo>
                    <a:pt x="93" y="1121"/>
                  </a:lnTo>
                  <a:close/>
                  <a:moveTo>
                    <a:pt x="96" y="1117"/>
                  </a:moveTo>
                  <a:lnTo>
                    <a:pt x="96" y="1121"/>
                  </a:lnTo>
                  <a:lnTo>
                    <a:pt x="96" y="1121"/>
                  </a:lnTo>
                  <a:lnTo>
                    <a:pt x="96" y="1122"/>
                  </a:lnTo>
                  <a:lnTo>
                    <a:pt x="100" y="1126"/>
                  </a:lnTo>
                  <a:lnTo>
                    <a:pt x="104" y="1121"/>
                  </a:lnTo>
                  <a:lnTo>
                    <a:pt x="102" y="1126"/>
                  </a:lnTo>
                  <a:lnTo>
                    <a:pt x="102" y="1128"/>
                  </a:lnTo>
                  <a:lnTo>
                    <a:pt x="106" y="1126"/>
                  </a:lnTo>
                  <a:lnTo>
                    <a:pt x="106" y="1117"/>
                  </a:lnTo>
                  <a:lnTo>
                    <a:pt x="102" y="1115"/>
                  </a:lnTo>
                  <a:lnTo>
                    <a:pt x="98" y="1115"/>
                  </a:lnTo>
                  <a:lnTo>
                    <a:pt x="96" y="1117"/>
                  </a:lnTo>
                  <a:lnTo>
                    <a:pt x="96" y="1117"/>
                  </a:lnTo>
                  <a:lnTo>
                    <a:pt x="96" y="1117"/>
                  </a:lnTo>
                  <a:lnTo>
                    <a:pt x="96" y="1117"/>
                  </a:lnTo>
                  <a:close/>
                  <a:moveTo>
                    <a:pt x="96" y="1111"/>
                  </a:moveTo>
                  <a:lnTo>
                    <a:pt x="96" y="1113"/>
                  </a:lnTo>
                  <a:lnTo>
                    <a:pt x="98" y="1111"/>
                  </a:lnTo>
                  <a:lnTo>
                    <a:pt x="96" y="1109"/>
                  </a:lnTo>
                  <a:lnTo>
                    <a:pt x="96" y="1111"/>
                  </a:lnTo>
                  <a:lnTo>
                    <a:pt x="96" y="1111"/>
                  </a:lnTo>
                  <a:lnTo>
                    <a:pt x="96" y="1111"/>
                  </a:lnTo>
                  <a:lnTo>
                    <a:pt x="96" y="1111"/>
                  </a:lnTo>
                  <a:close/>
                  <a:moveTo>
                    <a:pt x="102" y="1104"/>
                  </a:moveTo>
                  <a:lnTo>
                    <a:pt x="102" y="1100"/>
                  </a:lnTo>
                  <a:lnTo>
                    <a:pt x="108" y="1098"/>
                  </a:lnTo>
                  <a:lnTo>
                    <a:pt x="109" y="1098"/>
                  </a:lnTo>
                  <a:lnTo>
                    <a:pt x="108" y="1100"/>
                  </a:lnTo>
                  <a:lnTo>
                    <a:pt x="104" y="1102"/>
                  </a:lnTo>
                  <a:lnTo>
                    <a:pt x="102" y="1104"/>
                  </a:lnTo>
                  <a:lnTo>
                    <a:pt x="102" y="1104"/>
                  </a:lnTo>
                  <a:lnTo>
                    <a:pt x="102" y="1104"/>
                  </a:lnTo>
                  <a:lnTo>
                    <a:pt x="102" y="1104"/>
                  </a:lnTo>
                  <a:close/>
                  <a:moveTo>
                    <a:pt x="79" y="1092"/>
                  </a:moveTo>
                  <a:lnTo>
                    <a:pt x="87" y="1102"/>
                  </a:lnTo>
                  <a:lnTo>
                    <a:pt x="89" y="1107"/>
                  </a:lnTo>
                  <a:lnTo>
                    <a:pt x="89" y="1111"/>
                  </a:lnTo>
                  <a:lnTo>
                    <a:pt x="83" y="1109"/>
                  </a:lnTo>
                  <a:lnTo>
                    <a:pt x="83" y="1105"/>
                  </a:lnTo>
                  <a:lnTo>
                    <a:pt x="79" y="1100"/>
                  </a:lnTo>
                  <a:lnTo>
                    <a:pt x="77" y="1096"/>
                  </a:lnTo>
                  <a:lnTo>
                    <a:pt x="77" y="1096"/>
                  </a:lnTo>
                  <a:lnTo>
                    <a:pt x="79" y="1092"/>
                  </a:lnTo>
                  <a:lnTo>
                    <a:pt x="79" y="1092"/>
                  </a:lnTo>
                  <a:lnTo>
                    <a:pt x="79" y="1092"/>
                  </a:lnTo>
                  <a:lnTo>
                    <a:pt x="79" y="1092"/>
                  </a:lnTo>
                  <a:close/>
                  <a:moveTo>
                    <a:pt x="87" y="1090"/>
                  </a:moveTo>
                  <a:lnTo>
                    <a:pt x="87" y="1096"/>
                  </a:lnTo>
                  <a:lnTo>
                    <a:pt x="89" y="1098"/>
                  </a:lnTo>
                  <a:lnTo>
                    <a:pt x="89" y="1104"/>
                  </a:lnTo>
                  <a:lnTo>
                    <a:pt x="93" y="1107"/>
                  </a:lnTo>
                  <a:lnTo>
                    <a:pt x="96" y="1102"/>
                  </a:lnTo>
                  <a:lnTo>
                    <a:pt x="93" y="1092"/>
                  </a:lnTo>
                  <a:lnTo>
                    <a:pt x="89" y="1090"/>
                  </a:lnTo>
                  <a:lnTo>
                    <a:pt x="89" y="1087"/>
                  </a:lnTo>
                  <a:lnTo>
                    <a:pt x="87" y="1090"/>
                  </a:lnTo>
                  <a:lnTo>
                    <a:pt x="87" y="1090"/>
                  </a:lnTo>
                  <a:lnTo>
                    <a:pt x="87" y="1090"/>
                  </a:lnTo>
                  <a:lnTo>
                    <a:pt x="87" y="1090"/>
                  </a:lnTo>
                  <a:close/>
                  <a:moveTo>
                    <a:pt x="79" y="1083"/>
                  </a:moveTo>
                  <a:lnTo>
                    <a:pt x="83" y="1083"/>
                  </a:lnTo>
                  <a:lnTo>
                    <a:pt x="83" y="1087"/>
                  </a:lnTo>
                  <a:lnTo>
                    <a:pt x="89" y="1087"/>
                  </a:lnTo>
                  <a:lnTo>
                    <a:pt x="89" y="1083"/>
                  </a:lnTo>
                  <a:lnTo>
                    <a:pt x="87" y="1079"/>
                  </a:lnTo>
                  <a:lnTo>
                    <a:pt x="83" y="1083"/>
                  </a:lnTo>
                  <a:lnTo>
                    <a:pt x="79" y="1083"/>
                  </a:lnTo>
                  <a:lnTo>
                    <a:pt x="79" y="1083"/>
                  </a:lnTo>
                  <a:lnTo>
                    <a:pt x="79" y="1083"/>
                  </a:lnTo>
                  <a:lnTo>
                    <a:pt x="79" y="1083"/>
                  </a:lnTo>
                  <a:close/>
                  <a:moveTo>
                    <a:pt x="40" y="1087"/>
                  </a:moveTo>
                  <a:lnTo>
                    <a:pt x="40" y="1081"/>
                  </a:lnTo>
                  <a:lnTo>
                    <a:pt x="45" y="1070"/>
                  </a:lnTo>
                  <a:lnTo>
                    <a:pt x="51" y="1072"/>
                  </a:lnTo>
                  <a:lnTo>
                    <a:pt x="51" y="1077"/>
                  </a:lnTo>
                  <a:lnTo>
                    <a:pt x="53" y="1075"/>
                  </a:lnTo>
                  <a:lnTo>
                    <a:pt x="55" y="1073"/>
                  </a:lnTo>
                  <a:lnTo>
                    <a:pt x="59" y="1075"/>
                  </a:lnTo>
                  <a:lnTo>
                    <a:pt x="59" y="1077"/>
                  </a:lnTo>
                  <a:lnTo>
                    <a:pt x="59" y="1083"/>
                  </a:lnTo>
                  <a:lnTo>
                    <a:pt x="55" y="1083"/>
                  </a:lnTo>
                  <a:lnTo>
                    <a:pt x="47" y="1087"/>
                  </a:lnTo>
                  <a:lnTo>
                    <a:pt x="49" y="1090"/>
                  </a:lnTo>
                  <a:lnTo>
                    <a:pt x="49" y="1090"/>
                  </a:lnTo>
                  <a:lnTo>
                    <a:pt x="55" y="1090"/>
                  </a:lnTo>
                  <a:lnTo>
                    <a:pt x="57" y="1083"/>
                  </a:lnTo>
                  <a:lnTo>
                    <a:pt x="62" y="1079"/>
                  </a:lnTo>
                  <a:lnTo>
                    <a:pt x="68" y="1077"/>
                  </a:lnTo>
                  <a:lnTo>
                    <a:pt x="68" y="1077"/>
                  </a:lnTo>
                  <a:lnTo>
                    <a:pt x="62" y="1083"/>
                  </a:lnTo>
                  <a:lnTo>
                    <a:pt x="59" y="1090"/>
                  </a:lnTo>
                  <a:lnTo>
                    <a:pt x="57" y="1092"/>
                  </a:lnTo>
                  <a:lnTo>
                    <a:pt x="57" y="1100"/>
                  </a:lnTo>
                  <a:lnTo>
                    <a:pt x="53" y="1104"/>
                  </a:lnTo>
                  <a:lnTo>
                    <a:pt x="49" y="1104"/>
                  </a:lnTo>
                  <a:lnTo>
                    <a:pt x="47" y="1107"/>
                  </a:lnTo>
                  <a:lnTo>
                    <a:pt x="49" y="1107"/>
                  </a:lnTo>
                  <a:lnTo>
                    <a:pt x="53" y="1105"/>
                  </a:lnTo>
                  <a:lnTo>
                    <a:pt x="57" y="1105"/>
                  </a:lnTo>
                  <a:lnTo>
                    <a:pt x="57" y="1111"/>
                  </a:lnTo>
                  <a:lnTo>
                    <a:pt x="51" y="1111"/>
                  </a:lnTo>
                  <a:lnTo>
                    <a:pt x="49" y="1115"/>
                  </a:lnTo>
                  <a:lnTo>
                    <a:pt x="51" y="1117"/>
                  </a:lnTo>
                  <a:lnTo>
                    <a:pt x="49" y="1122"/>
                  </a:lnTo>
                  <a:lnTo>
                    <a:pt x="51" y="1130"/>
                  </a:lnTo>
                  <a:lnTo>
                    <a:pt x="53" y="1134"/>
                  </a:lnTo>
                  <a:lnTo>
                    <a:pt x="57" y="1134"/>
                  </a:lnTo>
                  <a:lnTo>
                    <a:pt x="57" y="1138"/>
                  </a:lnTo>
                  <a:lnTo>
                    <a:pt x="55" y="1139"/>
                  </a:lnTo>
                  <a:lnTo>
                    <a:pt x="51" y="1139"/>
                  </a:lnTo>
                  <a:lnTo>
                    <a:pt x="44" y="1126"/>
                  </a:lnTo>
                  <a:lnTo>
                    <a:pt x="44" y="1121"/>
                  </a:lnTo>
                  <a:lnTo>
                    <a:pt x="45" y="1121"/>
                  </a:lnTo>
                  <a:lnTo>
                    <a:pt x="40" y="1117"/>
                  </a:lnTo>
                  <a:lnTo>
                    <a:pt x="40" y="1115"/>
                  </a:lnTo>
                  <a:lnTo>
                    <a:pt x="42" y="1113"/>
                  </a:lnTo>
                  <a:lnTo>
                    <a:pt x="45" y="1113"/>
                  </a:lnTo>
                  <a:lnTo>
                    <a:pt x="42" y="1109"/>
                  </a:lnTo>
                  <a:lnTo>
                    <a:pt x="40" y="1109"/>
                  </a:lnTo>
                  <a:lnTo>
                    <a:pt x="42" y="1104"/>
                  </a:lnTo>
                  <a:lnTo>
                    <a:pt x="38" y="1102"/>
                  </a:lnTo>
                  <a:lnTo>
                    <a:pt x="40" y="1098"/>
                  </a:lnTo>
                  <a:lnTo>
                    <a:pt x="42" y="1100"/>
                  </a:lnTo>
                  <a:lnTo>
                    <a:pt x="44" y="1100"/>
                  </a:lnTo>
                  <a:lnTo>
                    <a:pt x="44" y="1096"/>
                  </a:lnTo>
                  <a:lnTo>
                    <a:pt x="42" y="1096"/>
                  </a:lnTo>
                  <a:lnTo>
                    <a:pt x="38" y="1092"/>
                  </a:lnTo>
                  <a:lnTo>
                    <a:pt x="38" y="1090"/>
                  </a:lnTo>
                  <a:lnTo>
                    <a:pt x="40" y="1087"/>
                  </a:lnTo>
                  <a:lnTo>
                    <a:pt x="40" y="1087"/>
                  </a:lnTo>
                  <a:lnTo>
                    <a:pt x="40" y="1087"/>
                  </a:lnTo>
                  <a:lnTo>
                    <a:pt x="40" y="1087"/>
                  </a:lnTo>
                  <a:close/>
                  <a:moveTo>
                    <a:pt x="87" y="1068"/>
                  </a:moveTo>
                  <a:lnTo>
                    <a:pt x="83" y="1062"/>
                  </a:lnTo>
                  <a:lnTo>
                    <a:pt x="89" y="1062"/>
                  </a:lnTo>
                  <a:lnTo>
                    <a:pt x="89" y="1066"/>
                  </a:lnTo>
                  <a:lnTo>
                    <a:pt x="87" y="1068"/>
                  </a:lnTo>
                  <a:lnTo>
                    <a:pt x="87" y="1068"/>
                  </a:lnTo>
                  <a:lnTo>
                    <a:pt x="87" y="1068"/>
                  </a:lnTo>
                  <a:lnTo>
                    <a:pt x="87" y="1068"/>
                  </a:lnTo>
                  <a:close/>
                  <a:moveTo>
                    <a:pt x="461" y="501"/>
                  </a:moveTo>
                  <a:lnTo>
                    <a:pt x="463" y="505"/>
                  </a:lnTo>
                  <a:lnTo>
                    <a:pt x="465" y="503"/>
                  </a:lnTo>
                  <a:lnTo>
                    <a:pt x="465" y="501"/>
                  </a:lnTo>
                  <a:lnTo>
                    <a:pt x="467" y="501"/>
                  </a:lnTo>
                  <a:lnTo>
                    <a:pt x="463" y="499"/>
                  </a:lnTo>
                  <a:lnTo>
                    <a:pt x="461" y="501"/>
                  </a:lnTo>
                  <a:lnTo>
                    <a:pt x="461" y="501"/>
                  </a:lnTo>
                  <a:lnTo>
                    <a:pt x="461" y="501"/>
                  </a:lnTo>
                  <a:lnTo>
                    <a:pt x="461" y="501"/>
                  </a:lnTo>
                  <a:close/>
                  <a:moveTo>
                    <a:pt x="426" y="465"/>
                  </a:moveTo>
                  <a:lnTo>
                    <a:pt x="428" y="467"/>
                  </a:lnTo>
                  <a:lnTo>
                    <a:pt x="431" y="465"/>
                  </a:lnTo>
                  <a:lnTo>
                    <a:pt x="431" y="463"/>
                  </a:lnTo>
                  <a:lnTo>
                    <a:pt x="428" y="463"/>
                  </a:lnTo>
                  <a:lnTo>
                    <a:pt x="426" y="465"/>
                  </a:lnTo>
                  <a:lnTo>
                    <a:pt x="426" y="465"/>
                  </a:lnTo>
                  <a:lnTo>
                    <a:pt x="426" y="465"/>
                  </a:lnTo>
                  <a:lnTo>
                    <a:pt x="426" y="465"/>
                  </a:lnTo>
                  <a:close/>
                  <a:moveTo>
                    <a:pt x="296" y="478"/>
                  </a:moveTo>
                  <a:lnTo>
                    <a:pt x="298" y="478"/>
                  </a:lnTo>
                  <a:lnTo>
                    <a:pt x="300" y="476"/>
                  </a:lnTo>
                  <a:lnTo>
                    <a:pt x="298" y="474"/>
                  </a:lnTo>
                  <a:lnTo>
                    <a:pt x="298" y="474"/>
                  </a:lnTo>
                  <a:lnTo>
                    <a:pt x="296" y="478"/>
                  </a:lnTo>
                  <a:lnTo>
                    <a:pt x="296" y="478"/>
                  </a:lnTo>
                  <a:lnTo>
                    <a:pt x="296" y="478"/>
                  </a:lnTo>
                  <a:lnTo>
                    <a:pt x="296" y="478"/>
                  </a:lnTo>
                  <a:close/>
                  <a:moveTo>
                    <a:pt x="296" y="484"/>
                  </a:moveTo>
                  <a:lnTo>
                    <a:pt x="294" y="482"/>
                  </a:lnTo>
                  <a:lnTo>
                    <a:pt x="296" y="482"/>
                  </a:lnTo>
                  <a:lnTo>
                    <a:pt x="298" y="484"/>
                  </a:lnTo>
                  <a:lnTo>
                    <a:pt x="296" y="484"/>
                  </a:lnTo>
                  <a:lnTo>
                    <a:pt x="296" y="484"/>
                  </a:lnTo>
                  <a:lnTo>
                    <a:pt x="296" y="484"/>
                  </a:lnTo>
                  <a:lnTo>
                    <a:pt x="296" y="484"/>
                  </a:lnTo>
                  <a:close/>
                  <a:moveTo>
                    <a:pt x="288" y="495"/>
                  </a:moveTo>
                  <a:lnTo>
                    <a:pt x="288" y="501"/>
                  </a:lnTo>
                  <a:lnTo>
                    <a:pt x="288" y="505"/>
                  </a:lnTo>
                  <a:lnTo>
                    <a:pt x="288" y="506"/>
                  </a:lnTo>
                  <a:lnTo>
                    <a:pt x="290" y="508"/>
                  </a:lnTo>
                  <a:lnTo>
                    <a:pt x="294" y="505"/>
                  </a:lnTo>
                  <a:lnTo>
                    <a:pt x="296" y="505"/>
                  </a:lnTo>
                  <a:lnTo>
                    <a:pt x="309" y="493"/>
                  </a:lnTo>
                  <a:lnTo>
                    <a:pt x="315" y="493"/>
                  </a:lnTo>
                  <a:lnTo>
                    <a:pt x="318" y="488"/>
                  </a:lnTo>
                  <a:lnTo>
                    <a:pt x="315" y="488"/>
                  </a:lnTo>
                  <a:lnTo>
                    <a:pt x="313" y="488"/>
                  </a:lnTo>
                  <a:lnTo>
                    <a:pt x="313" y="480"/>
                  </a:lnTo>
                  <a:lnTo>
                    <a:pt x="309" y="482"/>
                  </a:lnTo>
                  <a:lnTo>
                    <a:pt x="307" y="484"/>
                  </a:lnTo>
                  <a:lnTo>
                    <a:pt x="303" y="488"/>
                  </a:lnTo>
                  <a:lnTo>
                    <a:pt x="305" y="490"/>
                  </a:lnTo>
                  <a:lnTo>
                    <a:pt x="301" y="488"/>
                  </a:lnTo>
                  <a:lnTo>
                    <a:pt x="300" y="490"/>
                  </a:lnTo>
                  <a:lnTo>
                    <a:pt x="298" y="493"/>
                  </a:lnTo>
                  <a:lnTo>
                    <a:pt x="296" y="490"/>
                  </a:lnTo>
                  <a:lnTo>
                    <a:pt x="298" y="488"/>
                  </a:lnTo>
                  <a:lnTo>
                    <a:pt x="296" y="488"/>
                  </a:lnTo>
                  <a:lnTo>
                    <a:pt x="294" y="488"/>
                  </a:lnTo>
                  <a:lnTo>
                    <a:pt x="292" y="488"/>
                  </a:lnTo>
                  <a:lnTo>
                    <a:pt x="290" y="493"/>
                  </a:lnTo>
                  <a:lnTo>
                    <a:pt x="288" y="495"/>
                  </a:lnTo>
                  <a:lnTo>
                    <a:pt x="288" y="495"/>
                  </a:lnTo>
                  <a:lnTo>
                    <a:pt x="288" y="495"/>
                  </a:lnTo>
                  <a:lnTo>
                    <a:pt x="288" y="495"/>
                  </a:lnTo>
                  <a:close/>
                  <a:moveTo>
                    <a:pt x="275" y="506"/>
                  </a:moveTo>
                  <a:lnTo>
                    <a:pt x="275" y="503"/>
                  </a:lnTo>
                  <a:lnTo>
                    <a:pt x="275" y="495"/>
                  </a:lnTo>
                  <a:lnTo>
                    <a:pt x="273" y="499"/>
                  </a:lnTo>
                  <a:lnTo>
                    <a:pt x="271" y="503"/>
                  </a:lnTo>
                  <a:lnTo>
                    <a:pt x="271" y="503"/>
                  </a:lnTo>
                  <a:lnTo>
                    <a:pt x="271" y="505"/>
                  </a:lnTo>
                  <a:lnTo>
                    <a:pt x="271" y="505"/>
                  </a:lnTo>
                  <a:lnTo>
                    <a:pt x="275" y="506"/>
                  </a:lnTo>
                  <a:lnTo>
                    <a:pt x="275" y="506"/>
                  </a:lnTo>
                  <a:lnTo>
                    <a:pt x="275" y="506"/>
                  </a:lnTo>
                  <a:lnTo>
                    <a:pt x="275" y="506"/>
                  </a:lnTo>
                  <a:close/>
                  <a:moveTo>
                    <a:pt x="275" y="508"/>
                  </a:moveTo>
                  <a:lnTo>
                    <a:pt x="279" y="508"/>
                  </a:lnTo>
                  <a:lnTo>
                    <a:pt x="281" y="505"/>
                  </a:lnTo>
                  <a:lnTo>
                    <a:pt x="279" y="501"/>
                  </a:lnTo>
                  <a:lnTo>
                    <a:pt x="279" y="493"/>
                  </a:lnTo>
                  <a:lnTo>
                    <a:pt x="281" y="493"/>
                  </a:lnTo>
                  <a:lnTo>
                    <a:pt x="283" y="493"/>
                  </a:lnTo>
                  <a:lnTo>
                    <a:pt x="284" y="490"/>
                  </a:lnTo>
                  <a:lnTo>
                    <a:pt x="284" y="490"/>
                  </a:lnTo>
                  <a:lnTo>
                    <a:pt x="288" y="493"/>
                  </a:lnTo>
                  <a:lnTo>
                    <a:pt x="284" y="503"/>
                  </a:lnTo>
                  <a:lnTo>
                    <a:pt x="284" y="506"/>
                  </a:lnTo>
                  <a:lnTo>
                    <a:pt x="284" y="508"/>
                  </a:lnTo>
                  <a:lnTo>
                    <a:pt x="281" y="512"/>
                  </a:lnTo>
                  <a:lnTo>
                    <a:pt x="275" y="508"/>
                  </a:lnTo>
                  <a:lnTo>
                    <a:pt x="275" y="508"/>
                  </a:lnTo>
                  <a:lnTo>
                    <a:pt x="275" y="508"/>
                  </a:lnTo>
                  <a:lnTo>
                    <a:pt x="275" y="508"/>
                  </a:lnTo>
                  <a:close/>
                  <a:moveTo>
                    <a:pt x="283" y="527"/>
                  </a:moveTo>
                  <a:lnTo>
                    <a:pt x="284" y="523"/>
                  </a:lnTo>
                  <a:lnTo>
                    <a:pt x="283" y="518"/>
                  </a:lnTo>
                  <a:lnTo>
                    <a:pt x="283" y="514"/>
                  </a:lnTo>
                  <a:lnTo>
                    <a:pt x="279" y="514"/>
                  </a:lnTo>
                  <a:lnTo>
                    <a:pt x="273" y="508"/>
                  </a:lnTo>
                  <a:lnTo>
                    <a:pt x="271" y="508"/>
                  </a:lnTo>
                  <a:lnTo>
                    <a:pt x="271" y="512"/>
                  </a:lnTo>
                  <a:lnTo>
                    <a:pt x="279" y="518"/>
                  </a:lnTo>
                  <a:lnTo>
                    <a:pt x="273" y="514"/>
                  </a:lnTo>
                  <a:lnTo>
                    <a:pt x="273" y="518"/>
                  </a:lnTo>
                  <a:lnTo>
                    <a:pt x="275" y="520"/>
                  </a:lnTo>
                  <a:lnTo>
                    <a:pt x="283" y="527"/>
                  </a:lnTo>
                  <a:lnTo>
                    <a:pt x="283" y="527"/>
                  </a:lnTo>
                  <a:lnTo>
                    <a:pt x="283" y="527"/>
                  </a:lnTo>
                  <a:lnTo>
                    <a:pt x="283" y="527"/>
                  </a:lnTo>
                  <a:close/>
                  <a:moveTo>
                    <a:pt x="241" y="459"/>
                  </a:moveTo>
                  <a:lnTo>
                    <a:pt x="243" y="465"/>
                  </a:lnTo>
                  <a:lnTo>
                    <a:pt x="245" y="463"/>
                  </a:lnTo>
                  <a:lnTo>
                    <a:pt x="249" y="465"/>
                  </a:lnTo>
                  <a:lnTo>
                    <a:pt x="251" y="465"/>
                  </a:lnTo>
                  <a:lnTo>
                    <a:pt x="247" y="459"/>
                  </a:lnTo>
                  <a:lnTo>
                    <a:pt x="243" y="459"/>
                  </a:lnTo>
                  <a:lnTo>
                    <a:pt x="241" y="459"/>
                  </a:lnTo>
                  <a:lnTo>
                    <a:pt x="241" y="459"/>
                  </a:lnTo>
                  <a:lnTo>
                    <a:pt x="241" y="459"/>
                  </a:lnTo>
                  <a:lnTo>
                    <a:pt x="241" y="459"/>
                  </a:lnTo>
                  <a:close/>
                  <a:moveTo>
                    <a:pt x="164" y="1252"/>
                  </a:moveTo>
                  <a:lnTo>
                    <a:pt x="164" y="1252"/>
                  </a:lnTo>
                  <a:lnTo>
                    <a:pt x="160" y="1252"/>
                  </a:lnTo>
                  <a:lnTo>
                    <a:pt x="160" y="1245"/>
                  </a:lnTo>
                  <a:lnTo>
                    <a:pt x="164" y="1239"/>
                  </a:lnTo>
                  <a:lnTo>
                    <a:pt x="164" y="1234"/>
                  </a:lnTo>
                  <a:lnTo>
                    <a:pt x="162" y="1235"/>
                  </a:lnTo>
                  <a:lnTo>
                    <a:pt x="158" y="1239"/>
                  </a:lnTo>
                  <a:lnTo>
                    <a:pt x="153" y="1239"/>
                  </a:lnTo>
                  <a:lnTo>
                    <a:pt x="151" y="1235"/>
                  </a:lnTo>
                  <a:lnTo>
                    <a:pt x="151" y="1232"/>
                  </a:lnTo>
                  <a:lnTo>
                    <a:pt x="151" y="1232"/>
                  </a:lnTo>
                  <a:lnTo>
                    <a:pt x="153" y="1235"/>
                  </a:lnTo>
                  <a:lnTo>
                    <a:pt x="155" y="1235"/>
                  </a:lnTo>
                  <a:lnTo>
                    <a:pt x="155" y="1234"/>
                  </a:lnTo>
                  <a:lnTo>
                    <a:pt x="153" y="1230"/>
                  </a:lnTo>
                  <a:lnTo>
                    <a:pt x="153" y="1228"/>
                  </a:lnTo>
                  <a:lnTo>
                    <a:pt x="151" y="1228"/>
                  </a:lnTo>
                  <a:lnTo>
                    <a:pt x="147" y="1230"/>
                  </a:lnTo>
                  <a:lnTo>
                    <a:pt x="145" y="1226"/>
                  </a:lnTo>
                  <a:lnTo>
                    <a:pt x="141" y="1222"/>
                  </a:lnTo>
                  <a:lnTo>
                    <a:pt x="141" y="1220"/>
                  </a:lnTo>
                  <a:lnTo>
                    <a:pt x="147" y="1217"/>
                  </a:lnTo>
                  <a:lnTo>
                    <a:pt x="147" y="1211"/>
                  </a:lnTo>
                  <a:lnTo>
                    <a:pt x="151" y="1211"/>
                  </a:lnTo>
                  <a:lnTo>
                    <a:pt x="151" y="1211"/>
                  </a:lnTo>
                  <a:lnTo>
                    <a:pt x="147" y="1211"/>
                  </a:lnTo>
                  <a:lnTo>
                    <a:pt x="141" y="1211"/>
                  </a:lnTo>
                  <a:lnTo>
                    <a:pt x="141" y="1209"/>
                  </a:lnTo>
                  <a:lnTo>
                    <a:pt x="141" y="1205"/>
                  </a:lnTo>
                  <a:lnTo>
                    <a:pt x="147" y="1202"/>
                  </a:lnTo>
                  <a:lnTo>
                    <a:pt x="147" y="1196"/>
                  </a:lnTo>
                  <a:lnTo>
                    <a:pt x="147" y="1194"/>
                  </a:lnTo>
                  <a:lnTo>
                    <a:pt x="147" y="1192"/>
                  </a:lnTo>
                  <a:lnTo>
                    <a:pt x="147" y="1192"/>
                  </a:lnTo>
                  <a:lnTo>
                    <a:pt x="145" y="1196"/>
                  </a:lnTo>
                  <a:lnTo>
                    <a:pt x="145" y="1202"/>
                  </a:lnTo>
                  <a:lnTo>
                    <a:pt x="141" y="1209"/>
                  </a:lnTo>
                  <a:lnTo>
                    <a:pt x="138" y="1209"/>
                  </a:lnTo>
                  <a:lnTo>
                    <a:pt x="136" y="1205"/>
                  </a:lnTo>
                  <a:lnTo>
                    <a:pt x="134" y="1205"/>
                  </a:lnTo>
                  <a:lnTo>
                    <a:pt x="134" y="1202"/>
                  </a:lnTo>
                  <a:lnTo>
                    <a:pt x="136" y="1202"/>
                  </a:lnTo>
                  <a:lnTo>
                    <a:pt x="136" y="1202"/>
                  </a:lnTo>
                  <a:lnTo>
                    <a:pt x="132" y="1202"/>
                  </a:lnTo>
                  <a:lnTo>
                    <a:pt x="130" y="1205"/>
                  </a:lnTo>
                  <a:lnTo>
                    <a:pt x="128" y="1205"/>
                  </a:lnTo>
                  <a:lnTo>
                    <a:pt x="128" y="1202"/>
                  </a:lnTo>
                  <a:lnTo>
                    <a:pt x="126" y="1202"/>
                  </a:lnTo>
                  <a:lnTo>
                    <a:pt x="126" y="1205"/>
                  </a:lnTo>
                  <a:lnTo>
                    <a:pt x="121" y="1202"/>
                  </a:lnTo>
                  <a:lnTo>
                    <a:pt x="121" y="1202"/>
                  </a:lnTo>
                  <a:lnTo>
                    <a:pt x="126" y="1200"/>
                  </a:lnTo>
                  <a:lnTo>
                    <a:pt x="126" y="1200"/>
                  </a:lnTo>
                  <a:lnTo>
                    <a:pt x="132" y="1198"/>
                  </a:lnTo>
                  <a:lnTo>
                    <a:pt x="136" y="1194"/>
                  </a:lnTo>
                  <a:lnTo>
                    <a:pt x="138" y="1190"/>
                  </a:lnTo>
                  <a:lnTo>
                    <a:pt x="138" y="1186"/>
                  </a:lnTo>
                  <a:lnTo>
                    <a:pt x="138" y="1190"/>
                  </a:lnTo>
                  <a:lnTo>
                    <a:pt x="134" y="1192"/>
                  </a:lnTo>
                  <a:lnTo>
                    <a:pt x="132" y="1196"/>
                  </a:lnTo>
                  <a:lnTo>
                    <a:pt x="130" y="1198"/>
                  </a:lnTo>
                  <a:lnTo>
                    <a:pt x="126" y="1196"/>
                  </a:lnTo>
                  <a:lnTo>
                    <a:pt x="123" y="1194"/>
                  </a:lnTo>
                  <a:lnTo>
                    <a:pt x="121" y="1192"/>
                  </a:lnTo>
                  <a:lnTo>
                    <a:pt x="121" y="1192"/>
                  </a:lnTo>
                  <a:lnTo>
                    <a:pt x="123" y="1190"/>
                  </a:lnTo>
                  <a:lnTo>
                    <a:pt x="121" y="1188"/>
                  </a:lnTo>
                  <a:lnTo>
                    <a:pt x="117" y="1190"/>
                  </a:lnTo>
                  <a:lnTo>
                    <a:pt x="113" y="1188"/>
                  </a:lnTo>
                  <a:lnTo>
                    <a:pt x="111" y="1188"/>
                  </a:lnTo>
                  <a:lnTo>
                    <a:pt x="111" y="1192"/>
                  </a:lnTo>
                  <a:lnTo>
                    <a:pt x="108" y="1188"/>
                  </a:lnTo>
                  <a:lnTo>
                    <a:pt x="106" y="1185"/>
                  </a:lnTo>
                  <a:lnTo>
                    <a:pt x="106" y="1185"/>
                  </a:lnTo>
                  <a:lnTo>
                    <a:pt x="109" y="1185"/>
                  </a:lnTo>
                  <a:lnTo>
                    <a:pt x="113" y="1186"/>
                  </a:lnTo>
                  <a:lnTo>
                    <a:pt x="117" y="1185"/>
                  </a:lnTo>
                  <a:lnTo>
                    <a:pt x="117" y="1185"/>
                  </a:lnTo>
                  <a:lnTo>
                    <a:pt x="117" y="1185"/>
                  </a:lnTo>
                  <a:lnTo>
                    <a:pt x="111" y="1185"/>
                  </a:lnTo>
                  <a:lnTo>
                    <a:pt x="109" y="1185"/>
                  </a:lnTo>
                  <a:lnTo>
                    <a:pt x="109" y="1181"/>
                  </a:lnTo>
                  <a:lnTo>
                    <a:pt x="113" y="1185"/>
                  </a:lnTo>
                  <a:lnTo>
                    <a:pt x="117" y="1181"/>
                  </a:lnTo>
                  <a:lnTo>
                    <a:pt x="117" y="1181"/>
                  </a:lnTo>
                  <a:lnTo>
                    <a:pt x="113" y="1181"/>
                  </a:lnTo>
                  <a:lnTo>
                    <a:pt x="111" y="1181"/>
                  </a:lnTo>
                  <a:lnTo>
                    <a:pt x="106" y="1181"/>
                  </a:lnTo>
                  <a:lnTo>
                    <a:pt x="104" y="1181"/>
                  </a:lnTo>
                  <a:lnTo>
                    <a:pt x="102" y="1177"/>
                  </a:lnTo>
                  <a:lnTo>
                    <a:pt x="102" y="1177"/>
                  </a:lnTo>
                  <a:lnTo>
                    <a:pt x="106" y="1175"/>
                  </a:lnTo>
                  <a:lnTo>
                    <a:pt x="109" y="1177"/>
                  </a:lnTo>
                  <a:lnTo>
                    <a:pt x="113" y="1177"/>
                  </a:lnTo>
                  <a:lnTo>
                    <a:pt x="113" y="1175"/>
                  </a:lnTo>
                  <a:lnTo>
                    <a:pt x="111" y="1175"/>
                  </a:lnTo>
                  <a:lnTo>
                    <a:pt x="108" y="1171"/>
                  </a:lnTo>
                  <a:lnTo>
                    <a:pt x="104" y="1171"/>
                  </a:lnTo>
                  <a:lnTo>
                    <a:pt x="104" y="1171"/>
                  </a:lnTo>
                  <a:lnTo>
                    <a:pt x="109" y="1171"/>
                  </a:lnTo>
                  <a:lnTo>
                    <a:pt x="111" y="1171"/>
                  </a:lnTo>
                  <a:lnTo>
                    <a:pt x="113" y="1171"/>
                  </a:lnTo>
                  <a:lnTo>
                    <a:pt x="113" y="1170"/>
                  </a:lnTo>
                  <a:lnTo>
                    <a:pt x="113" y="1168"/>
                  </a:lnTo>
                  <a:lnTo>
                    <a:pt x="113" y="1166"/>
                  </a:lnTo>
                  <a:lnTo>
                    <a:pt x="121" y="1166"/>
                  </a:lnTo>
                  <a:lnTo>
                    <a:pt x="123" y="1166"/>
                  </a:lnTo>
                  <a:lnTo>
                    <a:pt x="123" y="1164"/>
                  </a:lnTo>
                  <a:lnTo>
                    <a:pt x="117" y="1164"/>
                  </a:lnTo>
                  <a:lnTo>
                    <a:pt x="117" y="1162"/>
                  </a:lnTo>
                  <a:lnTo>
                    <a:pt x="113" y="1162"/>
                  </a:lnTo>
                  <a:lnTo>
                    <a:pt x="113" y="1164"/>
                  </a:lnTo>
                  <a:lnTo>
                    <a:pt x="109" y="1166"/>
                  </a:lnTo>
                  <a:lnTo>
                    <a:pt x="108" y="1168"/>
                  </a:lnTo>
                  <a:lnTo>
                    <a:pt x="106" y="1166"/>
                  </a:lnTo>
                  <a:lnTo>
                    <a:pt x="106" y="1164"/>
                  </a:lnTo>
                  <a:lnTo>
                    <a:pt x="106" y="1160"/>
                  </a:lnTo>
                  <a:lnTo>
                    <a:pt x="108" y="1160"/>
                  </a:lnTo>
                  <a:lnTo>
                    <a:pt x="111" y="1156"/>
                  </a:lnTo>
                  <a:lnTo>
                    <a:pt x="113" y="1153"/>
                  </a:lnTo>
                  <a:lnTo>
                    <a:pt x="121" y="1147"/>
                  </a:lnTo>
                  <a:lnTo>
                    <a:pt x="126" y="1147"/>
                  </a:lnTo>
                  <a:lnTo>
                    <a:pt x="126" y="1147"/>
                  </a:lnTo>
                  <a:lnTo>
                    <a:pt x="126" y="1153"/>
                  </a:lnTo>
                  <a:lnTo>
                    <a:pt x="128" y="1156"/>
                  </a:lnTo>
                  <a:lnTo>
                    <a:pt x="128" y="1154"/>
                  </a:lnTo>
                  <a:lnTo>
                    <a:pt x="128" y="1151"/>
                  </a:lnTo>
                  <a:lnTo>
                    <a:pt x="128" y="1145"/>
                  </a:lnTo>
                  <a:lnTo>
                    <a:pt x="132" y="1145"/>
                  </a:lnTo>
                  <a:lnTo>
                    <a:pt x="136" y="1145"/>
                  </a:lnTo>
                  <a:lnTo>
                    <a:pt x="132" y="1143"/>
                  </a:lnTo>
                  <a:lnTo>
                    <a:pt x="128" y="1143"/>
                  </a:lnTo>
                  <a:lnTo>
                    <a:pt x="126" y="1145"/>
                  </a:lnTo>
                  <a:lnTo>
                    <a:pt x="123" y="1141"/>
                  </a:lnTo>
                  <a:lnTo>
                    <a:pt x="126" y="1139"/>
                  </a:lnTo>
                  <a:lnTo>
                    <a:pt x="128" y="1138"/>
                  </a:lnTo>
                  <a:lnTo>
                    <a:pt x="132" y="1136"/>
                  </a:lnTo>
                  <a:lnTo>
                    <a:pt x="136" y="1130"/>
                  </a:lnTo>
                  <a:lnTo>
                    <a:pt x="134" y="1126"/>
                  </a:lnTo>
                  <a:lnTo>
                    <a:pt x="134" y="1128"/>
                  </a:lnTo>
                  <a:lnTo>
                    <a:pt x="132" y="1132"/>
                  </a:lnTo>
                  <a:lnTo>
                    <a:pt x="128" y="1134"/>
                  </a:lnTo>
                  <a:lnTo>
                    <a:pt x="126" y="1134"/>
                  </a:lnTo>
                  <a:lnTo>
                    <a:pt x="121" y="1139"/>
                  </a:lnTo>
                  <a:lnTo>
                    <a:pt x="117" y="1143"/>
                  </a:lnTo>
                  <a:lnTo>
                    <a:pt x="111" y="1145"/>
                  </a:lnTo>
                  <a:lnTo>
                    <a:pt x="109" y="1141"/>
                  </a:lnTo>
                  <a:lnTo>
                    <a:pt x="109" y="1139"/>
                  </a:lnTo>
                  <a:lnTo>
                    <a:pt x="113" y="1139"/>
                  </a:lnTo>
                  <a:lnTo>
                    <a:pt x="109" y="1139"/>
                  </a:lnTo>
                  <a:lnTo>
                    <a:pt x="104" y="1141"/>
                  </a:lnTo>
                  <a:lnTo>
                    <a:pt x="102" y="1139"/>
                  </a:lnTo>
                  <a:lnTo>
                    <a:pt x="104" y="1138"/>
                  </a:lnTo>
                  <a:lnTo>
                    <a:pt x="108" y="1134"/>
                  </a:lnTo>
                  <a:lnTo>
                    <a:pt x="111" y="1132"/>
                  </a:lnTo>
                  <a:lnTo>
                    <a:pt x="113" y="1132"/>
                  </a:lnTo>
                  <a:lnTo>
                    <a:pt x="117" y="1132"/>
                  </a:lnTo>
                  <a:lnTo>
                    <a:pt x="117" y="1130"/>
                  </a:lnTo>
                  <a:lnTo>
                    <a:pt x="113" y="1128"/>
                  </a:lnTo>
                  <a:lnTo>
                    <a:pt x="113" y="1126"/>
                  </a:lnTo>
                  <a:lnTo>
                    <a:pt x="117" y="1126"/>
                  </a:lnTo>
                  <a:lnTo>
                    <a:pt x="113" y="1122"/>
                  </a:lnTo>
                  <a:lnTo>
                    <a:pt x="111" y="1126"/>
                  </a:lnTo>
                  <a:lnTo>
                    <a:pt x="109" y="1126"/>
                  </a:lnTo>
                  <a:lnTo>
                    <a:pt x="109" y="1121"/>
                  </a:lnTo>
                  <a:lnTo>
                    <a:pt x="108" y="1115"/>
                  </a:lnTo>
                  <a:lnTo>
                    <a:pt x="106" y="1113"/>
                  </a:lnTo>
                  <a:lnTo>
                    <a:pt x="106" y="1109"/>
                  </a:lnTo>
                  <a:lnTo>
                    <a:pt x="108" y="1105"/>
                  </a:lnTo>
                  <a:lnTo>
                    <a:pt x="113" y="1107"/>
                  </a:lnTo>
                  <a:lnTo>
                    <a:pt x="117" y="1109"/>
                  </a:lnTo>
                  <a:lnTo>
                    <a:pt x="121" y="1107"/>
                  </a:lnTo>
                  <a:lnTo>
                    <a:pt x="123" y="1111"/>
                  </a:lnTo>
                  <a:lnTo>
                    <a:pt x="123" y="1107"/>
                  </a:lnTo>
                  <a:lnTo>
                    <a:pt x="121" y="1107"/>
                  </a:lnTo>
                  <a:lnTo>
                    <a:pt x="117" y="1107"/>
                  </a:lnTo>
                  <a:lnTo>
                    <a:pt x="113" y="1104"/>
                  </a:lnTo>
                  <a:lnTo>
                    <a:pt x="111" y="1102"/>
                  </a:lnTo>
                  <a:lnTo>
                    <a:pt x="111" y="1100"/>
                  </a:lnTo>
                  <a:lnTo>
                    <a:pt x="113" y="1096"/>
                  </a:lnTo>
                  <a:lnTo>
                    <a:pt x="113" y="1096"/>
                  </a:lnTo>
                  <a:lnTo>
                    <a:pt x="117" y="1092"/>
                  </a:lnTo>
                  <a:lnTo>
                    <a:pt x="117" y="1087"/>
                  </a:lnTo>
                  <a:lnTo>
                    <a:pt x="113" y="1090"/>
                  </a:lnTo>
                  <a:lnTo>
                    <a:pt x="111" y="1092"/>
                  </a:lnTo>
                  <a:lnTo>
                    <a:pt x="108" y="1096"/>
                  </a:lnTo>
                  <a:lnTo>
                    <a:pt x="102" y="1096"/>
                  </a:lnTo>
                  <a:lnTo>
                    <a:pt x="100" y="1100"/>
                  </a:lnTo>
                  <a:lnTo>
                    <a:pt x="98" y="1102"/>
                  </a:lnTo>
                  <a:lnTo>
                    <a:pt x="96" y="1102"/>
                  </a:lnTo>
                  <a:lnTo>
                    <a:pt x="96" y="1096"/>
                  </a:lnTo>
                  <a:lnTo>
                    <a:pt x="93" y="1090"/>
                  </a:lnTo>
                  <a:lnTo>
                    <a:pt x="93" y="1083"/>
                  </a:lnTo>
                  <a:lnTo>
                    <a:pt x="96" y="1075"/>
                  </a:lnTo>
                  <a:lnTo>
                    <a:pt x="96" y="1073"/>
                  </a:lnTo>
                  <a:lnTo>
                    <a:pt x="93" y="1073"/>
                  </a:lnTo>
                  <a:lnTo>
                    <a:pt x="93" y="1068"/>
                  </a:lnTo>
                  <a:lnTo>
                    <a:pt x="93" y="1066"/>
                  </a:lnTo>
                  <a:lnTo>
                    <a:pt x="96" y="1068"/>
                  </a:lnTo>
                  <a:lnTo>
                    <a:pt x="96" y="1068"/>
                  </a:lnTo>
                  <a:lnTo>
                    <a:pt x="96" y="1066"/>
                  </a:lnTo>
                  <a:lnTo>
                    <a:pt x="100" y="1062"/>
                  </a:lnTo>
                  <a:lnTo>
                    <a:pt x="102" y="1057"/>
                  </a:lnTo>
                  <a:lnTo>
                    <a:pt x="106" y="1057"/>
                  </a:lnTo>
                  <a:lnTo>
                    <a:pt x="109" y="1057"/>
                  </a:lnTo>
                  <a:lnTo>
                    <a:pt x="111" y="1057"/>
                  </a:lnTo>
                  <a:lnTo>
                    <a:pt x="109" y="1053"/>
                  </a:lnTo>
                  <a:lnTo>
                    <a:pt x="108" y="1053"/>
                  </a:lnTo>
                  <a:lnTo>
                    <a:pt x="113" y="1047"/>
                  </a:lnTo>
                  <a:lnTo>
                    <a:pt x="113" y="1045"/>
                  </a:lnTo>
                  <a:lnTo>
                    <a:pt x="121" y="1041"/>
                  </a:lnTo>
                  <a:lnTo>
                    <a:pt x="121" y="1040"/>
                  </a:lnTo>
                  <a:lnTo>
                    <a:pt x="117" y="1040"/>
                  </a:lnTo>
                  <a:lnTo>
                    <a:pt x="117" y="1038"/>
                  </a:lnTo>
                  <a:lnTo>
                    <a:pt x="113" y="1041"/>
                  </a:lnTo>
                  <a:lnTo>
                    <a:pt x="113" y="1045"/>
                  </a:lnTo>
                  <a:lnTo>
                    <a:pt x="106" y="1053"/>
                  </a:lnTo>
                  <a:lnTo>
                    <a:pt x="106" y="1053"/>
                  </a:lnTo>
                  <a:lnTo>
                    <a:pt x="106" y="1049"/>
                  </a:lnTo>
                  <a:lnTo>
                    <a:pt x="109" y="1045"/>
                  </a:lnTo>
                  <a:lnTo>
                    <a:pt x="109" y="1038"/>
                  </a:lnTo>
                  <a:lnTo>
                    <a:pt x="113" y="1028"/>
                  </a:lnTo>
                  <a:lnTo>
                    <a:pt x="117" y="1026"/>
                  </a:lnTo>
                  <a:lnTo>
                    <a:pt x="117" y="1023"/>
                  </a:lnTo>
                  <a:lnTo>
                    <a:pt x="117" y="1023"/>
                  </a:lnTo>
                  <a:lnTo>
                    <a:pt x="117" y="1021"/>
                  </a:lnTo>
                  <a:lnTo>
                    <a:pt x="117" y="1021"/>
                  </a:lnTo>
                  <a:lnTo>
                    <a:pt x="117" y="1019"/>
                  </a:lnTo>
                  <a:lnTo>
                    <a:pt x="117" y="1017"/>
                  </a:lnTo>
                  <a:lnTo>
                    <a:pt x="117" y="1015"/>
                  </a:lnTo>
                  <a:lnTo>
                    <a:pt x="113" y="1013"/>
                  </a:lnTo>
                  <a:lnTo>
                    <a:pt x="113" y="1009"/>
                  </a:lnTo>
                  <a:lnTo>
                    <a:pt x="113" y="1006"/>
                  </a:lnTo>
                  <a:lnTo>
                    <a:pt x="109" y="1004"/>
                  </a:lnTo>
                  <a:lnTo>
                    <a:pt x="108" y="1002"/>
                  </a:lnTo>
                  <a:lnTo>
                    <a:pt x="106" y="998"/>
                  </a:lnTo>
                  <a:lnTo>
                    <a:pt x="102" y="996"/>
                  </a:lnTo>
                  <a:lnTo>
                    <a:pt x="100" y="994"/>
                  </a:lnTo>
                  <a:lnTo>
                    <a:pt x="96" y="994"/>
                  </a:lnTo>
                  <a:lnTo>
                    <a:pt x="96" y="992"/>
                  </a:lnTo>
                  <a:lnTo>
                    <a:pt x="98" y="989"/>
                  </a:lnTo>
                  <a:lnTo>
                    <a:pt x="96" y="989"/>
                  </a:lnTo>
                  <a:lnTo>
                    <a:pt x="96" y="987"/>
                  </a:lnTo>
                  <a:lnTo>
                    <a:pt x="96" y="985"/>
                  </a:lnTo>
                  <a:lnTo>
                    <a:pt x="96" y="983"/>
                  </a:lnTo>
                  <a:lnTo>
                    <a:pt x="98" y="981"/>
                  </a:lnTo>
                  <a:lnTo>
                    <a:pt x="96" y="979"/>
                  </a:lnTo>
                  <a:lnTo>
                    <a:pt x="96" y="979"/>
                  </a:lnTo>
                  <a:lnTo>
                    <a:pt x="93" y="979"/>
                  </a:lnTo>
                  <a:lnTo>
                    <a:pt x="93" y="977"/>
                  </a:lnTo>
                  <a:lnTo>
                    <a:pt x="96" y="974"/>
                  </a:lnTo>
                  <a:lnTo>
                    <a:pt x="96" y="962"/>
                  </a:lnTo>
                  <a:lnTo>
                    <a:pt x="96" y="947"/>
                  </a:lnTo>
                  <a:lnTo>
                    <a:pt x="96" y="938"/>
                  </a:lnTo>
                  <a:lnTo>
                    <a:pt x="96" y="934"/>
                  </a:lnTo>
                  <a:lnTo>
                    <a:pt x="96" y="930"/>
                  </a:lnTo>
                  <a:lnTo>
                    <a:pt x="96" y="928"/>
                  </a:lnTo>
                  <a:lnTo>
                    <a:pt x="96" y="925"/>
                  </a:lnTo>
                  <a:lnTo>
                    <a:pt x="96" y="921"/>
                  </a:lnTo>
                  <a:lnTo>
                    <a:pt x="96" y="913"/>
                  </a:lnTo>
                  <a:lnTo>
                    <a:pt x="89" y="910"/>
                  </a:lnTo>
                  <a:lnTo>
                    <a:pt x="89" y="904"/>
                  </a:lnTo>
                  <a:lnTo>
                    <a:pt x="89" y="900"/>
                  </a:lnTo>
                  <a:lnTo>
                    <a:pt x="87" y="889"/>
                  </a:lnTo>
                  <a:lnTo>
                    <a:pt x="89" y="885"/>
                  </a:lnTo>
                  <a:lnTo>
                    <a:pt x="89" y="883"/>
                  </a:lnTo>
                  <a:lnTo>
                    <a:pt x="89" y="879"/>
                  </a:lnTo>
                  <a:lnTo>
                    <a:pt x="89" y="876"/>
                  </a:lnTo>
                  <a:lnTo>
                    <a:pt x="83" y="870"/>
                  </a:lnTo>
                  <a:lnTo>
                    <a:pt x="79" y="874"/>
                  </a:lnTo>
                  <a:lnTo>
                    <a:pt x="74" y="876"/>
                  </a:lnTo>
                  <a:lnTo>
                    <a:pt x="72" y="876"/>
                  </a:lnTo>
                  <a:lnTo>
                    <a:pt x="64" y="876"/>
                  </a:lnTo>
                  <a:lnTo>
                    <a:pt x="62" y="883"/>
                  </a:lnTo>
                  <a:lnTo>
                    <a:pt x="57" y="889"/>
                  </a:lnTo>
                  <a:lnTo>
                    <a:pt x="51" y="891"/>
                  </a:lnTo>
                  <a:lnTo>
                    <a:pt x="45" y="893"/>
                  </a:lnTo>
                  <a:lnTo>
                    <a:pt x="38" y="895"/>
                  </a:lnTo>
                  <a:lnTo>
                    <a:pt x="38" y="895"/>
                  </a:lnTo>
                  <a:lnTo>
                    <a:pt x="38" y="891"/>
                  </a:lnTo>
                  <a:lnTo>
                    <a:pt x="40" y="885"/>
                  </a:lnTo>
                  <a:lnTo>
                    <a:pt x="38" y="883"/>
                  </a:lnTo>
                  <a:lnTo>
                    <a:pt x="34" y="861"/>
                  </a:lnTo>
                  <a:lnTo>
                    <a:pt x="30" y="849"/>
                  </a:lnTo>
                  <a:lnTo>
                    <a:pt x="29" y="846"/>
                  </a:lnTo>
                  <a:lnTo>
                    <a:pt x="32" y="838"/>
                  </a:lnTo>
                  <a:lnTo>
                    <a:pt x="23" y="836"/>
                  </a:lnTo>
                  <a:lnTo>
                    <a:pt x="15" y="840"/>
                  </a:lnTo>
                  <a:lnTo>
                    <a:pt x="13" y="838"/>
                  </a:lnTo>
                  <a:lnTo>
                    <a:pt x="0" y="838"/>
                  </a:lnTo>
                  <a:lnTo>
                    <a:pt x="213" y="446"/>
                  </a:lnTo>
                  <a:lnTo>
                    <a:pt x="215" y="448"/>
                  </a:lnTo>
                  <a:lnTo>
                    <a:pt x="217" y="448"/>
                  </a:lnTo>
                  <a:lnTo>
                    <a:pt x="226" y="458"/>
                  </a:lnTo>
                  <a:lnTo>
                    <a:pt x="230" y="458"/>
                  </a:lnTo>
                  <a:lnTo>
                    <a:pt x="234" y="459"/>
                  </a:lnTo>
                  <a:lnTo>
                    <a:pt x="234" y="463"/>
                  </a:lnTo>
                  <a:lnTo>
                    <a:pt x="236" y="463"/>
                  </a:lnTo>
                  <a:lnTo>
                    <a:pt x="239" y="463"/>
                  </a:lnTo>
                  <a:lnTo>
                    <a:pt x="239" y="467"/>
                  </a:lnTo>
                  <a:lnTo>
                    <a:pt x="245" y="473"/>
                  </a:lnTo>
                  <a:lnTo>
                    <a:pt x="243" y="474"/>
                  </a:lnTo>
                  <a:lnTo>
                    <a:pt x="243" y="476"/>
                  </a:lnTo>
                  <a:lnTo>
                    <a:pt x="241" y="480"/>
                  </a:lnTo>
                  <a:lnTo>
                    <a:pt x="243" y="484"/>
                  </a:lnTo>
                  <a:lnTo>
                    <a:pt x="245" y="484"/>
                  </a:lnTo>
                  <a:lnTo>
                    <a:pt x="247" y="484"/>
                  </a:lnTo>
                  <a:lnTo>
                    <a:pt x="249" y="484"/>
                  </a:lnTo>
                  <a:lnTo>
                    <a:pt x="249" y="488"/>
                  </a:lnTo>
                  <a:lnTo>
                    <a:pt x="249" y="493"/>
                  </a:lnTo>
                  <a:lnTo>
                    <a:pt x="254" y="501"/>
                  </a:lnTo>
                  <a:lnTo>
                    <a:pt x="260" y="503"/>
                  </a:lnTo>
                  <a:lnTo>
                    <a:pt x="260" y="503"/>
                  </a:lnTo>
                  <a:lnTo>
                    <a:pt x="264" y="505"/>
                  </a:lnTo>
                  <a:lnTo>
                    <a:pt x="264" y="506"/>
                  </a:lnTo>
                  <a:lnTo>
                    <a:pt x="264" y="508"/>
                  </a:lnTo>
                  <a:lnTo>
                    <a:pt x="266" y="508"/>
                  </a:lnTo>
                  <a:lnTo>
                    <a:pt x="269" y="514"/>
                  </a:lnTo>
                  <a:lnTo>
                    <a:pt x="269" y="518"/>
                  </a:lnTo>
                  <a:lnTo>
                    <a:pt x="273" y="518"/>
                  </a:lnTo>
                  <a:lnTo>
                    <a:pt x="275" y="522"/>
                  </a:lnTo>
                  <a:lnTo>
                    <a:pt x="275" y="522"/>
                  </a:lnTo>
                  <a:lnTo>
                    <a:pt x="281" y="527"/>
                  </a:lnTo>
                  <a:lnTo>
                    <a:pt x="281" y="531"/>
                  </a:lnTo>
                  <a:lnTo>
                    <a:pt x="283" y="531"/>
                  </a:lnTo>
                  <a:lnTo>
                    <a:pt x="283" y="535"/>
                  </a:lnTo>
                  <a:lnTo>
                    <a:pt x="279" y="539"/>
                  </a:lnTo>
                  <a:lnTo>
                    <a:pt x="275" y="542"/>
                  </a:lnTo>
                  <a:lnTo>
                    <a:pt x="284" y="535"/>
                  </a:lnTo>
                  <a:lnTo>
                    <a:pt x="288" y="533"/>
                  </a:lnTo>
                  <a:lnTo>
                    <a:pt x="288" y="535"/>
                  </a:lnTo>
                  <a:lnTo>
                    <a:pt x="288" y="529"/>
                  </a:lnTo>
                  <a:lnTo>
                    <a:pt x="288" y="518"/>
                  </a:lnTo>
                  <a:lnTo>
                    <a:pt x="288" y="514"/>
                  </a:lnTo>
                  <a:lnTo>
                    <a:pt x="290" y="510"/>
                  </a:lnTo>
                  <a:lnTo>
                    <a:pt x="298" y="508"/>
                  </a:lnTo>
                  <a:lnTo>
                    <a:pt x="301" y="505"/>
                  </a:lnTo>
                  <a:lnTo>
                    <a:pt x="305" y="503"/>
                  </a:lnTo>
                  <a:lnTo>
                    <a:pt x="309" y="501"/>
                  </a:lnTo>
                  <a:lnTo>
                    <a:pt x="309" y="499"/>
                  </a:lnTo>
                  <a:lnTo>
                    <a:pt x="313" y="499"/>
                  </a:lnTo>
                  <a:lnTo>
                    <a:pt x="315" y="497"/>
                  </a:lnTo>
                  <a:lnTo>
                    <a:pt x="318" y="497"/>
                  </a:lnTo>
                  <a:lnTo>
                    <a:pt x="320" y="497"/>
                  </a:lnTo>
                  <a:lnTo>
                    <a:pt x="324" y="497"/>
                  </a:lnTo>
                  <a:lnTo>
                    <a:pt x="326" y="499"/>
                  </a:lnTo>
                  <a:lnTo>
                    <a:pt x="332" y="493"/>
                  </a:lnTo>
                  <a:lnTo>
                    <a:pt x="332" y="490"/>
                  </a:lnTo>
                  <a:lnTo>
                    <a:pt x="333" y="488"/>
                  </a:lnTo>
                  <a:lnTo>
                    <a:pt x="339" y="490"/>
                  </a:lnTo>
                  <a:lnTo>
                    <a:pt x="339" y="488"/>
                  </a:lnTo>
                  <a:lnTo>
                    <a:pt x="339" y="488"/>
                  </a:lnTo>
                  <a:lnTo>
                    <a:pt x="343" y="488"/>
                  </a:lnTo>
                  <a:lnTo>
                    <a:pt x="343" y="488"/>
                  </a:lnTo>
                  <a:lnTo>
                    <a:pt x="354" y="488"/>
                  </a:lnTo>
                  <a:lnTo>
                    <a:pt x="364" y="484"/>
                  </a:lnTo>
                  <a:lnTo>
                    <a:pt x="367" y="484"/>
                  </a:lnTo>
                  <a:lnTo>
                    <a:pt x="367" y="484"/>
                  </a:lnTo>
                  <a:lnTo>
                    <a:pt x="369" y="488"/>
                  </a:lnTo>
                  <a:lnTo>
                    <a:pt x="371" y="484"/>
                  </a:lnTo>
                  <a:lnTo>
                    <a:pt x="373" y="482"/>
                  </a:lnTo>
                  <a:lnTo>
                    <a:pt x="379" y="478"/>
                  </a:lnTo>
                  <a:lnTo>
                    <a:pt x="382" y="478"/>
                  </a:lnTo>
                  <a:lnTo>
                    <a:pt x="384" y="480"/>
                  </a:lnTo>
                  <a:lnTo>
                    <a:pt x="386" y="480"/>
                  </a:lnTo>
                  <a:lnTo>
                    <a:pt x="388" y="482"/>
                  </a:lnTo>
                  <a:lnTo>
                    <a:pt x="388" y="482"/>
                  </a:lnTo>
                  <a:lnTo>
                    <a:pt x="388" y="478"/>
                  </a:lnTo>
                  <a:lnTo>
                    <a:pt x="392" y="476"/>
                  </a:lnTo>
                  <a:lnTo>
                    <a:pt x="394" y="478"/>
                  </a:lnTo>
                  <a:lnTo>
                    <a:pt x="394" y="482"/>
                  </a:lnTo>
                  <a:lnTo>
                    <a:pt x="397" y="484"/>
                  </a:lnTo>
                  <a:lnTo>
                    <a:pt x="394" y="484"/>
                  </a:lnTo>
                  <a:lnTo>
                    <a:pt x="392" y="484"/>
                  </a:lnTo>
                  <a:lnTo>
                    <a:pt x="392" y="488"/>
                  </a:lnTo>
                  <a:lnTo>
                    <a:pt x="384" y="490"/>
                  </a:lnTo>
                  <a:lnTo>
                    <a:pt x="377" y="493"/>
                  </a:lnTo>
                  <a:lnTo>
                    <a:pt x="373" y="495"/>
                  </a:lnTo>
                  <a:lnTo>
                    <a:pt x="369" y="497"/>
                  </a:lnTo>
                  <a:lnTo>
                    <a:pt x="367" y="497"/>
                  </a:lnTo>
                  <a:lnTo>
                    <a:pt x="364" y="499"/>
                  </a:lnTo>
                  <a:lnTo>
                    <a:pt x="364" y="499"/>
                  </a:lnTo>
                  <a:lnTo>
                    <a:pt x="362" y="497"/>
                  </a:lnTo>
                  <a:lnTo>
                    <a:pt x="356" y="499"/>
                  </a:lnTo>
                  <a:lnTo>
                    <a:pt x="348" y="499"/>
                  </a:lnTo>
                  <a:lnTo>
                    <a:pt x="348" y="501"/>
                  </a:lnTo>
                  <a:lnTo>
                    <a:pt x="343" y="499"/>
                  </a:lnTo>
                  <a:lnTo>
                    <a:pt x="339" y="501"/>
                  </a:lnTo>
                  <a:lnTo>
                    <a:pt x="333" y="506"/>
                  </a:lnTo>
                  <a:lnTo>
                    <a:pt x="326" y="510"/>
                  </a:lnTo>
                  <a:lnTo>
                    <a:pt x="326" y="508"/>
                  </a:lnTo>
                  <a:lnTo>
                    <a:pt x="322" y="512"/>
                  </a:lnTo>
                  <a:lnTo>
                    <a:pt x="320" y="514"/>
                  </a:lnTo>
                  <a:lnTo>
                    <a:pt x="318" y="514"/>
                  </a:lnTo>
                  <a:lnTo>
                    <a:pt x="318" y="514"/>
                  </a:lnTo>
                  <a:lnTo>
                    <a:pt x="313" y="518"/>
                  </a:lnTo>
                  <a:lnTo>
                    <a:pt x="309" y="520"/>
                  </a:lnTo>
                  <a:lnTo>
                    <a:pt x="309" y="520"/>
                  </a:lnTo>
                  <a:lnTo>
                    <a:pt x="307" y="522"/>
                  </a:lnTo>
                  <a:lnTo>
                    <a:pt x="309" y="527"/>
                  </a:lnTo>
                  <a:lnTo>
                    <a:pt x="313" y="529"/>
                  </a:lnTo>
                  <a:lnTo>
                    <a:pt x="309" y="523"/>
                  </a:lnTo>
                  <a:lnTo>
                    <a:pt x="309" y="523"/>
                  </a:lnTo>
                  <a:lnTo>
                    <a:pt x="313" y="523"/>
                  </a:lnTo>
                  <a:lnTo>
                    <a:pt x="315" y="522"/>
                  </a:lnTo>
                  <a:lnTo>
                    <a:pt x="318" y="523"/>
                  </a:lnTo>
                  <a:lnTo>
                    <a:pt x="318" y="520"/>
                  </a:lnTo>
                  <a:lnTo>
                    <a:pt x="322" y="518"/>
                  </a:lnTo>
                  <a:lnTo>
                    <a:pt x="328" y="514"/>
                  </a:lnTo>
                  <a:lnTo>
                    <a:pt x="332" y="514"/>
                  </a:lnTo>
                  <a:lnTo>
                    <a:pt x="339" y="508"/>
                  </a:lnTo>
                  <a:lnTo>
                    <a:pt x="343" y="505"/>
                  </a:lnTo>
                  <a:lnTo>
                    <a:pt x="345" y="505"/>
                  </a:lnTo>
                  <a:lnTo>
                    <a:pt x="347" y="508"/>
                  </a:lnTo>
                  <a:lnTo>
                    <a:pt x="348" y="505"/>
                  </a:lnTo>
                  <a:lnTo>
                    <a:pt x="352" y="505"/>
                  </a:lnTo>
                  <a:lnTo>
                    <a:pt x="352" y="506"/>
                  </a:lnTo>
                  <a:lnTo>
                    <a:pt x="358" y="503"/>
                  </a:lnTo>
                  <a:lnTo>
                    <a:pt x="360" y="505"/>
                  </a:lnTo>
                  <a:lnTo>
                    <a:pt x="354" y="512"/>
                  </a:lnTo>
                  <a:lnTo>
                    <a:pt x="356" y="514"/>
                  </a:lnTo>
                  <a:lnTo>
                    <a:pt x="360" y="508"/>
                  </a:lnTo>
                  <a:lnTo>
                    <a:pt x="364" y="506"/>
                  </a:lnTo>
                  <a:lnTo>
                    <a:pt x="377" y="497"/>
                  </a:lnTo>
                  <a:lnTo>
                    <a:pt x="382" y="497"/>
                  </a:lnTo>
                  <a:lnTo>
                    <a:pt x="386" y="495"/>
                  </a:lnTo>
                  <a:lnTo>
                    <a:pt x="392" y="495"/>
                  </a:lnTo>
                  <a:lnTo>
                    <a:pt x="397" y="493"/>
                  </a:lnTo>
                  <a:lnTo>
                    <a:pt x="397" y="493"/>
                  </a:lnTo>
                  <a:lnTo>
                    <a:pt x="397" y="497"/>
                  </a:lnTo>
                  <a:lnTo>
                    <a:pt x="392" y="499"/>
                  </a:lnTo>
                  <a:lnTo>
                    <a:pt x="392" y="501"/>
                  </a:lnTo>
                  <a:lnTo>
                    <a:pt x="397" y="503"/>
                  </a:lnTo>
                  <a:lnTo>
                    <a:pt x="401" y="499"/>
                  </a:lnTo>
                  <a:lnTo>
                    <a:pt x="409" y="493"/>
                  </a:lnTo>
                  <a:lnTo>
                    <a:pt x="411" y="493"/>
                  </a:lnTo>
                  <a:lnTo>
                    <a:pt x="411" y="493"/>
                  </a:lnTo>
                  <a:lnTo>
                    <a:pt x="412" y="490"/>
                  </a:lnTo>
                  <a:lnTo>
                    <a:pt x="418" y="490"/>
                  </a:lnTo>
                  <a:lnTo>
                    <a:pt x="418" y="488"/>
                  </a:lnTo>
                  <a:lnTo>
                    <a:pt x="418" y="484"/>
                  </a:lnTo>
                  <a:lnTo>
                    <a:pt x="422" y="488"/>
                  </a:lnTo>
                  <a:lnTo>
                    <a:pt x="422" y="488"/>
                  </a:lnTo>
                  <a:lnTo>
                    <a:pt x="426" y="484"/>
                  </a:lnTo>
                  <a:lnTo>
                    <a:pt x="422" y="480"/>
                  </a:lnTo>
                  <a:lnTo>
                    <a:pt x="426" y="478"/>
                  </a:lnTo>
                  <a:lnTo>
                    <a:pt x="422" y="474"/>
                  </a:lnTo>
                  <a:lnTo>
                    <a:pt x="426" y="471"/>
                  </a:lnTo>
                  <a:lnTo>
                    <a:pt x="431" y="467"/>
                  </a:lnTo>
                  <a:lnTo>
                    <a:pt x="431" y="473"/>
                  </a:lnTo>
                  <a:lnTo>
                    <a:pt x="431" y="488"/>
                  </a:lnTo>
                  <a:lnTo>
                    <a:pt x="429" y="490"/>
                  </a:lnTo>
                  <a:lnTo>
                    <a:pt x="429" y="503"/>
                  </a:lnTo>
                  <a:lnTo>
                    <a:pt x="428" y="510"/>
                  </a:lnTo>
                  <a:lnTo>
                    <a:pt x="426" y="525"/>
                  </a:lnTo>
                  <a:lnTo>
                    <a:pt x="428" y="531"/>
                  </a:lnTo>
                  <a:lnTo>
                    <a:pt x="433" y="531"/>
                  </a:lnTo>
                  <a:lnTo>
                    <a:pt x="435" y="537"/>
                  </a:lnTo>
                  <a:lnTo>
                    <a:pt x="441" y="533"/>
                  </a:lnTo>
                  <a:lnTo>
                    <a:pt x="439" y="531"/>
                  </a:lnTo>
                  <a:lnTo>
                    <a:pt x="435" y="531"/>
                  </a:lnTo>
                  <a:lnTo>
                    <a:pt x="435" y="529"/>
                  </a:lnTo>
                  <a:lnTo>
                    <a:pt x="439" y="525"/>
                  </a:lnTo>
                  <a:lnTo>
                    <a:pt x="443" y="527"/>
                  </a:lnTo>
                  <a:lnTo>
                    <a:pt x="443" y="523"/>
                  </a:lnTo>
                  <a:lnTo>
                    <a:pt x="441" y="522"/>
                  </a:lnTo>
                  <a:lnTo>
                    <a:pt x="444" y="520"/>
                  </a:lnTo>
                  <a:lnTo>
                    <a:pt x="450" y="520"/>
                  </a:lnTo>
                  <a:lnTo>
                    <a:pt x="450" y="522"/>
                  </a:lnTo>
                  <a:lnTo>
                    <a:pt x="452" y="520"/>
                  </a:lnTo>
                  <a:lnTo>
                    <a:pt x="450" y="514"/>
                  </a:lnTo>
                  <a:lnTo>
                    <a:pt x="452" y="514"/>
                  </a:lnTo>
                  <a:lnTo>
                    <a:pt x="460" y="510"/>
                  </a:lnTo>
                  <a:lnTo>
                    <a:pt x="460" y="506"/>
                  </a:lnTo>
                  <a:lnTo>
                    <a:pt x="463" y="506"/>
                  </a:lnTo>
                  <a:lnTo>
                    <a:pt x="463" y="510"/>
                  </a:lnTo>
                  <a:lnTo>
                    <a:pt x="463" y="514"/>
                  </a:lnTo>
                  <a:lnTo>
                    <a:pt x="460" y="514"/>
                  </a:lnTo>
                  <a:lnTo>
                    <a:pt x="461" y="518"/>
                  </a:lnTo>
                  <a:lnTo>
                    <a:pt x="458" y="520"/>
                  </a:lnTo>
                  <a:lnTo>
                    <a:pt x="456" y="523"/>
                  </a:lnTo>
                  <a:lnTo>
                    <a:pt x="458" y="523"/>
                  </a:lnTo>
                  <a:lnTo>
                    <a:pt x="461" y="523"/>
                  </a:lnTo>
                  <a:lnTo>
                    <a:pt x="461" y="525"/>
                  </a:lnTo>
                  <a:lnTo>
                    <a:pt x="461" y="527"/>
                  </a:lnTo>
                  <a:lnTo>
                    <a:pt x="458" y="529"/>
                  </a:lnTo>
                  <a:lnTo>
                    <a:pt x="456" y="533"/>
                  </a:lnTo>
                  <a:lnTo>
                    <a:pt x="452" y="531"/>
                  </a:lnTo>
                  <a:lnTo>
                    <a:pt x="450" y="533"/>
                  </a:lnTo>
                  <a:lnTo>
                    <a:pt x="450" y="537"/>
                  </a:lnTo>
                  <a:lnTo>
                    <a:pt x="450" y="539"/>
                  </a:lnTo>
                  <a:lnTo>
                    <a:pt x="456" y="539"/>
                  </a:lnTo>
                  <a:lnTo>
                    <a:pt x="460" y="542"/>
                  </a:lnTo>
                  <a:lnTo>
                    <a:pt x="463" y="542"/>
                  </a:lnTo>
                  <a:lnTo>
                    <a:pt x="465" y="539"/>
                  </a:lnTo>
                  <a:lnTo>
                    <a:pt x="471" y="539"/>
                  </a:lnTo>
                  <a:lnTo>
                    <a:pt x="475" y="531"/>
                  </a:lnTo>
                  <a:lnTo>
                    <a:pt x="476" y="527"/>
                  </a:lnTo>
                  <a:lnTo>
                    <a:pt x="480" y="525"/>
                  </a:lnTo>
                  <a:lnTo>
                    <a:pt x="484" y="527"/>
                  </a:lnTo>
                  <a:lnTo>
                    <a:pt x="488" y="527"/>
                  </a:lnTo>
                  <a:lnTo>
                    <a:pt x="490" y="531"/>
                  </a:lnTo>
                  <a:lnTo>
                    <a:pt x="493" y="531"/>
                  </a:lnTo>
                  <a:lnTo>
                    <a:pt x="499" y="535"/>
                  </a:lnTo>
                  <a:lnTo>
                    <a:pt x="501" y="535"/>
                  </a:lnTo>
                  <a:lnTo>
                    <a:pt x="501" y="539"/>
                  </a:lnTo>
                  <a:lnTo>
                    <a:pt x="505" y="548"/>
                  </a:lnTo>
                  <a:lnTo>
                    <a:pt x="505" y="552"/>
                  </a:lnTo>
                  <a:lnTo>
                    <a:pt x="508" y="557"/>
                  </a:lnTo>
                  <a:lnTo>
                    <a:pt x="524" y="569"/>
                  </a:lnTo>
                  <a:lnTo>
                    <a:pt x="525" y="569"/>
                  </a:lnTo>
                  <a:lnTo>
                    <a:pt x="529" y="572"/>
                  </a:lnTo>
                  <a:lnTo>
                    <a:pt x="535" y="578"/>
                  </a:lnTo>
                  <a:lnTo>
                    <a:pt x="539" y="578"/>
                  </a:lnTo>
                  <a:lnTo>
                    <a:pt x="540" y="582"/>
                  </a:lnTo>
                  <a:lnTo>
                    <a:pt x="542" y="584"/>
                  </a:lnTo>
                  <a:lnTo>
                    <a:pt x="544" y="586"/>
                  </a:lnTo>
                  <a:lnTo>
                    <a:pt x="546" y="584"/>
                  </a:lnTo>
                  <a:lnTo>
                    <a:pt x="548" y="587"/>
                  </a:lnTo>
                  <a:lnTo>
                    <a:pt x="554" y="591"/>
                  </a:lnTo>
                  <a:lnTo>
                    <a:pt x="556" y="591"/>
                  </a:lnTo>
                  <a:lnTo>
                    <a:pt x="556" y="595"/>
                  </a:lnTo>
                  <a:lnTo>
                    <a:pt x="559" y="599"/>
                  </a:lnTo>
                  <a:lnTo>
                    <a:pt x="559" y="595"/>
                  </a:lnTo>
                  <a:lnTo>
                    <a:pt x="559" y="591"/>
                  </a:lnTo>
                  <a:lnTo>
                    <a:pt x="559" y="589"/>
                  </a:lnTo>
                  <a:lnTo>
                    <a:pt x="556" y="587"/>
                  </a:lnTo>
                  <a:lnTo>
                    <a:pt x="556" y="586"/>
                  </a:lnTo>
                  <a:lnTo>
                    <a:pt x="563" y="587"/>
                  </a:lnTo>
                  <a:lnTo>
                    <a:pt x="563" y="591"/>
                  </a:lnTo>
                  <a:lnTo>
                    <a:pt x="563" y="591"/>
                  </a:lnTo>
                  <a:lnTo>
                    <a:pt x="565" y="587"/>
                  </a:lnTo>
                  <a:lnTo>
                    <a:pt x="567" y="587"/>
                  </a:lnTo>
                  <a:lnTo>
                    <a:pt x="571" y="593"/>
                  </a:lnTo>
                  <a:lnTo>
                    <a:pt x="572" y="595"/>
                  </a:lnTo>
                  <a:lnTo>
                    <a:pt x="574" y="597"/>
                  </a:lnTo>
                  <a:lnTo>
                    <a:pt x="576" y="601"/>
                  </a:lnTo>
                  <a:lnTo>
                    <a:pt x="578" y="603"/>
                  </a:lnTo>
                  <a:lnTo>
                    <a:pt x="580" y="608"/>
                  </a:lnTo>
                  <a:lnTo>
                    <a:pt x="582" y="612"/>
                  </a:lnTo>
                  <a:lnTo>
                    <a:pt x="580" y="616"/>
                  </a:lnTo>
                  <a:lnTo>
                    <a:pt x="578" y="620"/>
                  </a:lnTo>
                  <a:lnTo>
                    <a:pt x="574" y="623"/>
                  </a:lnTo>
                  <a:lnTo>
                    <a:pt x="567" y="621"/>
                  </a:lnTo>
                  <a:lnTo>
                    <a:pt x="563" y="621"/>
                  </a:lnTo>
                  <a:lnTo>
                    <a:pt x="563" y="621"/>
                  </a:lnTo>
                  <a:lnTo>
                    <a:pt x="559" y="623"/>
                  </a:lnTo>
                  <a:lnTo>
                    <a:pt x="556" y="621"/>
                  </a:lnTo>
                  <a:lnTo>
                    <a:pt x="554" y="621"/>
                  </a:lnTo>
                  <a:lnTo>
                    <a:pt x="556" y="625"/>
                  </a:lnTo>
                  <a:lnTo>
                    <a:pt x="552" y="627"/>
                  </a:lnTo>
                  <a:lnTo>
                    <a:pt x="552" y="631"/>
                  </a:lnTo>
                  <a:lnTo>
                    <a:pt x="548" y="631"/>
                  </a:lnTo>
                  <a:lnTo>
                    <a:pt x="544" y="631"/>
                  </a:lnTo>
                  <a:lnTo>
                    <a:pt x="544" y="633"/>
                  </a:lnTo>
                  <a:lnTo>
                    <a:pt x="548" y="633"/>
                  </a:lnTo>
                  <a:lnTo>
                    <a:pt x="550" y="638"/>
                  </a:lnTo>
                  <a:lnTo>
                    <a:pt x="554" y="640"/>
                  </a:lnTo>
                  <a:lnTo>
                    <a:pt x="556" y="638"/>
                  </a:lnTo>
                  <a:lnTo>
                    <a:pt x="559" y="642"/>
                  </a:lnTo>
                  <a:lnTo>
                    <a:pt x="559" y="646"/>
                  </a:lnTo>
                  <a:lnTo>
                    <a:pt x="563" y="646"/>
                  </a:lnTo>
                  <a:lnTo>
                    <a:pt x="571" y="650"/>
                  </a:lnTo>
                  <a:lnTo>
                    <a:pt x="576" y="650"/>
                  </a:lnTo>
                  <a:lnTo>
                    <a:pt x="584" y="653"/>
                  </a:lnTo>
                  <a:lnTo>
                    <a:pt x="588" y="653"/>
                  </a:lnTo>
                  <a:lnTo>
                    <a:pt x="588" y="652"/>
                  </a:lnTo>
                  <a:lnTo>
                    <a:pt x="589" y="652"/>
                  </a:lnTo>
                  <a:lnTo>
                    <a:pt x="593" y="653"/>
                  </a:lnTo>
                  <a:lnTo>
                    <a:pt x="593" y="657"/>
                  </a:lnTo>
                  <a:lnTo>
                    <a:pt x="599" y="652"/>
                  </a:lnTo>
                  <a:lnTo>
                    <a:pt x="601" y="655"/>
                  </a:lnTo>
                  <a:lnTo>
                    <a:pt x="603" y="653"/>
                  </a:lnTo>
                  <a:lnTo>
                    <a:pt x="606" y="652"/>
                  </a:lnTo>
                  <a:lnTo>
                    <a:pt x="608" y="652"/>
                  </a:lnTo>
                  <a:lnTo>
                    <a:pt x="608" y="653"/>
                  </a:lnTo>
                  <a:lnTo>
                    <a:pt x="610" y="653"/>
                  </a:lnTo>
                  <a:lnTo>
                    <a:pt x="614" y="652"/>
                  </a:lnTo>
                  <a:lnTo>
                    <a:pt x="625" y="646"/>
                  </a:lnTo>
                  <a:lnTo>
                    <a:pt x="629" y="646"/>
                  </a:lnTo>
                  <a:lnTo>
                    <a:pt x="627" y="650"/>
                  </a:lnTo>
                  <a:lnTo>
                    <a:pt x="627" y="652"/>
                  </a:lnTo>
                  <a:lnTo>
                    <a:pt x="627" y="653"/>
                  </a:lnTo>
                  <a:lnTo>
                    <a:pt x="629" y="653"/>
                  </a:lnTo>
                  <a:lnTo>
                    <a:pt x="629" y="657"/>
                  </a:lnTo>
                  <a:lnTo>
                    <a:pt x="629" y="661"/>
                  </a:lnTo>
                  <a:lnTo>
                    <a:pt x="629" y="663"/>
                  </a:lnTo>
                  <a:lnTo>
                    <a:pt x="631" y="663"/>
                  </a:lnTo>
                  <a:lnTo>
                    <a:pt x="633" y="661"/>
                  </a:lnTo>
                  <a:lnTo>
                    <a:pt x="635" y="663"/>
                  </a:lnTo>
                  <a:lnTo>
                    <a:pt x="635" y="667"/>
                  </a:lnTo>
                  <a:lnTo>
                    <a:pt x="633" y="670"/>
                  </a:lnTo>
                  <a:lnTo>
                    <a:pt x="633" y="676"/>
                  </a:lnTo>
                  <a:lnTo>
                    <a:pt x="635" y="676"/>
                  </a:lnTo>
                  <a:lnTo>
                    <a:pt x="636" y="672"/>
                  </a:lnTo>
                  <a:lnTo>
                    <a:pt x="638" y="670"/>
                  </a:lnTo>
                  <a:lnTo>
                    <a:pt x="638" y="667"/>
                  </a:lnTo>
                  <a:lnTo>
                    <a:pt x="638" y="667"/>
                  </a:lnTo>
                  <a:lnTo>
                    <a:pt x="638" y="670"/>
                  </a:lnTo>
                  <a:lnTo>
                    <a:pt x="636" y="678"/>
                  </a:lnTo>
                  <a:lnTo>
                    <a:pt x="635" y="682"/>
                  </a:lnTo>
                  <a:lnTo>
                    <a:pt x="635" y="687"/>
                  </a:lnTo>
                  <a:lnTo>
                    <a:pt x="636" y="693"/>
                  </a:lnTo>
                  <a:lnTo>
                    <a:pt x="636" y="701"/>
                  </a:lnTo>
                  <a:lnTo>
                    <a:pt x="635" y="702"/>
                  </a:lnTo>
                  <a:lnTo>
                    <a:pt x="638" y="706"/>
                  </a:lnTo>
                  <a:lnTo>
                    <a:pt x="638" y="708"/>
                  </a:lnTo>
                  <a:lnTo>
                    <a:pt x="638" y="712"/>
                  </a:lnTo>
                  <a:lnTo>
                    <a:pt x="638" y="714"/>
                  </a:lnTo>
                  <a:lnTo>
                    <a:pt x="642" y="719"/>
                  </a:lnTo>
                  <a:lnTo>
                    <a:pt x="642" y="731"/>
                  </a:lnTo>
                  <a:lnTo>
                    <a:pt x="642" y="719"/>
                  </a:lnTo>
                  <a:lnTo>
                    <a:pt x="638" y="710"/>
                  </a:lnTo>
                  <a:lnTo>
                    <a:pt x="642" y="701"/>
                  </a:lnTo>
                  <a:lnTo>
                    <a:pt x="644" y="695"/>
                  </a:lnTo>
                  <a:lnTo>
                    <a:pt x="648" y="695"/>
                  </a:lnTo>
                  <a:lnTo>
                    <a:pt x="648" y="697"/>
                  </a:lnTo>
                  <a:lnTo>
                    <a:pt x="646" y="697"/>
                  </a:lnTo>
                  <a:lnTo>
                    <a:pt x="646" y="701"/>
                  </a:lnTo>
                  <a:lnTo>
                    <a:pt x="646" y="701"/>
                  </a:lnTo>
                  <a:lnTo>
                    <a:pt x="650" y="701"/>
                  </a:lnTo>
                  <a:lnTo>
                    <a:pt x="650" y="701"/>
                  </a:lnTo>
                  <a:lnTo>
                    <a:pt x="652" y="701"/>
                  </a:lnTo>
                  <a:lnTo>
                    <a:pt x="652" y="697"/>
                  </a:lnTo>
                  <a:lnTo>
                    <a:pt x="650" y="693"/>
                  </a:lnTo>
                  <a:lnTo>
                    <a:pt x="650" y="691"/>
                  </a:lnTo>
                  <a:lnTo>
                    <a:pt x="653" y="687"/>
                  </a:lnTo>
                  <a:lnTo>
                    <a:pt x="653" y="687"/>
                  </a:lnTo>
                  <a:lnTo>
                    <a:pt x="650" y="685"/>
                  </a:lnTo>
                  <a:lnTo>
                    <a:pt x="652" y="682"/>
                  </a:lnTo>
                  <a:lnTo>
                    <a:pt x="653" y="676"/>
                  </a:lnTo>
                  <a:lnTo>
                    <a:pt x="655" y="667"/>
                  </a:lnTo>
                  <a:lnTo>
                    <a:pt x="655" y="663"/>
                  </a:lnTo>
                  <a:lnTo>
                    <a:pt x="655" y="661"/>
                  </a:lnTo>
                  <a:lnTo>
                    <a:pt x="657" y="659"/>
                  </a:lnTo>
                  <a:lnTo>
                    <a:pt x="663" y="659"/>
                  </a:lnTo>
                  <a:lnTo>
                    <a:pt x="663" y="657"/>
                  </a:lnTo>
                  <a:lnTo>
                    <a:pt x="663" y="655"/>
                  </a:lnTo>
                  <a:lnTo>
                    <a:pt x="668" y="653"/>
                  </a:lnTo>
                  <a:lnTo>
                    <a:pt x="668" y="655"/>
                  </a:lnTo>
                  <a:lnTo>
                    <a:pt x="672" y="655"/>
                  </a:lnTo>
                  <a:lnTo>
                    <a:pt x="672" y="652"/>
                  </a:lnTo>
                  <a:lnTo>
                    <a:pt x="676" y="652"/>
                  </a:lnTo>
                  <a:lnTo>
                    <a:pt x="676" y="653"/>
                  </a:lnTo>
                  <a:lnTo>
                    <a:pt x="676" y="653"/>
                  </a:lnTo>
                  <a:lnTo>
                    <a:pt x="682" y="653"/>
                  </a:lnTo>
                  <a:lnTo>
                    <a:pt x="684" y="648"/>
                  </a:lnTo>
                  <a:lnTo>
                    <a:pt x="685" y="648"/>
                  </a:lnTo>
                  <a:lnTo>
                    <a:pt x="687" y="652"/>
                  </a:lnTo>
                  <a:lnTo>
                    <a:pt x="689" y="652"/>
                  </a:lnTo>
                  <a:lnTo>
                    <a:pt x="689" y="657"/>
                  </a:lnTo>
                  <a:lnTo>
                    <a:pt x="689" y="652"/>
                  </a:lnTo>
                  <a:lnTo>
                    <a:pt x="687" y="648"/>
                  </a:lnTo>
                  <a:lnTo>
                    <a:pt x="691" y="642"/>
                  </a:lnTo>
                  <a:lnTo>
                    <a:pt x="693" y="642"/>
                  </a:lnTo>
                  <a:lnTo>
                    <a:pt x="693" y="646"/>
                  </a:lnTo>
                  <a:lnTo>
                    <a:pt x="697" y="642"/>
                  </a:lnTo>
                  <a:lnTo>
                    <a:pt x="700" y="642"/>
                  </a:lnTo>
                  <a:lnTo>
                    <a:pt x="702" y="646"/>
                  </a:lnTo>
                  <a:lnTo>
                    <a:pt x="706" y="638"/>
                  </a:lnTo>
                  <a:lnTo>
                    <a:pt x="704" y="636"/>
                  </a:lnTo>
                  <a:lnTo>
                    <a:pt x="708" y="633"/>
                  </a:lnTo>
                  <a:lnTo>
                    <a:pt x="704" y="633"/>
                  </a:lnTo>
                  <a:lnTo>
                    <a:pt x="702" y="633"/>
                  </a:lnTo>
                  <a:lnTo>
                    <a:pt x="700" y="633"/>
                  </a:lnTo>
                  <a:lnTo>
                    <a:pt x="693" y="636"/>
                  </a:lnTo>
                  <a:lnTo>
                    <a:pt x="691" y="636"/>
                  </a:lnTo>
                  <a:lnTo>
                    <a:pt x="691" y="636"/>
                  </a:lnTo>
                  <a:lnTo>
                    <a:pt x="687" y="638"/>
                  </a:lnTo>
                  <a:lnTo>
                    <a:pt x="687" y="640"/>
                  </a:lnTo>
                  <a:lnTo>
                    <a:pt x="687" y="642"/>
                  </a:lnTo>
                  <a:lnTo>
                    <a:pt x="684" y="638"/>
                  </a:lnTo>
                  <a:lnTo>
                    <a:pt x="684" y="636"/>
                  </a:lnTo>
                  <a:lnTo>
                    <a:pt x="682" y="636"/>
                  </a:lnTo>
                  <a:lnTo>
                    <a:pt x="680" y="640"/>
                  </a:lnTo>
                  <a:lnTo>
                    <a:pt x="678" y="642"/>
                  </a:lnTo>
                  <a:lnTo>
                    <a:pt x="676" y="638"/>
                  </a:lnTo>
                  <a:lnTo>
                    <a:pt x="672" y="638"/>
                  </a:lnTo>
                  <a:lnTo>
                    <a:pt x="672" y="636"/>
                  </a:lnTo>
                  <a:lnTo>
                    <a:pt x="668" y="638"/>
                  </a:lnTo>
                  <a:lnTo>
                    <a:pt x="668" y="640"/>
                  </a:lnTo>
                  <a:lnTo>
                    <a:pt x="672" y="642"/>
                  </a:lnTo>
                  <a:lnTo>
                    <a:pt x="672" y="646"/>
                  </a:lnTo>
                  <a:lnTo>
                    <a:pt x="668" y="646"/>
                  </a:lnTo>
                  <a:lnTo>
                    <a:pt x="667" y="646"/>
                  </a:lnTo>
                  <a:lnTo>
                    <a:pt x="661" y="646"/>
                  </a:lnTo>
                  <a:lnTo>
                    <a:pt x="661" y="642"/>
                  </a:lnTo>
                  <a:lnTo>
                    <a:pt x="663" y="640"/>
                  </a:lnTo>
                  <a:lnTo>
                    <a:pt x="663" y="636"/>
                  </a:lnTo>
                  <a:lnTo>
                    <a:pt x="663" y="636"/>
                  </a:lnTo>
                  <a:lnTo>
                    <a:pt x="661" y="636"/>
                  </a:lnTo>
                  <a:lnTo>
                    <a:pt x="657" y="636"/>
                  </a:lnTo>
                  <a:lnTo>
                    <a:pt x="659" y="633"/>
                  </a:lnTo>
                  <a:lnTo>
                    <a:pt x="663" y="633"/>
                  </a:lnTo>
                  <a:lnTo>
                    <a:pt x="668" y="625"/>
                  </a:lnTo>
                  <a:lnTo>
                    <a:pt x="668" y="625"/>
                  </a:lnTo>
                  <a:lnTo>
                    <a:pt x="676" y="627"/>
                  </a:lnTo>
                  <a:lnTo>
                    <a:pt x="687" y="625"/>
                  </a:lnTo>
                  <a:lnTo>
                    <a:pt x="697" y="623"/>
                  </a:lnTo>
                  <a:lnTo>
                    <a:pt x="700" y="623"/>
                  </a:lnTo>
                  <a:lnTo>
                    <a:pt x="704" y="621"/>
                  </a:lnTo>
                  <a:lnTo>
                    <a:pt x="706" y="625"/>
                  </a:lnTo>
                  <a:lnTo>
                    <a:pt x="708" y="627"/>
                  </a:lnTo>
                  <a:lnTo>
                    <a:pt x="710" y="627"/>
                  </a:lnTo>
                  <a:lnTo>
                    <a:pt x="712" y="629"/>
                  </a:lnTo>
                  <a:lnTo>
                    <a:pt x="710" y="636"/>
                  </a:lnTo>
                  <a:lnTo>
                    <a:pt x="710" y="638"/>
                  </a:lnTo>
                  <a:lnTo>
                    <a:pt x="712" y="640"/>
                  </a:lnTo>
                  <a:lnTo>
                    <a:pt x="710" y="640"/>
                  </a:lnTo>
                  <a:lnTo>
                    <a:pt x="708" y="646"/>
                  </a:lnTo>
                  <a:lnTo>
                    <a:pt x="708" y="646"/>
                  </a:lnTo>
                  <a:lnTo>
                    <a:pt x="710" y="646"/>
                  </a:lnTo>
                  <a:lnTo>
                    <a:pt x="710" y="653"/>
                  </a:lnTo>
                  <a:lnTo>
                    <a:pt x="714" y="653"/>
                  </a:lnTo>
                  <a:lnTo>
                    <a:pt x="716" y="655"/>
                  </a:lnTo>
                  <a:lnTo>
                    <a:pt x="716" y="657"/>
                  </a:lnTo>
                  <a:lnTo>
                    <a:pt x="712" y="659"/>
                  </a:lnTo>
                  <a:lnTo>
                    <a:pt x="712" y="663"/>
                  </a:lnTo>
                  <a:lnTo>
                    <a:pt x="710" y="663"/>
                  </a:lnTo>
                  <a:lnTo>
                    <a:pt x="716" y="663"/>
                  </a:lnTo>
                  <a:lnTo>
                    <a:pt x="717" y="667"/>
                  </a:lnTo>
                  <a:lnTo>
                    <a:pt x="717" y="667"/>
                  </a:lnTo>
                  <a:lnTo>
                    <a:pt x="721" y="667"/>
                  </a:lnTo>
                  <a:lnTo>
                    <a:pt x="721" y="670"/>
                  </a:lnTo>
                  <a:lnTo>
                    <a:pt x="727" y="670"/>
                  </a:lnTo>
                  <a:lnTo>
                    <a:pt x="731" y="667"/>
                  </a:lnTo>
                  <a:lnTo>
                    <a:pt x="731" y="667"/>
                  </a:lnTo>
                  <a:lnTo>
                    <a:pt x="731" y="670"/>
                  </a:lnTo>
                  <a:lnTo>
                    <a:pt x="731" y="670"/>
                  </a:lnTo>
                  <a:lnTo>
                    <a:pt x="732" y="670"/>
                  </a:lnTo>
                  <a:lnTo>
                    <a:pt x="734" y="672"/>
                  </a:lnTo>
                  <a:lnTo>
                    <a:pt x="734" y="676"/>
                  </a:lnTo>
                  <a:lnTo>
                    <a:pt x="734" y="676"/>
                  </a:lnTo>
                  <a:lnTo>
                    <a:pt x="736" y="678"/>
                  </a:lnTo>
                  <a:lnTo>
                    <a:pt x="736" y="680"/>
                  </a:lnTo>
                  <a:lnTo>
                    <a:pt x="742" y="685"/>
                  </a:lnTo>
                  <a:lnTo>
                    <a:pt x="742" y="687"/>
                  </a:lnTo>
                  <a:lnTo>
                    <a:pt x="746" y="685"/>
                  </a:lnTo>
                  <a:lnTo>
                    <a:pt x="748" y="685"/>
                  </a:lnTo>
                  <a:lnTo>
                    <a:pt x="748" y="687"/>
                  </a:lnTo>
                  <a:lnTo>
                    <a:pt x="749" y="687"/>
                  </a:lnTo>
                  <a:lnTo>
                    <a:pt x="751" y="693"/>
                  </a:lnTo>
                  <a:lnTo>
                    <a:pt x="755" y="691"/>
                  </a:lnTo>
                  <a:lnTo>
                    <a:pt x="763" y="691"/>
                  </a:lnTo>
                  <a:lnTo>
                    <a:pt x="764" y="687"/>
                  </a:lnTo>
                  <a:lnTo>
                    <a:pt x="770" y="685"/>
                  </a:lnTo>
                  <a:lnTo>
                    <a:pt x="770" y="685"/>
                  </a:lnTo>
                  <a:lnTo>
                    <a:pt x="772" y="687"/>
                  </a:lnTo>
                  <a:lnTo>
                    <a:pt x="780" y="687"/>
                  </a:lnTo>
                  <a:lnTo>
                    <a:pt x="785" y="693"/>
                  </a:lnTo>
                  <a:lnTo>
                    <a:pt x="787" y="693"/>
                  </a:lnTo>
                  <a:lnTo>
                    <a:pt x="789" y="697"/>
                  </a:lnTo>
                  <a:lnTo>
                    <a:pt x="791" y="695"/>
                  </a:lnTo>
                  <a:lnTo>
                    <a:pt x="798" y="693"/>
                  </a:lnTo>
                  <a:lnTo>
                    <a:pt x="800" y="697"/>
                  </a:lnTo>
                  <a:lnTo>
                    <a:pt x="804" y="695"/>
                  </a:lnTo>
                  <a:lnTo>
                    <a:pt x="800" y="691"/>
                  </a:lnTo>
                  <a:lnTo>
                    <a:pt x="800" y="687"/>
                  </a:lnTo>
                  <a:lnTo>
                    <a:pt x="798" y="682"/>
                  </a:lnTo>
                  <a:lnTo>
                    <a:pt x="800" y="680"/>
                  </a:lnTo>
                  <a:lnTo>
                    <a:pt x="800" y="682"/>
                  </a:lnTo>
                  <a:lnTo>
                    <a:pt x="804" y="687"/>
                  </a:lnTo>
                  <a:lnTo>
                    <a:pt x="806" y="693"/>
                  </a:lnTo>
                  <a:lnTo>
                    <a:pt x="810" y="697"/>
                  </a:lnTo>
                  <a:lnTo>
                    <a:pt x="812" y="701"/>
                  </a:lnTo>
                  <a:lnTo>
                    <a:pt x="813" y="704"/>
                  </a:lnTo>
                  <a:lnTo>
                    <a:pt x="813" y="697"/>
                  </a:lnTo>
                  <a:lnTo>
                    <a:pt x="812" y="695"/>
                  </a:lnTo>
                  <a:lnTo>
                    <a:pt x="806" y="693"/>
                  </a:lnTo>
                  <a:lnTo>
                    <a:pt x="806" y="687"/>
                  </a:lnTo>
                  <a:lnTo>
                    <a:pt x="804" y="678"/>
                  </a:lnTo>
                  <a:lnTo>
                    <a:pt x="806" y="676"/>
                  </a:lnTo>
                  <a:lnTo>
                    <a:pt x="806" y="676"/>
                  </a:lnTo>
                  <a:lnTo>
                    <a:pt x="806" y="680"/>
                  </a:lnTo>
                  <a:lnTo>
                    <a:pt x="806" y="680"/>
                  </a:lnTo>
                  <a:lnTo>
                    <a:pt x="810" y="680"/>
                  </a:lnTo>
                  <a:lnTo>
                    <a:pt x="810" y="676"/>
                  </a:lnTo>
                  <a:lnTo>
                    <a:pt x="810" y="672"/>
                  </a:lnTo>
                  <a:lnTo>
                    <a:pt x="810" y="670"/>
                  </a:lnTo>
                  <a:lnTo>
                    <a:pt x="810" y="670"/>
                  </a:lnTo>
                  <a:lnTo>
                    <a:pt x="810" y="667"/>
                  </a:lnTo>
                  <a:lnTo>
                    <a:pt x="812" y="667"/>
                  </a:lnTo>
                  <a:lnTo>
                    <a:pt x="813" y="670"/>
                  </a:lnTo>
                  <a:lnTo>
                    <a:pt x="813" y="672"/>
                  </a:lnTo>
                  <a:lnTo>
                    <a:pt x="815" y="672"/>
                  </a:lnTo>
                  <a:lnTo>
                    <a:pt x="815" y="672"/>
                  </a:lnTo>
                  <a:lnTo>
                    <a:pt x="819" y="670"/>
                  </a:lnTo>
                  <a:lnTo>
                    <a:pt x="821" y="667"/>
                  </a:lnTo>
                  <a:lnTo>
                    <a:pt x="825" y="667"/>
                  </a:lnTo>
                  <a:lnTo>
                    <a:pt x="827" y="670"/>
                  </a:lnTo>
                  <a:lnTo>
                    <a:pt x="825" y="670"/>
                  </a:lnTo>
                  <a:lnTo>
                    <a:pt x="825" y="672"/>
                  </a:lnTo>
                  <a:lnTo>
                    <a:pt x="825" y="670"/>
                  </a:lnTo>
                  <a:lnTo>
                    <a:pt x="828" y="670"/>
                  </a:lnTo>
                  <a:lnTo>
                    <a:pt x="830" y="672"/>
                  </a:lnTo>
                  <a:lnTo>
                    <a:pt x="830" y="676"/>
                  </a:lnTo>
                  <a:lnTo>
                    <a:pt x="828" y="680"/>
                  </a:lnTo>
                  <a:lnTo>
                    <a:pt x="830" y="682"/>
                  </a:lnTo>
                  <a:lnTo>
                    <a:pt x="834" y="682"/>
                  </a:lnTo>
                  <a:lnTo>
                    <a:pt x="834" y="682"/>
                  </a:lnTo>
                  <a:lnTo>
                    <a:pt x="834" y="685"/>
                  </a:lnTo>
                  <a:lnTo>
                    <a:pt x="830" y="687"/>
                  </a:lnTo>
                  <a:lnTo>
                    <a:pt x="830" y="687"/>
                  </a:lnTo>
                  <a:lnTo>
                    <a:pt x="830" y="691"/>
                  </a:lnTo>
                  <a:lnTo>
                    <a:pt x="836" y="687"/>
                  </a:lnTo>
                  <a:lnTo>
                    <a:pt x="838" y="684"/>
                  </a:lnTo>
                  <a:lnTo>
                    <a:pt x="844" y="682"/>
                  </a:lnTo>
                  <a:lnTo>
                    <a:pt x="847" y="682"/>
                  </a:lnTo>
                  <a:lnTo>
                    <a:pt x="847" y="684"/>
                  </a:lnTo>
                  <a:lnTo>
                    <a:pt x="844" y="685"/>
                  </a:lnTo>
                  <a:lnTo>
                    <a:pt x="844" y="687"/>
                  </a:lnTo>
                  <a:lnTo>
                    <a:pt x="844" y="691"/>
                  </a:lnTo>
                  <a:lnTo>
                    <a:pt x="836" y="695"/>
                  </a:lnTo>
                  <a:lnTo>
                    <a:pt x="834" y="697"/>
                  </a:lnTo>
                  <a:lnTo>
                    <a:pt x="830" y="701"/>
                  </a:lnTo>
                  <a:lnTo>
                    <a:pt x="830" y="704"/>
                  </a:lnTo>
                  <a:lnTo>
                    <a:pt x="830" y="706"/>
                  </a:lnTo>
                  <a:lnTo>
                    <a:pt x="828" y="702"/>
                  </a:lnTo>
                  <a:lnTo>
                    <a:pt x="827" y="706"/>
                  </a:lnTo>
                  <a:lnTo>
                    <a:pt x="825" y="712"/>
                  </a:lnTo>
                  <a:lnTo>
                    <a:pt x="825" y="716"/>
                  </a:lnTo>
                  <a:lnTo>
                    <a:pt x="828" y="714"/>
                  </a:lnTo>
                  <a:lnTo>
                    <a:pt x="830" y="714"/>
                  </a:lnTo>
                  <a:lnTo>
                    <a:pt x="830" y="717"/>
                  </a:lnTo>
                  <a:lnTo>
                    <a:pt x="827" y="719"/>
                  </a:lnTo>
                  <a:lnTo>
                    <a:pt x="827" y="721"/>
                  </a:lnTo>
                  <a:lnTo>
                    <a:pt x="830" y="719"/>
                  </a:lnTo>
                  <a:lnTo>
                    <a:pt x="834" y="717"/>
                  </a:lnTo>
                  <a:lnTo>
                    <a:pt x="834" y="717"/>
                  </a:lnTo>
                  <a:lnTo>
                    <a:pt x="834" y="721"/>
                  </a:lnTo>
                  <a:lnTo>
                    <a:pt x="830" y="721"/>
                  </a:lnTo>
                  <a:lnTo>
                    <a:pt x="834" y="725"/>
                  </a:lnTo>
                  <a:lnTo>
                    <a:pt x="836" y="721"/>
                  </a:lnTo>
                  <a:lnTo>
                    <a:pt x="834" y="727"/>
                  </a:lnTo>
                  <a:lnTo>
                    <a:pt x="834" y="731"/>
                  </a:lnTo>
                  <a:lnTo>
                    <a:pt x="830" y="733"/>
                  </a:lnTo>
                  <a:lnTo>
                    <a:pt x="828" y="731"/>
                  </a:lnTo>
                  <a:lnTo>
                    <a:pt x="827" y="727"/>
                  </a:lnTo>
                  <a:lnTo>
                    <a:pt x="821" y="731"/>
                  </a:lnTo>
                  <a:lnTo>
                    <a:pt x="819" y="725"/>
                  </a:lnTo>
                  <a:lnTo>
                    <a:pt x="819" y="725"/>
                  </a:lnTo>
                  <a:lnTo>
                    <a:pt x="817" y="731"/>
                  </a:lnTo>
                  <a:lnTo>
                    <a:pt x="819" y="733"/>
                  </a:lnTo>
                  <a:lnTo>
                    <a:pt x="821" y="738"/>
                  </a:lnTo>
                  <a:lnTo>
                    <a:pt x="819" y="746"/>
                  </a:lnTo>
                  <a:lnTo>
                    <a:pt x="823" y="738"/>
                  </a:lnTo>
                  <a:lnTo>
                    <a:pt x="823" y="733"/>
                  </a:lnTo>
                  <a:lnTo>
                    <a:pt x="825" y="731"/>
                  </a:lnTo>
                  <a:lnTo>
                    <a:pt x="827" y="733"/>
                  </a:lnTo>
                  <a:lnTo>
                    <a:pt x="830" y="733"/>
                  </a:lnTo>
                  <a:lnTo>
                    <a:pt x="834" y="736"/>
                  </a:lnTo>
                  <a:lnTo>
                    <a:pt x="836" y="733"/>
                  </a:lnTo>
                  <a:lnTo>
                    <a:pt x="836" y="731"/>
                  </a:lnTo>
                  <a:lnTo>
                    <a:pt x="840" y="727"/>
                  </a:lnTo>
                  <a:lnTo>
                    <a:pt x="844" y="725"/>
                  </a:lnTo>
                  <a:lnTo>
                    <a:pt x="847" y="725"/>
                  </a:lnTo>
                  <a:lnTo>
                    <a:pt x="851" y="721"/>
                  </a:lnTo>
                  <a:lnTo>
                    <a:pt x="847" y="721"/>
                  </a:lnTo>
                  <a:lnTo>
                    <a:pt x="844" y="721"/>
                  </a:lnTo>
                  <a:lnTo>
                    <a:pt x="844" y="727"/>
                  </a:lnTo>
                  <a:lnTo>
                    <a:pt x="840" y="727"/>
                  </a:lnTo>
                  <a:lnTo>
                    <a:pt x="838" y="727"/>
                  </a:lnTo>
                  <a:lnTo>
                    <a:pt x="840" y="721"/>
                  </a:lnTo>
                  <a:lnTo>
                    <a:pt x="844" y="721"/>
                  </a:lnTo>
                  <a:lnTo>
                    <a:pt x="840" y="719"/>
                  </a:lnTo>
                  <a:lnTo>
                    <a:pt x="844" y="716"/>
                  </a:lnTo>
                  <a:lnTo>
                    <a:pt x="844" y="710"/>
                  </a:lnTo>
                  <a:lnTo>
                    <a:pt x="844" y="708"/>
                  </a:lnTo>
                  <a:lnTo>
                    <a:pt x="844" y="704"/>
                  </a:lnTo>
                  <a:lnTo>
                    <a:pt x="844" y="704"/>
                  </a:lnTo>
                  <a:lnTo>
                    <a:pt x="845" y="701"/>
                  </a:lnTo>
                  <a:lnTo>
                    <a:pt x="847" y="695"/>
                  </a:lnTo>
                  <a:lnTo>
                    <a:pt x="851" y="693"/>
                  </a:lnTo>
                  <a:lnTo>
                    <a:pt x="851" y="693"/>
                  </a:lnTo>
                  <a:lnTo>
                    <a:pt x="851" y="695"/>
                  </a:lnTo>
                  <a:lnTo>
                    <a:pt x="853" y="695"/>
                  </a:lnTo>
                  <a:lnTo>
                    <a:pt x="855" y="691"/>
                  </a:lnTo>
                  <a:lnTo>
                    <a:pt x="855" y="693"/>
                  </a:lnTo>
                  <a:lnTo>
                    <a:pt x="859" y="693"/>
                  </a:lnTo>
                  <a:lnTo>
                    <a:pt x="859" y="695"/>
                  </a:lnTo>
                  <a:lnTo>
                    <a:pt x="862" y="695"/>
                  </a:lnTo>
                  <a:lnTo>
                    <a:pt x="864" y="691"/>
                  </a:lnTo>
                  <a:lnTo>
                    <a:pt x="872" y="687"/>
                  </a:lnTo>
                  <a:lnTo>
                    <a:pt x="874" y="684"/>
                  </a:lnTo>
                  <a:lnTo>
                    <a:pt x="874" y="682"/>
                  </a:lnTo>
                  <a:lnTo>
                    <a:pt x="876" y="682"/>
                  </a:lnTo>
                  <a:lnTo>
                    <a:pt x="879" y="678"/>
                  </a:lnTo>
                  <a:lnTo>
                    <a:pt x="885" y="678"/>
                  </a:lnTo>
                  <a:lnTo>
                    <a:pt x="889" y="676"/>
                  </a:lnTo>
                  <a:lnTo>
                    <a:pt x="887" y="672"/>
                  </a:lnTo>
                  <a:lnTo>
                    <a:pt x="889" y="667"/>
                  </a:lnTo>
                  <a:lnTo>
                    <a:pt x="889" y="663"/>
                  </a:lnTo>
                  <a:lnTo>
                    <a:pt x="892" y="661"/>
                  </a:lnTo>
                  <a:lnTo>
                    <a:pt x="889" y="659"/>
                  </a:lnTo>
                  <a:lnTo>
                    <a:pt x="889" y="661"/>
                  </a:lnTo>
                  <a:lnTo>
                    <a:pt x="885" y="661"/>
                  </a:lnTo>
                  <a:lnTo>
                    <a:pt x="885" y="663"/>
                  </a:lnTo>
                  <a:lnTo>
                    <a:pt x="885" y="663"/>
                  </a:lnTo>
                  <a:lnTo>
                    <a:pt x="881" y="667"/>
                  </a:lnTo>
                  <a:lnTo>
                    <a:pt x="879" y="663"/>
                  </a:lnTo>
                  <a:lnTo>
                    <a:pt x="876" y="663"/>
                  </a:lnTo>
                  <a:lnTo>
                    <a:pt x="876" y="663"/>
                  </a:lnTo>
                  <a:lnTo>
                    <a:pt x="877" y="657"/>
                  </a:lnTo>
                  <a:lnTo>
                    <a:pt x="879" y="657"/>
                  </a:lnTo>
                  <a:lnTo>
                    <a:pt x="883" y="655"/>
                  </a:lnTo>
                  <a:lnTo>
                    <a:pt x="887" y="653"/>
                  </a:lnTo>
                  <a:lnTo>
                    <a:pt x="887" y="650"/>
                  </a:lnTo>
                  <a:lnTo>
                    <a:pt x="885" y="648"/>
                  </a:lnTo>
                  <a:lnTo>
                    <a:pt x="889" y="646"/>
                  </a:lnTo>
                  <a:lnTo>
                    <a:pt x="892" y="646"/>
                  </a:lnTo>
                  <a:lnTo>
                    <a:pt x="896" y="646"/>
                  </a:lnTo>
                  <a:lnTo>
                    <a:pt x="892" y="648"/>
                  </a:lnTo>
                  <a:lnTo>
                    <a:pt x="892" y="652"/>
                  </a:lnTo>
                  <a:lnTo>
                    <a:pt x="892" y="652"/>
                  </a:lnTo>
                  <a:lnTo>
                    <a:pt x="898" y="650"/>
                  </a:lnTo>
                  <a:lnTo>
                    <a:pt x="900" y="642"/>
                  </a:lnTo>
                  <a:lnTo>
                    <a:pt x="900" y="638"/>
                  </a:lnTo>
                  <a:lnTo>
                    <a:pt x="896" y="638"/>
                  </a:lnTo>
                  <a:lnTo>
                    <a:pt x="892" y="638"/>
                  </a:lnTo>
                  <a:lnTo>
                    <a:pt x="892" y="636"/>
                  </a:lnTo>
                  <a:lnTo>
                    <a:pt x="887" y="636"/>
                  </a:lnTo>
                  <a:lnTo>
                    <a:pt x="885" y="631"/>
                  </a:lnTo>
                  <a:lnTo>
                    <a:pt x="887" y="627"/>
                  </a:lnTo>
                  <a:lnTo>
                    <a:pt x="883" y="631"/>
                  </a:lnTo>
                  <a:lnTo>
                    <a:pt x="881" y="631"/>
                  </a:lnTo>
                  <a:lnTo>
                    <a:pt x="879" y="627"/>
                  </a:lnTo>
                  <a:lnTo>
                    <a:pt x="876" y="625"/>
                  </a:lnTo>
                  <a:lnTo>
                    <a:pt x="876" y="621"/>
                  </a:lnTo>
                  <a:lnTo>
                    <a:pt x="874" y="620"/>
                  </a:lnTo>
                  <a:lnTo>
                    <a:pt x="870" y="621"/>
                  </a:lnTo>
                  <a:lnTo>
                    <a:pt x="870" y="618"/>
                  </a:lnTo>
                  <a:lnTo>
                    <a:pt x="868" y="616"/>
                  </a:lnTo>
                  <a:lnTo>
                    <a:pt x="870" y="612"/>
                  </a:lnTo>
                  <a:lnTo>
                    <a:pt x="870" y="612"/>
                  </a:lnTo>
                  <a:lnTo>
                    <a:pt x="868" y="606"/>
                  </a:lnTo>
                  <a:lnTo>
                    <a:pt x="868" y="599"/>
                  </a:lnTo>
                  <a:lnTo>
                    <a:pt x="872" y="595"/>
                  </a:lnTo>
                  <a:lnTo>
                    <a:pt x="877" y="589"/>
                  </a:lnTo>
                  <a:lnTo>
                    <a:pt x="881" y="587"/>
                  </a:lnTo>
                  <a:lnTo>
                    <a:pt x="885" y="587"/>
                  </a:lnTo>
                  <a:lnTo>
                    <a:pt x="885" y="586"/>
                  </a:lnTo>
                  <a:lnTo>
                    <a:pt x="889" y="584"/>
                  </a:lnTo>
                  <a:lnTo>
                    <a:pt x="889" y="582"/>
                  </a:lnTo>
                  <a:lnTo>
                    <a:pt x="887" y="582"/>
                  </a:lnTo>
                  <a:lnTo>
                    <a:pt x="883" y="584"/>
                  </a:lnTo>
                  <a:lnTo>
                    <a:pt x="881" y="582"/>
                  </a:lnTo>
                  <a:lnTo>
                    <a:pt x="881" y="582"/>
                  </a:lnTo>
                  <a:lnTo>
                    <a:pt x="879" y="578"/>
                  </a:lnTo>
                  <a:lnTo>
                    <a:pt x="881" y="572"/>
                  </a:lnTo>
                  <a:lnTo>
                    <a:pt x="885" y="569"/>
                  </a:lnTo>
                  <a:lnTo>
                    <a:pt x="889" y="561"/>
                  </a:lnTo>
                  <a:lnTo>
                    <a:pt x="889" y="561"/>
                  </a:lnTo>
                  <a:lnTo>
                    <a:pt x="892" y="555"/>
                  </a:lnTo>
                  <a:lnTo>
                    <a:pt x="894" y="555"/>
                  </a:lnTo>
                  <a:lnTo>
                    <a:pt x="898" y="552"/>
                  </a:lnTo>
                  <a:lnTo>
                    <a:pt x="902" y="548"/>
                  </a:lnTo>
                  <a:lnTo>
                    <a:pt x="906" y="552"/>
                  </a:lnTo>
                  <a:lnTo>
                    <a:pt x="904" y="555"/>
                  </a:lnTo>
                  <a:lnTo>
                    <a:pt x="906" y="557"/>
                  </a:lnTo>
                  <a:lnTo>
                    <a:pt x="906" y="559"/>
                  </a:lnTo>
                  <a:lnTo>
                    <a:pt x="909" y="557"/>
                  </a:lnTo>
                  <a:lnTo>
                    <a:pt x="909" y="555"/>
                  </a:lnTo>
                  <a:lnTo>
                    <a:pt x="913" y="548"/>
                  </a:lnTo>
                  <a:lnTo>
                    <a:pt x="913" y="548"/>
                  </a:lnTo>
                  <a:lnTo>
                    <a:pt x="911" y="548"/>
                  </a:lnTo>
                  <a:lnTo>
                    <a:pt x="908" y="548"/>
                  </a:lnTo>
                  <a:lnTo>
                    <a:pt x="906" y="544"/>
                  </a:lnTo>
                  <a:lnTo>
                    <a:pt x="908" y="539"/>
                  </a:lnTo>
                  <a:lnTo>
                    <a:pt x="913" y="539"/>
                  </a:lnTo>
                  <a:lnTo>
                    <a:pt x="913" y="539"/>
                  </a:lnTo>
                  <a:lnTo>
                    <a:pt x="919" y="535"/>
                  </a:lnTo>
                  <a:lnTo>
                    <a:pt x="919" y="531"/>
                  </a:lnTo>
                  <a:lnTo>
                    <a:pt x="923" y="529"/>
                  </a:lnTo>
                  <a:lnTo>
                    <a:pt x="926" y="531"/>
                  </a:lnTo>
                  <a:lnTo>
                    <a:pt x="932" y="533"/>
                  </a:lnTo>
                  <a:lnTo>
                    <a:pt x="932" y="537"/>
                  </a:lnTo>
                  <a:lnTo>
                    <a:pt x="932" y="539"/>
                  </a:lnTo>
                  <a:lnTo>
                    <a:pt x="934" y="539"/>
                  </a:lnTo>
                  <a:lnTo>
                    <a:pt x="938" y="542"/>
                  </a:lnTo>
                  <a:lnTo>
                    <a:pt x="940" y="544"/>
                  </a:lnTo>
                  <a:lnTo>
                    <a:pt x="940" y="548"/>
                  </a:lnTo>
                  <a:lnTo>
                    <a:pt x="938" y="548"/>
                  </a:lnTo>
                  <a:lnTo>
                    <a:pt x="938" y="552"/>
                  </a:lnTo>
                  <a:lnTo>
                    <a:pt x="938" y="554"/>
                  </a:lnTo>
                  <a:lnTo>
                    <a:pt x="940" y="557"/>
                  </a:lnTo>
                  <a:lnTo>
                    <a:pt x="941" y="559"/>
                  </a:lnTo>
                  <a:lnTo>
                    <a:pt x="941" y="567"/>
                  </a:lnTo>
                  <a:lnTo>
                    <a:pt x="943" y="569"/>
                  </a:lnTo>
                  <a:lnTo>
                    <a:pt x="943" y="569"/>
                  </a:lnTo>
                  <a:lnTo>
                    <a:pt x="940" y="572"/>
                  </a:lnTo>
                  <a:lnTo>
                    <a:pt x="940" y="576"/>
                  </a:lnTo>
                  <a:lnTo>
                    <a:pt x="938" y="582"/>
                  </a:lnTo>
                  <a:lnTo>
                    <a:pt x="938" y="584"/>
                  </a:lnTo>
                  <a:lnTo>
                    <a:pt x="936" y="586"/>
                  </a:lnTo>
                  <a:lnTo>
                    <a:pt x="938" y="589"/>
                  </a:lnTo>
                  <a:lnTo>
                    <a:pt x="936" y="593"/>
                  </a:lnTo>
                  <a:lnTo>
                    <a:pt x="940" y="599"/>
                  </a:lnTo>
                  <a:lnTo>
                    <a:pt x="940" y="601"/>
                  </a:lnTo>
                  <a:lnTo>
                    <a:pt x="938" y="603"/>
                  </a:lnTo>
                  <a:lnTo>
                    <a:pt x="940" y="606"/>
                  </a:lnTo>
                  <a:lnTo>
                    <a:pt x="938" y="608"/>
                  </a:lnTo>
                  <a:lnTo>
                    <a:pt x="938" y="612"/>
                  </a:lnTo>
                  <a:lnTo>
                    <a:pt x="941" y="612"/>
                  </a:lnTo>
                  <a:lnTo>
                    <a:pt x="943" y="614"/>
                  </a:lnTo>
                  <a:lnTo>
                    <a:pt x="943" y="618"/>
                  </a:lnTo>
                  <a:lnTo>
                    <a:pt x="940" y="620"/>
                  </a:lnTo>
                  <a:lnTo>
                    <a:pt x="938" y="620"/>
                  </a:lnTo>
                  <a:lnTo>
                    <a:pt x="934" y="620"/>
                  </a:lnTo>
                  <a:lnTo>
                    <a:pt x="932" y="616"/>
                  </a:lnTo>
                  <a:lnTo>
                    <a:pt x="934" y="612"/>
                  </a:lnTo>
                  <a:lnTo>
                    <a:pt x="928" y="614"/>
                  </a:lnTo>
                  <a:lnTo>
                    <a:pt x="926" y="618"/>
                  </a:lnTo>
                  <a:lnTo>
                    <a:pt x="924" y="620"/>
                  </a:lnTo>
                  <a:lnTo>
                    <a:pt x="924" y="621"/>
                  </a:lnTo>
                  <a:lnTo>
                    <a:pt x="928" y="620"/>
                  </a:lnTo>
                  <a:lnTo>
                    <a:pt x="932" y="621"/>
                  </a:lnTo>
                  <a:lnTo>
                    <a:pt x="930" y="625"/>
                  </a:lnTo>
                  <a:lnTo>
                    <a:pt x="923" y="631"/>
                  </a:lnTo>
                  <a:lnTo>
                    <a:pt x="917" y="633"/>
                  </a:lnTo>
                  <a:lnTo>
                    <a:pt x="917" y="633"/>
                  </a:lnTo>
                  <a:lnTo>
                    <a:pt x="917" y="633"/>
                  </a:lnTo>
                  <a:lnTo>
                    <a:pt x="913" y="636"/>
                  </a:lnTo>
                  <a:lnTo>
                    <a:pt x="917" y="640"/>
                  </a:lnTo>
                  <a:lnTo>
                    <a:pt x="919" y="638"/>
                  </a:lnTo>
                  <a:lnTo>
                    <a:pt x="923" y="640"/>
                  </a:lnTo>
                  <a:lnTo>
                    <a:pt x="923" y="642"/>
                  </a:lnTo>
                  <a:lnTo>
                    <a:pt x="926" y="646"/>
                  </a:lnTo>
                  <a:lnTo>
                    <a:pt x="930" y="646"/>
                  </a:lnTo>
                  <a:lnTo>
                    <a:pt x="932" y="642"/>
                  </a:lnTo>
                  <a:lnTo>
                    <a:pt x="934" y="642"/>
                  </a:lnTo>
                  <a:lnTo>
                    <a:pt x="936" y="642"/>
                  </a:lnTo>
                  <a:lnTo>
                    <a:pt x="934" y="646"/>
                  </a:lnTo>
                  <a:lnTo>
                    <a:pt x="934" y="646"/>
                  </a:lnTo>
                  <a:lnTo>
                    <a:pt x="938" y="648"/>
                  </a:lnTo>
                  <a:lnTo>
                    <a:pt x="940" y="650"/>
                  </a:lnTo>
                  <a:lnTo>
                    <a:pt x="943" y="646"/>
                  </a:lnTo>
                  <a:lnTo>
                    <a:pt x="943" y="648"/>
                  </a:lnTo>
                  <a:lnTo>
                    <a:pt x="943" y="652"/>
                  </a:lnTo>
                  <a:lnTo>
                    <a:pt x="940" y="652"/>
                  </a:lnTo>
                  <a:lnTo>
                    <a:pt x="936" y="655"/>
                  </a:lnTo>
                  <a:lnTo>
                    <a:pt x="934" y="657"/>
                  </a:lnTo>
                  <a:lnTo>
                    <a:pt x="934" y="652"/>
                  </a:lnTo>
                  <a:lnTo>
                    <a:pt x="932" y="653"/>
                  </a:lnTo>
                  <a:lnTo>
                    <a:pt x="930" y="652"/>
                  </a:lnTo>
                  <a:lnTo>
                    <a:pt x="930" y="653"/>
                  </a:lnTo>
                  <a:lnTo>
                    <a:pt x="932" y="657"/>
                  </a:lnTo>
                  <a:lnTo>
                    <a:pt x="932" y="661"/>
                  </a:lnTo>
                  <a:lnTo>
                    <a:pt x="936" y="667"/>
                  </a:lnTo>
                  <a:lnTo>
                    <a:pt x="936" y="670"/>
                  </a:lnTo>
                  <a:lnTo>
                    <a:pt x="936" y="670"/>
                  </a:lnTo>
                  <a:lnTo>
                    <a:pt x="936" y="676"/>
                  </a:lnTo>
                  <a:lnTo>
                    <a:pt x="932" y="676"/>
                  </a:lnTo>
                  <a:lnTo>
                    <a:pt x="932" y="680"/>
                  </a:lnTo>
                  <a:lnTo>
                    <a:pt x="932" y="684"/>
                  </a:lnTo>
                  <a:lnTo>
                    <a:pt x="928" y="687"/>
                  </a:lnTo>
                  <a:lnTo>
                    <a:pt x="928" y="687"/>
                  </a:lnTo>
                  <a:lnTo>
                    <a:pt x="930" y="695"/>
                  </a:lnTo>
                  <a:lnTo>
                    <a:pt x="926" y="695"/>
                  </a:lnTo>
                  <a:lnTo>
                    <a:pt x="928" y="697"/>
                  </a:lnTo>
                  <a:lnTo>
                    <a:pt x="930" y="697"/>
                  </a:lnTo>
                  <a:lnTo>
                    <a:pt x="932" y="695"/>
                  </a:lnTo>
                  <a:lnTo>
                    <a:pt x="934" y="691"/>
                  </a:lnTo>
                  <a:lnTo>
                    <a:pt x="940" y="687"/>
                  </a:lnTo>
                  <a:lnTo>
                    <a:pt x="940" y="687"/>
                  </a:lnTo>
                  <a:lnTo>
                    <a:pt x="940" y="685"/>
                  </a:lnTo>
                  <a:lnTo>
                    <a:pt x="941" y="684"/>
                  </a:lnTo>
                  <a:lnTo>
                    <a:pt x="943" y="685"/>
                  </a:lnTo>
                  <a:lnTo>
                    <a:pt x="943" y="684"/>
                  </a:lnTo>
                  <a:lnTo>
                    <a:pt x="943" y="676"/>
                  </a:lnTo>
                  <a:lnTo>
                    <a:pt x="947" y="672"/>
                  </a:lnTo>
                  <a:lnTo>
                    <a:pt x="949" y="670"/>
                  </a:lnTo>
                  <a:lnTo>
                    <a:pt x="955" y="663"/>
                  </a:lnTo>
                  <a:lnTo>
                    <a:pt x="956" y="659"/>
                  </a:lnTo>
                  <a:lnTo>
                    <a:pt x="956" y="659"/>
                  </a:lnTo>
                  <a:lnTo>
                    <a:pt x="958" y="661"/>
                  </a:lnTo>
                  <a:lnTo>
                    <a:pt x="960" y="663"/>
                  </a:lnTo>
                  <a:lnTo>
                    <a:pt x="962" y="670"/>
                  </a:lnTo>
                  <a:lnTo>
                    <a:pt x="964" y="676"/>
                  </a:lnTo>
                  <a:lnTo>
                    <a:pt x="968" y="678"/>
                  </a:lnTo>
                  <a:lnTo>
                    <a:pt x="968" y="684"/>
                  </a:lnTo>
                  <a:lnTo>
                    <a:pt x="966" y="687"/>
                  </a:lnTo>
                  <a:lnTo>
                    <a:pt x="968" y="695"/>
                  </a:lnTo>
                  <a:lnTo>
                    <a:pt x="964" y="697"/>
                  </a:lnTo>
                  <a:lnTo>
                    <a:pt x="962" y="701"/>
                  </a:lnTo>
                  <a:lnTo>
                    <a:pt x="960" y="697"/>
                  </a:lnTo>
                  <a:lnTo>
                    <a:pt x="956" y="701"/>
                  </a:lnTo>
                  <a:lnTo>
                    <a:pt x="955" y="702"/>
                  </a:lnTo>
                  <a:lnTo>
                    <a:pt x="956" y="706"/>
                  </a:lnTo>
                  <a:lnTo>
                    <a:pt x="953" y="710"/>
                  </a:lnTo>
                  <a:lnTo>
                    <a:pt x="953" y="714"/>
                  </a:lnTo>
                  <a:lnTo>
                    <a:pt x="953" y="716"/>
                  </a:lnTo>
                  <a:lnTo>
                    <a:pt x="953" y="721"/>
                  </a:lnTo>
                  <a:lnTo>
                    <a:pt x="956" y="734"/>
                  </a:lnTo>
                  <a:lnTo>
                    <a:pt x="960" y="740"/>
                  </a:lnTo>
                  <a:lnTo>
                    <a:pt x="958" y="744"/>
                  </a:lnTo>
                  <a:lnTo>
                    <a:pt x="960" y="748"/>
                  </a:lnTo>
                  <a:lnTo>
                    <a:pt x="964" y="748"/>
                  </a:lnTo>
                  <a:lnTo>
                    <a:pt x="964" y="742"/>
                  </a:lnTo>
                  <a:lnTo>
                    <a:pt x="962" y="742"/>
                  </a:lnTo>
                  <a:lnTo>
                    <a:pt x="964" y="738"/>
                  </a:lnTo>
                  <a:lnTo>
                    <a:pt x="968" y="738"/>
                  </a:lnTo>
                  <a:lnTo>
                    <a:pt x="968" y="742"/>
                  </a:lnTo>
                  <a:lnTo>
                    <a:pt x="972" y="742"/>
                  </a:lnTo>
                  <a:lnTo>
                    <a:pt x="972" y="738"/>
                  </a:lnTo>
                  <a:lnTo>
                    <a:pt x="973" y="734"/>
                  </a:lnTo>
                  <a:lnTo>
                    <a:pt x="973" y="731"/>
                  </a:lnTo>
                  <a:lnTo>
                    <a:pt x="977" y="727"/>
                  </a:lnTo>
                  <a:lnTo>
                    <a:pt x="981" y="721"/>
                  </a:lnTo>
                  <a:lnTo>
                    <a:pt x="981" y="721"/>
                  </a:lnTo>
                  <a:lnTo>
                    <a:pt x="985" y="719"/>
                  </a:lnTo>
                  <a:lnTo>
                    <a:pt x="990" y="716"/>
                  </a:lnTo>
                  <a:lnTo>
                    <a:pt x="996" y="708"/>
                  </a:lnTo>
                  <a:lnTo>
                    <a:pt x="998" y="701"/>
                  </a:lnTo>
                  <a:lnTo>
                    <a:pt x="1002" y="693"/>
                  </a:lnTo>
                  <a:lnTo>
                    <a:pt x="1005" y="691"/>
                  </a:lnTo>
                  <a:lnTo>
                    <a:pt x="1007" y="695"/>
                  </a:lnTo>
                  <a:lnTo>
                    <a:pt x="1009" y="693"/>
                  </a:lnTo>
                  <a:lnTo>
                    <a:pt x="1011" y="695"/>
                  </a:lnTo>
                  <a:lnTo>
                    <a:pt x="1015" y="693"/>
                  </a:lnTo>
                  <a:lnTo>
                    <a:pt x="1015" y="691"/>
                  </a:lnTo>
                  <a:lnTo>
                    <a:pt x="1013" y="691"/>
                  </a:lnTo>
                  <a:lnTo>
                    <a:pt x="1009" y="687"/>
                  </a:lnTo>
                  <a:lnTo>
                    <a:pt x="1011" y="685"/>
                  </a:lnTo>
                  <a:lnTo>
                    <a:pt x="1015" y="685"/>
                  </a:lnTo>
                  <a:lnTo>
                    <a:pt x="1019" y="687"/>
                  </a:lnTo>
                  <a:lnTo>
                    <a:pt x="1019" y="685"/>
                  </a:lnTo>
                  <a:lnTo>
                    <a:pt x="1022" y="685"/>
                  </a:lnTo>
                  <a:lnTo>
                    <a:pt x="1024" y="685"/>
                  </a:lnTo>
                  <a:lnTo>
                    <a:pt x="1022" y="682"/>
                  </a:lnTo>
                  <a:lnTo>
                    <a:pt x="1020" y="682"/>
                  </a:lnTo>
                  <a:lnTo>
                    <a:pt x="1019" y="678"/>
                  </a:lnTo>
                  <a:lnTo>
                    <a:pt x="1017" y="678"/>
                  </a:lnTo>
                  <a:lnTo>
                    <a:pt x="1017" y="672"/>
                  </a:lnTo>
                  <a:lnTo>
                    <a:pt x="1019" y="670"/>
                  </a:lnTo>
                  <a:lnTo>
                    <a:pt x="1019" y="667"/>
                  </a:lnTo>
                  <a:lnTo>
                    <a:pt x="1022" y="667"/>
                  </a:lnTo>
                  <a:lnTo>
                    <a:pt x="1020" y="663"/>
                  </a:lnTo>
                  <a:lnTo>
                    <a:pt x="1020" y="661"/>
                  </a:lnTo>
                  <a:lnTo>
                    <a:pt x="1022" y="659"/>
                  </a:lnTo>
                  <a:lnTo>
                    <a:pt x="1022" y="657"/>
                  </a:lnTo>
                  <a:lnTo>
                    <a:pt x="1022" y="655"/>
                  </a:lnTo>
                  <a:lnTo>
                    <a:pt x="1026" y="655"/>
                  </a:lnTo>
                  <a:lnTo>
                    <a:pt x="1026" y="652"/>
                  </a:lnTo>
                  <a:lnTo>
                    <a:pt x="1024" y="652"/>
                  </a:lnTo>
                  <a:lnTo>
                    <a:pt x="1022" y="648"/>
                  </a:lnTo>
                  <a:lnTo>
                    <a:pt x="1026" y="650"/>
                  </a:lnTo>
                  <a:lnTo>
                    <a:pt x="1026" y="652"/>
                  </a:lnTo>
                  <a:lnTo>
                    <a:pt x="1030" y="652"/>
                  </a:lnTo>
                  <a:lnTo>
                    <a:pt x="1032" y="652"/>
                  </a:lnTo>
                  <a:lnTo>
                    <a:pt x="1037" y="652"/>
                  </a:lnTo>
                  <a:lnTo>
                    <a:pt x="1043" y="655"/>
                  </a:lnTo>
                  <a:lnTo>
                    <a:pt x="1045" y="657"/>
                  </a:lnTo>
                  <a:lnTo>
                    <a:pt x="1045" y="659"/>
                  </a:lnTo>
                  <a:lnTo>
                    <a:pt x="1051" y="663"/>
                  </a:lnTo>
                  <a:lnTo>
                    <a:pt x="1056" y="661"/>
                  </a:lnTo>
                  <a:lnTo>
                    <a:pt x="1060" y="663"/>
                  </a:lnTo>
                  <a:lnTo>
                    <a:pt x="1064" y="663"/>
                  </a:lnTo>
                  <a:lnTo>
                    <a:pt x="1064" y="667"/>
                  </a:lnTo>
                  <a:lnTo>
                    <a:pt x="1062" y="667"/>
                  </a:lnTo>
                  <a:lnTo>
                    <a:pt x="1064" y="670"/>
                  </a:lnTo>
                  <a:lnTo>
                    <a:pt x="1062" y="670"/>
                  </a:lnTo>
                  <a:lnTo>
                    <a:pt x="1060" y="670"/>
                  </a:lnTo>
                  <a:lnTo>
                    <a:pt x="1056" y="670"/>
                  </a:lnTo>
                  <a:lnTo>
                    <a:pt x="1056" y="670"/>
                  </a:lnTo>
                  <a:lnTo>
                    <a:pt x="1064" y="676"/>
                  </a:lnTo>
                  <a:lnTo>
                    <a:pt x="1066" y="680"/>
                  </a:lnTo>
                  <a:lnTo>
                    <a:pt x="1062" y="682"/>
                  </a:lnTo>
                  <a:lnTo>
                    <a:pt x="1064" y="682"/>
                  </a:lnTo>
                  <a:lnTo>
                    <a:pt x="1068" y="682"/>
                  </a:lnTo>
                  <a:lnTo>
                    <a:pt x="1073" y="682"/>
                  </a:lnTo>
                  <a:lnTo>
                    <a:pt x="1073" y="685"/>
                  </a:lnTo>
                  <a:lnTo>
                    <a:pt x="1077" y="685"/>
                  </a:lnTo>
                  <a:lnTo>
                    <a:pt x="1077" y="687"/>
                  </a:lnTo>
                  <a:lnTo>
                    <a:pt x="1075" y="691"/>
                  </a:lnTo>
                  <a:lnTo>
                    <a:pt x="1068" y="695"/>
                  </a:lnTo>
                  <a:lnTo>
                    <a:pt x="1064" y="697"/>
                  </a:lnTo>
                  <a:lnTo>
                    <a:pt x="1062" y="697"/>
                  </a:lnTo>
                  <a:lnTo>
                    <a:pt x="1068" y="697"/>
                  </a:lnTo>
                  <a:lnTo>
                    <a:pt x="1069" y="697"/>
                  </a:lnTo>
                  <a:lnTo>
                    <a:pt x="1069" y="701"/>
                  </a:lnTo>
                  <a:lnTo>
                    <a:pt x="1071" y="701"/>
                  </a:lnTo>
                  <a:lnTo>
                    <a:pt x="1073" y="701"/>
                  </a:lnTo>
                  <a:lnTo>
                    <a:pt x="1069" y="704"/>
                  </a:lnTo>
                  <a:lnTo>
                    <a:pt x="1071" y="706"/>
                  </a:lnTo>
                  <a:lnTo>
                    <a:pt x="1068" y="710"/>
                  </a:lnTo>
                  <a:lnTo>
                    <a:pt x="1062" y="712"/>
                  </a:lnTo>
                  <a:lnTo>
                    <a:pt x="1060" y="710"/>
                  </a:lnTo>
                  <a:lnTo>
                    <a:pt x="1056" y="714"/>
                  </a:lnTo>
                  <a:lnTo>
                    <a:pt x="1056" y="712"/>
                  </a:lnTo>
                  <a:lnTo>
                    <a:pt x="1051" y="708"/>
                  </a:lnTo>
                  <a:lnTo>
                    <a:pt x="1049" y="708"/>
                  </a:lnTo>
                  <a:lnTo>
                    <a:pt x="1047" y="706"/>
                  </a:lnTo>
                  <a:lnTo>
                    <a:pt x="1045" y="706"/>
                  </a:lnTo>
                  <a:lnTo>
                    <a:pt x="1045" y="710"/>
                  </a:lnTo>
                  <a:lnTo>
                    <a:pt x="1043" y="712"/>
                  </a:lnTo>
                  <a:lnTo>
                    <a:pt x="1047" y="712"/>
                  </a:lnTo>
                  <a:lnTo>
                    <a:pt x="1049" y="714"/>
                  </a:lnTo>
                  <a:lnTo>
                    <a:pt x="1049" y="716"/>
                  </a:lnTo>
                  <a:lnTo>
                    <a:pt x="1045" y="719"/>
                  </a:lnTo>
                  <a:lnTo>
                    <a:pt x="1049" y="719"/>
                  </a:lnTo>
                  <a:lnTo>
                    <a:pt x="1047" y="721"/>
                  </a:lnTo>
                  <a:lnTo>
                    <a:pt x="1047" y="725"/>
                  </a:lnTo>
                  <a:lnTo>
                    <a:pt x="1049" y="725"/>
                  </a:lnTo>
                  <a:lnTo>
                    <a:pt x="1051" y="721"/>
                  </a:lnTo>
                  <a:lnTo>
                    <a:pt x="1051" y="721"/>
                  </a:lnTo>
                  <a:lnTo>
                    <a:pt x="1051" y="725"/>
                  </a:lnTo>
                  <a:lnTo>
                    <a:pt x="1047" y="727"/>
                  </a:lnTo>
                  <a:lnTo>
                    <a:pt x="1045" y="731"/>
                  </a:lnTo>
                  <a:lnTo>
                    <a:pt x="1045" y="734"/>
                  </a:lnTo>
                  <a:lnTo>
                    <a:pt x="1051" y="736"/>
                  </a:lnTo>
                  <a:lnTo>
                    <a:pt x="1049" y="740"/>
                  </a:lnTo>
                  <a:lnTo>
                    <a:pt x="1051" y="748"/>
                  </a:lnTo>
                  <a:lnTo>
                    <a:pt x="1051" y="751"/>
                  </a:lnTo>
                  <a:lnTo>
                    <a:pt x="1051" y="751"/>
                  </a:lnTo>
                  <a:lnTo>
                    <a:pt x="1051" y="755"/>
                  </a:lnTo>
                  <a:lnTo>
                    <a:pt x="1045" y="761"/>
                  </a:lnTo>
                  <a:lnTo>
                    <a:pt x="1047" y="765"/>
                  </a:lnTo>
                  <a:lnTo>
                    <a:pt x="1045" y="765"/>
                  </a:lnTo>
                  <a:lnTo>
                    <a:pt x="1041" y="765"/>
                  </a:lnTo>
                  <a:lnTo>
                    <a:pt x="1036" y="765"/>
                  </a:lnTo>
                  <a:lnTo>
                    <a:pt x="1032" y="766"/>
                  </a:lnTo>
                  <a:lnTo>
                    <a:pt x="1032" y="770"/>
                  </a:lnTo>
                  <a:lnTo>
                    <a:pt x="1030" y="772"/>
                  </a:lnTo>
                  <a:lnTo>
                    <a:pt x="1026" y="776"/>
                  </a:lnTo>
                  <a:lnTo>
                    <a:pt x="1024" y="776"/>
                  </a:lnTo>
                  <a:lnTo>
                    <a:pt x="1019" y="781"/>
                  </a:lnTo>
                  <a:lnTo>
                    <a:pt x="1017" y="781"/>
                  </a:lnTo>
                  <a:lnTo>
                    <a:pt x="1013" y="781"/>
                  </a:lnTo>
                  <a:lnTo>
                    <a:pt x="1011" y="785"/>
                  </a:lnTo>
                  <a:lnTo>
                    <a:pt x="1002" y="785"/>
                  </a:lnTo>
                  <a:lnTo>
                    <a:pt x="1002" y="785"/>
                  </a:lnTo>
                  <a:lnTo>
                    <a:pt x="1002" y="781"/>
                  </a:lnTo>
                  <a:lnTo>
                    <a:pt x="1002" y="778"/>
                  </a:lnTo>
                  <a:lnTo>
                    <a:pt x="998" y="776"/>
                  </a:lnTo>
                  <a:lnTo>
                    <a:pt x="998" y="774"/>
                  </a:lnTo>
                  <a:lnTo>
                    <a:pt x="1002" y="772"/>
                  </a:lnTo>
                  <a:lnTo>
                    <a:pt x="1002" y="770"/>
                  </a:lnTo>
                  <a:lnTo>
                    <a:pt x="1005" y="765"/>
                  </a:lnTo>
                  <a:lnTo>
                    <a:pt x="1002" y="768"/>
                  </a:lnTo>
                  <a:lnTo>
                    <a:pt x="998" y="768"/>
                  </a:lnTo>
                  <a:lnTo>
                    <a:pt x="998" y="761"/>
                  </a:lnTo>
                  <a:lnTo>
                    <a:pt x="998" y="761"/>
                  </a:lnTo>
                  <a:lnTo>
                    <a:pt x="996" y="755"/>
                  </a:lnTo>
                  <a:lnTo>
                    <a:pt x="992" y="761"/>
                  </a:lnTo>
                  <a:lnTo>
                    <a:pt x="990" y="757"/>
                  </a:lnTo>
                  <a:lnTo>
                    <a:pt x="987" y="757"/>
                  </a:lnTo>
                  <a:lnTo>
                    <a:pt x="983" y="765"/>
                  </a:lnTo>
                  <a:lnTo>
                    <a:pt x="985" y="765"/>
                  </a:lnTo>
                  <a:lnTo>
                    <a:pt x="990" y="761"/>
                  </a:lnTo>
                  <a:lnTo>
                    <a:pt x="992" y="761"/>
                  </a:lnTo>
                  <a:lnTo>
                    <a:pt x="992" y="765"/>
                  </a:lnTo>
                  <a:lnTo>
                    <a:pt x="996" y="765"/>
                  </a:lnTo>
                  <a:lnTo>
                    <a:pt x="998" y="772"/>
                  </a:lnTo>
                  <a:lnTo>
                    <a:pt x="996" y="778"/>
                  </a:lnTo>
                  <a:lnTo>
                    <a:pt x="998" y="778"/>
                  </a:lnTo>
                  <a:lnTo>
                    <a:pt x="998" y="781"/>
                  </a:lnTo>
                  <a:lnTo>
                    <a:pt x="998" y="785"/>
                  </a:lnTo>
                  <a:lnTo>
                    <a:pt x="998" y="785"/>
                  </a:lnTo>
                  <a:lnTo>
                    <a:pt x="998" y="789"/>
                  </a:lnTo>
                  <a:lnTo>
                    <a:pt x="996" y="789"/>
                  </a:lnTo>
                  <a:lnTo>
                    <a:pt x="990" y="785"/>
                  </a:lnTo>
                  <a:lnTo>
                    <a:pt x="990" y="781"/>
                  </a:lnTo>
                  <a:lnTo>
                    <a:pt x="987" y="781"/>
                  </a:lnTo>
                  <a:lnTo>
                    <a:pt x="987" y="778"/>
                  </a:lnTo>
                  <a:lnTo>
                    <a:pt x="985" y="781"/>
                  </a:lnTo>
                  <a:lnTo>
                    <a:pt x="988" y="785"/>
                  </a:lnTo>
                  <a:lnTo>
                    <a:pt x="987" y="785"/>
                  </a:lnTo>
                  <a:lnTo>
                    <a:pt x="983" y="785"/>
                  </a:lnTo>
                  <a:lnTo>
                    <a:pt x="981" y="785"/>
                  </a:lnTo>
                  <a:lnTo>
                    <a:pt x="981" y="781"/>
                  </a:lnTo>
                  <a:lnTo>
                    <a:pt x="975" y="781"/>
                  </a:lnTo>
                  <a:lnTo>
                    <a:pt x="975" y="781"/>
                  </a:lnTo>
                  <a:lnTo>
                    <a:pt x="977" y="776"/>
                  </a:lnTo>
                  <a:lnTo>
                    <a:pt x="981" y="774"/>
                  </a:lnTo>
                  <a:lnTo>
                    <a:pt x="977" y="774"/>
                  </a:lnTo>
                  <a:lnTo>
                    <a:pt x="977" y="772"/>
                  </a:lnTo>
                  <a:lnTo>
                    <a:pt x="972" y="774"/>
                  </a:lnTo>
                  <a:lnTo>
                    <a:pt x="968" y="774"/>
                  </a:lnTo>
                  <a:lnTo>
                    <a:pt x="964" y="772"/>
                  </a:lnTo>
                  <a:lnTo>
                    <a:pt x="962" y="772"/>
                  </a:lnTo>
                  <a:lnTo>
                    <a:pt x="956" y="770"/>
                  </a:lnTo>
                  <a:lnTo>
                    <a:pt x="956" y="772"/>
                  </a:lnTo>
                  <a:lnTo>
                    <a:pt x="958" y="774"/>
                  </a:lnTo>
                  <a:lnTo>
                    <a:pt x="956" y="776"/>
                  </a:lnTo>
                  <a:lnTo>
                    <a:pt x="956" y="780"/>
                  </a:lnTo>
                  <a:lnTo>
                    <a:pt x="958" y="781"/>
                  </a:lnTo>
                  <a:lnTo>
                    <a:pt x="962" y="781"/>
                  </a:lnTo>
                  <a:lnTo>
                    <a:pt x="966" y="785"/>
                  </a:lnTo>
                  <a:lnTo>
                    <a:pt x="962" y="791"/>
                  </a:lnTo>
                  <a:lnTo>
                    <a:pt x="960" y="791"/>
                  </a:lnTo>
                  <a:lnTo>
                    <a:pt x="951" y="798"/>
                  </a:lnTo>
                  <a:lnTo>
                    <a:pt x="947" y="804"/>
                  </a:lnTo>
                  <a:lnTo>
                    <a:pt x="943" y="810"/>
                  </a:lnTo>
                  <a:lnTo>
                    <a:pt x="941" y="808"/>
                  </a:lnTo>
                  <a:lnTo>
                    <a:pt x="938" y="810"/>
                  </a:lnTo>
                  <a:lnTo>
                    <a:pt x="936" y="815"/>
                  </a:lnTo>
                  <a:lnTo>
                    <a:pt x="932" y="815"/>
                  </a:lnTo>
                  <a:lnTo>
                    <a:pt x="923" y="814"/>
                  </a:lnTo>
                  <a:lnTo>
                    <a:pt x="917" y="810"/>
                  </a:lnTo>
                  <a:lnTo>
                    <a:pt x="917" y="806"/>
                  </a:lnTo>
                  <a:lnTo>
                    <a:pt x="911" y="802"/>
                  </a:lnTo>
                  <a:lnTo>
                    <a:pt x="911" y="800"/>
                  </a:lnTo>
                  <a:lnTo>
                    <a:pt x="913" y="800"/>
                  </a:lnTo>
                  <a:lnTo>
                    <a:pt x="913" y="798"/>
                  </a:lnTo>
                  <a:lnTo>
                    <a:pt x="913" y="797"/>
                  </a:lnTo>
                  <a:lnTo>
                    <a:pt x="909" y="797"/>
                  </a:lnTo>
                  <a:lnTo>
                    <a:pt x="906" y="789"/>
                  </a:lnTo>
                  <a:lnTo>
                    <a:pt x="900" y="785"/>
                  </a:lnTo>
                  <a:lnTo>
                    <a:pt x="892" y="785"/>
                  </a:lnTo>
                  <a:lnTo>
                    <a:pt x="889" y="781"/>
                  </a:lnTo>
                  <a:lnTo>
                    <a:pt x="879" y="781"/>
                  </a:lnTo>
                  <a:lnTo>
                    <a:pt x="876" y="781"/>
                  </a:lnTo>
                  <a:lnTo>
                    <a:pt x="876" y="781"/>
                  </a:lnTo>
                  <a:lnTo>
                    <a:pt x="879" y="785"/>
                  </a:lnTo>
                  <a:lnTo>
                    <a:pt x="879" y="785"/>
                  </a:lnTo>
                  <a:lnTo>
                    <a:pt x="883" y="785"/>
                  </a:lnTo>
                  <a:lnTo>
                    <a:pt x="889" y="785"/>
                  </a:lnTo>
                  <a:lnTo>
                    <a:pt x="898" y="785"/>
                  </a:lnTo>
                  <a:lnTo>
                    <a:pt x="900" y="789"/>
                  </a:lnTo>
                  <a:lnTo>
                    <a:pt x="898" y="789"/>
                  </a:lnTo>
                  <a:lnTo>
                    <a:pt x="898" y="789"/>
                  </a:lnTo>
                  <a:lnTo>
                    <a:pt x="896" y="791"/>
                  </a:lnTo>
                  <a:lnTo>
                    <a:pt x="898" y="795"/>
                  </a:lnTo>
                  <a:lnTo>
                    <a:pt x="898" y="798"/>
                  </a:lnTo>
                  <a:lnTo>
                    <a:pt x="900" y="798"/>
                  </a:lnTo>
                  <a:lnTo>
                    <a:pt x="904" y="808"/>
                  </a:lnTo>
                  <a:lnTo>
                    <a:pt x="906" y="814"/>
                  </a:lnTo>
                  <a:lnTo>
                    <a:pt x="913" y="815"/>
                  </a:lnTo>
                  <a:lnTo>
                    <a:pt x="919" y="815"/>
                  </a:lnTo>
                  <a:lnTo>
                    <a:pt x="934" y="819"/>
                  </a:lnTo>
                  <a:lnTo>
                    <a:pt x="934" y="823"/>
                  </a:lnTo>
                  <a:lnTo>
                    <a:pt x="932" y="825"/>
                  </a:lnTo>
                  <a:lnTo>
                    <a:pt x="928" y="829"/>
                  </a:lnTo>
                  <a:lnTo>
                    <a:pt x="924" y="830"/>
                  </a:lnTo>
                  <a:lnTo>
                    <a:pt x="919" y="838"/>
                  </a:lnTo>
                  <a:lnTo>
                    <a:pt x="919" y="836"/>
                  </a:lnTo>
                  <a:lnTo>
                    <a:pt x="917" y="836"/>
                  </a:lnTo>
                  <a:lnTo>
                    <a:pt x="917" y="840"/>
                  </a:lnTo>
                  <a:lnTo>
                    <a:pt x="906" y="851"/>
                  </a:lnTo>
                  <a:lnTo>
                    <a:pt x="900" y="853"/>
                  </a:lnTo>
                  <a:lnTo>
                    <a:pt x="896" y="859"/>
                  </a:lnTo>
                  <a:lnTo>
                    <a:pt x="892" y="859"/>
                  </a:lnTo>
                  <a:lnTo>
                    <a:pt x="892" y="859"/>
                  </a:lnTo>
                  <a:lnTo>
                    <a:pt x="889" y="859"/>
                  </a:lnTo>
                  <a:lnTo>
                    <a:pt x="889" y="861"/>
                  </a:lnTo>
                  <a:lnTo>
                    <a:pt x="885" y="855"/>
                  </a:lnTo>
                  <a:lnTo>
                    <a:pt x="883" y="853"/>
                  </a:lnTo>
                  <a:lnTo>
                    <a:pt x="879" y="857"/>
                  </a:lnTo>
                  <a:lnTo>
                    <a:pt x="879" y="853"/>
                  </a:lnTo>
                  <a:lnTo>
                    <a:pt x="877" y="853"/>
                  </a:lnTo>
                  <a:lnTo>
                    <a:pt x="879" y="849"/>
                  </a:lnTo>
                  <a:lnTo>
                    <a:pt x="879" y="849"/>
                  </a:lnTo>
                  <a:lnTo>
                    <a:pt x="877" y="846"/>
                  </a:lnTo>
                  <a:lnTo>
                    <a:pt x="874" y="849"/>
                  </a:lnTo>
                  <a:lnTo>
                    <a:pt x="872" y="855"/>
                  </a:lnTo>
                  <a:lnTo>
                    <a:pt x="872" y="851"/>
                  </a:lnTo>
                  <a:lnTo>
                    <a:pt x="868" y="846"/>
                  </a:lnTo>
                  <a:lnTo>
                    <a:pt x="868" y="851"/>
                  </a:lnTo>
                  <a:lnTo>
                    <a:pt x="870" y="853"/>
                  </a:lnTo>
                  <a:lnTo>
                    <a:pt x="868" y="861"/>
                  </a:lnTo>
                  <a:lnTo>
                    <a:pt x="864" y="868"/>
                  </a:lnTo>
                  <a:lnTo>
                    <a:pt x="864" y="866"/>
                  </a:lnTo>
                  <a:lnTo>
                    <a:pt x="862" y="864"/>
                  </a:lnTo>
                  <a:lnTo>
                    <a:pt x="859" y="861"/>
                  </a:lnTo>
                  <a:lnTo>
                    <a:pt x="859" y="864"/>
                  </a:lnTo>
                  <a:lnTo>
                    <a:pt x="859" y="866"/>
                  </a:lnTo>
                  <a:lnTo>
                    <a:pt x="855" y="868"/>
                  </a:lnTo>
                  <a:lnTo>
                    <a:pt x="855" y="870"/>
                  </a:lnTo>
                  <a:lnTo>
                    <a:pt x="855" y="870"/>
                  </a:lnTo>
                  <a:lnTo>
                    <a:pt x="851" y="870"/>
                  </a:lnTo>
                  <a:lnTo>
                    <a:pt x="851" y="866"/>
                  </a:lnTo>
                  <a:lnTo>
                    <a:pt x="847" y="864"/>
                  </a:lnTo>
                  <a:lnTo>
                    <a:pt x="844" y="859"/>
                  </a:lnTo>
                  <a:lnTo>
                    <a:pt x="836" y="857"/>
                  </a:lnTo>
                  <a:lnTo>
                    <a:pt x="830" y="851"/>
                  </a:lnTo>
                  <a:lnTo>
                    <a:pt x="828" y="846"/>
                  </a:lnTo>
                  <a:lnTo>
                    <a:pt x="825" y="846"/>
                  </a:lnTo>
                  <a:lnTo>
                    <a:pt x="819" y="844"/>
                  </a:lnTo>
                  <a:lnTo>
                    <a:pt x="817" y="840"/>
                  </a:lnTo>
                  <a:lnTo>
                    <a:pt x="817" y="846"/>
                  </a:lnTo>
                  <a:lnTo>
                    <a:pt x="813" y="846"/>
                  </a:lnTo>
                  <a:lnTo>
                    <a:pt x="815" y="849"/>
                  </a:lnTo>
                  <a:lnTo>
                    <a:pt x="819" y="851"/>
                  </a:lnTo>
                  <a:lnTo>
                    <a:pt x="821" y="849"/>
                  </a:lnTo>
                  <a:lnTo>
                    <a:pt x="819" y="849"/>
                  </a:lnTo>
                  <a:lnTo>
                    <a:pt x="819" y="846"/>
                  </a:lnTo>
                  <a:lnTo>
                    <a:pt x="821" y="846"/>
                  </a:lnTo>
                  <a:lnTo>
                    <a:pt x="828" y="853"/>
                  </a:lnTo>
                  <a:lnTo>
                    <a:pt x="834" y="859"/>
                  </a:lnTo>
                  <a:lnTo>
                    <a:pt x="836" y="861"/>
                  </a:lnTo>
                  <a:lnTo>
                    <a:pt x="830" y="862"/>
                  </a:lnTo>
                  <a:lnTo>
                    <a:pt x="828" y="864"/>
                  </a:lnTo>
                  <a:lnTo>
                    <a:pt x="825" y="862"/>
                  </a:lnTo>
                  <a:lnTo>
                    <a:pt x="827" y="866"/>
                  </a:lnTo>
                  <a:lnTo>
                    <a:pt x="827" y="866"/>
                  </a:lnTo>
                  <a:lnTo>
                    <a:pt x="828" y="866"/>
                  </a:lnTo>
                  <a:lnTo>
                    <a:pt x="834" y="864"/>
                  </a:lnTo>
                  <a:lnTo>
                    <a:pt x="838" y="861"/>
                  </a:lnTo>
                  <a:lnTo>
                    <a:pt x="840" y="861"/>
                  </a:lnTo>
                  <a:lnTo>
                    <a:pt x="844" y="862"/>
                  </a:lnTo>
                  <a:lnTo>
                    <a:pt x="844" y="868"/>
                  </a:lnTo>
                  <a:lnTo>
                    <a:pt x="851" y="876"/>
                  </a:lnTo>
                  <a:lnTo>
                    <a:pt x="849" y="883"/>
                  </a:lnTo>
                  <a:lnTo>
                    <a:pt x="845" y="889"/>
                  </a:lnTo>
                  <a:lnTo>
                    <a:pt x="844" y="889"/>
                  </a:lnTo>
                  <a:lnTo>
                    <a:pt x="840" y="891"/>
                  </a:lnTo>
                  <a:lnTo>
                    <a:pt x="834" y="891"/>
                  </a:lnTo>
                  <a:lnTo>
                    <a:pt x="830" y="889"/>
                  </a:lnTo>
                  <a:lnTo>
                    <a:pt x="825" y="887"/>
                  </a:lnTo>
                  <a:lnTo>
                    <a:pt x="819" y="883"/>
                  </a:lnTo>
                  <a:lnTo>
                    <a:pt x="817" y="876"/>
                  </a:lnTo>
                  <a:lnTo>
                    <a:pt x="815" y="874"/>
                  </a:lnTo>
                  <a:lnTo>
                    <a:pt x="813" y="876"/>
                  </a:lnTo>
                  <a:lnTo>
                    <a:pt x="813" y="876"/>
                  </a:lnTo>
                  <a:lnTo>
                    <a:pt x="813" y="879"/>
                  </a:lnTo>
                  <a:lnTo>
                    <a:pt x="817" y="883"/>
                  </a:lnTo>
                  <a:lnTo>
                    <a:pt x="821" y="893"/>
                  </a:lnTo>
                  <a:lnTo>
                    <a:pt x="825" y="898"/>
                  </a:lnTo>
                  <a:lnTo>
                    <a:pt x="823" y="900"/>
                  </a:lnTo>
                  <a:lnTo>
                    <a:pt x="819" y="900"/>
                  </a:lnTo>
                  <a:lnTo>
                    <a:pt x="815" y="900"/>
                  </a:lnTo>
                  <a:lnTo>
                    <a:pt x="815" y="895"/>
                  </a:lnTo>
                  <a:lnTo>
                    <a:pt x="813" y="898"/>
                  </a:lnTo>
                  <a:lnTo>
                    <a:pt x="812" y="898"/>
                  </a:lnTo>
                  <a:lnTo>
                    <a:pt x="813" y="900"/>
                  </a:lnTo>
                  <a:lnTo>
                    <a:pt x="817" y="902"/>
                  </a:lnTo>
                  <a:lnTo>
                    <a:pt x="817" y="904"/>
                  </a:lnTo>
                  <a:lnTo>
                    <a:pt x="812" y="904"/>
                  </a:lnTo>
                  <a:lnTo>
                    <a:pt x="810" y="902"/>
                  </a:lnTo>
                  <a:lnTo>
                    <a:pt x="810" y="904"/>
                  </a:lnTo>
                  <a:lnTo>
                    <a:pt x="812" y="908"/>
                  </a:lnTo>
                  <a:lnTo>
                    <a:pt x="812" y="910"/>
                  </a:lnTo>
                  <a:lnTo>
                    <a:pt x="810" y="913"/>
                  </a:lnTo>
                  <a:lnTo>
                    <a:pt x="810" y="910"/>
                  </a:lnTo>
                  <a:lnTo>
                    <a:pt x="806" y="910"/>
                  </a:lnTo>
                  <a:lnTo>
                    <a:pt x="806" y="910"/>
                  </a:lnTo>
                  <a:lnTo>
                    <a:pt x="806" y="913"/>
                  </a:lnTo>
                  <a:lnTo>
                    <a:pt x="806" y="913"/>
                  </a:lnTo>
                  <a:lnTo>
                    <a:pt x="800" y="913"/>
                  </a:lnTo>
                  <a:lnTo>
                    <a:pt x="800" y="913"/>
                  </a:lnTo>
                  <a:lnTo>
                    <a:pt x="795" y="915"/>
                  </a:lnTo>
                  <a:lnTo>
                    <a:pt x="796" y="917"/>
                  </a:lnTo>
                  <a:lnTo>
                    <a:pt x="798" y="921"/>
                  </a:lnTo>
                  <a:lnTo>
                    <a:pt x="796" y="921"/>
                  </a:lnTo>
                  <a:lnTo>
                    <a:pt x="795" y="919"/>
                  </a:lnTo>
                  <a:lnTo>
                    <a:pt x="791" y="915"/>
                  </a:lnTo>
                  <a:lnTo>
                    <a:pt x="787" y="915"/>
                  </a:lnTo>
                  <a:lnTo>
                    <a:pt x="787" y="917"/>
                  </a:lnTo>
                  <a:lnTo>
                    <a:pt x="785" y="919"/>
                  </a:lnTo>
                  <a:lnTo>
                    <a:pt x="791" y="923"/>
                  </a:lnTo>
                  <a:lnTo>
                    <a:pt x="789" y="925"/>
                  </a:lnTo>
                  <a:lnTo>
                    <a:pt x="789" y="927"/>
                  </a:lnTo>
                  <a:lnTo>
                    <a:pt x="785" y="927"/>
                  </a:lnTo>
                  <a:lnTo>
                    <a:pt x="781" y="932"/>
                  </a:lnTo>
                  <a:lnTo>
                    <a:pt x="780" y="934"/>
                  </a:lnTo>
                  <a:lnTo>
                    <a:pt x="780" y="934"/>
                  </a:lnTo>
                  <a:lnTo>
                    <a:pt x="780" y="938"/>
                  </a:lnTo>
                  <a:lnTo>
                    <a:pt x="776" y="938"/>
                  </a:lnTo>
                  <a:lnTo>
                    <a:pt x="776" y="940"/>
                  </a:lnTo>
                  <a:lnTo>
                    <a:pt x="776" y="943"/>
                  </a:lnTo>
                  <a:lnTo>
                    <a:pt x="772" y="945"/>
                  </a:lnTo>
                  <a:lnTo>
                    <a:pt x="766" y="951"/>
                  </a:lnTo>
                  <a:lnTo>
                    <a:pt x="763" y="953"/>
                  </a:lnTo>
                  <a:lnTo>
                    <a:pt x="763" y="957"/>
                  </a:lnTo>
                  <a:lnTo>
                    <a:pt x="759" y="959"/>
                  </a:lnTo>
                  <a:lnTo>
                    <a:pt x="755" y="957"/>
                  </a:lnTo>
                  <a:lnTo>
                    <a:pt x="755" y="959"/>
                  </a:lnTo>
                  <a:lnTo>
                    <a:pt x="755" y="964"/>
                  </a:lnTo>
                  <a:lnTo>
                    <a:pt x="751" y="968"/>
                  </a:lnTo>
                  <a:lnTo>
                    <a:pt x="751" y="972"/>
                  </a:lnTo>
                  <a:lnTo>
                    <a:pt x="749" y="977"/>
                  </a:lnTo>
                  <a:lnTo>
                    <a:pt x="748" y="981"/>
                  </a:lnTo>
                  <a:lnTo>
                    <a:pt x="746" y="983"/>
                  </a:lnTo>
                  <a:lnTo>
                    <a:pt x="742" y="989"/>
                  </a:lnTo>
                  <a:lnTo>
                    <a:pt x="742" y="992"/>
                  </a:lnTo>
                  <a:lnTo>
                    <a:pt x="742" y="998"/>
                  </a:lnTo>
                  <a:lnTo>
                    <a:pt x="740" y="1002"/>
                  </a:lnTo>
                  <a:lnTo>
                    <a:pt x="738" y="1006"/>
                  </a:lnTo>
                  <a:lnTo>
                    <a:pt x="736" y="1008"/>
                  </a:lnTo>
                  <a:lnTo>
                    <a:pt x="734" y="1009"/>
                  </a:lnTo>
                  <a:lnTo>
                    <a:pt x="738" y="1009"/>
                  </a:lnTo>
                  <a:lnTo>
                    <a:pt x="738" y="1013"/>
                  </a:lnTo>
                  <a:lnTo>
                    <a:pt x="738" y="1017"/>
                  </a:lnTo>
                  <a:lnTo>
                    <a:pt x="740" y="1019"/>
                  </a:lnTo>
                  <a:lnTo>
                    <a:pt x="740" y="1023"/>
                  </a:lnTo>
                  <a:lnTo>
                    <a:pt x="742" y="1023"/>
                  </a:lnTo>
                  <a:lnTo>
                    <a:pt x="738" y="1032"/>
                  </a:lnTo>
                  <a:lnTo>
                    <a:pt x="732" y="1038"/>
                  </a:lnTo>
                  <a:lnTo>
                    <a:pt x="721" y="1040"/>
                  </a:lnTo>
                  <a:lnTo>
                    <a:pt x="721" y="1043"/>
                  </a:lnTo>
                  <a:lnTo>
                    <a:pt x="727" y="1040"/>
                  </a:lnTo>
                  <a:lnTo>
                    <a:pt x="734" y="1038"/>
                  </a:lnTo>
                  <a:lnTo>
                    <a:pt x="742" y="1032"/>
                  </a:lnTo>
                  <a:lnTo>
                    <a:pt x="746" y="1021"/>
                  </a:lnTo>
                  <a:lnTo>
                    <a:pt x="755" y="1021"/>
                  </a:lnTo>
                  <a:lnTo>
                    <a:pt x="759" y="1023"/>
                  </a:lnTo>
                  <a:lnTo>
                    <a:pt x="759" y="1026"/>
                  </a:lnTo>
                  <a:lnTo>
                    <a:pt x="757" y="1028"/>
                  </a:lnTo>
                  <a:lnTo>
                    <a:pt x="757" y="1034"/>
                  </a:lnTo>
                  <a:lnTo>
                    <a:pt x="761" y="1040"/>
                  </a:lnTo>
                  <a:lnTo>
                    <a:pt x="761" y="1047"/>
                  </a:lnTo>
                  <a:lnTo>
                    <a:pt x="757" y="1053"/>
                  </a:lnTo>
                  <a:lnTo>
                    <a:pt x="759" y="1057"/>
                  </a:lnTo>
                  <a:lnTo>
                    <a:pt x="761" y="1066"/>
                  </a:lnTo>
                  <a:lnTo>
                    <a:pt x="759" y="1068"/>
                  </a:lnTo>
                  <a:lnTo>
                    <a:pt x="749" y="1079"/>
                  </a:lnTo>
                  <a:lnTo>
                    <a:pt x="742" y="1081"/>
                  </a:lnTo>
                  <a:lnTo>
                    <a:pt x="738" y="1081"/>
                  </a:lnTo>
                  <a:lnTo>
                    <a:pt x="742" y="1083"/>
                  </a:lnTo>
                  <a:lnTo>
                    <a:pt x="749" y="1083"/>
                  </a:lnTo>
                  <a:lnTo>
                    <a:pt x="761" y="1077"/>
                  </a:lnTo>
                  <a:lnTo>
                    <a:pt x="776" y="1073"/>
                  </a:lnTo>
                  <a:lnTo>
                    <a:pt x="781" y="1072"/>
                  </a:lnTo>
                  <a:lnTo>
                    <a:pt x="789" y="1077"/>
                  </a:lnTo>
                  <a:lnTo>
                    <a:pt x="795" y="1083"/>
                  </a:lnTo>
                  <a:lnTo>
                    <a:pt x="804" y="1087"/>
                  </a:lnTo>
                  <a:lnTo>
                    <a:pt x="806" y="1087"/>
                  </a:lnTo>
                  <a:lnTo>
                    <a:pt x="810" y="1087"/>
                  </a:lnTo>
                  <a:lnTo>
                    <a:pt x="813" y="1096"/>
                  </a:lnTo>
                  <a:lnTo>
                    <a:pt x="817" y="1096"/>
                  </a:lnTo>
                  <a:lnTo>
                    <a:pt x="821" y="1100"/>
                  </a:lnTo>
                  <a:lnTo>
                    <a:pt x="825" y="1104"/>
                  </a:lnTo>
                  <a:lnTo>
                    <a:pt x="825" y="1105"/>
                  </a:lnTo>
                  <a:lnTo>
                    <a:pt x="827" y="1109"/>
                  </a:lnTo>
                  <a:lnTo>
                    <a:pt x="828" y="1115"/>
                  </a:lnTo>
                  <a:lnTo>
                    <a:pt x="828" y="1117"/>
                  </a:lnTo>
                  <a:lnTo>
                    <a:pt x="830" y="1117"/>
                  </a:lnTo>
                  <a:lnTo>
                    <a:pt x="834" y="1117"/>
                  </a:lnTo>
                  <a:lnTo>
                    <a:pt x="840" y="1122"/>
                  </a:lnTo>
                  <a:lnTo>
                    <a:pt x="844" y="1122"/>
                  </a:lnTo>
                  <a:lnTo>
                    <a:pt x="849" y="1126"/>
                  </a:lnTo>
                  <a:lnTo>
                    <a:pt x="851" y="1128"/>
                  </a:lnTo>
                  <a:lnTo>
                    <a:pt x="859" y="1134"/>
                  </a:lnTo>
                  <a:lnTo>
                    <a:pt x="859" y="1138"/>
                  </a:lnTo>
                  <a:lnTo>
                    <a:pt x="864" y="1141"/>
                  </a:lnTo>
                  <a:lnTo>
                    <a:pt x="862" y="1143"/>
                  </a:lnTo>
                  <a:lnTo>
                    <a:pt x="864" y="1145"/>
                  </a:lnTo>
                  <a:lnTo>
                    <a:pt x="868" y="1145"/>
                  </a:lnTo>
                  <a:lnTo>
                    <a:pt x="870" y="1145"/>
                  </a:lnTo>
                  <a:lnTo>
                    <a:pt x="876" y="1145"/>
                  </a:lnTo>
                  <a:lnTo>
                    <a:pt x="883" y="1145"/>
                  </a:lnTo>
                  <a:lnTo>
                    <a:pt x="885" y="1147"/>
                  </a:lnTo>
                  <a:lnTo>
                    <a:pt x="887" y="1147"/>
                  </a:lnTo>
                  <a:lnTo>
                    <a:pt x="892" y="1147"/>
                  </a:lnTo>
                  <a:lnTo>
                    <a:pt x="898" y="1147"/>
                  </a:lnTo>
                  <a:lnTo>
                    <a:pt x="902" y="1147"/>
                  </a:lnTo>
                  <a:lnTo>
                    <a:pt x="906" y="1147"/>
                  </a:lnTo>
                  <a:lnTo>
                    <a:pt x="906" y="1147"/>
                  </a:lnTo>
                  <a:lnTo>
                    <a:pt x="906" y="1147"/>
                  </a:lnTo>
                  <a:lnTo>
                    <a:pt x="908" y="1147"/>
                  </a:lnTo>
                  <a:lnTo>
                    <a:pt x="909" y="1153"/>
                  </a:lnTo>
                  <a:lnTo>
                    <a:pt x="904" y="1162"/>
                  </a:lnTo>
                  <a:lnTo>
                    <a:pt x="904" y="1166"/>
                  </a:lnTo>
                  <a:lnTo>
                    <a:pt x="902" y="1170"/>
                  </a:lnTo>
                  <a:lnTo>
                    <a:pt x="898" y="1175"/>
                  </a:lnTo>
                  <a:lnTo>
                    <a:pt x="898" y="1177"/>
                  </a:lnTo>
                  <a:lnTo>
                    <a:pt x="900" y="1181"/>
                  </a:lnTo>
                  <a:lnTo>
                    <a:pt x="900" y="1186"/>
                  </a:lnTo>
                  <a:lnTo>
                    <a:pt x="896" y="1194"/>
                  </a:lnTo>
                  <a:lnTo>
                    <a:pt x="896" y="1198"/>
                  </a:lnTo>
                  <a:lnTo>
                    <a:pt x="894" y="1202"/>
                  </a:lnTo>
                  <a:lnTo>
                    <a:pt x="892" y="1205"/>
                  </a:lnTo>
                  <a:lnTo>
                    <a:pt x="889" y="1215"/>
                  </a:lnTo>
                  <a:lnTo>
                    <a:pt x="889" y="1217"/>
                  </a:lnTo>
                  <a:lnTo>
                    <a:pt x="894" y="1219"/>
                  </a:lnTo>
                  <a:lnTo>
                    <a:pt x="894" y="1224"/>
                  </a:lnTo>
                  <a:lnTo>
                    <a:pt x="896" y="1226"/>
                  </a:lnTo>
                  <a:lnTo>
                    <a:pt x="898" y="1228"/>
                  </a:lnTo>
                  <a:lnTo>
                    <a:pt x="898" y="1232"/>
                  </a:lnTo>
                  <a:lnTo>
                    <a:pt x="898" y="1234"/>
                  </a:lnTo>
                  <a:lnTo>
                    <a:pt x="898" y="1235"/>
                  </a:lnTo>
                  <a:lnTo>
                    <a:pt x="902" y="1235"/>
                  </a:lnTo>
                  <a:lnTo>
                    <a:pt x="906" y="1239"/>
                  </a:lnTo>
                  <a:lnTo>
                    <a:pt x="908" y="1239"/>
                  </a:lnTo>
                  <a:lnTo>
                    <a:pt x="908" y="1241"/>
                  </a:lnTo>
                  <a:lnTo>
                    <a:pt x="911" y="1245"/>
                  </a:lnTo>
                  <a:lnTo>
                    <a:pt x="911" y="1251"/>
                  </a:lnTo>
                  <a:lnTo>
                    <a:pt x="913" y="1252"/>
                  </a:lnTo>
                  <a:lnTo>
                    <a:pt x="911" y="1258"/>
                  </a:lnTo>
                  <a:lnTo>
                    <a:pt x="904" y="1266"/>
                  </a:lnTo>
                  <a:lnTo>
                    <a:pt x="909" y="1262"/>
                  </a:lnTo>
                  <a:lnTo>
                    <a:pt x="913" y="1260"/>
                  </a:lnTo>
                  <a:lnTo>
                    <a:pt x="917" y="1260"/>
                  </a:lnTo>
                  <a:lnTo>
                    <a:pt x="923" y="1264"/>
                  </a:lnTo>
                  <a:lnTo>
                    <a:pt x="924" y="1264"/>
                  </a:lnTo>
                  <a:lnTo>
                    <a:pt x="924" y="1262"/>
                  </a:lnTo>
                  <a:lnTo>
                    <a:pt x="924" y="1258"/>
                  </a:lnTo>
                  <a:lnTo>
                    <a:pt x="932" y="1249"/>
                  </a:lnTo>
                  <a:lnTo>
                    <a:pt x="934" y="1249"/>
                  </a:lnTo>
                  <a:lnTo>
                    <a:pt x="932" y="1252"/>
                  </a:lnTo>
                  <a:lnTo>
                    <a:pt x="932" y="1254"/>
                  </a:lnTo>
                  <a:lnTo>
                    <a:pt x="936" y="1256"/>
                  </a:lnTo>
                  <a:lnTo>
                    <a:pt x="936" y="1262"/>
                  </a:lnTo>
                  <a:lnTo>
                    <a:pt x="936" y="1266"/>
                  </a:lnTo>
                  <a:lnTo>
                    <a:pt x="940" y="1269"/>
                  </a:lnTo>
                  <a:lnTo>
                    <a:pt x="947" y="1269"/>
                  </a:lnTo>
                  <a:lnTo>
                    <a:pt x="943" y="1269"/>
                  </a:lnTo>
                  <a:lnTo>
                    <a:pt x="940" y="1266"/>
                  </a:lnTo>
                  <a:lnTo>
                    <a:pt x="940" y="1262"/>
                  </a:lnTo>
                  <a:lnTo>
                    <a:pt x="940" y="1254"/>
                  </a:lnTo>
                  <a:lnTo>
                    <a:pt x="941" y="1252"/>
                  </a:lnTo>
                  <a:lnTo>
                    <a:pt x="940" y="1251"/>
                  </a:lnTo>
                  <a:lnTo>
                    <a:pt x="940" y="1247"/>
                  </a:lnTo>
                  <a:lnTo>
                    <a:pt x="941" y="1247"/>
                  </a:lnTo>
                  <a:lnTo>
                    <a:pt x="943" y="1247"/>
                  </a:lnTo>
                  <a:lnTo>
                    <a:pt x="943" y="1241"/>
                  </a:lnTo>
                  <a:lnTo>
                    <a:pt x="947" y="1235"/>
                  </a:lnTo>
                  <a:lnTo>
                    <a:pt x="947" y="1235"/>
                  </a:lnTo>
                  <a:lnTo>
                    <a:pt x="947" y="1230"/>
                  </a:lnTo>
                  <a:lnTo>
                    <a:pt x="943" y="1230"/>
                  </a:lnTo>
                  <a:lnTo>
                    <a:pt x="943" y="1226"/>
                  </a:lnTo>
                  <a:lnTo>
                    <a:pt x="947" y="1220"/>
                  </a:lnTo>
                  <a:lnTo>
                    <a:pt x="947" y="1219"/>
                  </a:lnTo>
                  <a:lnTo>
                    <a:pt x="947" y="1217"/>
                  </a:lnTo>
                  <a:lnTo>
                    <a:pt x="943" y="1215"/>
                  </a:lnTo>
                  <a:lnTo>
                    <a:pt x="943" y="1215"/>
                  </a:lnTo>
                  <a:lnTo>
                    <a:pt x="947" y="1205"/>
                  </a:lnTo>
                  <a:lnTo>
                    <a:pt x="947" y="1202"/>
                  </a:lnTo>
                  <a:lnTo>
                    <a:pt x="947" y="1194"/>
                  </a:lnTo>
                  <a:lnTo>
                    <a:pt x="949" y="1192"/>
                  </a:lnTo>
                  <a:lnTo>
                    <a:pt x="947" y="1188"/>
                  </a:lnTo>
                  <a:lnTo>
                    <a:pt x="949" y="1188"/>
                  </a:lnTo>
                  <a:lnTo>
                    <a:pt x="949" y="1185"/>
                  </a:lnTo>
                  <a:lnTo>
                    <a:pt x="951" y="1185"/>
                  </a:lnTo>
                  <a:lnTo>
                    <a:pt x="949" y="1185"/>
                  </a:lnTo>
                  <a:lnTo>
                    <a:pt x="947" y="1181"/>
                  </a:lnTo>
                  <a:lnTo>
                    <a:pt x="949" y="1181"/>
                  </a:lnTo>
                  <a:lnTo>
                    <a:pt x="947" y="1177"/>
                  </a:lnTo>
                  <a:lnTo>
                    <a:pt x="947" y="1171"/>
                  </a:lnTo>
                  <a:lnTo>
                    <a:pt x="947" y="1171"/>
                  </a:lnTo>
                  <a:lnTo>
                    <a:pt x="947" y="1168"/>
                  </a:lnTo>
                  <a:lnTo>
                    <a:pt x="943" y="1164"/>
                  </a:lnTo>
                  <a:lnTo>
                    <a:pt x="949" y="1162"/>
                  </a:lnTo>
                  <a:lnTo>
                    <a:pt x="956" y="1160"/>
                  </a:lnTo>
                  <a:lnTo>
                    <a:pt x="960" y="1160"/>
                  </a:lnTo>
                  <a:lnTo>
                    <a:pt x="966" y="1160"/>
                  </a:lnTo>
                  <a:lnTo>
                    <a:pt x="968" y="1156"/>
                  </a:lnTo>
                  <a:lnTo>
                    <a:pt x="973" y="1153"/>
                  </a:lnTo>
                  <a:lnTo>
                    <a:pt x="987" y="1151"/>
                  </a:lnTo>
                  <a:lnTo>
                    <a:pt x="987" y="1147"/>
                  </a:lnTo>
                  <a:lnTo>
                    <a:pt x="988" y="1147"/>
                  </a:lnTo>
                  <a:lnTo>
                    <a:pt x="998" y="1141"/>
                  </a:lnTo>
                  <a:lnTo>
                    <a:pt x="998" y="1139"/>
                  </a:lnTo>
                  <a:lnTo>
                    <a:pt x="1002" y="1138"/>
                  </a:lnTo>
                  <a:lnTo>
                    <a:pt x="1005" y="1128"/>
                  </a:lnTo>
                  <a:lnTo>
                    <a:pt x="1009" y="1128"/>
                  </a:lnTo>
                  <a:lnTo>
                    <a:pt x="1011" y="1130"/>
                  </a:lnTo>
                  <a:lnTo>
                    <a:pt x="1015" y="1130"/>
                  </a:lnTo>
                  <a:lnTo>
                    <a:pt x="1017" y="1126"/>
                  </a:lnTo>
                  <a:lnTo>
                    <a:pt x="1015" y="1122"/>
                  </a:lnTo>
                  <a:lnTo>
                    <a:pt x="1013" y="1117"/>
                  </a:lnTo>
                  <a:lnTo>
                    <a:pt x="1011" y="1121"/>
                  </a:lnTo>
                  <a:lnTo>
                    <a:pt x="1011" y="1122"/>
                  </a:lnTo>
                  <a:lnTo>
                    <a:pt x="1009" y="1126"/>
                  </a:lnTo>
                  <a:lnTo>
                    <a:pt x="1009" y="1121"/>
                  </a:lnTo>
                  <a:lnTo>
                    <a:pt x="1013" y="1111"/>
                  </a:lnTo>
                  <a:lnTo>
                    <a:pt x="1015" y="1109"/>
                  </a:lnTo>
                  <a:lnTo>
                    <a:pt x="1015" y="1102"/>
                  </a:lnTo>
                  <a:lnTo>
                    <a:pt x="1015" y="1098"/>
                  </a:lnTo>
                  <a:lnTo>
                    <a:pt x="1013" y="1092"/>
                  </a:lnTo>
                  <a:lnTo>
                    <a:pt x="1013" y="1081"/>
                  </a:lnTo>
                  <a:lnTo>
                    <a:pt x="1011" y="1072"/>
                  </a:lnTo>
                  <a:lnTo>
                    <a:pt x="1005" y="1062"/>
                  </a:lnTo>
                  <a:lnTo>
                    <a:pt x="1002" y="1058"/>
                  </a:lnTo>
                  <a:lnTo>
                    <a:pt x="1002" y="1057"/>
                  </a:lnTo>
                  <a:lnTo>
                    <a:pt x="998" y="1057"/>
                  </a:lnTo>
                  <a:lnTo>
                    <a:pt x="998" y="1053"/>
                  </a:lnTo>
                  <a:lnTo>
                    <a:pt x="998" y="1045"/>
                  </a:lnTo>
                  <a:lnTo>
                    <a:pt x="1002" y="1043"/>
                  </a:lnTo>
                  <a:lnTo>
                    <a:pt x="1011" y="1032"/>
                  </a:lnTo>
                  <a:lnTo>
                    <a:pt x="1015" y="1032"/>
                  </a:lnTo>
                  <a:lnTo>
                    <a:pt x="1017" y="1028"/>
                  </a:lnTo>
                  <a:lnTo>
                    <a:pt x="1017" y="1028"/>
                  </a:lnTo>
                  <a:lnTo>
                    <a:pt x="1017" y="1028"/>
                  </a:lnTo>
                  <a:lnTo>
                    <a:pt x="1017" y="1026"/>
                  </a:lnTo>
                  <a:lnTo>
                    <a:pt x="1020" y="1021"/>
                  </a:lnTo>
                  <a:lnTo>
                    <a:pt x="1022" y="1021"/>
                  </a:lnTo>
                  <a:lnTo>
                    <a:pt x="1024" y="1023"/>
                  </a:lnTo>
                  <a:lnTo>
                    <a:pt x="1026" y="1026"/>
                  </a:lnTo>
                  <a:lnTo>
                    <a:pt x="1026" y="1023"/>
                  </a:lnTo>
                  <a:lnTo>
                    <a:pt x="1026" y="1019"/>
                  </a:lnTo>
                  <a:lnTo>
                    <a:pt x="1030" y="1017"/>
                  </a:lnTo>
                  <a:lnTo>
                    <a:pt x="1032" y="1009"/>
                  </a:lnTo>
                  <a:lnTo>
                    <a:pt x="1032" y="1008"/>
                  </a:lnTo>
                  <a:lnTo>
                    <a:pt x="1026" y="1008"/>
                  </a:lnTo>
                  <a:lnTo>
                    <a:pt x="1026" y="1006"/>
                  </a:lnTo>
                  <a:lnTo>
                    <a:pt x="1030" y="1002"/>
                  </a:lnTo>
                  <a:lnTo>
                    <a:pt x="1030" y="1002"/>
                  </a:lnTo>
                  <a:lnTo>
                    <a:pt x="1026" y="998"/>
                  </a:lnTo>
                  <a:lnTo>
                    <a:pt x="1030" y="996"/>
                  </a:lnTo>
                  <a:lnTo>
                    <a:pt x="1032" y="994"/>
                  </a:lnTo>
                  <a:lnTo>
                    <a:pt x="1030" y="994"/>
                  </a:lnTo>
                  <a:lnTo>
                    <a:pt x="1030" y="992"/>
                  </a:lnTo>
                  <a:lnTo>
                    <a:pt x="1030" y="987"/>
                  </a:lnTo>
                  <a:lnTo>
                    <a:pt x="1034" y="985"/>
                  </a:lnTo>
                  <a:lnTo>
                    <a:pt x="1030" y="983"/>
                  </a:lnTo>
                  <a:lnTo>
                    <a:pt x="1026" y="985"/>
                  </a:lnTo>
                  <a:lnTo>
                    <a:pt x="1024" y="983"/>
                  </a:lnTo>
                  <a:lnTo>
                    <a:pt x="1024" y="981"/>
                  </a:lnTo>
                  <a:lnTo>
                    <a:pt x="1030" y="974"/>
                  </a:lnTo>
                  <a:lnTo>
                    <a:pt x="1036" y="968"/>
                  </a:lnTo>
                  <a:lnTo>
                    <a:pt x="1037" y="964"/>
                  </a:lnTo>
                  <a:lnTo>
                    <a:pt x="1039" y="964"/>
                  </a:lnTo>
                  <a:lnTo>
                    <a:pt x="1041" y="962"/>
                  </a:lnTo>
                  <a:lnTo>
                    <a:pt x="1041" y="957"/>
                  </a:lnTo>
                  <a:lnTo>
                    <a:pt x="1039" y="957"/>
                  </a:lnTo>
                  <a:lnTo>
                    <a:pt x="1039" y="955"/>
                  </a:lnTo>
                  <a:lnTo>
                    <a:pt x="1037" y="955"/>
                  </a:lnTo>
                  <a:lnTo>
                    <a:pt x="1034" y="951"/>
                  </a:lnTo>
                  <a:lnTo>
                    <a:pt x="1034" y="943"/>
                  </a:lnTo>
                  <a:lnTo>
                    <a:pt x="1037" y="938"/>
                  </a:lnTo>
                  <a:lnTo>
                    <a:pt x="1037" y="934"/>
                  </a:lnTo>
                  <a:lnTo>
                    <a:pt x="1041" y="932"/>
                  </a:lnTo>
                  <a:lnTo>
                    <a:pt x="1041" y="934"/>
                  </a:lnTo>
                  <a:lnTo>
                    <a:pt x="1045" y="934"/>
                  </a:lnTo>
                  <a:lnTo>
                    <a:pt x="1045" y="930"/>
                  </a:lnTo>
                  <a:lnTo>
                    <a:pt x="1047" y="928"/>
                  </a:lnTo>
                  <a:lnTo>
                    <a:pt x="1049" y="928"/>
                  </a:lnTo>
                  <a:lnTo>
                    <a:pt x="1051" y="927"/>
                  </a:lnTo>
                  <a:lnTo>
                    <a:pt x="1054" y="928"/>
                  </a:lnTo>
                  <a:lnTo>
                    <a:pt x="1060" y="928"/>
                  </a:lnTo>
                  <a:lnTo>
                    <a:pt x="1066" y="932"/>
                  </a:lnTo>
                  <a:lnTo>
                    <a:pt x="1075" y="938"/>
                  </a:lnTo>
                  <a:lnTo>
                    <a:pt x="1079" y="938"/>
                  </a:lnTo>
                  <a:lnTo>
                    <a:pt x="1079" y="940"/>
                  </a:lnTo>
                  <a:lnTo>
                    <a:pt x="1073" y="943"/>
                  </a:lnTo>
                  <a:lnTo>
                    <a:pt x="1079" y="943"/>
                  </a:lnTo>
                  <a:lnTo>
                    <a:pt x="1084" y="938"/>
                  </a:lnTo>
                  <a:lnTo>
                    <a:pt x="1086" y="938"/>
                  </a:lnTo>
                  <a:lnTo>
                    <a:pt x="1088" y="940"/>
                  </a:lnTo>
                  <a:lnTo>
                    <a:pt x="1092" y="940"/>
                  </a:lnTo>
                  <a:lnTo>
                    <a:pt x="1094" y="943"/>
                  </a:lnTo>
                  <a:lnTo>
                    <a:pt x="1094" y="940"/>
                  </a:lnTo>
                  <a:lnTo>
                    <a:pt x="1100" y="943"/>
                  </a:lnTo>
                  <a:lnTo>
                    <a:pt x="1101" y="940"/>
                  </a:lnTo>
                  <a:lnTo>
                    <a:pt x="1103" y="938"/>
                  </a:lnTo>
                  <a:lnTo>
                    <a:pt x="1109" y="938"/>
                  </a:lnTo>
                  <a:lnTo>
                    <a:pt x="1115" y="943"/>
                  </a:lnTo>
                  <a:lnTo>
                    <a:pt x="1115" y="945"/>
                  </a:lnTo>
                  <a:lnTo>
                    <a:pt x="1118" y="949"/>
                  </a:lnTo>
                  <a:lnTo>
                    <a:pt x="1122" y="949"/>
                  </a:lnTo>
                  <a:lnTo>
                    <a:pt x="1122" y="955"/>
                  </a:lnTo>
                  <a:lnTo>
                    <a:pt x="1120" y="959"/>
                  </a:lnTo>
                  <a:lnTo>
                    <a:pt x="1120" y="960"/>
                  </a:lnTo>
                  <a:lnTo>
                    <a:pt x="1122" y="959"/>
                  </a:lnTo>
                  <a:lnTo>
                    <a:pt x="1126" y="962"/>
                  </a:lnTo>
                  <a:lnTo>
                    <a:pt x="1128" y="968"/>
                  </a:lnTo>
                  <a:lnTo>
                    <a:pt x="1126" y="968"/>
                  </a:lnTo>
                  <a:lnTo>
                    <a:pt x="1130" y="972"/>
                  </a:lnTo>
                  <a:lnTo>
                    <a:pt x="1130" y="968"/>
                  </a:lnTo>
                  <a:lnTo>
                    <a:pt x="1135" y="972"/>
                  </a:lnTo>
                  <a:lnTo>
                    <a:pt x="1135" y="974"/>
                  </a:lnTo>
                  <a:lnTo>
                    <a:pt x="1130" y="972"/>
                  </a:lnTo>
                  <a:lnTo>
                    <a:pt x="1130" y="977"/>
                  </a:lnTo>
                  <a:lnTo>
                    <a:pt x="1126" y="977"/>
                  </a:lnTo>
                  <a:lnTo>
                    <a:pt x="1130" y="979"/>
                  </a:lnTo>
                  <a:lnTo>
                    <a:pt x="1130" y="983"/>
                  </a:lnTo>
                  <a:lnTo>
                    <a:pt x="1133" y="979"/>
                  </a:lnTo>
                  <a:lnTo>
                    <a:pt x="1133" y="983"/>
                  </a:lnTo>
                  <a:lnTo>
                    <a:pt x="1135" y="981"/>
                  </a:lnTo>
                  <a:lnTo>
                    <a:pt x="1143" y="987"/>
                  </a:lnTo>
                  <a:lnTo>
                    <a:pt x="1145" y="985"/>
                  </a:lnTo>
                  <a:lnTo>
                    <a:pt x="1145" y="989"/>
                  </a:lnTo>
                  <a:lnTo>
                    <a:pt x="1150" y="985"/>
                  </a:lnTo>
                  <a:lnTo>
                    <a:pt x="1154" y="987"/>
                  </a:lnTo>
                  <a:lnTo>
                    <a:pt x="1154" y="994"/>
                  </a:lnTo>
                  <a:lnTo>
                    <a:pt x="1156" y="998"/>
                  </a:lnTo>
                  <a:lnTo>
                    <a:pt x="1160" y="994"/>
                  </a:lnTo>
                  <a:lnTo>
                    <a:pt x="1160" y="989"/>
                  </a:lnTo>
                  <a:lnTo>
                    <a:pt x="1164" y="989"/>
                  </a:lnTo>
                  <a:lnTo>
                    <a:pt x="1164" y="994"/>
                  </a:lnTo>
                  <a:lnTo>
                    <a:pt x="1164" y="1002"/>
                  </a:lnTo>
                  <a:lnTo>
                    <a:pt x="1158" y="1002"/>
                  </a:lnTo>
                  <a:lnTo>
                    <a:pt x="1154" y="1006"/>
                  </a:lnTo>
                  <a:lnTo>
                    <a:pt x="1156" y="1017"/>
                  </a:lnTo>
                  <a:lnTo>
                    <a:pt x="1154" y="1019"/>
                  </a:lnTo>
                  <a:lnTo>
                    <a:pt x="1152" y="1015"/>
                  </a:lnTo>
                  <a:lnTo>
                    <a:pt x="1152" y="1017"/>
                  </a:lnTo>
                  <a:lnTo>
                    <a:pt x="1150" y="1023"/>
                  </a:lnTo>
                  <a:lnTo>
                    <a:pt x="1143" y="1021"/>
                  </a:lnTo>
                  <a:lnTo>
                    <a:pt x="1133" y="1019"/>
                  </a:lnTo>
                  <a:lnTo>
                    <a:pt x="1143" y="1023"/>
                  </a:lnTo>
                  <a:lnTo>
                    <a:pt x="1148" y="1023"/>
                  </a:lnTo>
                  <a:lnTo>
                    <a:pt x="1154" y="1028"/>
                  </a:lnTo>
                  <a:lnTo>
                    <a:pt x="1152" y="1034"/>
                  </a:lnTo>
                  <a:lnTo>
                    <a:pt x="1148" y="1040"/>
                  </a:lnTo>
                  <a:lnTo>
                    <a:pt x="1148" y="1041"/>
                  </a:lnTo>
                  <a:lnTo>
                    <a:pt x="1145" y="1047"/>
                  </a:lnTo>
                  <a:lnTo>
                    <a:pt x="1147" y="1047"/>
                  </a:lnTo>
                  <a:lnTo>
                    <a:pt x="1150" y="1053"/>
                  </a:lnTo>
                  <a:lnTo>
                    <a:pt x="1154" y="1057"/>
                  </a:lnTo>
                  <a:lnTo>
                    <a:pt x="1152" y="1057"/>
                  </a:lnTo>
                  <a:lnTo>
                    <a:pt x="1145" y="1053"/>
                  </a:lnTo>
                  <a:lnTo>
                    <a:pt x="1150" y="1058"/>
                  </a:lnTo>
                  <a:lnTo>
                    <a:pt x="1154" y="1062"/>
                  </a:lnTo>
                  <a:lnTo>
                    <a:pt x="1154" y="1062"/>
                  </a:lnTo>
                  <a:lnTo>
                    <a:pt x="1154" y="1057"/>
                  </a:lnTo>
                  <a:lnTo>
                    <a:pt x="1156" y="1057"/>
                  </a:lnTo>
                  <a:lnTo>
                    <a:pt x="1160" y="1062"/>
                  </a:lnTo>
                  <a:lnTo>
                    <a:pt x="1164" y="1066"/>
                  </a:lnTo>
                  <a:lnTo>
                    <a:pt x="1160" y="1068"/>
                  </a:lnTo>
                  <a:lnTo>
                    <a:pt x="1160" y="1073"/>
                  </a:lnTo>
                  <a:lnTo>
                    <a:pt x="1158" y="1079"/>
                  </a:lnTo>
                  <a:lnTo>
                    <a:pt x="1158" y="1083"/>
                  </a:lnTo>
                  <a:lnTo>
                    <a:pt x="1154" y="1087"/>
                  </a:lnTo>
                  <a:lnTo>
                    <a:pt x="1158" y="1083"/>
                  </a:lnTo>
                  <a:lnTo>
                    <a:pt x="1164" y="1075"/>
                  </a:lnTo>
                  <a:lnTo>
                    <a:pt x="1167" y="1070"/>
                  </a:lnTo>
                  <a:lnTo>
                    <a:pt x="1167" y="1070"/>
                  </a:lnTo>
                  <a:lnTo>
                    <a:pt x="1167" y="1073"/>
                  </a:lnTo>
                  <a:lnTo>
                    <a:pt x="1167" y="1081"/>
                  </a:lnTo>
                  <a:lnTo>
                    <a:pt x="1167" y="1083"/>
                  </a:lnTo>
                  <a:lnTo>
                    <a:pt x="1167" y="1087"/>
                  </a:lnTo>
                  <a:lnTo>
                    <a:pt x="1167" y="1090"/>
                  </a:lnTo>
                  <a:lnTo>
                    <a:pt x="1169" y="1083"/>
                  </a:lnTo>
                  <a:lnTo>
                    <a:pt x="1173" y="1081"/>
                  </a:lnTo>
                  <a:lnTo>
                    <a:pt x="1175" y="1077"/>
                  </a:lnTo>
                  <a:lnTo>
                    <a:pt x="1179" y="1077"/>
                  </a:lnTo>
                  <a:lnTo>
                    <a:pt x="1182" y="1073"/>
                  </a:lnTo>
                  <a:lnTo>
                    <a:pt x="1184" y="1075"/>
                  </a:lnTo>
                  <a:lnTo>
                    <a:pt x="1184" y="1077"/>
                  </a:lnTo>
                  <a:lnTo>
                    <a:pt x="1184" y="1073"/>
                  </a:lnTo>
                  <a:lnTo>
                    <a:pt x="1188" y="1073"/>
                  </a:lnTo>
                  <a:lnTo>
                    <a:pt x="1188" y="1070"/>
                  </a:lnTo>
                  <a:lnTo>
                    <a:pt x="1194" y="1066"/>
                  </a:lnTo>
                  <a:lnTo>
                    <a:pt x="1197" y="1062"/>
                  </a:lnTo>
                  <a:lnTo>
                    <a:pt x="1199" y="1066"/>
                  </a:lnTo>
                  <a:lnTo>
                    <a:pt x="1201" y="1070"/>
                  </a:lnTo>
                  <a:lnTo>
                    <a:pt x="1199" y="1075"/>
                  </a:lnTo>
                  <a:lnTo>
                    <a:pt x="1203" y="1070"/>
                  </a:lnTo>
                  <a:lnTo>
                    <a:pt x="1203" y="1066"/>
                  </a:lnTo>
                  <a:lnTo>
                    <a:pt x="1203" y="1062"/>
                  </a:lnTo>
                  <a:lnTo>
                    <a:pt x="1203" y="1062"/>
                  </a:lnTo>
                  <a:lnTo>
                    <a:pt x="1205" y="1057"/>
                  </a:lnTo>
                  <a:lnTo>
                    <a:pt x="1209" y="1057"/>
                  </a:lnTo>
                  <a:lnTo>
                    <a:pt x="1211" y="1053"/>
                  </a:lnTo>
                  <a:lnTo>
                    <a:pt x="1212" y="1051"/>
                  </a:lnTo>
                  <a:lnTo>
                    <a:pt x="1216" y="1047"/>
                  </a:lnTo>
                  <a:lnTo>
                    <a:pt x="1216" y="1045"/>
                  </a:lnTo>
                  <a:lnTo>
                    <a:pt x="1218" y="1045"/>
                  </a:lnTo>
                  <a:lnTo>
                    <a:pt x="1222" y="1049"/>
                  </a:lnTo>
                  <a:lnTo>
                    <a:pt x="1222" y="1045"/>
                  </a:lnTo>
                  <a:lnTo>
                    <a:pt x="1218" y="1043"/>
                  </a:lnTo>
                  <a:lnTo>
                    <a:pt x="1216" y="1043"/>
                  </a:lnTo>
                  <a:lnTo>
                    <a:pt x="1216" y="1041"/>
                  </a:lnTo>
                  <a:lnTo>
                    <a:pt x="1218" y="1034"/>
                  </a:lnTo>
                  <a:lnTo>
                    <a:pt x="1222" y="1034"/>
                  </a:lnTo>
                  <a:lnTo>
                    <a:pt x="1222" y="1036"/>
                  </a:lnTo>
                  <a:lnTo>
                    <a:pt x="1222" y="1032"/>
                  </a:lnTo>
                  <a:lnTo>
                    <a:pt x="1224" y="1032"/>
                  </a:lnTo>
                  <a:lnTo>
                    <a:pt x="1224" y="1028"/>
                  </a:lnTo>
                  <a:lnTo>
                    <a:pt x="1229" y="1023"/>
                  </a:lnTo>
                  <a:lnTo>
                    <a:pt x="1231" y="1021"/>
                  </a:lnTo>
                  <a:lnTo>
                    <a:pt x="1229" y="1019"/>
                  </a:lnTo>
                  <a:lnTo>
                    <a:pt x="1233" y="1015"/>
                  </a:lnTo>
                  <a:lnTo>
                    <a:pt x="1237" y="1013"/>
                  </a:lnTo>
                  <a:lnTo>
                    <a:pt x="1239" y="1015"/>
                  </a:lnTo>
                  <a:lnTo>
                    <a:pt x="1235" y="1017"/>
                  </a:lnTo>
                  <a:lnTo>
                    <a:pt x="1239" y="1015"/>
                  </a:lnTo>
                  <a:lnTo>
                    <a:pt x="1241" y="1017"/>
                  </a:lnTo>
                  <a:lnTo>
                    <a:pt x="1237" y="1019"/>
                  </a:lnTo>
                  <a:lnTo>
                    <a:pt x="1237" y="1023"/>
                  </a:lnTo>
                  <a:lnTo>
                    <a:pt x="1241" y="1023"/>
                  </a:lnTo>
                  <a:lnTo>
                    <a:pt x="1237" y="1026"/>
                  </a:lnTo>
                  <a:lnTo>
                    <a:pt x="1235" y="1026"/>
                  </a:lnTo>
                  <a:lnTo>
                    <a:pt x="1235" y="1028"/>
                  </a:lnTo>
                  <a:lnTo>
                    <a:pt x="1237" y="1028"/>
                  </a:lnTo>
                  <a:lnTo>
                    <a:pt x="1241" y="1028"/>
                  </a:lnTo>
                  <a:lnTo>
                    <a:pt x="1239" y="1032"/>
                  </a:lnTo>
                  <a:lnTo>
                    <a:pt x="1239" y="1032"/>
                  </a:lnTo>
                  <a:lnTo>
                    <a:pt x="1241" y="1032"/>
                  </a:lnTo>
                  <a:lnTo>
                    <a:pt x="1241" y="1036"/>
                  </a:lnTo>
                  <a:lnTo>
                    <a:pt x="1239" y="1038"/>
                  </a:lnTo>
                  <a:lnTo>
                    <a:pt x="1239" y="1041"/>
                  </a:lnTo>
                  <a:lnTo>
                    <a:pt x="1243" y="1043"/>
                  </a:lnTo>
                  <a:lnTo>
                    <a:pt x="1243" y="1049"/>
                  </a:lnTo>
                  <a:lnTo>
                    <a:pt x="1243" y="1051"/>
                  </a:lnTo>
                  <a:lnTo>
                    <a:pt x="1241" y="1049"/>
                  </a:lnTo>
                  <a:lnTo>
                    <a:pt x="1237" y="1051"/>
                  </a:lnTo>
                  <a:lnTo>
                    <a:pt x="1241" y="1053"/>
                  </a:lnTo>
                  <a:lnTo>
                    <a:pt x="1241" y="1053"/>
                  </a:lnTo>
                  <a:lnTo>
                    <a:pt x="1243" y="1053"/>
                  </a:lnTo>
                  <a:lnTo>
                    <a:pt x="1243" y="1053"/>
                  </a:lnTo>
                  <a:lnTo>
                    <a:pt x="1243" y="1053"/>
                  </a:lnTo>
                  <a:lnTo>
                    <a:pt x="1246" y="1057"/>
                  </a:lnTo>
                  <a:lnTo>
                    <a:pt x="1243" y="1062"/>
                  </a:lnTo>
                  <a:lnTo>
                    <a:pt x="1241" y="1062"/>
                  </a:lnTo>
                  <a:lnTo>
                    <a:pt x="1237" y="1062"/>
                  </a:lnTo>
                  <a:lnTo>
                    <a:pt x="1235" y="1062"/>
                  </a:lnTo>
                  <a:lnTo>
                    <a:pt x="1239" y="1066"/>
                  </a:lnTo>
                  <a:lnTo>
                    <a:pt x="1246" y="1062"/>
                  </a:lnTo>
                  <a:lnTo>
                    <a:pt x="1248" y="1062"/>
                  </a:lnTo>
                  <a:lnTo>
                    <a:pt x="1248" y="1066"/>
                  </a:lnTo>
                  <a:lnTo>
                    <a:pt x="1246" y="1070"/>
                  </a:lnTo>
                  <a:lnTo>
                    <a:pt x="1246" y="1072"/>
                  </a:lnTo>
                  <a:lnTo>
                    <a:pt x="1252" y="1070"/>
                  </a:lnTo>
                  <a:lnTo>
                    <a:pt x="1252" y="1073"/>
                  </a:lnTo>
                  <a:lnTo>
                    <a:pt x="1246" y="1077"/>
                  </a:lnTo>
                  <a:lnTo>
                    <a:pt x="1243" y="1077"/>
                  </a:lnTo>
                  <a:lnTo>
                    <a:pt x="1241" y="1075"/>
                  </a:lnTo>
                  <a:lnTo>
                    <a:pt x="1239" y="1079"/>
                  </a:lnTo>
                  <a:lnTo>
                    <a:pt x="1239" y="1081"/>
                  </a:lnTo>
                  <a:lnTo>
                    <a:pt x="1237" y="1083"/>
                  </a:lnTo>
                  <a:lnTo>
                    <a:pt x="1243" y="1083"/>
                  </a:lnTo>
                  <a:lnTo>
                    <a:pt x="1248" y="1083"/>
                  </a:lnTo>
                  <a:lnTo>
                    <a:pt x="1252" y="1081"/>
                  </a:lnTo>
                  <a:lnTo>
                    <a:pt x="1252" y="1081"/>
                  </a:lnTo>
                  <a:lnTo>
                    <a:pt x="1252" y="1083"/>
                  </a:lnTo>
                  <a:lnTo>
                    <a:pt x="1252" y="1087"/>
                  </a:lnTo>
                  <a:lnTo>
                    <a:pt x="1246" y="1087"/>
                  </a:lnTo>
                  <a:lnTo>
                    <a:pt x="1243" y="1087"/>
                  </a:lnTo>
                  <a:lnTo>
                    <a:pt x="1239" y="1092"/>
                  </a:lnTo>
                  <a:lnTo>
                    <a:pt x="1246" y="1090"/>
                  </a:lnTo>
                  <a:lnTo>
                    <a:pt x="1248" y="1090"/>
                  </a:lnTo>
                  <a:lnTo>
                    <a:pt x="1252" y="1090"/>
                  </a:lnTo>
                  <a:lnTo>
                    <a:pt x="1254" y="1090"/>
                  </a:lnTo>
                  <a:lnTo>
                    <a:pt x="1254" y="1096"/>
                  </a:lnTo>
                  <a:lnTo>
                    <a:pt x="1252" y="1096"/>
                  </a:lnTo>
                  <a:lnTo>
                    <a:pt x="1248" y="1096"/>
                  </a:lnTo>
                  <a:lnTo>
                    <a:pt x="1246" y="1100"/>
                  </a:lnTo>
                  <a:lnTo>
                    <a:pt x="1248" y="1098"/>
                  </a:lnTo>
                  <a:lnTo>
                    <a:pt x="1252" y="1100"/>
                  </a:lnTo>
                  <a:lnTo>
                    <a:pt x="1254" y="1096"/>
                  </a:lnTo>
                  <a:lnTo>
                    <a:pt x="1258" y="1100"/>
                  </a:lnTo>
                  <a:lnTo>
                    <a:pt x="1260" y="1107"/>
                  </a:lnTo>
                  <a:lnTo>
                    <a:pt x="1256" y="1109"/>
                  </a:lnTo>
                  <a:lnTo>
                    <a:pt x="1254" y="1109"/>
                  </a:lnTo>
                  <a:lnTo>
                    <a:pt x="1252" y="1111"/>
                  </a:lnTo>
                  <a:lnTo>
                    <a:pt x="1248" y="1111"/>
                  </a:lnTo>
                  <a:lnTo>
                    <a:pt x="1252" y="1113"/>
                  </a:lnTo>
                  <a:lnTo>
                    <a:pt x="1254" y="1113"/>
                  </a:lnTo>
                  <a:lnTo>
                    <a:pt x="1254" y="1113"/>
                  </a:lnTo>
                  <a:lnTo>
                    <a:pt x="1260" y="1113"/>
                  </a:lnTo>
                  <a:lnTo>
                    <a:pt x="1261" y="1115"/>
                  </a:lnTo>
                  <a:lnTo>
                    <a:pt x="1260" y="1117"/>
                  </a:lnTo>
                  <a:lnTo>
                    <a:pt x="1258" y="1121"/>
                  </a:lnTo>
                  <a:lnTo>
                    <a:pt x="1260" y="1121"/>
                  </a:lnTo>
                  <a:lnTo>
                    <a:pt x="1263" y="1121"/>
                  </a:lnTo>
                  <a:lnTo>
                    <a:pt x="1267" y="1122"/>
                  </a:lnTo>
                  <a:lnTo>
                    <a:pt x="1265" y="1126"/>
                  </a:lnTo>
                  <a:lnTo>
                    <a:pt x="1263" y="1128"/>
                  </a:lnTo>
                  <a:lnTo>
                    <a:pt x="1258" y="1132"/>
                  </a:lnTo>
                  <a:lnTo>
                    <a:pt x="1256" y="1130"/>
                  </a:lnTo>
                  <a:lnTo>
                    <a:pt x="1254" y="1132"/>
                  </a:lnTo>
                  <a:lnTo>
                    <a:pt x="1258" y="1134"/>
                  </a:lnTo>
                  <a:lnTo>
                    <a:pt x="1258" y="1136"/>
                  </a:lnTo>
                  <a:lnTo>
                    <a:pt x="1254" y="1138"/>
                  </a:lnTo>
                  <a:lnTo>
                    <a:pt x="1248" y="1134"/>
                  </a:lnTo>
                  <a:lnTo>
                    <a:pt x="1243" y="1134"/>
                  </a:lnTo>
                  <a:lnTo>
                    <a:pt x="1248" y="1138"/>
                  </a:lnTo>
                  <a:lnTo>
                    <a:pt x="1248" y="1139"/>
                  </a:lnTo>
                  <a:lnTo>
                    <a:pt x="1252" y="1143"/>
                  </a:lnTo>
                  <a:lnTo>
                    <a:pt x="1254" y="1147"/>
                  </a:lnTo>
                  <a:lnTo>
                    <a:pt x="1254" y="1147"/>
                  </a:lnTo>
                  <a:lnTo>
                    <a:pt x="1252" y="1147"/>
                  </a:lnTo>
                  <a:lnTo>
                    <a:pt x="1248" y="1151"/>
                  </a:lnTo>
                  <a:lnTo>
                    <a:pt x="1243" y="1151"/>
                  </a:lnTo>
                  <a:lnTo>
                    <a:pt x="1252" y="1151"/>
                  </a:lnTo>
                  <a:lnTo>
                    <a:pt x="1252" y="1151"/>
                  </a:lnTo>
                  <a:lnTo>
                    <a:pt x="1252" y="1151"/>
                  </a:lnTo>
                  <a:lnTo>
                    <a:pt x="1258" y="1147"/>
                  </a:lnTo>
                  <a:lnTo>
                    <a:pt x="1260" y="1151"/>
                  </a:lnTo>
                  <a:lnTo>
                    <a:pt x="1260" y="1151"/>
                  </a:lnTo>
                  <a:lnTo>
                    <a:pt x="1261" y="1153"/>
                  </a:lnTo>
                  <a:lnTo>
                    <a:pt x="1260" y="1154"/>
                  </a:lnTo>
                  <a:lnTo>
                    <a:pt x="1261" y="1154"/>
                  </a:lnTo>
                  <a:lnTo>
                    <a:pt x="1263" y="1156"/>
                  </a:lnTo>
                  <a:lnTo>
                    <a:pt x="1261" y="1160"/>
                  </a:lnTo>
                  <a:lnTo>
                    <a:pt x="1263" y="1160"/>
                  </a:lnTo>
                  <a:lnTo>
                    <a:pt x="1267" y="1160"/>
                  </a:lnTo>
                  <a:lnTo>
                    <a:pt x="1267" y="1160"/>
                  </a:lnTo>
                  <a:lnTo>
                    <a:pt x="1271" y="1160"/>
                  </a:lnTo>
                  <a:lnTo>
                    <a:pt x="1271" y="1164"/>
                  </a:lnTo>
                  <a:lnTo>
                    <a:pt x="1267" y="1166"/>
                  </a:lnTo>
                  <a:lnTo>
                    <a:pt x="1267" y="1168"/>
                  </a:lnTo>
                  <a:lnTo>
                    <a:pt x="1271" y="1168"/>
                  </a:lnTo>
                  <a:lnTo>
                    <a:pt x="1273" y="1162"/>
                  </a:lnTo>
                  <a:lnTo>
                    <a:pt x="1273" y="1164"/>
                  </a:lnTo>
                  <a:lnTo>
                    <a:pt x="1273" y="1166"/>
                  </a:lnTo>
                  <a:lnTo>
                    <a:pt x="1276" y="1170"/>
                  </a:lnTo>
                  <a:lnTo>
                    <a:pt x="1273" y="1171"/>
                  </a:lnTo>
                  <a:lnTo>
                    <a:pt x="1267" y="1177"/>
                  </a:lnTo>
                  <a:lnTo>
                    <a:pt x="1263" y="1181"/>
                  </a:lnTo>
                  <a:lnTo>
                    <a:pt x="1260" y="1181"/>
                  </a:lnTo>
                  <a:lnTo>
                    <a:pt x="1263" y="1181"/>
                  </a:lnTo>
                  <a:lnTo>
                    <a:pt x="1265" y="1181"/>
                  </a:lnTo>
                  <a:lnTo>
                    <a:pt x="1273" y="1175"/>
                  </a:lnTo>
                  <a:lnTo>
                    <a:pt x="1276" y="1175"/>
                  </a:lnTo>
                  <a:lnTo>
                    <a:pt x="1276" y="1177"/>
                  </a:lnTo>
                  <a:lnTo>
                    <a:pt x="1273" y="1181"/>
                  </a:lnTo>
                  <a:lnTo>
                    <a:pt x="1271" y="1185"/>
                  </a:lnTo>
                  <a:lnTo>
                    <a:pt x="1273" y="1185"/>
                  </a:lnTo>
                  <a:lnTo>
                    <a:pt x="1276" y="1177"/>
                  </a:lnTo>
                  <a:lnTo>
                    <a:pt x="1280" y="1175"/>
                  </a:lnTo>
                  <a:lnTo>
                    <a:pt x="1282" y="1175"/>
                  </a:lnTo>
                  <a:lnTo>
                    <a:pt x="1282" y="1177"/>
                  </a:lnTo>
                  <a:lnTo>
                    <a:pt x="1280" y="1177"/>
                  </a:lnTo>
                  <a:lnTo>
                    <a:pt x="1280" y="1181"/>
                  </a:lnTo>
                  <a:lnTo>
                    <a:pt x="1280" y="1181"/>
                  </a:lnTo>
                  <a:lnTo>
                    <a:pt x="1284" y="1177"/>
                  </a:lnTo>
                  <a:lnTo>
                    <a:pt x="1286" y="1181"/>
                  </a:lnTo>
                  <a:lnTo>
                    <a:pt x="1280" y="1185"/>
                  </a:lnTo>
                  <a:lnTo>
                    <a:pt x="1280" y="1186"/>
                  </a:lnTo>
                  <a:lnTo>
                    <a:pt x="1280" y="1186"/>
                  </a:lnTo>
                  <a:lnTo>
                    <a:pt x="1284" y="1185"/>
                  </a:lnTo>
                  <a:lnTo>
                    <a:pt x="1292" y="1177"/>
                  </a:lnTo>
                  <a:lnTo>
                    <a:pt x="1292" y="1177"/>
                  </a:lnTo>
                  <a:lnTo>
                    <a:pt x="1290" y="1181"/>
                  </a:lnTo>
                  <a:lnTo>
                    <a:pt x="1290" y="1181"/>
                  </a:lnTo>
                  <a:lnTo>
                    <a:pt x="1295" y="1177"/>
                  </a:lnTo>
                  <a:lnTo>
                    <a:pt x="1295" y="1181"/>
                  </a:lnTo>
                  <a:lnTo>
                    <a:pt x="1295" y="1186"/>
                  </a:lnTo>
                  <a:lnTo>
                    <a:pt x="1292" y="1186"/>
                  </a:lnTo>
                  <a:lnTo>
                    <a:pt x="1293" y="1188"/>
                  </a:lnTo>
                  <a:lnTo>
                    <a:pt x="1297" y="1188"/>
                  </a:lnTo>
                  <a:lnTo>
                    <a:pt x="1301" y="1192"/>
                  </a:lnTo>
                  <a:lnTo>
                    <a:pt x="1305" y="1188"/>
                  </a:lnTo>
                  <a:lnTo>
                    <a:pt x="1310" y="1186"/>
                  </a:lnTo>
                  <a:lnTo>
                    <a:pt x="1310" y="1186"/>
                  </a:lnTo>
                  <a:lnTo>
                    <a:pt x="1310" y="1190"/>
                  </a:lnTo>
                  <a:lnTo>
                    <a:pt x="1307" y="1190"/>
                  </a:lnTo>
                  <a:lnTo>
                    <a:pt x="1305" y="1192"/>
                  </a:lnTo>
                  <a:lnTo>
                    <a:pt x="1314" y="1196"/>
                  </a:lnTo>
                  <a:lnTo>
                    <a:pt x="1318" y="1198"/>
                  </a:lnTo>
                  <a:lnTo>
                    <a:pt x="1312" y="1200"/>
                  </a:lnTo>
                  <a:lnTo>
                    <a:pt x="1312" y="1202"/>
                  </a:lnTo>
                  <a:lnTo>
                    <a:pt x="1305" y="1202"/>
                  </a:lnTo>
                  <a:lnTo>
                    <a:pt x="1305" y="1202"/>
                  </a:lnTo>
                  <a:lnTo>
                    <a:pt x="1297" y="1202"/>
                  </a:lnTo>
                  <a:lnTo>
                    <a:pt x="1295" y="1205"/>
                  </a:lnTo>
                  <a:lnTo>
                    <a:pt x="1288" y="1205"/>
                  </a:lnTo>
                  <a:lnTo>
                    <a:pt x="1276" y="1209"/>
                  </a:lnTo>
                  <a:lnTo>
                    <a:pt x="1276" y="1211"/>
                  </a:lnTo>
                  <a:lnTo>
                    <a:pt x="1284" y="1209"/>
                  </a:lnTo>
                  <a:lnTo>
                    <a:pt x="1292" y="1205"/>
                  </a:lnTo>
                  <a:lnTo>
                    <a:pt x="1295" y="1209"/>
                  </a:lnTo>
                  <a:lnTo>
                    <a:pt x="1295" y="1211"/>
                  </a:lnTo>
                  <a:lnTo>
                    <a:pt x="1288" y="1211"/>
                  </a:lnTo>
                  <a:lnTo>
                    <a:pt x="1280" y="1211"/>
                  </a:lnTo>
                  <a:lnTo>
                    <a:pt x="1276" y="1215"/>
                  </a:lnTo>
                  <a:lnTo>
                    <a:pt x="1273" y="1217"/>
                  </a:lnTo>
                  <a:lnTo>
                    <a:pt x="1267" y="1217"/>
                  </a:lnTo>
                  <a:lnTo>
                    <a:pt x="1267" y="1220"/>
                  </a:lnTo>
                  <a:lnTo>
                    <a:pt x="1267" y="1222"/>
                  </a:lnTo>
                  <a:lnTo>
                    <a:pt x="1260" y="1219"/>
                  </a:lnTo>
                  <a:lnTo>
                    <a:pt x="1256" y="1211"/>
                  </a:lnTo>
                  <a:lnTo>
                    <a:pt x="1256" y="1215"/>
                  </a:lnTo>
                  <a:lnTo>
                    <a:pt x="1254" y="1217"/>
                  </a:lnTo>
                  <a:lnTo>
                    <a:pt x="1258" y="1217"/>
                  </a:lnTo>
                  <a:lnTo>
                    <a:pt x="1258" y="1219"/>
                  </a:lnTo>
                  <a:lnTo>
                    <a:pt x="1265" y="1226"/>
                  </a:lnTo>
                  <a:lnTo>
                    <a:pt x="1265" y="1228"/>
                  </a:lnTo>
                  <a:lnTo>
                    <a:pt x="1263" y="1226"/>
                  </a:lnTo>
                  <a:lnTo>
                    <a:pt x="1260" y="1230"/>
                  </a:lnTo>
                  <a:lnTo>
                    <a:pt x="1261" y="1232"/>
                  </a:lnTo>
                  <a:lnTo>
                    <a:pt x="1263" y="1234"/>
                  </a:lnTo>
                  <a:lnTo>
                    <a:pt x="1265" y="1232"/>
                  </a:lnTo>
                  <a:lnTo>
                    <a:pt x="1267" y="1232"/>
                  </a:lnTo>
                  <a:lnTo>
                    <a:pt x="1271" y="1224"/>
                  </a:lnTo>
                  <a:lnTo>
                    <a:pt x="1276" y="1224"/>
                  </a:lnTo>
                  <a:lnTo>
                    <a:pt x="1280" y="1220"/>
                  </a:lnTo>
                  <a:lnTo>
                    <a:pt x="1282" y="1220"/>
                  </a:lnTo>
                  <a:lnTo>
                    <a:pt x="1284" y="1217"/>
                  </a:lnTo>
                  <a:lnTo>
                    <a:pt x="1288" y="1215"/>
                  </a:lnTo>
                  <a:lnTo>
                    <a:pt x="1292" y="1215"/>
                  </a:lnTo>
                  <a:lnTo>
                    <a:pt x="1297" y="1211"/>
                  </a:lnTo>
                  <a:lnTo>
                    <a:pt x="1301" y="1211"/>
                  </a:lnTo>
                  <a:lnTo>
                    <a:pt x="1305" y="1211"/>
                  </a:lnTo>
                  <a:lnTo>
                    <a:pt x="1305" y="1211"/>
                  </a:lnTo>
                  <a:lnTo>
                    <a:pt x="1301" y="1211"/>
                  </a:lnTo>
                  <a:lnTo>
                    <a:pt x="1297" y="1209"/>
                  </a:lnTo>
                  <a:lnTo>
                    <a:pt x="1301" y="1209"/>
                  </a:lnTo>
                  <a:lnTo>
                    <a:pt x="1310" y="1205"/>
                  </a:lnTo>
                  <a:lnTo>
                    <a:pt x="1316" y="1209"/>
                  </a:lnTo>
                  <a:lnTo>
                    <a:pt x="1318" y="1215"/>
                  </a:lnTo>
                  <a:lnTo>
                    <a:pt x="1318" y="1217"/>
                  </a:lnTo>
                  <a:lnTo>
                    <a:pt x="1314" y="1220"/>
                  </a:lnTo>
                  <a:lnTo>
                    <a:pt x="1310" y="1220"/>
                  </a:lnTo>
                  <a:lnTo>
                    <a:pt x="1310" y="1224"/>
                  </a:lnTo>
                  <a:lnTo>
                    <a:pt x="1314" y="1224"/>
                  </a:lnTo>
                  <a:lnTo>
                    <a:pt x="1314" y="1228"/>
                  </a:lnTo>
                  <a:lnTo>
                    <a:pt x="1316" y="1226"/>
                  </a:lnTo>
                  <a:lnTo>
                    <a:pt x="1318" y="1222"/>
                  </a:lnTo>
                  <a:lnTo>
                    <a:pt x="1322" y="1219"/>
                  </a:lnTo>
                  <a:lnTo>
                    <a:pt x="1325" y="1219"/>
                  </a:lnTo>
                  <a:lnTo>
                    <a:pt x="1329" y="1220"/>
                  </a:lnTo>
                  <a:lnTo>
                    <a:pt x="1325" y="1222"/>
                  </a:lnTo>
                  <a:lnTo>
                    <a:pt x="1325" y="1224"/>
                  </a:lnTo>
                  <a:lnTo>
                    <a:pt x="1331" y="1224"/>
                  </a:lnTo>
                  <a:lnTo>
                    <a:pt x="1335" y="1226"/>
                  </a:lnTo>
                  <a:lnTo>
                    <a:pt x="1337" y="1228"/>
                  </a:lnTo>
                  <a:lnTo>
                    <a:pt x="1335" y="1226"/>
                  </a:lnTo>
                  <a:lnTo>
                    <a:pt x="1331" y="1228"/>
                  </a:lnTo>
                  <a:lnTo>
                    <a:pt x="1331" y="1232"/>
                  </a:lnTo>
                  <a:lnTo>
                    <a:pt x="1337" y="1234"/>
                  </a:lnTo>
                  <a:lnTo>
                    <a:pt x="1339" y="1235"/>
                  </a:lnTo>
                  <a:lnTo>
                    <a:pt x="1335" y="1239"/>
                  </a:lnTo>
                  <a:lnTo>
                    <a:pt x="1331" y="1235"/>
                  </a:lnTo>
                  <a:lnTo>
                    <a:pt x="1331" y="1239"/>
                  </a:lnTo>
                  <a:lnTo>
                    <a:pt x="1335" y="1241"/>
                  </a:lnTo>
                  <a:lnTo>
                    <a:pt x="1335" y="1245"/>
                  </a:lnTo>
                  <a:lnTo>
                    <a:pt x="1331" y="1245"/>
                  </a:lnTo>
                  <a:lnTo>
                    <a:pt x="1331" y="1249"/>
                  </a:lnTo>
                  <a:lnTo>
                    <a:pt x="1325" y="1251"/>
                  </a:lnTo>
                  <a:lnTo>
                    <a:pt x="1322" y="1247"/>
                  </a:lnTo>
                  <a:lnTo>
                    <a:pt x="1325" y="1251"/>
                  </a:lnTo>
                  <a:lnTo>
                    <a:pt x="1331" y="1252"/>
                  </a:lnTo>
                  <a:lnTo>
                    <a:pt x="1335" y="1252"/>
                  </a:lnTo>
                  <a:lnTo>
                    <a:pt x="1335" y="1256"/>
                  </a:lnTo>
                  <a:lnTo>
                    <a:pt x="1331" y="1256"/>
                  </a:lnTo>
                  <a:lnTo>
                    <a:pt x="1331" y="1256"/>
                  </a:lnTo>
                  <a:lnTo>
                    <a:pt x="1329" y="1256"/>
                  </a:lnTo>
                  <a:lnTo>
                    <a:pt x="1331" y="1258"/>
                  </a:lnTo>
                  <a:lnTo>
                    <a:pt x="1335" y="1258"/>
                  </a:lnTo>
                  <a:lnTo>
                    <a:pt x="1335" y="1258"/>
                  </a:lnTo>
                  <a:lnTo>
                    <a:pt x="1335" y="1262"/>
                  </a:lnTo>
                  <a:lnTo>
                    <a:pt x="1335" y="1266"/>
                  </a:lnTo>
                  <a:lnTo>
                    <a:pt x="1331" y="1266"/>
                  </a:lnTo>
                  <a:lnTo>
                    <a:pt x="1329" y="1269"/>
                  </a:lnTo>
                  <a:lnTo>
                    <a:pt x="1325" y="1271"/>
                  </a:lnTo>
                  <a:lnTo>
                    <a:pt x="1320" y="1271"/>
                  </a:lnTo>
                  <a:lnTo>
                    <a:pt x="1316" y="1275"/>
                  </a:lnTo>
                  <a:lnTo>
                    <a:pt x="1314" y="1275"/>
                  </a:lnTo>
                  <a:lnTo>
                    <a:pt x="1312" y="1279"/>
                  </a:lnTo>
                  <a:lnTo>
                    <a:pt x="1310" y="1279"/>
                  </a:lnTo>
                  <a:lnTo>
                    <a:pt x="1310" y="1281"/>
                  </a:lnTo>
                  <a:lnTo>
                    <a:pt x="1305" y="1281"/>
                  </a:lnTo>
                  <a:lnTo>
                    <a:pt x="1305" y="1279"/>
                  </a:lnTo>
                  <a:lnTo>
                    <a:pt x="1301" y="1281"/>
                  </a:lnTo>
                  <a:lnTo>
                    <a:pt x="1297" y="1281"/>
                  </a:lnTo>
                  <a:lnTo>
                    <a:pt x="1297" y="1279"/>
                  </a:lnTo>
                  <a:lnTo>
                    <a:pt x="1293" y="1281"/>
                  </a:lnTo>
                  <a:lnTo>
                    <a:pt x="1290" y="1281"/>
                  </a:lnTo>
                  <a:lnTo>
                    <a:pt x="1288" y="1279"/>
                  </a:lnTo>
                  <a:lnTo>
                    <a:pt x="1286" y="1279"/>
                  </a:lnTo>
                  <a:lnTo>
                    <a:pt x="1286" y="1281"/>
                  </a:lnTo>
                  <a:lnTo>
                    <a:pt x="1284" y="1283"/>
                  </a:lnTo>
                  <a:lnTo>
                    <a:pt x="1280" y="1283"/>
                  </a:lnTo>
                  <a:lnTo>
                    <a:pt x="1280" y="1284"/>
                  </a:lnTo>
                  <a:lnTo>
                    <a:pt x="1280" y="1284"/>
                  </a:lnTo>
                  <a:lnTo>
                    <a:pt x="1280" y="1286"/>
                  </a:lnTo>
                  <a:lnTo>
                    <a:pt x="1276" y="1290"/>
                  </a:lnTo>
                  <a:lnTo>
                    <a:pt x="1273" y="1288"/>
                  </a:lnTo>
                  <a:lnTo>
                    <a:pt x="1273" y="1290"/>
                  </a:lnTo>
                  <a:lnTo>
                    <a:pt x="1273" y="1296"/>
                  </a:lnTo>
                  <a:lnTo>
                    <a:pt x="1267" y="1296"/>
                  </a:lnTo>
                  <a:lnTo>
                    <a:pt x="1267" y="1300"/>
                  </a:lnTo>
                  <a:lnTo>
                    <a:pt x="1265" y="1300"/>
                  </a:lnTo>
                  <a:lnTo>
                    <a:pt x="1263" y="1303"/>
                  </a:lnTo>
                  <a:lnTo>
                    <a:pt x="1261" y="1303"/>
                  </a:lnTo>
                  <a:lnTo>
                    <a:pt x="1258" y="1303"/>
                  </a:lnTo>
                  <a:lnTo>
                    <a:pt x="1254" y="1303"/>
                  </a:lnTo>
                  <a:lnTo>
                    <a:pt x="1254" y="1305"/>
                  </a:lnTo>
                  <a:lnTo>
                    <a:pt x="1252" y="1307"/>
                  </a:lnTo>
                  <a:lnTo>
                    <a:pt x="1248" y="1305"/>
                  </a:lnTo>
                  <a:lnTo>
                    <a:pt x="1243" y="1305"/>
                  </a:lnTo>
                  <a:lnTo>
                    <a:pt x="1241" y="1305"/>
                  </a:lnTo>
                  <a:lnTo>
                    <a:pt x="1237" y="1305"/>
                  </a:lnTo>
                  <a:lnTo>
                    <a:pt x="1235" y="1305"/>
                  </a:lnTo>
                  <a:lnTo>
                    <a:pt x="1226" y="1309"/>
                  </a:lnTo>
                  <a:lnTo>
                    <a:pt x="1222" y="1307"/>
                  </a:lnTo>
                  <a:lnTo>
                    <a:pt x="1224" y="1305"/>
                  </a:lnTo>
                  <a:lnTo>
                    <a:pt x="1222" y="1305"/>
                  </a:lnTo>
                  <a:lnTo>
                    <a:pt x="1218" y="1307"/>
                  </a:lnTo>
                  <a:lnTo>
                    <a:pt x="1216" y="1307"/>
                  </a:lnTo>
                  <a:lnTo>
                    <a:pt x="1211" y="1303"/>
                  </a:lnTo>
                  <a:lnTo>
                    <a:pt x="1209" y="1305"/>
                  </a:lnTo>
                  <a:lnTo>
                    <a:pt x="1203" y="1303"/>
                  </a:lnTo>
                  <a:lnTo>
                    <a:pt x="1201" y="1303"/>
                  </a:lnTo>
                  <a:lnTo>
                    <a:pt x="1199" y="1303"/>
                  </a:lnTo>
                  <a:lnTo>
                    <a:pt x="1197" y="1303"/>
                  </a:lnTo>
                  <a:lnTo>
                    <a:pt x="1192" y="1303"/>
                  </a:lnTo>
                  <a:lnTo>
                    <a:pt x="1188" y="1300"/>
                  </a:lnTo>
                  <a:lnTo>
                    <a:pt x="1184" y="1303"/>
                  </a:lnTo>
                  <a:lnTo>
                    <a:pt x="1180" y="1303"/>
                  </a:lnTo>
                  <a:lnTo>
                    <a:pt x="1177" y="1300"/>
                  </a:lnTo>
                  <a:lnTo>
                    <a:pt x="1173" y="1303"/>
                  </a:lnTo>
                  <a:lnTo>
                    <a:pt x="1173" y="1303"/>
                  </a:lnTo>
                  <a:lnTo>
                    <a:pt x="1167" y="1303"/>
                  </a:lnTo>
                  <a:lnTo>
                    <a:pt x="1164" y="1300"/>
                  </a:lnTo>
                  <a:lnTo>
                    <a:pt x="1156" y="1303"/>
                  </a:lnTo>
                  <a:lnTo>
                    <a:pt x="1150" y="1300"/>
                  </a:lnTo>
                  <a:lnTo>
                    <a:pt x="1148" y="1296"/>
                  </a:lnTo>
                  <a:lnTo>
                    <a:pt x="1145" y="1300"/>
                  </a:lnTo>
                  <a:lnTo>
                    <a:pt x="1143" y="1300"/>
                  </a:lnTo>
                  <a:lnTo>
                    <a:pt x="1145" y="1303"/>
                  </a:lnTo>
                  <a:lnTo>
                    <a:pt x="1143" y="1303"/>
                  </a:lnTo>
                  <a:lnTo>
                    <a:pt x="1139" y="1303"/>
                  </a:lnTo>
                  <a:lnTo>
                    <a:pt x="1133" y="1311"/>
                  </a:lnTo>
                  <a:lnTo>
                    <a:pt x="1130" y="1313"/>
                  </a:lnTo>
                  <a:lnTo>
                    <a:pt x="1130" y="1315"/>
                  </a:lnTo>
                  <a:lnTo>
                    <a:pt x="1128" y="1318"/>
                  </a:lnTo>
                  <a:lnTo>
                    <a:pt x="1128" y="1322"/>
                  </a:lnTo>
                  <a:lnTo>
                    <a:pt x="1124" y="1324"/>
                  </a:lnTo>
                  <a:lnTo>
                    <a:pt x="1118" y="1324"/>
                  </a:lnTo>
                  <a:lnTo>
                    <a:pt x="1115" y="1328"/>
                  </a:lnTo>
                  <a:lnTo>
                    <a:pt x="1109" y="1328"/>
                  </a:lnTo>
                  <a:lnTo>
                    <a:pt x="1105" y="1330"/>
                  </a:lnTo>
                  <a:lnTo>
                    <a:pt x="1105" y="1333"/>
                  </a:lnTo>
                  <a:lnTo>
                    <a:pt x="1103" y="1330"/>
                  </a:lnTo>
                  <a:lnTo>
                    <a:pt x="1100" y="1333"/>
                  </a:lnTo>
                  <a:lnTo>
                    <a:pt x="1100" y="1335"/>
                  </a:lnTo>
                  <a:lnTo>
                    <a:pt x="1096" y="1335"/>
                  </a:lnTo>
                  <a:lnTo>
                    <a:pt x="1090" y="1339"/>
                  </a:lnTo>
                  <a:lnTo>
                    <a:pt x="1090" y="1341"/>
                  </a:lnTo>
                  <a:lnTo>
                    <a:pt x="1088" y="1341"/>
                  </a:lnTo>
                  <a:lnTo>
                    <a:pt x="1084" y="1348"/>
                  </a:lnTo>
                  <a:lnTo>
                    <a:pt x="1077" y="1352"/>
                  </a:lnTo>
                  <a:lnTo>
                    <a:pt x="1075" y="1360"/>
                  </a:lnTo>
                  <a:lnTo>
                    <a:pt x="1069" y="1360"/>
                  </a:lnTo>
                  <a:lnTo>
                    <a:pt x="1066" y="1365"/>
                  </a:lnTo>
                  <a:lnTo>
                    <a:pt x="1062" y="1365"/>
                  </a:lnTo>
                  <a:lnTo>
                    <a:pt x="1060" y="1371"/>
                  </a:lnTo>
                  <a:lnTo>
                    <a:pt x="1060" y="1375"/>
                  </a:lnTo>
                  <a:lnTo>
                    <a:pt x="1051" y="1380"/>
                  </a:lnTo>
                  <a:lnTo>
                    <a:pt x="1049" y="1384"/>
                  </a:lnTo>
                  <a:lnTo>
                    <a:pt x="1039" y="1388"/>
                  </a:lnTo>
                  <a:lnTo>
                    <a:pt x="1034" y="1388"/>
                  </a:lnTo>
                  <a:lnTo>
                    <a:pt x="1037" y="1388"/>
                  </a:lnTo>
                  <a:lnTo>
                    <a:pt x="1049" y="1384"/>
                  </a:lnTo>
                  <a:lnTo>
                    <a:pt x="1056" y="1380"/>
                  </a:lnTo>
                  <a:lnTo>
                    <a:pt x="1062" y="1377"/>
                  </a:lnTo>
                  <a:lnTo>
                    <a:pt x="1068" y="1371"/>
                  </a:lnTo>
                  <a:lnTo>
                    <a:pt x="1071" y="1365"/>
                  </a:lnTo>
                  <a:lnTo>
                    <a:pt x="1075" y="1364"/>
                  </a:lnTo>
                  <a:lnTo>
                    <a:pt x="1084" y="1354"/>
                  </a:lnTo>
                  <a:lnTo>
                    <a:pt x="1096" y="1348"/>
                  </a:lnTo>
                  <a:lnTo>
                    <a:pt x="1105" y="1341"/>
                  </a:lnTo>
                  <a:lnTo>
                    <a:pt x="1109" y="1341"/>
                  </a:lnTo>
                  <a:lnTo>
                    <a:pt x="1115" y="1339"/>
                  </a:lnTo>
                  <a:lnTo>
                    <a:pt x="1124" y="1337"/>
                  </a:lnTo>
                  <a:lnTo>
                    <a:pt x="1135" y="1333"/>
                  </a:lnTo>
                  <a:lnTo>
                    <a:pt x="1139" y="1333"/>
                  </a:lnTo>
                  <a:lnTo>
                    <a:pt x="1143" y="1330"/>
                  </a:lnTo>
                  <a:lnTo>
                    <a:pt x="1156" y="1330"/>
                  </a:lnTo>
                  <a:lnTo>
                    <a:pt x="1160" y="1333"/>
                  </a:lnTo>
                  <a:lnTo>
                    <a:pt x="1169" y="1337"/>
                  </a:lnTo>
                  <a:lnTo>
                    <a:pt x="1169" y="1339"/>
                  </a:lnTo>
                  <a:lnTo>
                    <a:pt x="1164" y="1339"/>
                  </a:lnTo>
                  <a:lnTo>
                    <a:pt x="1164" y="1339"/>
                  </a:lnTo>
                  <a:lnTo>
                    <a:pt x="1164" y="1341"/>
                  </a:lnTo>
                  <a:lnTo>
                    <a:pt x="1167" y="1341"/>
                  </a:lnTo>
                  <a:lnTo>
                    <a:pt x="1169" y="1341"/>
                  </a:lnTo>
                  <a:lnTo>
                    <a:pt x="1173" y="1345"/>
                  </a:lnTo>
                  <a:lnTo>
                    <a:pt x="1169" y="1345"/>
                  </a:lnTo>
                  <a:lnTo>
                    <a:pt x="1173" y="1347"/>
                  </a:lnTo>
                  <a:lnTo>
                    <a:pt x="1167" y="1354"/>
                  </a:lnTo>
                  <a:lnTo>
                    <a:pt x="1164" y="1354"/>
                  </a:lnTo>
                  <a:lnTo>
                    <a:pt x="1160" y="1358"/>
                  </a:lnTo>
                  <a:lnTo>
                    <a:pt x="1158" y="1358"/>
                  </a:lnTo>
                  <a:lnTo>
                    <a:pt x="1152" y="1360"/>
                  </a:lnTo>
                  <a:lnTo>
                    <a:pt x="1148" y="1360"/>
                  </a:lnTo>
                  <a:lnTo>
                    <a:pt x="1145" y="1360"/>
                  </a:lnTo>
                  <a:lnTo>
                    <a:pt x="1143" y="1358"/>
                  </a:lnTo>
                  <a:lnTo>
                    <a:pt x="1139" y="1360"/>
                  </a:lnTo>
                  <a:lnTo>
                    <a:pt x="1135" y="1360"/>
                  </a:lnTo>
                  <a:lnTo>
                    <a:pt x="1130" y="1360"/>
                  </a:lnTo>
                  <a:lnTo>
                    <a:pt x="1126" y="1360"/>
                  </a:lnTo>
                  <a:lnTo>
                    <a:pt x="1130" y="1360"/>
                  </a:lnTo>
                  <a:lnTo>
                    <a:pt x="1135" y="1360"/>
                  </a:lnTo>
                  <a:lnTo>
                    <a:pt x="1143" y="1364"/>
                  </a:lnTo>
                  <a:lnTo>
                    <a:pt x="1145" y="1365"/>
                  </a:lnTo>
                  <a:lnTo>
                    <a:pt x="1147" y="1367"/>
                  </a:lnTo>
                  <a:lnTo>
                    <a:pt x="1150" y="1365"/>
                  </a:lnTo>
                  <a:lnTo>
                    <a:pt x="1154" y="1364"/>
                  </a:lnTo>
                  <a:lnTo>
                    <a:pt x="1158" y="1364"/>
                  </a:lnTo>
                  <a:lnTo>
                    <a:pt x="1160" y="1365"/>
                  </a:lnTo>
                  <a:lnTo>
                    <a:pt x="1160" y="1365"/>
                  </a:lnTo>
                  <a:lnTo>
                    <a:pt x="1164" y="1367"/>
                  </a:lnTo>
                  <a:lnTo>
                    <a:pt x="1160" y="1371"/>
                  </a:lnTo>
                  <a:lnTo>
                    <a:pt x="1154" y="1380"/>
                  </a:lnTo>
                  <a:lnTo>
                    <a:pt x="1152" y="1380"/>
                  </a:lnTo>
                  <a:lnTo>
                    <a:pt x="1148" y="1384"/>
                  </a:lnTo>
                  <a:lnTo>
                    <a:pt x="1156" y="1384"/>
                  </a:lnTo>
                  <a:lnTo>
                    <a:pt x="1156" y="1384"/>
                  </a:lnTo>
                  <a:lnTo>
                    <a:pt x="1154" y="1388"/>
                  </a:lnTo>
                  <a:lnTo>
                    <a:pt x="1156" y="1390"/>
                  </a:lnTo>
                  <a:lnTo>
                    <a:pt x="1156" y="1394"/>
                  </a:lnTo>
                  <a:lnTo>
                    <a:pt x="1156" y="1399"/>
                  </a:lnTo>
                  <a:lnTo>
                    <a:pt x="1158" y="1399"/>
                  </a:lnTo>
                  <a:lnTo>
                    <a:pt x="1160" y="1405"/>
                  </a:lnTo>
                  <a:lnTo>
                    <a:pt x="1164" y="1405"/>
                  </a:lnTo>
                  <a:lnTo>
                    <a:pt x="1164" y="1407"/>
                  </a:lnTo>
                  <a:lnTo>
                    <a:pt x="1169" y="1407"/>
                  </a:lnTo>
                  <a:lnTo>
                    <a:pt x="1169" y="1411"/>
                  </a:lnTo>
                  <a:lnTo>
                    <a:pt x="1167" y="1411"/>
                  </a:lnTo>
                  <a:lnTo>
                    <a:pt x="1169" y="1414"/>
                  </a:lnTo>
                  <a:lnTo>
                    <a:pt x="1177" y="1414"/>
                  </a:lnTo>
                  <a:lnTo>
                    <a:pt x="1180" y="1416"/>
                  </a:lnTo>
                  <a:lnTo>
                    <a:pt x="1182" y="1416"/>
                  </a:lnTo>
                  <a:lnTo>
                    <a:pt x="1184" y="1418"/>
                  </a:lnTo>
                  <a:lnTo>
                    <a:pt x="1188" y="1418"/>
                  </a:lnTo>
                  <a:lnTo>
                    <a:pt x="1194" y="1418"/>
                  </a:lnTo>
                  <a:lnTo>
                    <a:pt x="1194" y="1418"/>
                  </a:lnTo>
                  <a:lnTo>
                    <a:pt x="1199" y="1414"/>
                  </a:lnTo>
                  <a:lnTo>
                    <a:pt x="1201" y="1418"/>
                  </a:lnTo>
                  <a:lnTo>
                    <a:pt x="1199" y="1418"/>
                  </a:lnTo>
                  <a:lnTo>
                    <a:pt x="1205" y="1418"/>
                  </a:lnTo>
                  <a:lnTo>
                    <a:pt x="1211" y="1422"/>
                  </a:lnTo>
                  <a:lnTo>
                    <a:pt x="1211" y="1424"/>
                  </a:lnTo>
                  <a:lnTo>
                    <a:pt x="1209" y="1424"/>
                  </a:lnTo>
                  <a:lnTo>
                    <a:pt x="1207" y="1428"/>
                  </a:lnTo>
                  <a:lnTo>
                    <a:pt x="1211" y="1428"/>
                  </a:lnTo>
                  <a:lnTo>
                    <a:pt x="1214" y="1428"/>
                  </a:lnTo>
                  <a:lnTo>
                    <a:pt x="1216" y="1429"/>
                  </a:lnTo>
                  <a:lnTo>
                    <a:pt x="1212" y="1431"/>
                  </a:lnTo>
                  <a:lnTo>
                    <a:pt x="1211" y="1429"/>
                  </a:lnTo>
                  <a:lnTo>
                    <a:pt x="1207" y="1429"/>
                  </a:lnTo>
                  <a:lnTo>
                    <a:pt x="1201" y="1431"/>
                  </a:lnTo>
                  <a:lnTo>
                    <a:pt x="1194" y="1437"/>
                  </a:lnTo>
                  <a:lnTo>
                    <a:pt x="1188" y="1437"/>
                  </a:lnTo>
                  <a:lnTo>
                    <a:pt x="1184" y="1439"/>
                  </a:lnTo>
                  <a:lnTo>
                    <a:pt x="1177" y="1441"/>
                  </a:lnTo>
                  <a:lnTo>
                    <a:pt x="1173" y="1443"/>
                  </a:lnTo>
                  <a:lnTo>
                    <a:pt x="1167" y="1443"/>
                  </a:lnTo>
                  <a:lnTo>
                    <a:pt x="1169" y="1445"/>
                  </a:lnTo>
                  <a:lnTo>
                    <a:pt x="1164" y="1445"/>
                  </a:lnTo>
                  <a:lnTo>
                    <a:pt x="1164" y="1441"/>
                  </a:lnTo>
                  <a:lnTo>
                    <a:pt x="1160" y="1441"/>
                  </a:lnTo>
                  <a:lnTo>
                    <a:pt x="1160" y="1443"/>
                  </a:lnTo>
                  <a:lnTo>
                    <a:pt x="1158" y="1443"/>
                  </a:lnTo>
                  <a:lnTo>
                    <a:pt x="1156" y="1446"/>
                  </a:lnTo>
                  <a:lnTo>
                    <a:pt x="1156" y="1448"/>
                  </a:lnTo>
                  <a:lnTo>
                    <a:pt x="1150" y="1452"/>
                  </a:lnTo>
                  <a:lnTo>
                    <a:pt x="1145" y="1458"/>
                  </a:lnTo>
                  <a:lnTo>
                    <a:pt x="1143" y="1460"/>
                  </a:lnTo>
                  <a:lnTo>
                    <a:pt x="1139" y="1463"/>
                  </a:lnTo>
                  <a:lnTo>
                    <a:pt x="1135" y="1463"/>
                  </a:lnTo>
                  <a:lnTo>
                    <a:pt x="1135" y="1463"/>
                  </a:lnTo>
                  <a:lnTo>
                    <a:pt x="1135" y="1467"/>
                  </a:lnTo>
                  <a:lnTo>
                    <a:pt x="1133" y="1469"/>
                  </a:lnTo>
                  <a:lnTo>
                    <a:pt x="1130" y="1467"/>
                  </a:lnTo>
                  <a:lnTo>
                    <a:pt x="1130" y="1469"/>
                  </a:lnTo>
                  <a:lnTo>
                    <a:pt x="1126" y="1465"/>
                  </a:lnTo>
                  <a:lnTo>
                    <a:pt x="1126" y="1461"/>
                  </a:lnTo>
                  <a:lnTo>
                    <a:pt x="1124" y="1460"/>
                  </a:lnTo>
                  <a:lnTo>
                    <a:pt x="1122" y="1461"/>
                  </a:lnTo>
                  <a:lnTo>
                    <a:pt x="1120" y="1458"/>
                  </a:lnTo>
                  <a:lnTo>
                    <a:pt x="1120" y="1454"/>
                  </a:lnTo>
                  <a:lnTo>
                    <a:pt x="1120" y="1452"/>
                  </a:lnTo>
                  <a:lnTo>
                    <a:pt x="1122" y="1445"/>
                  </a:lnTo>
                  <a:lnTo>
                    <a:pt x="1128" y="1441"/>
                  </a:lnTo>
                  <a:lnTo>
                    <a:pt x="1128" y="1439"/>
                  </a:lnTo>
                  <a:lnTo>
                    <a:pt x="1135" y="1433"/>
                  </a:lnTo>
                  <a:lnTo>
                    <a:pt x="1143" y="1431"/>
                  </a:lnTo>
                  <a:lnTo>
                    <a:pt x="1148" y="1428"/>
                  </a:lnTo>
                  <a:lnTo>
                    <a:pt x="1154" y="1428"/>
                  </a:lnTo>
                  <a:lnTo>
                    <a:pt x="1158" y="1428"/>
                  </a:lnTo>
                  <a:lnTo>
                    <a:pt x="1158" y="1429"/>
                  </a:lnTo>
                  <a:lnTo>
                    <a:pt x="1160" y="1431"/>
                  </a:lnTo>
                  <a:lnTo>
                    <a:pt x="1160" y="1429"/>
                  </a:lnTo>
                  <a:lnTo>
                    <a:pt x="1160" y="1428"/>
                  </a:lnTo>
                  <a:lnTo>
                    <a:pt x="1164" y="1428"/>
                  </a:lnTo>
                  <a:lnTo>
                    <a:pt x="1167" y="1428"/>
                  </a:lnTo>
                  <a:lnTo>
                    <a:pt x="1173" y="1424"/>
                  </a:lnTo>
                  <a:lnTo>
                    <a:pt x="1167" y="1428"/>
                  </a:lnTo>
                  <a:lnTo>
                    <a:pt x="1160" y="1424"/>
                  </a:lnTo>
                  <a:lnTo>
                    <a:pt x="1158" y="1422"/>
                  </a:lnTo>
                  <a:lnTo>
                    <a:pt x="1154" y="1422"/>
                  </a:lnTo>
                  <a:lnTo>
                    <a:pt x="1150" y="1428"/>
                  </a:lnTo>
                  <a:lnTo>
                    <a:pt x="1147" y="1424"/>
                  </a:lnTo>
                  <a:lnTo>
                    <a:pt x="1150" y="1422"/>
                  </a:lnTo>
                  <a:lnTo>
                    <a:pt x="1154" y="1418"/>
                  </a:lnTo>
                  <a:lnTo>
                    <a:pt x="1158" y="1416"/>
                  </a:lnTo>
                  <a:lnTo>
                    <a:pt x="1158" y="1414"/>
                  </a:lnTo>
                  <a:lnTo>
                    <a:pt x="1156" y="1416"/>
                  </a:lnTo>
                  <a:lnTo>
                    <a:pt x="1156" y="1413"/>
                  </a:lnTo>
                  <a:lnTo>
                    <a:pt x="1150" y="1418"/>
                  </a:lnTo>
                  <a:lnTo>
                    <a:pt x="1148" y="1418"/>
                  </a:lnTo>
                  <a:lnTo>
                    <a:pt x="1143" y="1422"/>
                  </a:lnTo>
                  <a:lnTo>
                    <a:pt x="1139" y="1422"/>
                  </a:lnTo>
                  <a:lnTo>
                    <a:pt x="1139" y="1428"/>
                  </a:lnTo>
                  <a:lnTo>
                    <a:pt x="1130" y="1428"/>
                  </a:lnTo>
                  <a:lnTo>
                    <a:pt x="1130" y="1428"/>
                  </a:lnTo>
                  <a:lnTo>
                    <a:pt x="1130" y="1424"/>
                  </a:lnTo>
                  <a:lnTo>
                    <a:pt x="1128" y="1424"/>
                  </a:lnTo>
                  <a:lnTo>
                    <a:pt x="1130" y="1422"/>
                  </a:lnTo>
                  <a:lnTo>
                    <a:pt x="1128" y="1424"/>
                  </a:lnTo>
                  <a:lnTo>
                    <a:pt x="1126" y="1428"/>
                  </a:lnTo>
                  <a:lnTo>
                    <a:pt x="1120" y="1429"/>
                  </a:lnTo>
                  <a:lnTo>
                    <a:pt x="1118" y="1428"/>
                  </a:lnTo>
                  <a:lnTo>
                    <a:pt x="1118" y="1429"/>
                  </a:lnTo>
                  <a:lnTo>
                    <a:pt x="1115" y="1429"/>
                  </a:lnTo>
                  <a:lnTo>
                    <a:pt x="1115" y="1428"/>
                  </a:lnTo>
                  <a:lnTo>
                    <a:pt x="1109" y="1428"/>
                  </a:lnTo>
                  <a:lnTo>
                    <a:pt x="1105" y="1428"/>
                  </a:lnTo>
                  <a:lnTo>
                    <a:pt x="1103" y="1428"/>
                  </a:lnTo>
                  <a:lnTo>
                    <a:pt x="1103" y="1424"/>
                  </a:lnTo>
                  <a:lnTo>
                    <a:pt x="1105" y="1422"/>
                  </a:lnTo>
                  <a:lnTo>
                    <a:pt x="1103" y="1422"/>
                  </a:lnTo>
                  <a:lnTo>
                    <a:pt x="1105" y="1418"/>
                  </a:lnTo>
                  <a:lnTo>
                    <a:pt x="1105" y="1418"/>
                  </a:lnTo>
                  <a:lnTo>
                    <a:pt x="1103" y="1416"/>
                  </a:lnTo>
                  <a:lnTo>
                    <a:pt x="1101" y="1413"/>
                  </a:lnTo>
                  <a:lnTo>
                    <a:pt x="1100" y="1413"/>
                  </a:lnTo>
                  <a:lnTo>
                    <a:pt x="1101" y="1411"/>
                  </a:lnTo>
                  <a:lnTo>
                    <a:pt x="1105" y="1384"/>
                  </a:lnTo>
                  <a:lnTo>
                    <a:pt x="1105" y="1380"/>
                  </a:lnTo>
                  <a:lnTo>
                    <a:pt x="1098" y="1373"/>
                  </a:lnTo>
                  <a:lnTo>
                    <a:pt x="1096" y="1375"/>
                  </a:lnTo>
                  <a:lnTo>
                    <a:pt x="1090" y="1373"/>
                  </a:lnTo>
                  <a:lnTo>
                    <a:pt x="1086" y="1375"/>
                  </a:lnTo>
                  <a:lnTo>
                    <a:pt x="1084" y="1371"/>
                  </a:lnTo>
                  <a:lnTo>
                    <a:pt x="1081" y="1371"/>
                  </a:lnTo>
                  <a:lnTo>
                    <a:pt x="1081" y="1371"/>
                  </a:lnTo>
                  <a:lnTo>
                    <a:pt x="1079" y="1373"/>
                  </a:lnTo>
                  <a:lnTo>
                    <a:pt x="1077" y="1377"/>
                  </a:lnTo>
                  <a:lnTo>
                    <a:pt x="1069" y="1384"/>
                  </a:lnTo>
                  <a:lnTo>
                    <a:pt x="1066" y="1388"/>
                  </a:lnTo>
                  <a:lnTo>
                    <a:pt x="1066" y="1390"/>
                  </a:lnTo>
                  <a:lnTo>
                    <a:pt x="1062" y="1394"/>
                  </a:lnTo>
                  <a:lnTo>
                    <a:pt x="1060" y="1397"/>
                  </a:lnTo>
                  <a:lnTo>
                    <a:pt x="1060" y="1401"/>
                  </a:lnTo>
                  <a:lnTo>
                    <a:pt x="1056" y="1409"/>
                  </a:lnTo>
                  <a:lnTo>
                    <a:pt x="1051" y="1409"/>
                  </a:lnTo>
                  <a:lnTo>
                    <a:pt x="1047" y="1416"/>
                  </a:lnTo>
                  <a:lnTo>
                    <a:pt x="1047" y="1418"/>
                  </a:lnTo>
                  <a:lnTo>
                    <a:pt x="1043" y="1418"/>
                  </a:lnTo>
                  <a:lnTo>
                    <a:pt x="1039" y="1418"/>
                  </a:lnTo>
                  <a:lnTo>
                    <a:pt x="1037" y="1418"/>
                  </a:lnTo>
                  <a:lnTo>
                    <a:pt x="1036" y="1422"/>
                  </a:lnTo>
                  <a:lnTo>
                    <a:pt x="1034" y="1422"/>
                  </a:lnTo>
                  <a:lnTo>
                    <a:pt x="1030" y="1424"/>
                  </a:lnTo>
                  <a:lnTo>
                    <a:pt x="975" y="1422"/>
                  </a:lnTo>
                  <a:lnTo>
                    <a:pt x="972" y="1424"/>
                  </a:lnTo>
                  <a:lnTo>
                    <a:pt x="968" y="1428"/>
                  </a:lnTo>
                  <a:lnTo>
                    <a:pt x="962" y="1429"/>
                  </a:lnTo>
                  <a:lnTo>
                    <a:pt x="958" y="1433"/>
                  </a:lnTo>
                  <a:lnTo>
                    <a:pt x="951" y="1441"/>
                  </a:lnTo>
                  <a:lnTo>
                    <a:pt x="947" y="1441"/>
                  </a:lnTo>
                  <a:lnTo>
                    <a:pt x="943" y="1445"/>
                  </a:lnTo>
                  <a:lnTo>
                    <a:pt x="926" y="1454"/>
                  </a:lnTo>
                  <a:lnTo>
                    <a:pt x="892" y="1465"/>
                  </a:lnTo>
                  <a:lnTo>
                    <a:pt x="889" y="1473"/>
                  </a:lnTo>
                  <a:lnTo>
                    <a:pt x="883" y="1478"/>
                  </a:lnTo>
                  <a:lnTo>
                    <a:pt x="819" y="1495"/>
                  </a:lnTo>
                  <a:lnTo>
                    <a:pt x="815" y="1488"/>
                  </a:lnTo>
                  <a:lnTo>
                    <a:pt x="819" y="1484"/>
                  </a:lnTo>
                  <a:lnTo>
                    <a:pt x="827" y="1482"/>
                  </a:lnTo>
                  <a:lnTo>
                    <a:pt x="830" y="1478"/>
                  </a:lnTo>
                  <a:lnTo>
                    <a:pt x="830" y="1473"/>
                  </a:lnTo>
                  <a:lnTo>
                    <a:pt x="834" y="1469"/>
                  </a:lnTo>
                  <a:lnTo>
                    <a:pt x="834" y="1445"/>
                  </a:lnTo>
                  <a:lnTo>
                    <a:pt x="823" y="1388"/>
                  </a:lnTo>
                  <a:lnTo>
                    <a:pt x="812" y="1379"/>
                  </a:lnTo>
                  <a:lnTo>
                    <a:pt x="806" y="1371"/>
                  </a:lnTo>
                  <a:lnTo>
                    <a:pt x="732" y="1337"/>
                  </a:lnTo>
                  <a:lnTo>
                    <a:pt x="731" y="1335"/>
                  </a:lnTo>
                  <a:lnTo>
                    <a:pt x="727" y="1333"/>
                  </a:lnTo>
                  <a:lnTo>
                    <a:pt x="725" y="1333"/>
                  </a:lnTo>
                  <a:lnTo>
                    <a:pt x="716" y="1333"/>
                  </a:lnTo>
                  <a:lnTo>
                    <a:pt x="714" y="1330"/>
                  </a:lnTo>
                  <a:lnTo>
                    <a:pt x="712" y="1328"/>
                  </a:lnTo>
                  <a:lnTo>
                    <a:pt x="708" y="1330"/>
                  </a:lnTo>
                  <a:lnTo>
                    <a:pt x="702" y="1330"/>
                  </a:lnTo>
                  <a:lnTo>
                    <a:pt x="700" y="1328"/>
                  </a:lnTo>
                  <a:lnTo>
                    <a:pt x="697" y="1324"/>
                  </a:lnTo>
                  <a:lnTo>
                    <a:pt x="693" y="1324"/>
                  </a:lnTo>
                  <a:lnTo>
                    <a:pt x="687" y="1322"/>
                  </a:lnTo>
                  <a:lnTo>
                    <a:pt x="685" y="1318"/>
                  </a:lnTo>
                  <a:lnTo>
                    <a:pt x="684" y="1318"/>
                  </a:lnTo>
                  <a:lnTo>
                    <a:pt x="680" y="1315"/>
                  </a:lnTo>
                  <a:lnTo>
                    <a:pt x="676" y="1315"/>
                  </a:lnTo>
                  <a:lnTo>
                    <a:pt x="672" y="1313"/>
                  </a:lnTo>
                  <a:lnTo>
                    <a:pt x="668" y="1315"/>
                  </a:lnTo>
                  <a:lnTo>
                    <a:pt x="668" y="1315"/>
                  </a:lnTo>
                  <a:lnTo>
                    <a:pt x="667" y="1313"/>
                  </a:lnTo>
                  <a:lnTo>
                    <a:pt x="663" y="1311"/>
                  </a:lnTo>
                  <a:lnTo>
                    <a:pt x="663" y="1311"/>
                  </a:lnTo>
                  <a:lnTo>
                    <a:pt x="659" y="1309"/>
                  </a:lnTo>
                  <a:lnTo>
                    <a:pt x="657" y="1309"/>
                  </a:lnTo>
                  <a:lnTo>
                    <a:pt x="655" y="1305"/>
                  </a:lnTo>
                  <a:lnTo>
                    <a:pt x="655" y="1303"/>
                  </a:lnTo>
                  <a:lnTo>
                    <a:pt x="650" y="1303"/>
                  </a:lnTo>
                  <a:lnTo>
                    <a:pt x="646" y="1303"/>
                  </a:lnTo>
                  <a:lnTo>
                    <a:pt x="642" y="1300"/>
                  </a:lnTo>
                  <a:lnTo>
                    <a:pt x="164" y="1252"/>
                  </a:lnTo>
                  <a:lnTo>
                    <a:pt x="164" y="1252"/>
                  </a:lnTo>
                  <a:lnTo>
                    <a:pt x="164" y="1252"/>
                  </a:lnTo>
                  <a:close/>
                </a:path>
              </a:pathLst>
            </a:custGeom>
            <a:solidFill>
              <a:srgbClr val="0A9A9C"/>
            </a:solidFill>
            <a:ln w="3175" cap="flat">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39">
              <a:extLst>
                <a:ext uri="{FF2B5EF4-FFF2-40B4-BE49-F238E27FC236}">
                  <a16:creationId xmlns:a16="http://schemas.microsoft.com/office/drawing/2014/main" id="{65400D20-12DC-544F-ABC1-71117D8EF4E8}"/>
                </a:ext>
              </a:extLst>
            </p:cNvPr>
            <p:cNvSpPr>
              <a:spLocks noEditPoints="1"/>
            </p:cNvSpPr>
            <p:nvPr/>
          </p:nvSpPr>
          <p:spPr bwMode="auto">
            <a:xfrm>
              <a:off x="3529426" y="1408197"/>
              <a:ext cx="846510" cy="583696"/>
            </a:xfrm>
            <a:custGeom>
              <a:avLst/>
              <a:gdLst/>
              <a:ahLst/>
              <a:cxnLst>
                <a:cxn ang="0">
                  <a:pos x="866" y="589"/>
                </a:cxn>
                <a:cxn ang="0">
                  <a:pos x="951" y="122"/>
                </a:cxn>
                <a:cxn ang="0">
                  <a:pos x="892" y="92"/>
                </a:cxn>
                <a:cxn ang="0">
                  <a:pos x="840" y="33"/>
                </a:cxn>
                <a:cxn ang="0">
                  <a:pos x="830" y="5"/>
                </a:cxn>
                <a:cxn ang="0">
                  <a:pos x="744" y="24"/>
                </a:cxn>
                <a:cxn ang="0">
                  <a:pos x="597" y="137"/>
                </a:cxn>
                <a:cxn ang="0">
                  <a:pos x="604" y="177"/>
                </a:cxn>
                <a:cxn ang="0">
                  <a:pos x="569" y="190"/>
                </a:cxn>
                <a:cxn ang="0">
                  <a:pos x="503" y="237"/>
                </a:cxn>
                <a:cxn ang="0">
                  <a:pos x="533" y="280"/>
                </a:cxn>
                <a:cxn ang="0">
                  <a:pos x="512" y="322"/>
                </a:cxn>
                <a:cxn ang="0">
                  <a:pos x="403" y="389"/>
                </a:cxn>
                <a:cxn ang="0">
                  <a:pos x="410" y="423"/>
                </a:cxn>
                <a:cxn ang="0">
                  <a:pos x="437" y="474"/>
                </a:cxn>
                <a:cxn ang="0">
                  <a:pos x="450" y="521"/>
                </a:cxn>
                <a:cxn ang="0">
                  <a:pos x="469" y="563"/>
                </a:cxn>
                <a:cxn ang="0">
                  <a:pos x="380" y="627"/>
                </a:cxn>
                <a:cxn ang="0">
                  <a:pos x="352" y="649"/>
                </a:cxn>
                <a:cxn ang="0">
                  <a:pos x="418" y="631"/>
                </a:cxn>
                <a:cxn ang="0">
                  <a:pos x="482" y="593"/>
                </a:cxn>
                <a:cxn ang="0">
                  <a:pos x="535" y="553"/>
                </a:cxn>
                <a:cxn ang="0">
                  <a:pos x="582" y="493"/>
                </a:cxn>
                <a:cxn ang="0">
                  <a:pos x="619" y="485"/>
                </a:cxn>
                <a:cxn ang="0">
                  <a:pos x="623" y="529"/>
                </a:cxn>
                <a:cxn ang="0">
                  <a:pos x="672" y="487"/>
                </a:cxn>
                <a:cxn ang="0">
                  <a:pos x="706" y="504"/>
                </a:cxn>
                <a:cxn ang="0">
                  <a:pos x="762" y="546"/>
                </a:cxn>
                <a:cxn ang="0">
                  <a:pos x="808" y="589"/>
                </a:cxn>
                <a:cxn ang="0">
                  <a:pos x="836" y="610"/>
                </a:cxn>
                <a:cxn ang="0">
                  <a:pos x="860" y="640"/>
                </a:cxn>
                <a:cxn ang="0">
                  <a:pos x="872" y="696"/>
                </a:cxn>
                <a:cxn ang="0">
                  <a:pos x="879" y="751"/>
                </a:cxn>
                <a:cxn ang="0">
                  <a:pos x="860" y="745"/>
                </a:cxn>
                <a:cxn ang="0">
                  <a:pos x="830" y="751"/>
                </a:cxn>
                <a:cxn ang="0">
                  <a:pos x="834" y="721"/>
                </a:cxn>
                <a:cxn ang="0">
                  <a:pos x="851" y="755"/>
                </a:cxn>
                <a:cxn ang="0">
                  <a:pos x="866" y="715"/>
                </a:cxn>
                <a:cxn ang="0">
                  <a:pos x="857" y="696"/>
                </a:cxn>
                <a:cxn ang="0">
                  <a:pos x="843" y="696"/>
                </a:cxn>
                <a:cxn ang="0">
                  <a:pos x="823" y="696"/>
                </a:cxn>
                <a:cxn ang="0">
                  <a:pos x="842" y="657"/>
                </a:cxn>
                <a:cxn ang="0">
                  <a:pos x="830" y="638"/>
                </a:cxn>
                <a:cxn ang="0">
                  <a:pos x="277" y="399"/>
                </a:cxn>
                <a:cxn ang="0">
                  <a:pos x="469" y="329"/>
                </a:cxn>
                <a:cxn ang="0">
                  <a:pos x="717" y="538"/>
                </a:cxn>
                <a:cxn ang="0">
                  <a:pos x="668" y="529"/>
                </a:cxn>
                <a:cxn ang="0">
                  <a:pos x="454" y="231"/>
                </a:cxn>
                <a:cxn ang="0">
                  <a:pos x="390" y="308"/>
                </a:cxn>
                <a:cxn ang="0">
                  <a:pos x="563" y="519"/>
                </a:cxn>
                <a:cxn ang="0">
                  <a:pos x="550" y="568"/>
                </a:cxn>
                <a:cxn ang="0">
                  <a:pos x="548" y="582"/>
                </a:cxn>
                <a:cxn ang="0">
                  <a:pos x="518" y="606"/>
                </a:cxn>
                <a:cxn ang="0">
                  <a:pos x="454" y="614"/>
                </a:cxn>
                <a:cxn ang="0">
                  <a:pos x="377" y="666"/>
                </a:cxn>
                <a:cxn ang="0">
                  <a:pos x="4" y="734"/>
                </a:cxn>
                <a:cxn ang="0">
                  <a:pos x="36" y="727"/>
                </a:cxn>
                <a:cxn ang="0">
                  <a:pos x="102" y="725"/>
                </a:cxn>
                <a:cxn ang="0">
                  <a:pos x="179" y="706"/>
                </a:cxn>
                <a:cxn ang="0">
                  <a:pos x="245" y="685"/>
                </a:cxn>
                <a:cxn ang="0">
                  <a:pos x="288" y="678"/>
                </a:cxn>
                <a:cxn ang="0">
                  <a:pos x="431" y="521"/>
                </a:cxn>
              </a:cxnLst>
              <a:rect l="0" t="0" r="r" b="b"/>
              <a:pathLst>
                <a:path w="992" h="761">
                  <a:moveTo>
                    <a:pt x="894" y="727"/>
                  </a:moveTo>
                  <a:lnTo>
                    <a:pt x="894" y="727"/>
                  </a:lnTo>
                  <a:lnTo>
                    <a:pt x="894" y="725"/>
                  </a:lnTo>
                  <a:lnTo>
                    <a:pt x="894" y="725"/>
                  </a:lnTo>
                  <a:lnTo>
                    <a:pt x="894" y="721"/>
                  </a:lnTo>
                  <a:lnTo>
                    <a:pt x="896" y="721"/>
                  </a:lnTo>
                  <a:lnTo>
                    <a:pt x="894" y="717"/>
                  </a:lnTo>
                  <a:lnTo>
                    <a:pt x="892" y="717"/>
                  </a:lnTo>
                  <a:lnTo>
                    <a:pt x="892" y="713"/>
                  </a:lnTo>
                  <a:lnTo>
                    <a:pt x="890" y="710"/>
                  </a:lnTo>
                  <a:lnTo>
                    <a:pt x="887" y="708"/>
                  </a:lnTo>
                  <a:lnTo>
                    <a:pt x="885" y="706"/>
                  </a:lnTo>
                  <a:lnTo>
                    <a:pt x="885" y="702"/>
                  </a:lnTo>
                  <a:lnTo>
                    <a:pt x="881" y="700"/>
                  </a:lnTo>
                  <a:lnTo>
                    <a:pt x="879" y="696"/>
                  </a:lnTo>
                  <a:lnTo>
                    <a:pt x="875" y="696"/>
                  </a:lnTo>
                  <a:lnTo>
                    <a:pt x="875" y="696"/>
                  </a:lnTo>
                  <a:lnTo>
                    <a:pt x="875" y="693"/>
                  </a:lnTo>
                  <a:lnTo>
                    <a:pt x="875" y="691"/>
                  </a:lnTo>
                  <a:lnTo>
                    <a:pt x="874" y="691"/>
                  </a:lnTo>
                  <a:lnTo>
                    <a:pt x="874" y="687"/>
                  </a:lnTo>
                  <a:lnTo>
                    <a:pt x="875" y="687"/>
                  </a:lnTo>
                  <a:lnTo>
                    <a:pt x="875" y="685"/>
                  </a:lnTo>
                  <a:lnTo>
                    <a:pt x="875" y="683"/>
                  </a:lnTo>
                  <a:lnTo>
                    <a:pt x="874" y="683"/>
                  </a:lnTo>
                  <a:lnTo>
                    <a:pt x="872" y="683"/>
                  </a:lnTo>
                  <a:lnTo>
                    <a:pt x="872" y="680"/>
                  </a:lnTo>
                  <a:lnTo>
                    <a:pt x="875" y="678"/>
                  </a:lnTo>
                  <a:lnTo>
                    <a:pt x="874" y="666"/>
                  </a:lnTo>
                  <a:lnTo>
                    <a:pt x="875" y="651"/>
                  </a:lnTo>
                  <a:lnTo>
                    <a:pt x="875" y="640"/>
                  </a:lnTo>
                  <a:lnTo>
                    <a:pt x="875" y="636"/>
                  </a:lnTo>
                  <a:lnTo>
                    <a:pt x="874" y="632"/>
                  </a:lnTo>
                  <a:lnTo>
                    <a:pt x="875" y="632"/>
                  </a:lnTo>
                  <a:lnTo>
                    <a:pt x="875" y="627"/>
                  </a:lnTo>
                  <a:lnTo>
                    <a:pt x="874" y="623"/>
                  </a:lnTo>
                  <a:lnTo>
                    <a:pt x="874" y="617"/>
                  </a:lnTo>
                  <a:lnTo>
                    <a:pt x="868" y="614"/>
                  </a:lnTo>
                  <a:lnTo>
                    <a:pt x="868" y="606"/>
                  </a:lnTo>
                  <a:lnTo>
                    <a:pt x="868" y="602"/>
                  </a:lnTo>
                  <a:lnTo>
                    <a:pt x="864" y="593"/>
                  </a:lnTo>
                  <a:lnTo>
                    <a:pt x="866" y="589"/>
                  </a:lnTo>
                  <a:lnTo>
                    <a:pt x="868" y="585"/>
                  </a:lnTo>
                  <a:lnTo>
                    <a:pt x="868" y="582"/>
                  </a:lnTo>
                  <a:lnTo>
                    <a:pt x="866" y="578"/>
                  </a:lnTo>
                  <a:lnTo>
                    <a:pt x="862" y="574"/>
                  </a:lnTo>
                  <a:lnTo>
                    <a:pt x="857" y="576"/>
                  </a:lnTo>
                  <a:lnTo>
                    <a:pt x="851" y="578"/>
                  </a:lnTo>
                  <a:lnTo>
                    <a:pt x="851" y="578"/>
                  </a:lnTo>
                  <a:lnTo>
                    <a:pt x="843" y="580"/>
                  </a:lnTo>
                  <a:lnTo>
                    <a:pt x="840" y="585"/>
                  </a:lnTo>
                  <a:lnTo>
                    <a:pt x="834" y="593"/>
                  </a:lnTo>
                  <a:lnTo>
                    <a:pt x="830" y="593"/>
                  </a:lnTo>
                  <a:lnTo>
                    <a:pt x="823" y="597"/>
                  </a:lnTo>
                  <a:lnTo>
                    <a:pt x="817" y="599"/>
                  </a:lnTo>
                  <a:lnTo>
                    <a:pt x="815" y="599"/>
                  </a:lnTo>
                  <a:lnTo>
                    <a:pt x="815" y="593"/>
                  </a:lnTo>
                  <a:lnTo>
                    <a:pt x="819" y="589"/>
                  </a:lnTo>
                  <a:lnTo>
                    <a:pt x="817" y="585"/>
                  </a:lnTo>
                  <a:lnTo>
                    <a:pt x="811" y="563"/>
                  </a:lnTo>
                  <a:lnTo>
                    <a:pt x="808" y="553"/>
                  </a:lnTo>
                  <a:lnTo>
                    <a:pt x="806" y="550"/>
                  </a:lnTo>
                  <a:lnTo>
                    <a:pt x="810" y="542"/>
                  </a:lnTo>
                  <a:lnTo>
                    <a:pt x="802" y="538"/>
                  </a:lnTo>
                  <a:lnTo>
                    <a:pt x="793" y="542"/>
                  </a:lnTo>
                  <a:lnTo>
                    <a:pt x="791" y="542"/>
                  </a:lnTo>
                  <a:lnTo>
                    <a:pt x="778" y="542"/>
                  </a:lnTo>
                  <a:lnTo>
                    <a:pt x="992" y="148"/>
                  </a:lnTo>
                  <a:lnTo>
                    <a:pt x="992" y="146"/>
                  </a:lnTo>
                  <a:lnTo>
                    <a:pt x="988" y="146"/>
                  </a:lnTo>
                  <a:lnTo>
                    <a:pt x="985" y="146"/>
                  </a:lnTo>
                  <a:lnTo>
                    <a:pt x="983" y="143"/>
                  </a:lnTo>
                  <a:lnTo>
                    <a:pt x="981" y="137"/>
                  </a:lnTo>
                  <a:lnTo>
                    <a:pt x="979" y="133"/>
                  </a:lnTo>
                  <a:lnTo>
                    <a:pt x="977" y="131"/>
                  </a:lnTo>
                  <a:lnTo>
                    <a:pt x="975" y="128"/>
                  </a:lnTo>
                  <a:lnTo>
                    <a:pt x="973" y="122"/>
                  </a:lnTo>
                  <a:lnTo>
                    <a:pt x="971" y="120"/>
                  </a:lnTo>
                  <a:lnTo>
                    <a:pt x="964" y="120"/>
                  </a:lnTo>
                  <a:lnTo>
                    <a:pt x="964" y="122"/>
                  </a:lnTo>
                  <a:lnTo>
                    <a:pt x="960" y="122"/>
                  </a:lnTo>
                  <a:lnTo>
                    <a:pt x="954" y="122"/>
                  </a:lnTo>
                  <a:lnTo>
                    <a:pt x="953" y="120"/>
                  </a:lnTo>
                  <a:lnTo>
                    <a:pt x="951" y="122"/>
                  </a:lnTo>
                  <a:lnTo>
                    <a:pt x="949" y="120"/>
                  </a:lnTo>
                  <a:lnTo>
                    <a:pt x="947" y="122"/>
                  </a:lnTo>
                  <a:lnTo>
                    <a:pt x="945" y="120"/>
                  </a:lnTo>
                  <a:lnTo>
                    <a:pt x="945" y="120"/>
                  </a:lnTo>
                  <a:lnTo>
                    <a:pt x="947" y="120"/>
                  </a:lnTo>
                  <a:lnTo>
                    <a:pt x="947" y="118"/>
                  </a:lnTo>
                  <a:lnTo>
                    <a:pt x="943" y="116"/>
                  </a:lnTo>
                  <a:lnTo>
                    <a:pt x="943" y="116"/>
                  </a:lnTo>
                  <a:lnTo>
                    <a:pt x="939" y="116"/>
                  </a:lnTo>
                  <a:lnTo>
                    <a:pt x="939" y="116"/>
                  </a:lnTo>
                  <a:lnTo>
                    <a:pt x="943" y="113"/>
                  </a:lnTo>
                  <a:lnTo>
                    <a:pt x="939" y="113"/>
                  </a:lnTo>
                  <a:lnTo>
                    <a:pt x="939" y="113"/>
                  </a:lnTo>
                  <a:lnTo>
                    <a:pt x="936" y="113"/>
                  </a:lnTo>
                  <a:lnTo>
                    <a:pt x="936" y="109"/>
                  </a:lnTo>
                  <a:lnTo>
                    <a:pt x="934" y="107"/>
                  </a:lnTo>
                  <a:lnTo>
                    <a:pt x="928" y="103"/>
                  </a:lnTo>
                  <a:lnTo>
                    <a:pt x="926" y="103"/>
                  </a:lnTo>
                  <a:lnTo>
                    <a:pt x="926" y="103"/>
                  </a:lnTo>
                  <a:lnTo>
                    <a:pt x="924" y="103"/>
                  </a:lnTo>
                  <a:lnTo>
                    <a:pt x="922" y="103"/>
                  </a:lnTo>
                  <a:lnTo>
                    <a:pt x="922" y="103"/>
                  </a:lnTo>
                  <a:lnTo>
                    <a:pt x="922" y="101"/>
                  </a:lnTo>
                  <a:lnTo>
                    <a:pt x="919" y="101"/>
                  </a:lnTo>
                  <a:lnTo>
                    <a:pt x="917" y="103"/>
                  </a:lnTo>
                  <a:lnTo>
                    <a:pt x="915" y="103"/>
                  </a:lnTo>
                  <a:lnTo>
                    <a:pt x="915" y="99"/>
                  </a:lnTo>
                  <a:lnTo>
                    <a:pt x="917" y="99"/>
                  </a:lnTo>
                  <a:lnTo>
                    <a:pt x="915" y="97"/>
                  </a:lnTo>
                  <a:lnTo>
                    <a:pt x="911" y="96"/>
                  </a:lnTo>
                  <a:lnTo>
                    <a:pt x="909" y="97"/>
                  </a:lnTo>
                  <a:lnTo>
                    <a:pt x="909" y="96"/>
                  </a:lnTo>
                  <a:lnTo>
                    <a:pt x="909" y="94"/>
                  </a:lnTo>
                  <a:lnTo>
                    <a:pt x="909" y="92"/>
                  </a:lnTo>
                  <a:lnTo>
                    <a:pt x="906" y="88"/>
                  </a:lnTo>
                  <a:lnTo>
                    <a:pt x="906" y="86"/>
                  </a:lnTo>
                  <a:lnTo>
                    <a:pt x="906" y="86"/>
                  </a:lnTo>
                  <a:lnTo>
                    <a:pt x="902" y="84"/>
                  </a:lnTo>
                  <a:lnTo>
                    <a:pt x="902" y="86"/>
                  </a:lnTo>
                  <a:lnTo>
                    <a:pt x="894" y="94"/>
                  </a:lnTo>
                  <a:lnTo>
                    <a:pt x="885" y="97"/>
                  </a:lnTo>
                  <a:lnTo>
                    <a:pt x="892" y="92"/>
                  </a:lnTo>
                  <a:lnTo>
                    <a:pt x="896" y="86"/>
                  </a:lnTo>
                  <a:lnTo>
                    <a:pt x="902" y="82"/>
                  </a:lnTo>
                  <a:lnTo>
                    <a:pt x="902" y="79"/>
                  </a:lnTo>
                  <a:lnTo>
                    <a:pt x="900" y="77"/>
                  </a:lnTo>
                  <a:lnTo>
                    <a:pt x="894" y="73"/>
                  </a:lnTo>
                  <a:lnTo>
                    <a:pt x="889" y="73"/>
                  </a:lnTo>
                  <a:lnTo>
                    <a:pt x="885" y="73"/>
                  </a:lnTo>
                  <a:lnTo>
                    <a:pt x="881" y="73"/>
                  </a:lnTo>
                  <a:lnTo>
                    <a:pt x="881" y="77"/>
                  </a:lnTo>
                  <a:lnTo>
                    <a:pt x="875" y="77"/>
                  </a:lnTo>
                  <a:lnTo>
                    <a:pt x="872" y="82"/>
                  </a:lnTo>
                  <a:lnTo>
                    <a:pt x="866" y="84"/>
                  </a:lnTo>
                  <a:lnTo>
                    <a:pt x="870" y="82"/>
                  </a:lnTo>
                  <a:lnTo>
                    <a:pt x="870" y="77"/>
                  </a:lnTo>
                  <a:lnTo>
                    <a:pt x="870" y="73"/>
                  </a:lnTo>
                  <a:lnTo>
                    <a:pt x="870" y="69"/>
                  </a:lnTo>
                  <a:lnTo>
                    <a:pt x="864" y="65"/>
                  </a:lnTo>
                  <a:lnTo>
                    <a:pt x="864" y="64"/>
                  </a:lnTo>
                  <a:lnTo>
                    <a:pt x="868" y="62"/>
                  </a:lnTo>
                  <a:lnTo>
                    <a:pt x="870" y="62"/>
                  </a:lnTo>
                  <a:lnTo>
                    <a:pt x="870" y="60"/>
                  </a:lnTo>
                  <a:lnTo>
                    <a:pt x="860" y="56"/>
                  </a:lnTo>
                  <a:lnTo>
                    <a:pt x="860" y="52"/>
                  </a:lnTo>
                  <a:lnTo>
                    <a:pt x="862" y="52"/>
                  </a:lnTo>
                  <a:lnTo>
                    <a:pt x="868" y="48"/>
                  </a:lnTo>
                  <a:lnTo>
                    <a:pt x="870" y="47"/>
                  </a:lnTo>
                  <a:lnTo>
                    <a:pt x="868" y="43"/>
                  </a:lnTo>
                  <a:lnTo>
                    <a:pt x="866" y="39"/>
                  </a:lnTo>
                  <a:lnTo>
                    <a:pt x="864" y="39"/>
                  </a:lnTo>
                  <a:lnTo>
                    <a:pt x="862" y="39"/>
                  </a:lnTo>
                  <a:lnTo>
                    <a:pt x="860" y="37"/>
                  </a:lnTo>
                  <a:lnTo>
                    <a:pt x="857" y="37"/>
                  </a:lnTo>
                  <a:lnTo>
                    <a:pt x="855" y="37"/>
                  </a:lnTo>
                  <a:lnTo>
                    <a:pt x="851" y="35"/>
                  </a:lnTo>
                  <a:lnTo>
                    <a:pt x="849" y="33"/>
                  </a:lnTo>
                  <a:lnTo>
                    <a:pt x="845" y="35"/>
                  </a:lnTo>
                  <a:lnTo>
                    <a:pt x="842" y="35"/>
                  </a:lnTo>
                  <a:lnTo>
                    <a:pt x="840" y="39"/>
                  </a:lnTo>
                  <a:lnTo>
                    <a:pt x="840" y="39"/>
                  </a:lnTo>
                  <a:lnTo>
                    <a:pt x="838" y="37"/>
                  </a:lnTo>
                  <a:lnTo>
                    <a:pt x="838" y="33"/>
                  </a:lnTo>
                  <a:lnTo>
                    <a:pt x="840" y="33"/>
                  </a:lnTo>
                  <a:lnTo>
                    <a:pt x="840" y="30"/>
                  </a:lnTo>
                  <a:lnTo>
                    <a:pt x="842" y="26"/>
                  </a:lnTo>
                  <a:lnTo>
                    <a:pt x="843" y="26"/>
                  </a:lnTo>
                  <a:lnTo>
                    <a:pt x="843" y="22"/>
                  </a:lnTo>
                  <a:lnTo>
                    <a:pt x="845" y="18"/>
                  </a:lnTo>
                  <a:lnTo>
                    <a:pt x="843" y="18"/>
                  </a:lnTo>
                  <a:lnTo>
                    <a:pt x="842" y="18"/>
                  </a:lnTo>
                  <a:lnTo>
                    <a:pt x="838" y="22"/>
                  </a:lnTo>
                  <a:lnTo>
                    <a:pt x="836" y="24"/>
                  </a:lnTo>
                  <a:lnTo>
                    <a:pt x="836" y="24"/>
                  </a:lnTo>
                  <a:lnTo>
                    <a:pt x="832" y="22"/>
                  </a:lnTo>
                  <a:lnTo>
                    <a:pt x="830" y="24"/>
                  </a:lnTo>
                  <a:lnTo>
                    <a:pt x="830" y="26"/>
                  </a:lnTo>
                  <a:lnTo>
                    <a:pt x="830" y="30"/>
                  </a:lnTo>
                  <a:lnTo>
                    <a:pt x="826" y="32"/>
                  </a:lnTo>
                  <a:lnTo>
                    <a:pt x="826" y="32"/>
                  </a:lnTo>
                  <a:lnTo>
                    <a:pt x="826" y="32"/>
                  </a:lnTo>
                  <a:lnTo>
                    <a:pt x="823" y="35"/>
                  </a:lnTo>
                  <a:lnTo>
                    <a:pt x="823" y="39"/>
                  </a:lnTo>
                  <a:lnTo>
                    <a:pt x="823" y="35"/>
                  </a:lnTo>
                  <a:lnTo>
                    <a:pt x="821" y="32"/>
                  </a:lnTo>
                  <a:lnTo>
                    <a:pt x="823" y="28"/>
                  </a:lnTo>
                  <a:lnTo>
                    <a:pt x="823" y="28"/>
                  </a:lnTo>
                  <a:lnTo>
                    <a:pt x="819" y="30"/>
                  </a:lnTo>
                  <a:lnTo>
                    <a:pt x="819" y="33"/>
                  </a:lnTo>
                  <a:lnTo>
                    <a:pt x="815" y="33"/>
                  </a:lnTo>
                  <a:lnTo>
                    <a:pt x="817" y="28"/>
                  </a:lnTo>
                  <a:lnTo>
                    <a:pt x="815" y="24"/>
                  </a:lnTo>
                  <a:lnTo>
                    <a:pt x="811" y="24"/>
                  </a:lnTo>
                  <a:lnTo>
                    <a:pt x="813" y="22"/>
                  </a:lnTo>
                  <a:lnTo>
                    <a:pt x="817" y="18"/>
                  </a:lnTo>
                  <a:lnTo>
                    <a:pt x="821" y="18"/>
                  </a:lnTo>
                  <a:lnTo>
                    <a:pt x="823" y="22"/>
                  </a:lnTo>
                  <a:lnTo>
                    <a:pt x="830" y="18"/>
                  </a:lnTo>
                  <a:lnTo>
                    <a:pt x="832" y="18"/>
                  </a:lnTo>
                  <a:lnTo>
                    <a:pt x="836" y="15"/>
                  </a:lnTo>
                  <a:lnTo>
                    <a:pt x="836" y="15"/>
                  </a:lnTo>
                  <a:lnTo>
                    <a:pt x="838" y="13"/>
                  </a:lnTo>
                  <a:lnTo>
                    <a:pt x="836" y="9"/>
                  </a:lnTo>
                  <a:lnTo>
                    <a:pt x="832" y="9"/>
                  </a:lnTo>
                  <a:lnTo>
                    <a:pt x="830" y="9"/>
                  </a:lnTo>
                  <a:lnTo>
                    <a:pt x="830" y="5"/>
                  </a:lnTo>
                  <a:lnTo>
                    <a:pt x="830" y="3"/>
                  </a:lnTo>
                  <a:lnTo>
                    <a:pt x="830" y="3"/>
                  </a:lnTo>
                  <a:lnTo>
                    <a:pt x="830" y="1"/>
                  </a:lnTo>
                  <a:lnTo>
                    <a:pt x="830" y="1"/>
                  </a:lnTo>
                  <a:lnTo>
                    <a:pt x="830" y="0"/>
                  </a:lnTo>
                  <a:lnTo>
                    <a:pt x="830" y="0"/>
                  </a:lnTo>
                  <a:lnTo>
                    <a:pt x="823" y="3"/>
                  </a:lnTo>
                  <a:lnTo>
                    <a:pt x="823" y="3"/>
                  </a:lnTo>
                  <a:lnTo>
                    <a:pt x="817" y="5"/>
                  </a:lnTo>
                  <a:lnTo>
                    <a:pt x="813" y="7"/>
                  </a:lnTo>
                  <a:lnTo>
                    <a:pt x="806" y="15"/>
                  </a:lnTo>
                  <a:lnTo>
                    <a:pt x="802" y="15"/>
                  </a:lnTo>
                  <a:lnTo>
                    <a:pt x="793" y="15"/>
                  </a:lnTo>
                  <a:lnTo>
                    <a:pt x="787" y="13"/>
                  </a:lnTo>
                  <a:lnTo>
                    <a:pt x="785" y="9"/>
                  </a:lnTo>
                  <a:lnTo>
                    <a:pt x="785" y="13"/>
                  </a:lnTo>
                  <a:lnTo>
                    <a:pt x="781" y="13"/>
                  </a:lnTo>
                  <a:lnTo>
                    <a:pt x="778" y="9"/>
                  </a:lnTo>
                  <a:lnTo>
                    <a:pt x="774" y="9"/>
                  </a:lnTo>
                  <a:lnTo>
                    <a:pt x="774" y="15"/>
                  </a:lnTo>
                  <a:lnTo>
                    <a:pt x="772" y="15"/>
                  </a:lnTo>
                  <a:lnTo>
                    <a:pt x="772" y="9"/>
                  </a:lnTo>
                  <a:lnTo>
                    <a:pt x="772" y="9"/>
                  </a:lnTo>
                  <a:lnTo>
                    <a:pt x="774" y="7"/>
                  </a:lnTo>
                  <a:lnTo>
                    <a:pt x="772" y="5"/>
                  </a:lnTo>
                  <a:lnTo>
                    <a:pt x="768" y="7"/>
                  </a:lnTo>
                  <a:lnTo>
                    <a:pt x="762" y="9"/>
                  </a:lnTo>
                  <a:lnTo>
                    <a:pt x="757" y="15"/>
                  </a:lnTo>
                  <a:lnTo>
                    <a:pt x="755" y="18"/>
                  </a:lnTo>
                  <a:lnTo>
                    <a:pt x="755" y="22"/>
                  </a:lnTo>
                  <a:lnTo>
                    <a:pt x="761" y="22"/>
                  </a:lnTo>
                  <a:lnTo>
                    <a:pt x="759" y="22"/>
                  </a:lnTo>
                  <a:lnTo>
                    <a:pt x="753" y="22"/>
                  </a:lnTo>
                  <a:lnTo>
                    <a:pt x="747" y="28"/>
                  </a:lnTo>
                  <a:lnTo>
                    <a:pt x="744" y="35"/>
                  </a:lnTo>
                  <a:lnTo>
                    <a:pt x="744" y="43"/>
                  </a:lnTo>
                  <a:lnTo>
                    <a:pt x="742" y="43"/>
                  </a:lnTo>
                  <a:lnTo>
                    <a:pt x="742" y="39"/>
                  </a:lnTo>
                  <a:lnTo>
                    <a:pt x="742" y="35"/>
                  </a:lnTo>
                  <a:lnTo>
                    <a:pt x="747" y="26"/>
                  </a:lnTo>
                  <a:lnTo>
                    <a:pt x="747" y="24"/>
                  </a:lnTo>
                  <a:lnTo>
                    <a:pt x="744" y="24"/>
                  </a:lnTo>
                  <a:lnTo>
                    <a:pt x="736" y="28"/>
                  </a:lnTo>
                  <a:lnTo>
                    <a:pt x="732" y="28"/>
                  </a:lnTo>
                  <a:lnTo>
                    <a:pt x="730" y="26"/>
                  </a:lnTo>
                  <a:lnTo>
                    <a:pt x="727" y="22"/>
                  </a:lnTo>
                  <a:lnTo>
                    <a:pt x="723" y="22"/>
                  </a:lnTo>
                  <a:lnTo>
                    <a:pt x="719" y="22"/>
                  </a:lnTo>
                  <a:lnTo>
                    <a:pt x="719" y="22"/>
                  </a:lnTo>
                  <a:lnTo>
                    <a:pt x="727" y="26"/>
                  </a:lnTo>
                  <a:lnTo>
                    <a:pt x="729" y="28"/>
                  </a:lnTo>
                  <a:lnTo>
                    <a:pt x="727" y="30"/>
                  </a:lnTo>
                  <a:lnTo>
                    <a:pt x="723" y="28"/>
                  </a:lnTo>
                  <a:lnTo>
                    <a:pt x="714" y="26"/>
                  </a:lnTo>
                  <a:lnTo>
                    <a:pt x="708" y="30"/>
                  </a:lnTo>
                  <a:lnTo>
                    <a:pt x="697" y="39"/>
                  </a:lnTo>
                  <a:lnTo>
                    <a:pt x="687" y="43"/>
                  </a:lnTo>
                  <a:lnTo>
                    <a:pt x="680" y="48"/>
                  </a:lnTo>
                  <a:lnTo>
                    <a:pt x="672" y="56"/>
                  </a:lnTo>
                  <a:lnTo>
                    <a:pt x="665" y="65"/>
                  </a:lnTo>
                  <a:lnTo>
                    <a:pt x="655" y="67"/>
                  </a:lnTo>
                  <a:lnTo>
                    <a:pt x="653" y="67"/>
                  </a:lnTo>
                  <a:lnTo>
                    <a:pt x="648" y="71"/>
                  </a:lnTo>
                  <a:lnTo>
                    <a:pt x="644" y="71"/>
                  </a:lnTo>
                  <a:lnTo>
                    <a:pt x="636" y="73"/>
                  </a:lnTo>
                  <a:lnTo>
                    <a:pt x="631" y="73"/>
                  </a:lnTo>
                  <a:lnTo>
                    <a:pt x="631" y="73"/>
                  </a:lnTo>
                  <a:lnTo>
                    <a:pt x="625" y="73"/>
                  </a:lnTo>
                  <a:lnTo>
                    <a:pt x="619" y="69"/>
                  </a:lnTo>
                  <a:lnTo>
                    <a:pt x="616" y="67"/>
                  </a:lnTo>
                  <a:lnTo>
                    <a:pt x="610" y="65"/>
                  </a:lnTo>
                  <a:lnTo>
                    <a:pt x="606" y="65"/>
                  </a:lnTo>
                  <a:lnTo>
                    <a:pt x="604" y="69"/>
                  </a:lnTo>
                  <a:lnTo>
                    <a:pt x="597" y="77"/>
                  </a:lnTo>
                  <a:lnTo>
                    <a:pt x="595" y="82"/>
                  </a:lnTo>
                  <a:lnTo>
                    <a:pt x="591" y="84"/>
                  </a:lnTo>
                  <a:lnTo>
                    <a:pt x="589" y="88"/>
                  </a:lnTo>
                  <a:lnTo>
                    <a:pt x="586" y="88"/>
                  </a:lnTo>
                  <a:lnTo>
                    <a:pt x="586" y="86"/>
                  </a:lnTo>
                  <a:lnTo>
                    <a:pt x="582" y="88"/>
                  </a:lnTo>
                  <a:lnTo>
                    <a:pt x="586" y="96"/>
                  </a:lnTo>
                  <a:lnTo>
                    <a:pt x="589" y="113"/>
                  </a:lnTo>
                  <a:lnTo>
                    <a:pt x="595" y="126"/>
                  </a:lnTo>
                  <a:lnTo>
                    <a:pt x="597" y="137"/>
                  </a:lnTo>
                  <a:lnTo>
                    <a:pt x="595" y="146"/>
                  </a:lnTo>
                  <a:lnTo>
                    <a:pt x="591" y="154"/>
                  </a:lnTo>
                  <a:lnTo>
                    <a:pt x="587" y="160"/>
                  </a:lnTo>
                  <a:lnTo>
                    <a:pt x="587" y="162"/>
                  </a:lnTo>
                  <a:lnTo>
                    <a:pt x="595" y="167"/>
                  </a:lnTo>
                  <a:lnTo>
                    <a:pt x="599" y="171"/>
                  </a:lnTo>
                  <a:lnTo>
                    <a:pt x="599" y="167"/>
                  </a:lnTo>
                  <a:lnTo>
                    <a:pt x="601" y="167"/>
                  </a:lnTo>
                  <a:lnTo>
                    <a:pt x="604" y="167"/>
                  </a:lnTo>
                  <a:lnTo>
                    <a:pt x="606" y="167"/>
                  </a:lnTo>
                  <a:lnTo>
                    <a:pt x="604" y="167"/>
                  </a:lnTo>
                  <a:lnTo>
                    <a:pt x="604" y="171"/>
                  </a:lnTo>
                  <a:lnTo>
                    <a:pt x="612" y="178"/>
                  </a:lnTo>
                  <a:lnTo>
                    <a:pt x="610" y="180"/>
                  </a:lnTo>
                  <a:lnTo>
                    <a:pt x="606" y="178"/>
                  </a:lnTo>
                  <a:lnTo>
                    <a:pt x="606" y="182"/>
                  </a:lnTo>
                  <a:lnTo>
                    <a:pt x="606" y="192"/>
                  </a:lnTo>
                  <a:lnTo>
                    <a:pt x="606" y="197"/>
                  </a:lnTo>
                  <a:lnTo>
                    <a:pt x="606" y="197"/>
                  </a:lnTo>
                  <a:lnTo>
                    <a:pt x="610" y="195"/>
                  </a:lnTo>
                  <a:lnTo>
                    <a:pt x="614" y="195"/>
                  </a:lnTo>
                  <a:lnTo>
                    <a:pt x="616" y="195"/>
                  </a:lnTo>
                  <a:lnTo>
                    <a:pt x="619" y="197"/>
                  </a:lnTo>
                  <a:lnTo>
                    <a:pt x="623" y="197"/>
                  </a:lnTo>
                  <a:lnTo>
                    <a:pt x="629" y="197"/>
                  </a:lnTo>
                  <a:lnTo>
                    <a:pt x="634" y="201"/>
                  </a:lnTo>
                  <a:lnTo>
                    <a:pt x="629" y="203"/>
                  </a:lnTo>
                  <a:lnTo>
                    <a:pt x="631" y="207"/>
                  </a:lnTo>
                  <a:lnTo>
                    <a:pt x="629" y="210"/>
                  </a:lnTo>
                  <a:lnTo>
                    <a:pt x="623" y="212"/>
                  </a:lnTo>
                  <a:lnTo>
                    <a:pt x="623" y="210"/>
                  </a:lnTo>
                  <a:lnTo>
                    <a:pt x="619" y="207"/>
                  </a:lnTo>
                  <a:lnTo>
                    <a:pt x="616" y="210"/>
                  </a:lnTo>
                  <a:lnTo>
                    <a:pt x="612" y="207"/>
                  </a:lnTo>
                  <a:lnTo>
                    <a:pt x="610" y="205"/>
                  </a:lnTo>
                  <a:lnTo>
                    <a:pt x="610" y="201"/>
                  </a:lnTo>
                  <a:lnTo>
                    <a:pt x="606" y="201"/>
                  </a:lnTo>
                  <a:lnTo>
                    <a:pt x="604" y="201"/>
                  </a:lnTo>
                  <a:lnTo>
                    <a:pt x="599" y="197"/>
                  </a:lnTo>
                  <a:lnTo>
                    <a:pt x="601" y="192"/>
                  </a:lnTo>
                  <a:lnTo>
                    <a:pt x="604" y="180"/>
                  </a:lnTo>
                  <a:lnTo>
                    <a:pt x="604" y="177"/>
                  </a:lnTo>
                  <a:lnTo>
                    <a:pt x="602" y="177"/>
                  </a:lnTo>
                  <a:lnTo>
                    <a:pt x="599" y="178"/>
                  </a:lnTo>
                  <a:lnTo>
                    <a:pt x="599" y="192"/>
                  </a:lnTo>
                  <a:lnTo>
                    <a:pt x="597" y="197"/>
                  </a:lnTo>
                  <a:lnTo>
                    <a:pt x="593" y="201"/>
                  </a:lnTo>
                  <a:lnTo>
                    <a:pt x="593" y="203"/>
                  </a:lnTo>
                  <a:lnTo>
                    <a:pt x="595" y="201"/>
                  </a:lnTo>
                  <a:lnTo>
                    <a:pt x="599" y="201"/>
                  </a:lnTo>
                  <a:lnTo>
                    <a:pt x="601" y="201"/>
                  </a:lnTo>
                  <a:lnTo>
                    <a:pt x="604" y="201"/>
                  </a:lnTo>
                  <a:lnTo>
                    <a:pt x="606" y="207"/>
                  </a:lnTo>
                  <a:lnTo>
                    <a:pt x="606" y="212"/>
                  </a:lnTo>
                  <a:lnTo>
                    <a:pt x="602" y="218"/>
                  </a:lnTo>
                  <a:lnTo>
                    <a:pt x="597" y="220"/>
                  </a:lnTo>
                  <a:lnTo>
                    <a:pt x="602" y="212"/>
                  </a:lnTo>
                  <a:lnTo>
                    <a:pt x="602" y="210"/>
                  </a:lnTo>
                  <a:lnTo>
                    <a:pt x="599" y="210"/>
                  </a:lnTo>
                  <a:lnTo>
                    <a:pt x="597" y="210"/>
                  </a:lnTo>
                  <a:lnTo>
                    <a:pt x="595" y="210"/>
                  </a:lnTo>
                  <a:lnTo>
                    <a:pt x="589" y="214"/>
                  </a:lnTo>
                  <a:lnTo>
                    <a:pt x="589" y="218"/>
                  </a:lnTo>
                  <a:lnTo>
                    <a:pt x="586" y="220"/>
                  </a:lnTo>
                  <a:lnTo>
                    <a:pt x="582" y="222"/>
                  </a:lnTo>
                  <a:lnTo>
                    <a:pt x="582" y="218"/>
                  </a:lnTo>
                  <a:lnTo>
                    <a:pt x="582" y="216"/>
                  </a:lnTo>
                  <a:lnTo>
                    <a:pt x="576" y="216"/>
                  </a:lnTo>
                  <a:lnTo>
                    <a:pt x="574" y="216"/>
                  </a:lnTo>
                  <a:lnTo>
                    <a:pt x="572" y="210"/>
                  </a:lnTo>
                  <a:lnTo>
                    <a:pt x="570" y="210"/>
                  </a:lnTo>
                  <a:lnTo>
                    <a:pt x="569" y="212"/>
                  </a:lnTo>
                  <a:lnTo>
                    <a:pt x="565" y="210"/>
                  </a:lnTo>
                  <a:lnTo>
                    <a:pt x="565" y="210"/>
                  </a:lnTo>
                  <a:lnTo>
                    <a:pt x="561" y="207"/>
                  </a:lnTo>
                  <a:lnTo>
                    <a:pt x="561" y="210"/>
                  </a:lnTo>
                  <a:lnTo>
                    <a:pt x="557" y="207"/>
                  </a:lnTo>
                  <a:lnTo>
                    <a:pt x="557" y="203"/>
                  </a:lnTo>
                  <a:lnTo>
                    <a:pt x="555" y="201"/>
                  </a:lnTo>
                  <a:lnTo>
                    <a:pt x="555" y="197"/>
                  </a:lnTo>
                  <a:lnTo>
                    <a:pt x="561" y="197"/>
                  </a:lnTo>
                  <a:lnTo>
                    <a:pt x="563" y="194"/>
                  </a:lnTo>
                  <a:lnTo>
                    <a:pt x="565" y="192"/>
                  </a:lnTo>
                  <a:lnTo>
                    <a:pt x="569" y="190"/>
                  </a:lnTo>
                  <a:lnTo>
                    <a:pt x="569" y="188"/>
                  </a:lnTo>
                  <a:lnTo>
                    <a:pt x="563" y="182"/>
                  </a:lnTo>
                  <a:lnTo>
                    <a:pt x="561" y="180"/>
                  </a:lnTo>
                  <a:lnTo>
                    <a:pt x="555" y="180"/>
                  </a:lnTo>
                  <a:lnTo>
                    <a:pt x="552" y="184"/>
                  </a:lnTo>
                  <a:lnTo>
                    <a:pt x="548" y="184"/>
                  </a:lnTo>
                  <a:lnTo>
                    <a:pt x="544" y="180"/>
                  </a:lnTo>
                  <a:lnTo>
                    <a:pt x="540" y="182"/>
                  </a:lnTo>
                  <a:lnTo>
                    <a:pt x="531" y="186"/>
                  </a:lnTo>
                  <a:lnTo>
                    <a:pt x="531" y="188"/>
                  </a:lnTo>
                  <a:lnTo>
                    <a:pt x="531" y="190"/>
                  </a:lnTo>
                  <a:lnTo>
                    <a:pt x="535" y="194"/>
                  </a:lnTo>
                  <a:lnTo>
                    <a:pt x="535" y="195"/>
                  </a:lnTo>
                  <a:lnTo>
                    <a:pt x="531" y="195"/>
                  </a:lnTo>
                  <a:lnTo>
                    <a:pt x="527" y="195"/>
                  </a:lnTo>
                  <a:lnTo>
                    <a:pt x="527" y="194"/>
                  </a:lnTo>
                  <a:lnTo>
                    <a:pt x="523" y="192"/>
                  </a:lnTo>
                  <a:lnTo>
                    <a:pt x="518" y="190"/>
                  </a:lnTo>
                  <a:lnTo>
                    <a:pt x="510" y="192"/>
                  </a:lnTo>
                  <a:lnTo>
                    <a:pt x="506" y="194"/>
                  </a:lnTo>
                  <a:lnTo>
                    <a:pt x="506" y="195"/>
                  </a:lnTo>
                  <a:lnTo>
                    <a:pt x="503" y="195"/>
                  </a:lnTo>
                  <a:lnTo>
                    <a:pt x="503" y="195"/>
                  </a:lnTo>
                  <a:lnTo>
                    <a:pt x="501" y="195"/>
                  </a:lnTo>
                  <a:lnTo>
                    <a:pt x="493" y="197"/>
                  </a:lnTo>
                  <a:lnTo>
                    <a:pt x="493" y="197"/>
                  </a:lnTo>
                  <a:lnTo>
                    <a:pt x="491" y="201"/>
                  </a:lnTo>
                  <a:lnTo>
                    <a:pt x="486" y="201"/>
                  </a:lnTo>
                  <a:lnTo>
                    <a:pt x="482" y="205"/>
                  </a:lnTo>
                  <a:lnTo>
                    <a:pt x="482" y="205"/>
                  </a:lnTo>
                  <a:lnTo>
                    <a:pt x="482" y="203"/>
                  </a:lnTo>
                  <a:lnTo>
                    <a:pt x="482" y="201"/>
                  </a:lnTo>
                  <a:lnTo>
                    <a:pt x="478" y="203"/>
                  </a:lnTo>
                  <a:lnTo>
                    <a:pt x="474" y="207"/>
                  </a:lnTo>
                  <a:lnTo>
                    <a:pt x="474" y="210"/>
                  </a:lnTo>
                  <a:lnTo>
                    <a:pt x="482" y="216"/>
                  </a:lnTo>
                  <a:lnTo>
                    <a:pt x="486" y="222"/>
                  </a:lnTo>
                  <a:lnTo>
                    <a:pt x="491" y="226"/>
                  </a:lnTo>
                  <a:lnTo>
                    <a:pt x="493" y="231"/>
                  </a:lnTo>
                  <a:lnTo>
                    <a:pt x="497" y="231"/>
                  </a:lnTo>
                  <a:lnTo>
                    <a:pt x="501" y="235"/>
                  </a:lnTo>
                  <a:lnTo>
                    <a:pt x="503" y="237"/>
                  </a:lnTo>
                  <a:lnTo>
                    <a:pt x="508" y="241"/>
                  </a:lnTo>
                  <a:lnTo>
                    <a:pt x="506" y="241"/>
                  </a:lnTo>
                  <a:lnTo>
                    <a:pt x="503" y="241"/>
                  </a:lnTo>
                  <a:lnTo>
                    <a:pt x="501" y="237"/>
                  </a:lnTo>
                  <a:lnTo>
                    <a:pt x="497" y="235"/>
                  </a:lnTo>
                  <a:lnTo>
                    <a:pt x="493" y="231"/>
                  </a:lnTo>
                  <a:lnTo>
                    <a:pt x="491" y="231"/>
                  </a:lnTo>
                  <a:lnTo>
                    <a:pt x="488" y="235"/>
                  </a:lnTo>
                  <a:lnTo>
                    <a:pt x="486" y="235"/>
                  </a:lnTo>
                  <a:lnTo>
                    <a:pt x="482" y="231"/>
                  </a:lnTo>
                  <a:lnTo>
                    <a:pt x="486" y="227"/>
                  </a:lnTo>
                  <a:lnTo>
                    <a:pt x="486" y="227"/>
                  </a:lnTo>
                  <a:lnTo>
                    <a:pt x="482" y="227"/>
                  </a:lnTo>
                  <a:lnTo>
                    <a:pt x="482" y="231"/>
                  </a:lnTo>
                  <a:lnTo>
                    <a:pt x="482" y="241"/>
                  </a:lnTo>
                  <a:lnTo>
                    <a:pt x="482" y="241"/>
                  </a:lnTo>
                  <a:lnTo>
                    <a:pt x="482" y="244"/>
                  </a:lnTo>
                  <a:lnTo>
                    <a:pt x="478" y="248"/>
                  </a:lnTo>
                  <a:lnTo>
                    <a:pt x="474" y="252"/>
                  </a:lnTo>
                  <a:lnTo>
                    <a:pt x="474" y="258"/>
                  </a:lnTo>
                  <a:lnTo>
                    <a:pt x="474" y="261"/>
                  </a:lnTo>
                  <a:lnTo>
                    <a:pt x="482" y="269"/>
                  </a:lnTo>
                  <a:lnTo>
                    <a:pt x="488" y="271"/>
                  </a:lnTo>
                  <a:lnTo>
                    <a:pt x="491" y="276"/>
                  </a:lnTo>
                  <a:lnTo>
                    <a:pt x="493" y="276"/>
                  </a:lnTo>
                  <a:lnTo>
                    <a:pt x="497" y="273"/>
                  </a:lnTo>
                  <a:lnTo>
                    <a:pt x="503" y="271"/>
                  </a:lnTo>
                  <a:lnTo>
                    <a:pt x="508" y="273"/>
                  </a:lnTo>
                  <a:lnTo>
                    <a:pt x="516" y="275"/>
                  </a:lnTo>
                  <a:lnTo>
                    <a:pt x="520" y="276"/>
                  </a:lnTo>
                  <a:lnTo>
                    <a:pt x="522" y="282"/>
                  </a:lnTo>
                  <a:lnTo>
                    <a:pt x="523" y="282"/>
                  </a:lnTo>
                  <a:lnTo>
                    <a:pt x="525" y="280"/>
                  </a:lnTo>
                  <a:lnTo>
                    <a:pt x="525" y="275"/>
                  </a:lnTo>
                  <a:lnTo>
                    <a:pt x="525" y="275"/>
                  </a:lnTo>
                  <a:lnTo>
                    <a:pt x="527" y="275"/>
                  </a:lnTo>
                  <a:lnTo>
                    <a:pt x="527" y="276"/>
                  </a:lnTo>
                  <a:lnTo>
                    <a:pt x="525" y="282"/>
                  </a:lnTo>
                  <a:lnTo>
                    <a:pt x="525" y="286"/>
                  </a:lnTo>
                  <a:lnTo>
                    <a:pt x="527" y="286"/>
                  </a:lnTo>
                  <a:lnTo>
                    <a:pt x="531" y="282"/>
                  </a:lnTo>
                  <a:lnTo>
                    <a:pt x="533" y="280"/>
                  </a:lnTo>
                  <a:lnTo>
                    <a:pt x="538" y="278"/>
                  </a:lnTo>
                  <a:lnTo>
                    <a:pt x="546" y="273"/>
                  </a:lnTo>
                  <a:lnTo>
                    <a:pt x="552" y="273"/>
                  </a:lnTo>
                  <a:lnTo>
                    <a:pt x="555" y="269"/>
                  </a:lnTo>
                  <a:lnTo>
                    <a:pt x="555" y="269"/>
                  </a:lnTo>
                  <a:lnTo>
                    <a:pt x="555" y="271"/>
                  </a:lnTo>
                  <a:lnTo>
                    <a:pt x="557" y="271"/>
                  </a:lnTo>
                  <a:lnTo>
                    <a:pt x="565" y="267"/>
                  </a:lnTo>
                  <a:lnTo>
                    <a:pt x="569" y="267"/>
                  </a:lnTo>
                  <a:lnTo>
                    <a:pt x="570" y="265"/>
                  </a:lnTo>
                  <a:lnTo>
                    <a:pt x="570" y="269"/>
                  </a:lnTo>
                  <a:lnTo>
                    <a:pt x="565" y="271"/>
                  </a:lnTo>
                  <a:lnTo>
                    <a:pt x="565" y="273"/>
                  </a:lnTo>
                  <a:lnTo>
                    <a:pt x="567" y="275"/>
                  </a:lnTo>
                  <a:lnTo>
                    <a:pt x="565" y="280"/>
                  </a:lnTo>
                  <a:lnTo>
                    <a:pt x="561" y="282"/>
                  </a:lnTo>
                  <a:lnTo>
                    <a:pt x="557" y="280"/>
                  </a:lnTo>
                  <a:lnTo>
                    <a:pt x="555" y="280"/>
                  </a:lnTo>
                  <a:lnTo>
                    <a:pt x="550" y="284"/>
                  </a:lnTo>
                  <a:lnTo>
                    <a:pt x="552" y="284"/>
                  </a:lnTo>
                  <a:lnTo>
                    <a:pt x="555" y="286"/>
                  </a:lnTo>
                  <a:lnTo>
                    <a:pt x="555" y="286"/>
                  </a:lnTo>
                  <a:lnTo>
                    <a:pt x="555" y="291"/>
                  </a:lnTo>
                  <a:lnTo>
                    <a:pt x="552" y="299"/>
                  </a:lnTo>
                  <a:lnTo>
                    <a:pt x="550" y="303"/>
                  </a:lnTo>
                  <a:lnTo>
                    <a:pt x="548" y="307"/>
                  </a:lnTo>
                  <a:lnTo>
                    <a:pt x="548" y="308"/>
                  </a:lnTo>
                  <a:lnTo>
                    <a:pt x="548" y="310"/>
                  </a:lnTo>
                  <a:lnTo>
                    <a:pt x="548" y="314"/>
                  </a:lnTo>
                  <a:lnTo>
                    <a:pt x="548" y="316"/>
                  </a:lnTo>
                  <a:lnTo>
                    <a:pt x="544" y="322"/>
                  </a:lnTo>
                  <a:lnTo>
                    <a:pt x="540" y="324"/>
                  </a:lnTo>
                  <a:lnTo>
                    <a:pt x="537" y="324"/>
                  </a:lnTo>
                  <a:lnTo>
                    <a:pt x="535" y="325"/>
                  </a:lnTo>
                  <a:lnTo>
                    <a:pt x="531" y="329"/>
                  </a:lnTo>
                  <a:lnTo>
                    <a:pt x="527" y="329"/>
                  </a:lnTo>
                  <a:lnTo>
                    <a:pt x="525" y="329"/>
                  </a:lnTo>
                  <a:lnTo>
                    <a:pt x="520" y="325"/>
                  </a:lnTo>
                  <a:lnTo>
                    <a:pt x="518" y="325"/>
                  </a:lnTo>
                  <a:lnTo>
                    <a:pt x="516" y="325"/>
                  </a:lnTo>
                  <a:lnTo>
                    <a:pt x="512" y="322"/>
                  </a:lnTo>
                  <a:lnTo>
                    <a:pt x="512" y="322"/>
                  </a:lnTo>
                  <a:lnTo>
                    <a:pt x="508" y="325"/>
                  </a:lnTo>
                  <a:lnTo>
                    <a:pt x="503" y="329"/>
                  </a:lnTo>
                  <a:lnTo>
                    <a:pt x="503" y="333"/>
                  </a:lnTo>
                  <a:lnTo>
                    <a:pt x="493" y="335"/>
                  </a:lnTo>
                  <a:lnTo>
                    <a:pt x="491" y="337"/>
                  </a:lnTo>
                  <a:lnTo>
                    <a:pt x="488" y="337"/>
                  </a:lnTo>
                  <a:lnTo>
                    <a:pt x="484" y="337"/>
                  </a:lnTo>
                  <a:lnTo>
                    <a:pt x="478" y="337"/>
                  </a:lnTo>
                  <a:lnTo>
                    <a:pt x="474" y="340"/>
                  </a:lnTo>
                  <a:lnTo>
                    <a:pt x="469" y="340"/>
                  </a:lnTo>
                  <a:lnTo>
                    <a:pt x="469" y="342"/>
                  </a:lnTo>
                  <a:lnTo>
                    <a:pt x="469" y="346"/>
                  </a:lnTo>
                  <a:lnTo>
                    <a:pt x="465" y="354"/>
                  </a:lnTo>
                  <a:lnTo>
                    <a:pt x="463" y="356"/>
                  </a:lnTo>
                  <a:lnTo>
                    <a:pt x="463" y="354"/>
                  </a:lnTo>
                  <a:lnTo>
                    <a:pt x="458" y="350"/>
                  </a:lnTo>
                  <a:lnTo>
                    <a:pt x="452" y="348"/>
                  </a:lnTo>
                  <a:lnTo>
                    <a:pt x="450" y="350"/>
                  </a:lnTo>
                  <a:lnTo>
                    <a:pt x="450" y="354"/>
                  </a:lnTo>
                  <a:lnTo>
                    <a:pt x="454" y="356"/>
                  </a:lnTo>
                  <a:lnTo>
                    <a:pt x="452" y="356"/>
                  </a:lnTo>
                  <a:lnTo>
                    <a:pt x="450" y="356"/>
                  </a:lnTo>
                  <a:lnTo>
                    <a:pt x="448" y="356"/>
                  </a:lnTo>
                  <a:lnTo>
                    <a:pt x="444" y="350"/>
                  </a:lnTo>
                  <a:lnTo>
                    <a:pt x="444" y="350"/>
                  </a:lnTo>
                  <a:lnTo>
                    <a:pt x="439" y="356"/>
                  </a:lnTo>
                  <a:lnTo>
                    <a:pt x="437" y="359"/>
                  </a:lnTo>
                  <a:lnTo>
                    <a:pt x="435" y="361"/>
                  </a:lnTo>
                  <a:lnTo>
                    <a:pt x="433" y="361"/>
                  </a:lnTo>
                  <a:lnTo>
                    <a:pt x="424" y="369"/>
                  </a:lnTo>
                  <a:lnTo>
                    <a:pt x="424" y="374"/>
                  </a:lnTo>
                  <a:lnTo>
                    <a:pt x="420" y="376"/>
                  </a:lnTo>
                  <a:lnTo>
                    <a:pt x="418" y="376"/>
                  </a:lnTo>
                  <a:lnTo>
                    <a:pt x="414" y="376"/>
                  </a:lnTo>
                  <a:lnTo>
                    <a:pt x="412" y="376"/>
                  </a:lnTo>
                  <a:lnTo>
                    <a:pt x="418" y="380"/>
                  </a:lnTo>
                  <a:lnTo>
                    <a:pt x="414" y="384"/>
                  </a:lnTo>
                  <a:lnTo>
                    <a:pt x="414" y="384"/>
                  </a:lnTo>
                  <a:lnTo>
                    <a:pt x="412" y="380"/>
                  </a:lnTo>
                  <a:lnTo>
                    <a:pt x="410" y="380"/>
                  </a:lnTo>
                  <a:lnTo>
                    <a:pt x="409" y="384"/>
                  </a:lnTo>
                  <a:lnTo>
                    <a:pt x="403" y="389"/>
                  </a:lnTo>
                  <a:lnTo>
                    <a:pt x="403" y="391"/>
                  </a:lnTo>
                  <a:lnTo>
                    <a:pt x="407" y="395"/>
                  </a:lnTo>
                  <a:lnTo>
                    <a:pt x="409" y="401"/>
                  </a:lnTo>
                  <a:lnTo>
                    <a:pt x="407" y="405"/>
                  </a:lnTo>
                  <a:lnTo>
                    <a:pt x="405" y="406"/>
                  </a:lnTo>
                  <a:lnTo>
                    <a:pt x="407" y="410"/>
                  </a:lnTo>
                  <a:lnTo>
                    <a:pt x="409" y="410"/>
                  </a:lnTo>
                  <a:lnTo>
                    <a:pt x="410" y="406"/>
                  </a:lnTo>
                  <a:lnTo>
                    <a:pt x="412" y="408"/>
                  </a:lnTo>
                  <a:lnTo>
                    <a:pt x="412" y="414"/>
                  </a:lnTo>
                  <a:lnTo>
                    <a:pt x="410" y="414"/>
                  </a:lnTo>
                  <a:lnTo>
                    <a:pt x="409" y="418"/>
                  </a:lnTo>
                  <a:lnTo>
                    <a:pt x="410" y="420"/>
                  </a:lnTo>
                  <a:lnTo>
                    <a:pt x="412" y="418"/>
                  </a:lnTo>
                  <a:lnTo>
                    <a:pt x="414" y="418"/>
                  </a:lnTo>
                  <a:lnTo>
                    <a:pt x="414" y="418"/>
                  </a:lnTo>
                  <a:lnTo>
                    <a:pt x="418" y="418"/>
                  </a:lnTo>
                  <a:lnTo>
                    <a:pt x="418" y="420"/>
                  </a:lnTo>
                  <a:lnTo>
                    <a:pt x="420" y="420"/>
                  </a:lnTo>
                  <a:lnTo>
                    <a:pt x="424" y="423"/>
                  </a:lnTo>
                  <a:lnTo>
                    <a:pt x="427" y="423"/>
                  </a:lnTo>
                  <a:lnTo>
                    <a:pt x="431" y="420"/>
                  </a:lnTo>
                  <a:lnTo>
                    <a:pt x="433" y="410"/>
                  </a:lnTo>
                  <a:lnTo>
                    <a:pt x="435" y="410"/>
                  </a:lnTo>
                  <a:lnTo>
                    <a:pt x="442" y="410"/>
                  </a:lnTo>
                  <a:lnTo>
                    <a:pt x="444" y="408"/>
                  </a:lnTo>
                  <a:lnTo>
                    <a:pt x="442" y="410"/>
                  </a:lnTo>
                  <a:lnTo>
                    <a:pt x="439" y="410"/>
                  </a:lnTo>
                  <a:lnTo>
                    <a:pt x="433" y="418"/>
                  </a:lnTo>
                  <a:lnTo>
                    <a:pt x="431" y="420"/>
                  </a:lnTo>
                  <a:lnTo>
                    <a:pt x="429" y="423"/>
                  </a:lnTo>
                  <a:lnTo>
                    <a:pt x="433" y="427"/>
                  </a:lnTo>
                  <a:lnTo>
                    <a:pt x="433" y="429"/>
                  </a:lnTo>
                  <a:lnTo>
                    <a:pt x="427" y="431"/>
                  </a:lnTo>
                  <a:lnTo>
                    <a:pt x="426" y="429"/>
                  </a:lnTo>
                  <a:lnTo>
                    <a:pt x="426" y="427"/>
                  </a:lnTo>
                  <a:lnTo>
                    <a:pt x="424" y="425"/>
                  </a:lnTo>
                  <a:lnTo>
                    <a:pt x="424" y="425"/>
                  </a:lnTo>
                  <a:lnTo>
                    <a:pt x="420" y="423"/>
                  </a:lnTo>
                  <a:lnTo>
                    <a:pt x="414" y="423"/>
                  </a:lnTo>
                  <a:lnTo>
                    <a:pt x="414" y="420"/>
                  </a:lnTo>
                  <a:lnTo>
                    <a:pt x="410" y="423"/>
                  </a:lnTo>
                  <a:lnTo>
                    <a:pt x="407" y="423"/>
                  </a:lnTo>
                  <a:lnTo>
                    <a:pt x="407" y="425"/>
                  </a:lnTo>
                  <a:lnTo>
                    <a:pt x="403" y="427"/>
                  </a:lnTo>
                  <a:lnTo>
                    <a:pt x="399" y="425"/>
                  </a:lnTo>
                  <a:lnTo>
                    <a:pt x="399" y="429"/>
                  </a:lnTo>
                  <a:lnTo>
                    <a:pt x="401" y="431"/>
                  </a:lnTo>
                  <a:lnTo>
                    <a:pt x="403" y="433"/>
                  </a:lnTo>
                  <a:lnTo>
                    <a:pt x="401" y="435"/>
                  </a:lnTo>
                  <a:lnTo>
                    <a:pt x="399" y="440"/>
                  </a:lnTo>
                  <a:lnTo>
                    <a:pt x="401" y="444"/>
                  </a:lnTo>
                  <a:lnTo>
                    <a:pt x="403" y="444"/>
                  </a:lnTo>
                  <a:lnTo>
                    <a:pt x="403" y="448"/>
                  </a:lnTo>
                  <a:lnTo>
                    <a:pt x="405" y="453"/>
                  </a:lnTo>
                  <a:lnTo>
                    <a:pt x="405" y="453"/>
                  </a:lnTo>
                  <a:lnTo>
                    <a:pt x="409" y="457"/>
                  </a:lnTo>
                  <a:lnTo>
                    <a:pt x="409" y="459"/>
                  </a:lnTo>
                  <a:lnTo>
                    <a:pt x="403" y="459"/>
                  </a:lnTo>
                  <a:lnTo>
                    <a:pt x="403" y="461"/>
                  </a:lnTo>
                  <a:lnTo>
                    <a:pt x="414" y="467"/>
                  </a:lnTo>
                  <a:lnTo>
                    <a:pt x="418" y="467"/>
                  </a:lnTo>
                  <a:lnTo>
                    <a:pt x="424" y="465"/>
                  </a:lnTo>
                  <a:lnTo>
                    <a:pt x="427" y="463"/>
                  </a:lnTo>
                  <a:lnTo>
                    <a:pt x="429" y="465"/>
                  </a:lnTo>
                  <a:lnTo>
                    <a:pt x="431" y="465"/>
                  </a:lnTo>
                  <a:lnTo>
                    <a:pt x="437" y="457"/>
                  </a:lnTo>
                  <a:lnTo>
                    <a:pt x="437" y="453"/>
                  </a:lnTo>
                  <a:lnTo>
                    <a:pt x="435" y="453"/>
                  </a:lnTo>
                  <a:lnTo>
                    <a:pt x="435" y="450"/>
                  </a:lnTo>
                  <a:lnTo>
                    <a:pt x="441" y="448"/>
                  </a:lnTo>
                  <a:lnTo>
                    <a:pt x="444" y="444"/>
                  </a:lnTo>
                  <a:lnTo>
                    <a:pt x="454" y="438"/>
                  </a:lnTo>
                  <a:lnTo>
                    <a:pt x="458" y="440"/>
                  </a:lnTo>
                  <a:lnTo>
                    <a:pt x="452" y="440"/>
                  </a:lnTo>
                  <a:lnTo>
                    <a:pt x="444" y="448"/>
                  </a:lnTo>
                  <a:lnTo>
                    <a:pt x="441" y="450"/>
                  </a:lnTo>
                  <a:lnTo>
                    <a:pt x="441" y="453"/>
                  </a:lnTo>
                  <a:lnTo>
                    <a:pt x="444" y="453"/>
                  </a:lnTo>
                  <a:lnTo>
                    <a:pt x="444" y="457"/>
                  </a:lnTo>
                  <a:lnTo>
                    <a:pt x="441" y="463"/>
                  </a:lnTo>
                  <a:lnTo>
                    <a:pt x="437" y="465"/>
                  </a:lnTo>
                  <a:lnTo>
                    <a:pt x="437" y="469"/>
                  </a:lnTo>
                  <a:lnTo>
                    <a:pt x="437" y="474"/>
                  </a:lnTo>
                  <a:lnTo>
                    <a:pt x="437" y="478"/>
                  </a:lnTo>
                  <a:lnTo>
                    <a:pt x="437" y="478"/>
                  </a:lnTo>
                  <a:lnTo>
                    <a:pt x="437" y="482"/>
                  </a:lnTo>
                  <a:lnTo>
                    <a:pt x="437" y="485"/>
                  </a:lnTo>
                  <a:lnTo>
                    <a:pt x="431" y="487"/>
                  </a:lnTo>
                  <a:lnTo>
                    <a:pt x="429" y="489"/>
                  </a:lnTo>
                  <a:lnTo>
                    <a:pt x="427" y="493"/>
                  </a:lnTo>
                  <a:lnTo>
                    <a:pt x="426" y="491"/>
                  </a:lnTo>
                  <a:lnTo>
                    <a:pt x="424" y="493"/>
                  </a:lnTo>
                  <a:lnTo>
                    <a:pt x="426" y="497"/>
                  </a:lnTo>
                  <a:lnTo>
                    <a:pt x="426" y="501"/>
                  </a:lnTo>
                  <a:lnTo>
                    <a:pt x="427" y="501"/>
                  </a:lnTo>
                  <a:lnTo>
                    <a:pt x="431" y="501"/>
                  </a:lnTo>
                  <a:lnTo>
                    <a:pt x="435" y="501"/>
                  </a:lnTo>
                  <a:lnTo>
                    <a:pt x="435" y="502"/>
                  </a:lnTo>
                  <a:lnTo>
                    <a:pt x="433" y="504"/>
                  </a:lnTo>
                  <a:lnTo>
                    <a:pt x="427" y="504"/>
                  </a:lnTo>
                  <a:lnTo>
                    <a:pt x="427" y="504"/>
                  </a:lnTo>
                  <a:lnTo>
                    <a:pt x="427" y="508"/>
                  </a:lnTo>
                  <a:lnTo>
                    <a:pt x="427" y="508"/>
                  </a:lnTo>
                  <a:lnTo>
                    <a:pt x="427" y="512"/>
                  </a:lnTo>
                  <a:lnTo>
                    <a:pt x="426" y="514"/>
                  </a:lnTo>
                  <a:lnTo>
                    <a:pt x="424" y="514"/>
                  </a:lnTo>
                  <a:lnTo>
                    <a:pt x="420" y="518"/>
                  </a:lnTo>
                  <a:lnTo>
                    <a:pt x="418" y="518"/>
                  </a:lnTo>
                  <a:lnTo>
                    <a:pt x="414" y="518"/>
                  </a:lnTo>
                  <a:lnTo>
                    <a:pt x="418" y="518"/>
                  </a:lnTo>
                  <a:lnTo>
                    <a:pt x="424" y="518"/>
                  </a:lnTo>
                  <a:lnTo>
                    <a:pt x="424" y="519"/>
                  </a:lnTo>
                  <a:lnTo>
                    <a:pt x="427" y="518"/>
                  </a:lnTo>
                  <a:lnTo>
                    <a:pt x="435" y="512"/>
                  </a:lnTo>
                  <a:lnTo>
                    <a:pt x="437" y="512"/>
                  </a:lnTo>
                  <a:lnTo>
                    <a:pt x="441" y="512"/>
                  </a:lnTo>
                  <a:lnTo>
                    <a:pt x="442" y="508"/>
                  </a:lnTo>
                  <a:lnTo>
                    <a:pt x="448" y="508"/>
                  </a:lnTo>
                  <a:lnTo>
                    <a:pt x="448" y="508"/>
                  </a:lnTo>
                  <a:lnTo>
                    <a:pt x="444" y="512"/>
                  </a:lnTo>
                  <a:lnTo>
                    <a:pt x="444" y="512"/>
                  </a:lnTo>
                  <a:lnTo>
                    <a:pt x="448" y="514"/>
                  </a:lnTo>
                  <a:lnTo>
                    <a:pt x="448" y="518"/>
                  </a:lnTo>
                  <a:lnTo>
                    <a:pt x="448" y="519"/>
                  </a:lnTo>
                  <a:lnTo>
                    <a:pt x="450" y="521"/>
                  </a:lnTo>
                  <a:lnTo>
                    <a:pt x="454" y="518"/>
                  </a:lnTo>
                  <a:lnTo>
                    <a:pt x="456" y="518"/>
                  </a:lnTo>
                  <a:lnTo>
                    <a:pt x="456" y="518"/>
                  </a:lnTo>
                  <a:lnTo>
                    <a:pt x="456" y="519"/>
                  </a:lnTo>
                  <a:lnTo>
                    <a:pt x="458" y="523"/>
                  </a:lnTo>
                  <a:lnTo>
                    <a:pt x="459" y="529"/>
                  </a:lnTo>
                  <a:lnTo>
                    <a:pt x="458" y="533"/>
                  </a:lnTo>
                  <a:lnTo>
                    <a:pt x="459" y="538"/>
                  </a:lnTo>
                  <a:lnTo>
                    <a:pt x="461" y="538"/>
                  </a:lnTo>
                  <a:lnTo>
                    <a:pt x="463" y="534"/>
                  </a:lnTo>
                  <a:lnTo>
                    <a:pt x="463" y="529"/>
                  </a:lnTo>
                  <a:lnTo>
                    <a:pt x="467" y="525"/>
                  </a:lnTo>
                  <a:lnTo>
                    <a:pt x="467" y="521"/>
                  </a:lnTo>
                  <a:lnTo>
                    <a:pt x="473" y="518"/>
                  </a:lnTo>
                  <a:lnTo>
                    <a:pt x="473" y="518"/>
                  </a:lnTo>
                  <a:lnTo>
                    <a:pt x="474" y="514"/>
                  </a:lnTo>
                  <a:lnTo>
                    <a:pt x="482" y="514"/>
                  </a:lnTo>
                  <a:lnTo>
                    <a:pt x="476" y="518"/>
                  </a:lnTo>
                  <a:lnTo>
                    <a:pt x="473" y="523"/>
                  </a:lnTo>
                  <a:lnTo>
                    <a:pt x="473" y="525"/>
                  </a:lnTo>
                  <a:lnTo>
                    <a:pt x="474" y="529"/>
                  </a:lnTo>
                  <a:lnTo>
                    <a:pt x="478" y="529"/>
                  </a:lnTo>
                  <a:lnTo>
                    <a:pt x="484" y="529"/>
                  </a:lnTo>
                  <a:lnTo>
                    <a:pt x="491" y="527"/>
                  </a:lnTo>
                  <a:lnTo>
                    <a:pt x="493" y="525"/>
                  </a:lnTo>
                  <a:lnTo>
                    <a:pt x="497" y="523"/>
                  </a:lnTo>
                  <a:lnTo>
                    <a:pt x="503" y="521"/>
                  </a:lnTo>
                  <a:lnTo>
                    <a:pt x="506" y="521"/>
                  </a:lnTo>
                  <a:lnTo>
                    <a:pt x="503" y="521"/>
                  </a:lnTo>
                  <a:lnTo>
                    <a:pt x="497" y="527"/>
                  </a:lnTo>
                  <a:lnTo>
                    <a:pt x="497" y="529"/>
                  </a:lnTo>
                  <a:lnTo>
                    <a:pt x="497" y="529"/>
                  </a:lnTo>
                  <a:lnTo>
                    <a:pt x="486" y="538"/>
                  </a:lnTo>
                  <a:lnTo>
                    <a:pt x="482" y="542"/>
                  </a:lnTo>
                  <a:lnTo>
                    <a:pt x="478" y="546"/>
                  </a:lnTo>
                  <a:lnTo>
                    <a:pt x="478" y="550"/>
                  </a:lnTo>
                  <a:lnTo>
                    <a:pt x="478" y="553"/>
                  </a:lnTo>
                  <a:lnTo>
                    <a:pt x="482" y="555"/>
                  </a:lnTo>
                  <a:lnTo>
                    <a:pt x="476" y="553"/>
                  </a:lnTo>
                  <a:lnTo>
                    <a:pt x="474" y="555"/>
                  </a:lnTo>
                  <a:lnTo>
                    <a:pt x="473" y="559"/>
                  </a:lnTo>
                  <a:lnTo>
                    <a:pt x="469" y="563"/>
                  </a:lnTo>
                  <a:lnTo>
                    <a:pt x="465" y="568"/>
                  </a:lnTo>
                  <a:lnTo>
                    <a:pt x="463" y="572"/>
                  </a:lnTo>
                  <a:lnTo>
                    <a:pt x="465" y="574"/>
                  </a:lnTo>
                  <a:lnTo>
                    <a:pt x="465" y="576"/>
                  </a:lnTo>
                  <a:lnTo>
                    <a:pt x="465" y="578"/>
                  </a:lnTo>
                  <a:lnTo>
                    <a:pt x="463" y="578"/>
                  </a:lnTo>
                  <a:lnTo>
                    <a:pt x="461" y="576"/>
                  </a:lnTo>
                  <a:lnTo>
                    <a:pt x="459" y="574"/>
                  </a:lnTo>
                  <a:lnTo>
                    <a:pt x="456" y="578"/>
                  </a:lnTo>
                  <a:lnTo>
                    <a:pt x="450" y="582"/>
                  </a:lnTo>
                  <a:lnTo>
                    <a:pt x="452" y="583"/>
                  </a:lnTo>
                  <a:lnTo>
                    <a:pt x="450" y="587"/>
                  </a:lnTo>
                  <a:lnTo>
                    <a:pt x="448" y="585"/>
                  </a:lnTo>
                  <a:lnTo>
                    <a:pt x="448" y="583"/>
                  </a:lnTo>
                  <a:lnTo>
                    <a:pt x="444" y="585"/>
                  </a:lnTo>
                  <a:lnTo>
                    <a:pt x="439" y="593"/>
                  </a:lnTo>
                  <a:lnTo>
                    <a:pt x="435" y="597"/>
                  </a:lnTo>
                  <a:lnTo>
                    <a:pt x="437" y="599"/>
                  </a:lnTo>
                  <a:lnTo>
                    <a:pt x="435" y="599"/>
                  </a:lnTo>
                  <a:lnTo>
                    <a:pt x="431" y="599"/>
                  </a:lnTo>
                  <a:lnTo>
                    <a:pt x="431" y="593"/>
                  </a:lnTo>
                  <a:lnTo>
                    <a:pt x="426" y="599"/>
                  </a:lnTo>
                  <a:lnTo>
                    <a:pt x="424" y="599"/>
                  </a:lnTo>
                  <a:lnTo>
                    <a:pt x="418" y="602"/>
                  </a:lnTo>
                  <a:lnTo>
                    <a:pt x="418" y="606"/>
                  </a:lnTo>
                  <a:lnTo>
                    <a:pt x="414" y="606"/>
                  </a:lnTo>
                  <a:lnTo>
                    <a:pt x="410" y="606"/>
                  </a:lnTo>
                  <a:lnTo>
                    <a:pt x="405" y="610"/>
                  </a:lnTo>
                  <a:lnTo>
                    <a:pt x="397" y="614"/>
                  </a:lnTo>
                  <a:lnTo>
                    <a:pt x="390" y="617"/>
                  </a:lnTo>
                  <a:lnTo>
                    <a:pt x="390" y="623"/>
                  </a:lnTo>
                  <a:lnTo>
                    <a:pt x="390" y="623"/>
                  </a:lnTo>
                  <a:lnTo>
                    <a:pt x="390" y="627"/>
                  </a:lnTo>
                  <a:lnTo>
                    <a:pt x="390" y="632"/>
                  </a:lnTo>
                  <a:lnTo>
                    <a:pt x="390" y="632"/>
                  </a:lnTo>
                  <a:lnTo>
                    <a:pt x="388" y="627"/>
                  </a:lnTo>
                  <a:lnTo>
                    <a:pt x="386" y="627"/>
                  </a:lnTo>
                  <a:lnTo>
                    <a:pt x="384" y="631"/>
                  </a:lnTo>
                  <a:lnTo>
                    <a:pt x="384" y="632"/>
                  </a:lnTo>
                  <a:lnTo>
                    <a:pt x="382" y="632"/>
                  </a:lnTo>
                  <a:lnTo>
                    <a:pt x="380" y="632"/>
                  </a:lnTo>
                  <a:lnTo>
                    <a:pt x="380" y="627"/>
                  </a:lnTo>
                  <a:lnTo>
                    <a:pt x="382" y="627"/>
                  </a:lnTo>
                  <a:lnTo>
                    <a:pt x="380" y="623"/>
                  </a:lnTo>
                  <a:lnTo>
                    <a:pt x="377" y="623"/>
                  </a:lnTo>
                  <a:lnTo>
                    <a:pt x="375" y="623"/>
                  </a:lnTo>
                  <a:lnTo>
                    <a:pt x="371" y="623"/>
                  </a:lnTo>
                  <a:lnTo>
                    <a:pt x="365" y="623"/>
                  </a:lnTo>
                  <a:lnTo>
                    <a:pt x="363" y="627"/>
                  </a:lnTo>
                  <a:lnTo>
                    <a:pt x="360" y="631"/>
                  </a:lnTo>
                  <a:lnTo>
                    <a:pt x="356" y="632"/>
                  </a:lnTo>
                  <a:lnTo>
                    <a:pt x="350" y="636"/>
                  </a:lnTo>
                  <a:lnTo>
                    <a:pt x="346" y="638"/>
                  </a:lnTo>
                  <a:lnTo>
                    <a:pt x="346" y="640"/>
                  </a:lnTo>
                  <a:lnTo>
                    <a:pt x="345" y="642"/>
                  </a:lnTo>
                  <a:lnTo>
                    <a:pt x="345" y="642"/>
                  </a:lnTo>
                  <a:lnTo>
                    <a:pt x="341" y="644"/>
                  </a:lnTo>
                  <a:lnTo>
                    <a:pt x="335" y="646"/>
                  </a:lnTo>
                  <a:lnTo>
                    <a:pt x="335" y="647"/>
                  </a:lnTo>
                  <a:lnTo>
                    <a:pt x="335" y="647"/>
                  </a:lnTo>
                  <a:lnTo>
                    <a:pt x="331" y="647"/>
                  </a:lnTo>
                  <a:lnTo>
                    <a:pt x="328" y="647"/>
                  </a:lnTo>
                  <a:lnTo>
                    <a:pt x="328" y="651"/>
                  </a:lnTo>
                  <a:lnTo>
                    <a:pt x="326" y="655"/>
                  </a:lnTo>
                  <a:lnTo>
                    <a:pt x="328" y="657"/>
                  </a:lnTo>
                  <a:lnTo>
                    <a:pt x="330" y="657"/>
                  </a:lnTo>
                  <a:lnTo>
                    <a:pt x="331" y="653"/>
                  </a:lnTo>
                  <a:lnTo>
                    <a:pt x="331" y="651"/>
                  </a:lnTo>
                  <a:lnTo>
                    <a:pt x="331" y="649"/>
                  </a:lnTo>
                  <a:lnTo>
                    <a:pt x="335" y="651"/>
                  </a:lnTo>
                  <a:lnTo>
                    <a:pt x="331" y="655"/>
                  </a:lnTo>
                  <a:lnTo>
                    <a:pt x="335" y="655"/>
                  </a:lnTo>
                  <a:lnTo>
                    <a:pt x="335" y="655"/>
                  </a:lnTo>
                  <a:lnTo>
                    <a:pt x="341" y="649"/>
                  </a:lnTo>
                  <a:lnTo>
                    <a:pt x="341" y="647"/>
                  </a:lnTo>
                  <a:lnTo>
                    <a:pt x="345" y="651"/>
                  </a:lnTo>
                  <a:lnTo>
                    <a:pt x="341" y="653"/>
                  </a:lnTo>
                  <a:lnTo>
                    <a:pt x="345" y="655"/>
                  </a:lnTo>
                  <a:lnTo>
                    <a:pt x="345" y="655"/>
                  </a:lnTo>
                  <a:lnTo>
                    <a:pt x="348" y="651"/>
                  </a:lnTo>
                  <a:lnTo>
                    <a:pt x="348" y="653"/>
                  </a:lnTo>
                  <a:lnTo>
                    <a:pt x="350" y="653"/>
                  </a:lnTo>
                  <a:lnTo>
                    <a:pt x="350" y="651"/>
                  </a:lnTo>
                  <a:lnTo>
                    <a:pt x="352" y="649"/>
                  </a:lnTo>
                  <a:lnTo>
                    <a:pt x="356" y="649"/>
                  </a:lnTo>
                  <a:lnTo>
                    <a:pt x="360" y="647"/>
                  </a:lnTo>
                  <a:lnTo>
                    <a:pt x="362" y="644"/>
                  </a:lnTo>
                  <a:lnTo>
                    <a:pt x="362" y="640"/>
                  </a:lnTo>
                  <a:lnTo>
                    <a:pt x="365" y="638"/>
                  </a:lnTo>
                  <a:lnTo>
                    <a:pt x="365" y="636"/>
                  </a:lnTo>
                  <a:lnTo>
                    <a:pt x="369" y="636"/>
                  </a:lnTo>
                  <a:lnTo>
                    <a:pt x="373" y="636"/>
                  </a:lnTo>
                  <a:lnTo>
                    <a:pt x="371" y="638"/>
                  </a:lnTo>
                  <a:lnTo>
                    <a:pt x="369" y="640"/>
                  </a:lnTo>
                  <a:lnTo>
                    <a:pt x="365" y="642"/>
                  </a:lnTo>
                  <a:lnTo>
                    <a:pt x="365" y="646"/>
                  </a:lnTo>
                  <a:lnTo>
                    <a:pt x="369" y="647"/>
                  </a:lnTo>
                  <a:lnTo>
                    <a:pt x="373" y="644"/>
                  </a:lnTo>
                  <a:lnTo>
                    <a:pt x="373" y="640"/>
                  </a:lnTo>
                  <a:lnTo>
                    <a:pt x="377" y="640"/>
                  </a:lnTo>
                  <a:lnTo>
                    <a:pt x="377" y="642"/>
                  </a:lnTo>
                  <a:lnTo>
                    <a:pt x="378" y="638"/>
                  </a:lnTo>
                  <a:lnTo>
                    <a:pt x="380" y="638"/>
                  </a:lnTo>
                  <a:lnTo>
                    <a:pt x="380" y="642"/>
                  </a:lnTo>
                  <a:lnTo>
                    <a:pt x="378" y="644"/>
                  </a:lnTo>
                  <a:lnTo>
                    <a:pt x="380" y="644"/>
                  </a:lnTo>
                  <a:lnTo>
                    <a:pt x="384" y="640"/>
                  </a:lnTo>
                  <a:lnTo>
                    <a:pt x="386" y="640"/>
                  </a:lnTo>
                  <a:lnTo>
                    <a:pt x="390" y="638"/>
                  </a:lnTo>
                  <a:lnTo>
                    <a:pt x="394" y="638"/>
                  </a:lnTo>
                  <a:lnTo>
                    <a:pt x="395" y="632"/>
                  </a:lnTo>
                  <a:lnTo>
                    <a:pt x="397" y="632"/>
                  </a:lnTo>
                  <a:lnTo>
                    <a:pt x="401" y="632"/>
                  </a:lnTo>
                  <a:lnTo>
                    <a:pt x="401" y="636"/>
                  </a:lnTo>
                  <a:lnTo>
                    <a:pt x="397" y="638"/>
                  </a:lnTo>
                  <a:lnTo>
                    <a:pt x="395" y="642"/>
                  </a:lnTo>
                  <a:lnTo>
                    <a:pt x="395" y="644"/>
                  </a:lnTo>
                  <a:lnTo>
                    <a:pt x="397" y="644"/>
                  </a:lnTo>
                  <a:lnTo>
                    <a:pt x="403" y="638"/>
                  </a:lnTo>
                  <a:lnTo>
                    <a:pt x="403" y="632"/>
                  </a:lnTo>
                  <a:lnTo>
                    <a:pt x="403" y="632"/>
                  </a:lnTo>
                  <a:lnTo>
                    <a:pt x="407" y="632"/>
                  </a:lnTo>
                  <a:lnTo>
                    <a:pt x="409" y="632"/>
                  </a:lnTo>
                  <a:lnTo>
                    <a:pt x="410" y="632"/>
                  </a:lnTo>
                  <a:lnTo>
                    <a:pt x="414" y="632"/>
                  </a:lnTo>
                  <a:lnTo>
                    <a:pt x="418" y="631"/>
                  </a:lnTo>
                  <a:lnTo>
                    <a:pt x="418" y="631"/>
                  </a:lnTo>
                  <a:lnTo>
                    <a:pt x="420" y="631"/>
                  </a:lnTo>
                  <a:lnTo>
                    <a:pt x="424" y="627"/>
                  </a:lnTo>
                  <a:lnTo>
                    <a:pt x="424" y="623"/>
                  </a:lnTo>
                  <a:lnTo>
                    <a:pt x="424" y="623"/>
                  </a:lnTo>
                  <a:lnTo>
                    <a:pt x="424" y="627"/>
                  </a:lnTo>
                  <a:lnTo>
                    <a:pt x="424" y="632"/>
                  </a:lnTo>
                  <a:lnTo>
                    <a:pt x="426" y="631"/>
                  </a:lnTo>
                  <a:lnTo>
                    <a:pt x="429" y="627"/>
                  </a:lnTo>
                  <a:lnTo>
                    <a:pt x="427" y="627"/>
                  </a:lnTo>
                  <a:lnTo>
                    <a:pt x="429" y="623"/>
                  </a:lnTo>
                  <a:lnTo>
                    <a:pt x="429" y="623"/>
                  </a:lnTo>
                  <a:lnTo>
                    <a:pt x="424" y="623"/>
                  </a:lnTo>
                  <a:lnTo>
                    <a:pt x="424" y="621"/>
                  </a:lnTo>
                  <a:lnTo>
                    <a:pt x="427" y="619"/>
                  </a:lnTo>
                  <a:lnTo>
                    <a:pt x="433" y="617"/>
                  </a:lnTo>
                  <a:lnTo>
                    <a:pt x="441" y="615"/>
                  </a:lnTo>
                  <a:lnTo>
                    <a:pt x="442" y="615"/>
                  </a:lnTo>
                  <a:lnTo>
                    <a:pt x="442" y="612"/>
                  </a:lnTo>
                  <a:lnTo>
                    <a:pt x="441" y="612"/>
                  </a:lnTo>
                  <a:lnTo>
                    <a:pt x="442" y="610"/>
                  </a:lnTo>
                  <a:lnTo>
                    <a:pt x="444" y="610"/>
                  </a:lnTo>
                  <a:lnTo>
                    <a:pt x="448" y="608"/>
                  </a:lnTo>
                  <a:lnTo>
                    <a:pt x="448" y="608"/>
                  </a:lnTo>
                  <a:lnTo>
                    <a:pt x="450" y="612"/>
                  </a:lnTo>
                  <a:lnTo>
                    <a:pt x="452" y="612"/>
                  </a:lnTo>
                  <a:lnTo>
                    <a:pt x="452" y="610"/>
                  </a:lnTo>
                  <a:lnTo>
                    <a:pt x="452" y="608"/>
                  </a:lnTo>
                  <a:lnTo>
                    <a:pt x="456" y="606"/>
                  </a:lnTo>
                  <a:lnTo>
                    <a:pt x="456" y="602"/>
                  </a:lnTo>
                  <a:lnTo>
                    <a:pt x="456" y="602"/>
                  </a:lnTo>
                  <a:lnTo>
                    <a:pt x="458" y="602"/>
                  </a:lnTo>
                  <a:lnTo>
                    <a:pt x="458" y="606"/>
                  </a:lnTo>
                  <a:lnTo>
                    <a:pt x="459" y="606"/>
                  </a:lnTo>
                  <a:lnTo>
                    <a:pt x="465" y="606"/>
                  </a:lnTo>
                  <a:lnTo>
                    <a:pt x="467" y="602"/>
                  </a:lnTo>
                  <a:lnTo>
                    <a:pt x="469" y="602"/>
                  </a:lnTo>
                  <a:lnTo>
                    <a:pt x="469" y="599"/>
                  </a:lnTo>
                  <a:lnTo>
                    <a:pt x="473" y="599"/>
                  </a:lnTo>
                  <a:lnTo>
                    <a:pt x="473" y="599"/>
                  </a:lnTo>
                  <a:lnTo>
                    <a:pt x="476" y="599"/>
                  </a:lnTo>
                  <a:lnTo>
                    <a:pt x="482" y="593"/>
                  </a:lnTo>
                  <a:lnTo>
                    <a:pt x="482" y="591"/>
                  </a:lnTo>
                  <a:lnTo>
                    <a:pt x="478" y="591"/>
                  </a:lnTo>
                  <a:lnTo>
                    <a:pt x="476" y="591"/>
                  </a:lnTo>
                  <a:lnTo>
                    <a:pt x="476" y="591"/>
                  </a:lnTo>
                  <a:lnTo>
                    <a:pt x="482" y="587"/>
                  </a:lnTo>
                  <a:lnTo>
                    <a:pt x="484" y="585"/>
                  </a:lnTo>
                  <a:lnTo>
                    <a:pt x="488" y="582"/>
                  </a:lnTo>
                  <a:lnTo>
                    <a:pt x="490" y="583"/>
                  </a:lnTo>
                  <a:lnTo>
                    <a:pt x="490" y="583"/>
                  </a:lnTo>
                  <a:lnTo>
                    <a:pt x="493" y="580"/>
                  </a:lnTo>
                  <a:lnTo>
                    <a:pt x="497" y="578"/>
                  </a:lnTo>
                  <a:lnTo>
                    <a:pt x="497" y="576"/>
                  </a:lnTo>
                  <a:lnTo>
                    <a:pt x="501" y="574"/>
                  </a:lnTo>
                  <a:lnTo>
                    <a:pt x="503" y="572"/>
                  </a:lnTo>
                  <a:lnTo>
                    <a:pt x="503" y="572"/>
                  </a:lnTo>
                  <a:lnTo>
                    <a:pt x="506" y="574"/>
                  </a:lnTo>
                  <a:lnTo>
                    <a:pt x="506" y="576"/>
                  </a:lnTo>
                  <a:lnTo>
                    <a:pt x="506" y="572"/>
                  </a:lnTo>
                  <a:lnTo>
                    <a:pt x="510" y="572"/>
                  </a:lnTo>
                  <a:lnTo>
                    <a:pt x="512" y="572"/>
                  </a:lnTo>
                  <a:lnTo>
                    <a:pt x="512" y="568"/>
                  </a:lnTo>
                  <a:lnTo>
                    <a:pt x="516" y="568"/>
                  </a:lnTo>
                  <a:lnTo>
                    <a:pt x="516" y="568"/>
                  </a:lnTo>
                  <a:lnTo>
                    <a:pt x="518" y="568"/>
                  </a:lnTo>
                  <a:lnTo>
                    <a:pt x="523" y="568"/>
                  </a:lnTo>
                  <a:lnTo>
                    <a:pt x="523" y="566"/>
                  </a:lnTo>
                  <a:lnTo>
                    <a:pt x="525" y="566"/>
                  </a:lnTo>
                  <a:lnTo>
                    <a:pt x="527" y="568"/>
                  </a:lnTo>
                  <a:lnTo>
                    <a:pt x="527" y="568"/>
                  </a:lnTo>
                  <a:lnTo>
                    <a:pt x="527" y="566"/>
                  </a:lnTo>
                  <a:lnTo>
                    <a:pt x="531" y="568"/>
                  </a:lnTo>
                  <a:lnTo>
                    <a:pt x="531" y="566"/>
                  </a:lnTo>
                  <a:lnTo>
                    <a:pt x="533" y="561"/>
                  </a:lnTo>
                  <a:lnTo>
                    <a:pt x="531" y="561"/>
                  </a:lnTo>
                  <a:lnTo>
                    <a:pt x="531" y="563"/>
                  </a:lnTo>
                  <a:lnTo>
                    <a:pt x="531" y="559"/>
                  </a:lnTo>
                  <a:lnTo>
                    <a:pt x="535" y="557"/>
                  </a:lnTo>
                  <a:lnTo>
                    <a:pt x="537" y="557"/>
                  </a:lnTo>
                  <a:lnTo>
                    <a:pt x="538" y="557"/>
                  </a:lnTo>
                  <a:lnTo>
                    <a:pt x="538" y="557"/>
                  </a:lnTo>
                  <a:lnTo>
                    <a:pt x="537" y="555"/>
                  </a:lnTo>
                  <a:lnTo>
                    <a:pt x="535" y="553"/>
                  </a:lnTo>
                  <a:lnTo>
                    <a:pt x="537" y="551"/>
                  </a:lnTo>
                  <a:lnTo>
                    <a:pt x="540" y="553"/>
                  </a:lnTo>
                  <a:lnTo>
                    <a:pt x="544" y="550"/>
                  </a:lnTo>
                  <a:lnTo>
                    <a:pt x="550" y="550"/>
                  </a:lnTo>
                  <a:lnTo>
                    <a:pt x="552" y="546"/>
                  </a:lnTo>
                  <a:lnTo>
                    <a:pt x="555" y="546"/>
                  </a:lnTo>
                  <a:lnTo>
                    <a:pt x="561" y="542"/>
                  </a:lnTo>
                  <a:lnTo>
                    <a:pt x="561" y="536"/>
                  </a:lnTo>
                  <a:lnTo>
                    <a:pt x="557" y="536"/>
                  </a:lnTo>
                  <a:lnTo>
                    <a:pt x="555" y="536"/>
                  </a:lnTo>
                  <a:lnTo>
                    <a:pt x="555" y="529"/>
                  </a:lnTo>
                  <a:lnTo>
                    <a:pt x="552" y="529"/>
                  </a:lnTo>
                  <a:lnTo>
                    <a:pt x="550" y="529"/>
                  </a:lnTo>
                  <a:lnTo>
                    <a:pt x="550" y="527"/>
                  </a:lnTo>
                  <a:lnTo>
                    <a:pt x="550" y="523"/>
                  </a:lnTo>
                  <a:lnTo>
                    <a:pt x="555" y="521"/>
                  </a:lnTo>
                  <a:lnTo>
                    <a:pt x="555" y="519"/>
                  </a:lnTo>
                  <a:lnTo>
                    <a:pt x="557" y="518"/>
                  </a:lnTo>
                  <a:lnTo>
                    <a:pt x="557" y="518"/>
                  </a:lnTo>
                  <a:lnTo>
                    <a:pt x="557" y="518"/>
                  </a:lnTo>
                  <a:lnTo>
                    <a:pt x="561" y="514"/>
                  </a:lnTo>
                  <a:lnTo>
                    <a:pt x="563" y="514"/>
                  </a:lnTo>
                  <a:lnTo>
                    <a:pt x="569" y="512"/>
                  </a:lnTo>
                  <a:lnTo>
                    <a:pt x="570" y="514"/>
                  </a:lnTo>
                  <a:lnTo>
                    <a:pt x="576" y="512"/>
                  </a:lnTo>
                  <a:lnTo>
                    <a:pt x="576" y="514"/>
                  </a:lnTo>
                  <a:lnTo>
                    <a:pt x="576" y="518"/>
                  </a:lnTo>
                  <a:lnTo>
                    <a:pt x="576" y="518"/>
                  </a:lnTo>
                  <a:lnTo>
                    <a:pt x="582" y="512"/>
                  </a:lnTo>
                  <a:lnTo>
                    <a:pt x="582" y="512"/>
                  </a:lnTo>
                  <a:lnTo>
                    <a:pt x="580" y="512"/>
                  </a:lnTo>
                  <a:lnTo>
                    <a:pt x="580" y="508"/>
                  </a:lnTo>
                  <a:lnTo>
                    <a:pt x="582" y="508"/>
                  </a:lnTo>
                  <a:lnTo>
                    <a:pt x="586" y="508"/>
                  </a:lnTo>
                  <a:lnTo>
                    <a:pt x="589" y="508"/>
                  </a:lnTo>
                  <a:lnTo>
                    <a:pt x="591" y="502"/>
                  </a:lnTo>
                  <a:lnTo>
                    <a:pt x="589" y="499"/>
                  </a:lnTo>
                  <a:lnTo>
                    <a:pt x="586" y="495"/>
                  </a:lnTo>
                  <a:lnTo>
                    <a:pt x="582" y="495"/>
                  </a:lnTo>
                  <a:lnTo>
                    <a:pt x="582" y="497"/>
                  </a:lnTo>
                  <a:lnTo>
                    <a:pt x="582" y="495"/>
                  </a:lnTo>
                  <a:lnTo>
                    <a:pt x="582" y="493"/>
                  </a:lnTo>
                  <a:lnTo>
                    <a:pt x="587" y="493"/>
                  </a:lnTo>
                  <a:lnTo>
                    <a:pt x="589" y="495"/>
                  </a:lnTo>
                  <a:lnTo>
                    <a:pt x="595" y="495"/>
                  </a:lnTo>
                  <a:lnTo>
                    <a:pt x="599" y="491"/>
                  </a:lnTo>
                  <a:lnTo>
                    <a:pt x="599" y="489"/>
                  </a:lnTo>
                  <a:lnTo>
                    <a:pt x="606" y="484"/>
                  </a:lnTo>
                  <a:lnTo>
                    <a:pt x="612" y="480"/>
                  </a:lnTo>
                  <a:lnTo>
                    <a:pt x="616" y="480"/>
                  </a:lnTo>
                  <a:lnTo>
                    <a:pt x="619" y="478"/>
                  </a:lnTo>
                  <a:lnTo>
                    <a:pt x="619" y="478"/>
                  </a:lnTo>
                  <a:lnTo>
                    <a:pt x="625" y="472"/>
                  </a:lnTo>
                  <a:lnTo>
                    <a:pt x="631" y="470"/>
                  </a:lnTo>
                  <a:lnTo>
                    <a:pt x="640" y="463"/>
                  </a:lnTo>
                  <a:lnTo>
                    <a:pt x="644" y="463"/>
                  </a:lnTo>
                  <a:lnTo>
                    <a:pt x="651" y="455"/>
                  </a:lnTo>
                  <a:lnTo>
                    <a:pt x="650" y="459"/>
                  </a:lnTo>
                  <a:lnTo>
                    <a:pt x="650" y="465"/>
                  </a:lnTo>
                  <a:lnTo>
                    <a:pt x="651" y="465"/>
                  </a:lnTo>
                  <a:lnTo>
                    <a:pt x="653" y="467"/>
                  </a:lnTo>
                  <a:lnTo>
                    <a:pt x="655" y="467"/>
                  </a:lnTo>
                  <a:lnTo>
                    <a:pt x="661" y="461"/>
                  </a:lnTo>
                  <a:lnTo>
                    <a:pt x="665" y="461"/>
                  </a:lnTo>
                  <a:lnTo>
                    <a:pt x="670" y="457"/>
                  </a:lnTo>
                  <a:lnTo>
                    <a:pt x="672" y="455"/>
                  </a:lnTo>
                  <a:lnTo>
                    <a:pt x="670" y="459"/>
                  </a:lnTo>
                  <a:lnTo>
                    <a:pt x="665" y="463"/>
                  </a:lnTo>
                  <a:lnTo>
                    <a:pt x="661" y="463"/>
                  </a:lnTo>
                  <a:lnTo>
                    <a:pt x="653" y="472"/>
                  </a:lnTo>
                  <a:lnTo>
                    <a:pt x="653" y="474"/>
                  </a:lnTo>
                  <a:lnTo>
                    <a:pt x="655" y="480"/>
                  </a:lnTo>
                  <a:lnTo>
                    <a:pt x="659" y="484"/>
                  </a:lnTo>
                  <a:lnTo>
                    <a:pt x="655" y="482"/>
                  </a:lnTo>
                  <a:lnTo>
                    <a:pt x="651" y="482"/>
                  </a:lnTo>
                  <a:lnTo>
                    <a:pt x="650" y="482"/>
                  </a:lnTo>
                  <a:lnTo>
                    <a:pt x="646" y="482"/>
                  </a:lnTo>
                  <a:lnTo>
                    <a:pt x="644" y="480"/>
                  </a:lnTo>
                  <a:lnTo>
                    <a:pt x="644" y="474"/>
                  </a:lnTo>
                  <a:lnTo>
                    <a:pt x="634" y="478"/>
                  </a:lnTo>
                  <a:lnTo>
                    <a:pt x="634" y="478"/>
                  </a:lnTo>
                  <a:lnTo>
                    <a:pt x="629" y="482"/>
                  </a:lnTo>
                  <a:lnTo>
                    <a:pt x="623" y="482"/>
                  </a:lnTo>
                  <a:lnTo>
                    <a:pt x="619" y="485"/>
                  </a:lnTo>
                  <a:lnTo>
                    <a:pt x="619" y="489"/>
                  </a:lnTo>
                  <a:lnTo>
                    <a:pt x="619" y="491"/>
                  </a:lnTo>
                  <a:lnTo>
                    <a:pt x="616" y="497"/>
                  </a:lnTo>
                  <a:lnTo>
                    <a:pt x="612" y="501"/>
                  </a:lnTo>
                  <a:lnTo>
                    <a:pt x="610" y="504"/>
                  </a:lnTo>
                  <a:lnTo>
                    <a:pt x="601" y="514"/>
                  </a:lnTo>
                  <a:lnTo>
                    <a:pt x="597" y="518"/>
                  </a:lnTo>
                  <a:lnTo>
                    <a:pt x="599" y="519"/>
                  </a:lnTo>
                  <a:lnTo>
                    <a:pt x="602" y="525"/>
                  </a:lnTo>
                  <a:lnTo>
                    <a:pt x="604" y="521"/>
                  </a:lnTo>
                  <a:lnTo>
                    <a:pt x="606" y="521"/>
                  </a:lnTo>
                  <a:lnTo>
                    <a:pt x="610" y="519"/>
                  </a:lnTo>
                  <a:lnTo>
                    <a:pt x="610" y="519"/>
                  </a:lnTo>
                  <a:lnTo>
                    <a:pt x="610" y="523"/>
                  </a:lnTo>
                  <a:lnTo>
                    <a:pt x="606" y="527"/>
                  </a:lnTo>
                  <a:lnTo>
                    <a:pt x="602" y="529"/>
                  </a:lnTo>
                  <a:lnTo>
                    <a:pt x="601" y="529"/>
                  </a:lnTo>
                  <a:lnTo>
                    <a:pt x="597" y="529"/>
                  </a:lnTo>
                  <a:lnTo>
                    <a:pt x="593" y="529"/>
                  </a:lnTo>
                  <a:lnTo>
                    <a:pt x="591" y="529"/>
                  </a:lnTo>
                  <a:lnTo>
                    <a:pt x="591" y="534"/>
                  </a:lnTo>
                  <a:lnTo>
                    <a:pt x="589" y="534"/>
                  </a:lnTo>
                  <a:lnTo>
                    <a:pt x="586" y="534"/>
                  </a:lnTo>
                  <a:lnTo>
                    <a:pt x="586" y="538"/>
                  </a:lnTo>
                  <a:lnTo>
                    <a:pt x="591" y="544"/>
                  </a:lnTo>
                  <a:lnTo>
                    <a:pt x="593" y="542"/>
                  </a:lnTo>
                  <a:lnTo>
                    <a:pt x="595" y="542"/>
                  </a:lnTo>
                  <a:lnTo>
                    <a:pt x="597" y="542"/>
                  </a:lnTo>
                  <a:lnTo>
                    <a:pt x="599" y="538"/>
                  </a:lnTo>
                  <a:lnTo>
                    <a:pt x="601" y="538"/>
                  </a:lnTo>
                  <a:lnTo>
                    <a:pt x="601" y="542"/>
                  </a:lnTo>
                  <a:lnTo>
                    <a:pt x="602" y="542"/>
                  </a:lnTo>
                  <a:lnTo>
                    <a:pt x="604" y="538"/>
                  </a:lnTo>
                  <a:lnTo>
                    <a:pt x="606" y="538"/>
                  </a:lnTo>
                  <a:lnTo>
                    <a:pt x="610" y="534"/>
                  </a:lnTo>
                  <a:lnTo>
                    <a:pt x="610" y="529"/>
                  </a:lnTo>
                  <a:lnTo>
                    <a:pt x="612" y="529"/>
                  </a:lnTo>
                  <a:lnTo>
                    <a:pt x="612" y="529"/>
                  </a:lnTo>
                  <a:lnTo>
                    <a:pt x="610" y="533"/>
                  </a:lnTo>
                  <a:lnTo>
                    <a:pt x="612" y="534"/>
                  </a:lnTo>
                  <a:lnTo>
                    <a:pt x="619" y="534"/>
                  </a:lnTo>
                  <a:lnTo>
                    <a:pt x="623" y="529"/>
                  </a:lnTo>
                  <a:lnTo>
                    <a:pt x="627" y="529"/>
                  </a:lnTo>
                  <a:lnTo>
                    <a:pt x="629" y="529"/>
                  </a:lnTo>
                  <a:lnTo>
                    <a:pt x="631" y="529"/>
                  </a:lnTo>
                  <a:lnTo>
                    <a:pt x="631" y="523"/>
                  </a:lnTo>
                  <a:lnTo>
                    <a:pt x="634" y="519"/>
                  </a:lnTo>
                  <a:lnTo>
                    <a:pt x="636" y="519"/>
                  </a:lnTo>
                  <a:lnTo>
                    <a:pt x="634" y="525"/>
                  </a:lnTo>
                  <a:lnTo>
                    <a:pt x="634" y="529"/>
                  </a:lnTo>
                  <a:lnTo>
                    <a:pt x="634" y="527"/>
                  </a:lnTo>
                  <a:lnTo>
                    <a:pt x="640" y="521"/>
                  </a:lnTo>
                  <a:lnTo>
                    <a:pt x="644" y="514"/>
                  </a:lnTo>
                  <a:lnTo>
                    <a:pt x="644" y="514"/>
                  </a:lnTo>
                  <a:lnTo>
                    <a:pt x="644" y="518"/>
                  </a:lnTo>
                  <a:lnTo>
                    <a:pt x="644" y="521"/>
                  </a:lnTo>
                  <a:lnTo>
                    <a:pt x="644" y="521"/>
                  </a:lnTo>
                  <a:lnTo>
                    <a:pt x="646" y="518"/>
                  </a:lnTo>
                  <a:lnTo>
                    <a:pt x="648" y="519"/>
                  </a:lnTo>
                  <a:lnTo>
                    <a:pt x="648" y="521"/>
                  </a:lnTo>
                  <a:lnTo>
                    <a:pt x="651" y="523"/>
                  </a:lnTo>
                  <a:lnTo>
                    <a:pt x="653" y="525"/>
                  </a:lnTo>
                  <a:lnTo>
                    <a:pt x="655" y="521"/>
                  </a:lnTo>
                  <a:lnTo>
                    <a:pt x="659" y="518"/>
                  </a:lnTo>
                  <a:lnTo>
                    <a:pt x="661" y="518"/>
                  </a:lnTo>
                  <a:lnTo>
                    <a:pt x="665" y="514"/>
                  </a:lnTo>
                  <a:lnTo>
                    <a:pt x="665" y="514"/>
                  </a:lnTo>
                  <a:lnTo>
                    <a:pt x="665" y="508"/>
                  </a:lnTo>
                  <a:lnTo>
                    <a:pt x="670" y="508"/>
                  </a:lnTo>
                  <a:lnTo>
                    <a:pt x="672" y="504"/>
                  </a:lnTo>
                  <a:lnTo>
                    <a:pt x="672" y="502"/>
                  </a:lnTo>
                  <a:lnTo>
                    <a:pt x="668" y="502"/>
                  </a:lnTo>
                  <a:lnTo>
                    <a:pt x="668" y="501"/>
                  </a:lnTo>
                  <a:lnTo>
                    <a:pt x="665" y="501"/>
                  </a:lnTo>
                  <a:lnTo>
                    <a:pt x="665" y="497"/>
                  </a:lnTo>
                  <a:lnTo>
                    <a:pt x="668" y="497"/>
                  </a:lnTo>
                  <a:lnTo>
                    <a:pt x="670" y="499"/>
                  </a:lnTo>
                  <a:lnTo>
                    <a:pt x="672" y="497"/>
                  </a:lnTo>
                  <a:lnTo>
                    <a:pt x="672" y="493"/>
                  </a:lnTo>
                  <a:lnTo>
                    <a:pt x="668" y="495"/>
                  </a:lnTo>
                  <a:lnTo>
                    <a:pt x="665" y="491"/>
                  </a:lnTo>
                  <a:lnTo>
                    <a:pt x="665" y="487"/>
                  </a:lnTo>
                  <a:lnTo>
                    <a:pt x="668" y="487"/>
                  </a:lnTo>
                  <a:lnTo>
                    <a:pt x="672" y="487"/>
                  </a:lnTo>
                  <a:lnTo>
                    <a:pt x="674" y="487"/>
                  </a:lnTo>
                  <a:lnTo>
                    <a:pt x="674" y="485"/>
                  </a:lnTo>
                  <a:lnTo>
                    <a:pt x="672" y="482"/>
                  </a:lnTo>
                  <a:lnTo>
                    <a:pt x="678" y="478"/>
                  </a:lnTo>
                  <a:lnTo>
                    <a:pt x="682" y="482"/>
                  </a:lnTo>
                  <a:lnTo>
                    <a:pt x="685" y="480"/>
                  </a:lnTo>
                  <a:lnTo>
                    <a:pt x="689" y="480"/>
                  </a:lnTo>
                  <a:lnTo>
                    <a:pt x="683" y="485"/>
                  </a:lnTo>
                  <a:lnTo>
                    <a:pt x="683" y="489"/>
                  </a:lnTo>
                  <a:lnTo>
                    <a:pt x="683" y="495"/>
                  </a:lnTo>
                  <a:lnTo>
                    <a:pt x="685" y="495"/>
                  </a:lnTo>
                  <a:lnTo>
                    <a:pt x="689" y="487"/>
                  </a:lnTo>
                  <a:lnTo>
                    <a:pt x="689" y="485"/>
                  </a:lnTo>
                  <a:lnTo>
                    <a:pt x="693" y="485"/>
                  </a:lnTo>
                  <a:lnTo>
                    <a:pt x="693" y="487"/>
                  </a:lnTo>
                  <a:lnTo>
                    <a:pt x="689" y="491"/>
                  </a:lnTo>
                  <a:lnTo>
                    <a:pt x="689" y="493"/>
                  </a:lnTo>
                  <a:lnTo>
                    <a:pt x="693" y="489"/>
                  </a:lnTo>
                  <a:lnTo>
                    <a:pt x="695" y="487"/>
                  </a:lnTo>
                  <a:lnTo>
                    <a:pt x="697" y="489"/>
                  </a:lnTo>
                  <a:lnTo>
                    <a:pt x="702" y="487"/>
                  </a:lnTo>
                  <a:lnTo>
                    <a:pt x="702" y="487"/>
                  </a:lnTo>
                  <a:lnTo>
                    <a:pt x="706" y="484"/>
                  </a:lnTo>
                  <a:lnTo>
                    <a:pt x="712" y="484"/>
                  </a:lnTo>
                  <a:lnTo>
                    <a:pt x="714" y="484"/>
                  </a:lnTo>
                  <a:lnTo>
                    <a:pt x="714" y="485"/>
                  </a:lnTo>
                  <a:lnTo>
                    <a:pt x="710" y="485"/>
                  </a:lnTo>
                  <a:lnTo>
                    <a:pt x="706" y="491"/>
                  </a:lnTo>
                  <a:lnTo>
                    <a:pt x="702" y="491"/>
                  </a:lnTo>
                  <a:lnTo>
                    <a:pt x="700" y="493"/>
                  </a:lnTo>
                  <a:lnTo>
                    <a:pt x="702" y="495"/>
                  </a:lnTo>
                  <a:lnTo>
                    <a:pt x="710" y="497"/>
                  </a:lnTo>
                  <a:lnTo>
                    <a:pt x="712" y="499"/>
                  </a:lnTo>
                  <a:lnTo>
                    <a:pt x="712" y="501"/>
                  </a:lnTo>
                  <a:lnTo>
                    <a:pt x="708" y="497"/>
                  </a:lnTo>
                  <a:lnTo>
                    <a:pt x="702" y="497"/>
                  </a:lnTo>
                  <a:lnTo>
                    <a:pt x="698" y="499"/>
                  </a:lnTo>
                  <a:lnTo>
                    <a:pt x="698" y="502"/>
                  </a:lnTo>
                  <a:lnTo>
                    <a:pt x="702" y="502"/>
                  </a:lnTo>
                  <a:lnTo>
                    <a:pt x="704" y="501"/>
                  </a:lnTo>
                  <a:lnTo>
                    <a:pt x="708" y="502"/>
                  </a:lnTo>
                  <a:lnTo>
                    <a:pt x="706" y="504"/>
                  </a:lnTo>
                  <a:lnTo>
                    <a:pt x="702" y="504"/>
                  </a:lnTo>
                  <a:lnTo>
                    <a:pt x="702" y="508"/>
                  </a:lnTo>
                  <a:lnTo>
                    <a:pt x="708" y="508"/>
                  </a:lnTo>
                  <a:lnTo>
                    <a:pt x="710" y="512"/>
                  </a:lnTo>
                  <a:lnTo>
                    <a:pt x="706" y="512"/>
                  </a:lnTo>
                  <a:lnTo>
                    <a:pt x="704" y="512"/>
                  </a:lnTo>
                  <a:lnTo>
                    <a:pt x="704" y="514"/>
                  </a:lnTo>
                  <a:lnTo>
                    <a:pt x="708" y="514"/>
                  </a:lnTo>
                  <a:lnTo>
                    <a:pt x="712" y="512"/>
                  </a:lnTo>
                  <a:lnTo>
                    <a:pt x="714" y="518"/>
                  </a:lnTo>
                  <a:lnTo>
                    <a:pt x="719" y="518"/>
                  </a:lnTo>
                  <a:lnTo>
                    <a:pt x="723" y="514"/>
                  </a:lnTo>
                  <a:lnTo>
                    <a:pt x="723" y="518"/>
                  </a:lnTo>
                  <a:lnTo>
                    <a:pt x="723" y="519"/>
                  </a:lnTo>
                  <a:lnTo>
                    <a:pt x="723" y="519"/>
                  </a:lnTo>
                  <a:lnTo>
                    <a:pt x="723" y="523"/>
                  </a:lnTo>
                  <a:lnTo>
                    <a:pt x="723" y="523"/>
                  </a:lnTo>
                  <a:lnTo>
                    <a:pt x="725" y="525"/>
                  </a:lnTo>
                  <a:lnTo>
                    <a:pt x="727" y="527"/>
                  </a:lnTo>
                  <a:lnTo>
                    <a:pt x="730" y="523"/>
                  </a:lnTo>
                  <a:lnTo>
                    <a:pt x="729" y="521"/>
                  </a:lnTo>
                  <a:lnTo>
                    <a:pt x="730" y="519"/>
                  </a:lnTo>
                  <a:lnTo>
                    <a:pt x="734" y="519"/>
                  </a:lnTo>
                  <a:lnTo>
                    <a:pt x="732" y="523"/>
                  </a:lnTo>
                  <a:lnTo>
                    <a:pt x="732" y="525"/>
                  </a:lnTo>
                  <a:lnTo>
                    <a:pt x="727" y="529"/>
                  </a:lnTo>
                  <a:lnTo>
                    <a:pt x="730" y="534"/>
                  </a:lnTo>
                  <a:lnTo>
                    <a:pt x="729" y="534"/>
                  </a:lnTo>
                  <a:lnTo>
                    <a:pt x="727" y="534"/>
                  </a:lnTo>
                  <a:lnTo>
                    <a:pt x="725" y="534"/>
                  </a:lnTo>
                  <a:lnTo>
                    <a:pt x="727" y="538"/>
                  </a:lnTo>
                  <a:lnTo>
                    <a:pt x="736" y="538"/>
                  </a:lnTo>
                  <a:lnTo>
                    <a:pt x="738" y="538"/>
                  </a:lnTo>
                  <a:lnTo>
                    <a:pt x="742" y="538"/>
                  </a:lnTo>
                  <a:lnTo>
                    <a:pt x="744" y="538"/>
                  </a:lnTo>
                  <a:lnTo>
                    <a:pt x="747" y="538"/>
                  </a:lnTo>
                  <a:lnTo>
                    <a:pt x="753" y="538"/>
                  </a:lnTo>
                  <a:lnTo>
                    <a:pt x="755" y="538"/>
                  </a:lnTo>
                  <a:lnTo>
                    <a:pt x="755" y="542"/>
                  </a:lnTo>
                  <a:lnTo>
                    <a:pt x="757" y="542"/>
                  </a:lnTo>
                  <a:lnTo>
                    <a:pt x="759" y="544"/>
                  </a:lnTo>
                  <a:lnTo>
                    <a:pt x="762" y="546"/>
                  </a:lnTo>
                  <a:lnTo>
                    <a:pt x="762" y="548"/>
                  </a:lnTo>
                  <a:lnTo>
                    <a:pt x="766" y="548"/>
                  </a:lnTo>
                  <a:lnTo>
                    <a:pt x="772" y="546"/>
                  </a:lnTo>
                  <a:lnTo>
                    <a:pt x="772" y="544"/>
                  </a:lnTo>
                  <a:lnTo>
                    <a:pt x="774" y="544"/>
                  </a:lnTo>
                  <a:lnTo>
                    <a:pt x="774" y="548"/>
                  </a:lnTo>
                  <a:lnTo>
                    <a:pt x="772" y="550"/>
                  </a:lnTo>
                  <a:lnTo>
                    <a:pt x="768" y="551"/>
                  </a:lnTo>
                  <a:lnTo>
                    <a:pt x="768" y="553"/>
                  </a:lnTo>
                  <a:lnTo>
                    <a:pt x="772" y="553"/>
                  </a:lnTo>
                  <a:lnTo>
                    <a:pt x="774" y="557"/>
                  </a:lnTo>
                  <a:lnTo>
                    <a:pt x="776" y="561"/>
                  </a:lnTo>
                  <a:lnTo>
                    <a:pt x="781" y="563"/>
                  </a:lnTo>
                  <a:lnTo>
                    <a:pt x="789" y="561"/>
                  </a:lnTo>
                  <a:lnTo>
                    <a:pt x="793" y="559"/>
                  </a:lnTo>
                  <a:lnTo>
                    <a:pt x="793" y="561"/>
                  </a:lnTo>
                  <a:lnTo>
                    <a:pt x="796" y="557"/>
                  </a:lnTo>
                  <a:lnTo>
                    <a:pt x="798" y="555"/>
                  </a:lnTo>
                  <a:lnTo>
                    <a:pt x="802" y="555"/>
                  </a:lnTo>
                  <a:lnTo>
                    <a:pt x="802" y="557"/>
                  </a:lnTo>
                  <a:lnTo>
                    <a:pt x="798" y="559"/>
                  </a:lnTo>
                  <a:lnTo>
                    <a:pt x="796" y="566"/>
                  </a:lnTo>
                  <a:lnTo>
                    <a:pt x="793" y="568"/>
                  </a:lnTo>
                  <a:lnTo>
                    <a:pt x="793" y="568"/>
                  </a:lnTo>
                  <a:lnTo>
                    <a:pt x="789" y="568"/>
                  </a:lnTo>
                  <a:lnTo>
                    <a:pt x="787" y="568"/>
                  </a:lnTo>
                  <a:lnTo>
                    <a:pt x="789" y="572"/>
                  </a:lnTo>
                  <a:lnTo>
                    <a:pt x="791" y="576"/>
                  </a:lnTo>
                  <a:lnTo>
                    <a:pt x="793" y="578"/>
                  </a:lnTo>
                  <a:lnTo>
                    <a:pt x="796" y="576"/>
                  </a:lnTo>
                  <a:lnTo>
                    <a:pt x="798" y="578"/>
                  </a:lnTo>
                  <a:lnTo>
                    <a:pt x="798" y="580"/>
                  </a:lnTo>
                  <a:lnTo>
                    <a:pt x="793" y="580"/>
                  </a:lnTo>
                  <a:lnTo>
                    <a:pt x="793" y="582"/>
                  </a:lnTo>
                  <a:lnTo>
                    <a:pt x="798" y="587"/>
                  </a:lnTo>
                  <a:lnTo>
                    <a:pt x="802" y="587"/>
                  </a:lnTo>
                  <a:lnTo>
                    <a:pt x="806" y="587"/>
                  </a:lnTo>
                  <a:lnTo>
                    <a:pt x="808" y="583"/>
                  </a:lnTo>
                  <a:lnTo>
                    <a:pt x="811" y="574"/>
                  </a:lnTo>
                  <a:lnTo>
                    <a:pt x="810" y="582"/>
                  </a:lnTo>
                  <a:lnTo>
                    <a:pt x="810" y="585"/>
                  </a:lnTo>
                  <a:lnTo>
                    <a:pt x="808" y="589"/>
                  </a:lnTo>
                  <a:lnTo>
                    <a:pt x="806" y="589"/>
                  </a:lnTo>
                  <a:lnTo>
                    <a:pt x="806" y="593"/>
                  </a:lnTo>
                  <a:lnTo>
                    <a:pt x="806" y="593"/>
                  </a:lnTo>
                  <a:lnTo>
                    <a:pt x="808" y="597"/>
                  </a:lnTo>
                  <a:lnTo>
                    <a:pt x="806" y="599"/>
                  </a:lnTo>
                  <a:lnTo>
                    <a:pt x="806" y="606"/>
                  </a:lnTo>
                  <a:lnTo>
                    <a:pt x="808" y="608"/>
                  </a:lnTo>
                  <a:lnTo>
                    <a:pt x="810" y="608"/>
                  </a:lnTo>
                  <a:lnTo>
                    <a:pt x="810" y="612"/>
                  </a:lnTo>
                  <a:lnTo>
                    <a:pt x="811" y="615"/>
                  </a:lnTo>
                  <a:lnTo>
                    <a:pt x="817" y="621"/>
                  </a:lnTo>
                  <a:lnTo>
                    <a:pt x="819" y="623"/>
                  </a:lnTo>
                  <a:lnTo>
                    <a:pt x="819" y="623"/>
                  </a:lnTo>
                  <a:lnTo>
                    <a:pt x="821" y="623"/>
                  </a:lnTo>
                  <a:lnTo>
                    <a:pt x="823" y="627"/>
                  </a:lnTo>
                  <a:lnTo>
                    <a:pt x="826" y="623"/>
                  </a:lnTo>
                  <a:lnTo>
                    <a:pt x="823" y="623"/>
                  </a:lnTo>
                  <a:lnTo>
                    <a:pt x="826" y="621"/>
                  </a:lnTo>
                  <a:lnTo>
                    <a:pt x="826" y="623"/>
                  </a:lnTo>
                  <a:lnTo>
                    <a:pt x="830" y="623"/>
                  </a:lnTo>
                  <a:lnTo>
                    <a:pt x="830" y="621"/>
                  </a:lnTo>
                  <a:lnTo>
                    <a:pt x="826" y="615"/>
                  </a:lnTo>
                  <a:lnTo>
                    <a:pt x="826" y="615"/>
                  </a:lnTo>
                  <a:lnTo>
                    <a:pt x="823" y="615"/>
                  </a:lnTo>
                  <a:lnTo>
                    <a:pt x="823" y="615"/>
                  </a:lnTo>
                  <a:lnTo>
                    <a:pt x="826" y="612"/>
                  </a:lnTo>
                  <a:lnTo>
                    <a:pt x="826" y="610"/>
                  </a:lnTo>
                  <a:lnTo>
                    <a:pt x="823" y="606"/>
                  </a:lnTo>
                  <a:lnTo>
                    <a:pt x="823" y="606"/>
                  </a:lnTo>
                  <a:lnTo>
                    <a:pt x="823" y="602"/>
                  </a:lnTo>
                  <a:lnTo>
                    <a:pt x="823" y="602"/>
                  </a:lnTo>
                  <a:lnTo>
                    <a:pt x="823" y="599"/>
                  </a:lnTo>
                  <a:lnTo>
                    <a:pt x="826" y="599"/>
                  </a:lnTo>
                  <a:lnTo>
                    <a:pt x="826" y="602"/>
                  </a:lnTo>
                  <a:lnTo>
                    <a:pt x="826" y="606"/>
                  </a:lnTo>
                  <a:lnTo>
                    <a:pt x="830" y="602"/>
                  </a:lnTo>
                  <a:lnTo>
                    <a:pt x="830" y="602"/>
                  </a:lnTo>
                  <a:lnTo>
                    <a:pt x="832" y="606"/>
                  </a:lnTo>
                  <a:lnTo>
                    <a:pt x="830" y="608"/>
                  </a:lnTo>
                  <a:lnTo>
                    <a:pt x="830" y="612"/>
                  </a:lnTo>
                  <a:lnTo>
                    <a:pt x="832" y="612"/>
                  </a:lnTo>
                  <a:lnTo>
                    <a:pt x="836" y="610"/>
                  </a:lnTo>
                  <a:lnTo>
                    <a:pt x="838" y="608"/>
                  </a:lnTo>
                  <a:lnTo>
                    <a:pt x="836" y="612"/>
                  </a:lnTo>
                  <a:lnTo>
                    <a:pt x="834" y="614"/>
                  </a:lnTo>
                  <a:lnTo>
                    <a:pt x="834" y="617"/>
                  </a:lnTo>
                  <a:lnTo>
                    <a:pt x="836" y="621"/>
                  </a:lnTo>
                  <a:lnTo>
                    <a:pt x="834" y="623"/>
                  </a:lnTo>
                  <a:lnTo>
                    <a:pt x="834" y="627"/>
                  </a:lnTo>
                  <a:lnTo>
                    <a:pt x="840" y="627"/>
                  </a:lnTo>
                  <a:lnTo>
                    <a:pt x="840" y="627"/>
                  </a:lnTo>
                  <a:lnTo>
                    <a:pt x="842" y="623"/>
                  </a:lnTo>
                  <a:lnTo>
                    <a:pt x="842" y="627"/>
                  </a:lnTo>
                  <a:lnTo>
                    <a:pt x="842" y="627"/>
                  </a:lnTo>
                  <a:lnTo>
                    <a:pt x="842" y="632"/>
                  </a:lnTo>
                  <a:lnTo>
                    <a:pt x="845" y="632"/>
                  </a:lnTo>
                  <a:lnTo>
                    <a:pt x="847" y="627"/>
                  </a:lnTo>
                  <a:lnTo>
                    <a:pt x="849" y="623"/>
                  </a:lnTo>
                  <a:lnTo>
                    <a:pt x="849" y="619"/>
                  </a:lnTo>
                  <a:lnTo>
                    <a:pt x="851" y="610"/>
                  </a:lnTo>
                  <a:lnTo>
                    <a:pt x="851" y="602"/>
                  </a:lnTo>
                  <a:lnTo>
                    <a:pt x="851" y="597"/>
                  </a:lnTo>
                  <a:lnTo>
                    <a:pt x="851" y="589"/>
                  </a:lnTo>
                  <a:lnTo>
                    <a:pt x="851" y="587"/>
                  </a:lnTo>
                  <a:lnTo>
                    <a:pt x="851" y="587"/>
                  </a:lnTo>
                  <a:lnTo>
                    <a:pt x="851" y="587"/>
                  </a:lnTo>
                  <a:lnTo>
                    <a:pt x="855" y="593"/>
                  </a:lnTo>
                  <a:lnTo>
                    <a:pt x="855" y="593"/>
                  </a:lnTo>
                  <a:lnTo>
                    <a:pt x="857" y="587"/>
                  </a:lnTo>
                  <a:lnTo>
                    <a:pt x="860" y="585"/>
                  </a:lnTo>
                  <a:lnTo>
                    <a:pt x="860" y="591"/>
                  </a:lnTo>
                  <a:lnTo>
                    <a:pt x="857" y="597"/>
                  </a:lnTo>
                  <a:lnTo>
                    <a:pt x="860" y="602"/>
                  </a:lnTo>
                  <a:lnTo>
                    <a:pt x="855" y="608"/>
                  </a:lnTo>
                  <a:lnTo>
                    <a:pt x="855" y="614"/>
                  </a:lnTo>
                  <a:lnTo>
                    <a:pt x="855" y="615"/>
                  </a:lnTo>
                  <a:lnTo>
                    <a:pt x="855" y="617"/>
                  </a:lnTo>
                  <a:lnTo>
                    <a:pt x="855" y="623"/>
                  </a:lnTo>
                  <a:lnTo>
                    <a:pt x="855" y="627"/>
                  </a:lnTo>
                  <a:lnTo>
                    <a:pt x="855" y="631"/>
                  </a:lnTo>
                  <a:lnTo>
                    <a:pt x="857" y="632"/>
                  </a:lnTo>
                  <a:lnTo>
                    <a:pt x="860" y="636"/>
                  </a:lnTo>
                  <a:lnTo>
                    <a:pt x="860" y="636"/>
                  </a:lnTo>
                  <a:lnTo>
                    <a:pt x="860" y="640"/>
                  </a:lnTo>
                  <a:lnTo>
                    <a:pt x="862" y="644"/>
                  </a:lnTo>
                  <a:lnTo>
                    <a:pt x="864" y="642"/>
                  </a:lnTo>
                  <a:lnTo>
                    <a:pt x="866" y="644"/>
                  </a:lnTo>
                  <a:lnTo>
                    <a:pt x="870" y="642"/>
                  </a:lnTo>
                  <a:lnTo>
                    <a:pt x="875" y="642"/>
                  </a:lnTo>
                  <a:lnTo>
                    <a:pt x="875" y="642"/>
                  </a:lnTo>
                  <a:lnTo>
                    <a:pt x="870" y="646"/>
                  </a:lnTo>
                  <a:lnTo>
                    <a:pt x="868" y="647"/>
                  </a:lnTo>
                  <a:lnTo>
                    <a:pt x="868" y="647"/>
                  </a:lnTo>
                  <a:lnTo>
                    <a:pt x="870" y="651"/>
                  </a:lnTo>
                  <a:lnTo>
                    <a:pt x="868" y="651"/>
                  </a:lnTo>
                  <a:lnTo>
                    <a:pt x="866" y="651"/>
                  </a:lnTo>
                  <a:lnTo>
                    <a:pt x="866" y="655"/>
                  </a:lnTo>
                  <a:lnTo>
                    <a:pt x="868" y="657"/>
                  </a:lnTo>
                  <a:lnTo>
                    <a:pt x="868" y="663"/>
                  </a:lnTo>
                  <a:lnTo>
                    <a:pt x="866" y="663"/>
                  </a:lnTo>
                  <a:lnTo>
                    <a:pt x="864" y="661"/>
                  </a:lnTo>
                  <a:lnTo>
                    <a:pt x="862" y="657"/>
                  </a:lnTo>
                  <a:lnTo>
                    <a:pt x="862" y="657"/>
                  </a:lnTo>
                  <a:lnTo>
                    <a:pt x="862" y="663"/>
                  </a:lnTo>
                  <a:lnTo>
                    <a:pt x="860" y="663"/>
                  </a:lnTo>
                  <a:lnTo>
                    <a:pt x="860" y="666"/>
                  </a:lnTo>
                  <a:lnTo>
                    <a:pt x="862" y="668"/>
                  </a:lnTo>
                  <a:lnTo>
                    <a:pt x="860" y="670"/>
                  </a:lnTo>
                  <a:lnTo>
                    <a:pt x="860" y="670"/>
                  </a:lnTo>
                  <a:lnTo>
                    <a:pt x="857" y="674"/>
                  </a:lnTo>
                  <a:lnTo>
                    <a:pt x="857" y="676"/>
                  </a:lnTo>
                  <a:lnTo>
                    <a:pt x="860" y="676"/>
                  </a:lnTo>
                  <a:lnTo>
                    <a:pt x="860" y="676"/>
                  </a:lnTo>
                  <a:lnTo>
                    <a:pt x="862" y="680"/>
                  </a:lnTo>
                  <a:lnTo>
                    <a:pt x="864" y="681"/>
                  </a:lnTo>
                  <a:lnTo>
                    <a:pt x="866" y="681"/>
                  </a:lnTo>
                  <a:lnTo>
                    <a:pt x="870" y="683"/>
                  </a:lnTo>
                  <a:lnTo>
                    <a:pt x="870" y="683"/>
                  </a:lnTo>
                  <a:lnTo>
                    <a:pt x="866" y="683"/>
                  </a:lnTo>
                  <a:lnTo>
                    <a:pt x="864" y="685"/>
                  </a:lnTo>
                  <a:lnTo>
                    <a:pt x="866" y="687"/>
                  </a:lnTo>
                  <a:lnTo>
                    <a:pt x="868" y="687"/>
                  </a:lnTo>
                  <a:lnTo>
                    <a:pt x="870" y="691"/>
                  </a:lnTo>
                  <a:lnTo>
                    <a:pt x="874" y="693"/>
                  </a:lnTo>
                  <a:lnTo>
                    <a:pt x="875" y="693"/>
                  </a:lnTo>
                  <a:lnTo>
                    <a:pt x="872" y="696"/>
                  </a:lnTo>
                  <a:lnTo>
                    <a:pt x="870" y="696"/>
                  </a:lnTo>
                  <a:lnTo>
                    <a:pt x="868" y="696"/>
                  </a:lnTo>
                  <a:lnTo>
                    <a:pt x="868" y="702"/>
                  </a:lnTo>
                  <a:lnTo>
                    <a:pt x="872" y="708"/>
                  </a:lnTo>
                  <a:lnTo>
                    <a:pt x="874" y="710"/>
                  </a:lnTo>
                  <a:lnTo>
                    <a:pt x="879" y="710"/>
                  </a:lnTo>
                  <a:lnTo>
                    <a:pt x="881" y="710"/>
                  </a:lnTo>
                  <a:lnTo>
                    <a:pt x="875" y="712"/>
                  </a:lnTo>
                  <a:lnTo>
                    <a:pt x="872" y="712"/>
                  </a:lnTo>
                  <a:lnTo>
                    <a:pt x="870" y="712"/>
                  </a:lnTo>
                  <a:lnTo>
                    <a:pt x="868" y="717"/>
                  </a:lnTo>
                  <a:lnTo>
                    <a:pt x="862" y="721"/>
                  </a:lnTo>
                  <a:lnTo>
                    <a:pt x="857" y="725"/>
                  </a:lnTo>
                  <a:lnTo>
                    <a:pt x="857" y="730"/>
                  </a:lnTo>
                  <a:lnTo>
                    <a:pt x="860" y="732"/>
                  </a:lnTo>
                  <a:lnTo>
                    <a:pt x="862" y="730"/>
                  </a:lnTo>
                  <a:lnTo>
                    <a:pt x="866" y="725"/>
                  </a:lnTo>
                  <a:lnTo>
                    <a:pt x="866" y="725"/>
                  </a:lnTo>
                  <a:lnTo>
                    <a:pt x="868" y="721"/>
                  </a:lnTo>
                  <a:lnTo>
                    <a:pt x="874" y="717"/>
                  </a:lnTo>
                  <a:lnTo>
                    <a:pt x="874" y="721"/>
                  </a:lnTo>
                  <a:lnTo>
                    <a:pt x="875" y="717"/>
                  </a:lnTo>
                  <a:lnTo>
                    <a:pt x="881" y="717"/>
                  </a:lnTo>
                  <a:lnTo>
                    <a:pt x="879" y="721"/>
                  </a:lnTo>
                  <a:lnTo>
                    <a:pt x="879" y="725"/>
                  </a:lnTo>
                  <a:lnTo>
                    <a:pt x="881" y="725"/>
                  </a:lnTo>
                  <a:lnTo>
                    <a:pt x="881" y="725"/>
                  </a:lnTo>
                  <a:lnTo>
                    <a:pt x="879" y="730"/>
                  </a:lnTo>
                  <a:lnTo>
                    <a:pt x="879" y="730"/>
                  </a:lnTo>
                  <a:lnTo>
                    <a:pt x="881" y="734"/>
                  </a:lnTo>
                  <a:lnTo>
                    <a:pt x="875" y="738"/>
                  </a:lnTo>
                  <a:lnTo>
                    <a:pt x="875" y="742"/>
                  </a:lnTo>
                  <a:lnTo>
                    <a:pt x="875" y="742"/>
                  </a:lnTo>
                  <a:lnTo>
                    <a:pt x="879" y="745"/>
                  </a:lnTo>
                  <a:lnTo>
                    <a:pt x="875" y="745"/>
                  </a:lnTo>
                  <a:lnTo>
                    <a:pt x="872" y="745"/>
                  </a:lnTo>
                  <a:lnTo>
                    <a:pt x="870" y="747"/>
                  </a:lnTo>
                  <a:lnTo>
                    <a:pt x="870" y="749"/>
                  </a:lnTo>
                  <a:lnTo>
                    <a:pt x="872" y="749"/>
                  </a:lnTo>
                  <a:lnTo>
                    <a:pt x="874" y="749"/>
                  </a:lnTo>
                  <a:lnTo>
                    <a:pt x="875" y="749"/>
                  </a:lnTo>
                  <a:lnTo>
                    <a:pt x="879" y="751"/>
                  </a:lnTo>
                  <a:lnTo>
                    <a:pt x="875" y="751"/>
                  </a:lnTo>
                  <a:lnTo>
                    <a:pt x="874" y="751"/>
                  </a:lnTo>
                  <a:lnTo>
                    <a:pt x="870" y="751"/>
                  </a:lnTo>
                  <a:lnTo>
                    <a:pt x="868" y="755"/>
                  </a:lnTo>
                  <a:lnTo>
                    <a:pt x="868" y="757"/>
                  </a:lnTo>
                  <a:lnTo>
                    <a:pt x="870" y="761"/>
                  </a:lnTo>
                  <a:lnTo>
                    <a:pt x="872" y="761"/>
                  </a:lnTo>
                  <a:lnTo>
                    <a:pt x="874" y="757"/>
                  </a:lnTo>
                  <a:lnTo>
                    <a:pt x="875" y="757"/>
                  </a:lnTo>
                  <a:lnTo>
                    <a:pt x="879" y="757"/>
                  </a:lnTo>
                  <a:lnTo>
                    <a:pt x="881" y="751"/>
                  </a:lnTo>
                  <a:lnTo>
                    <a:pt x="887" y="745"/>
                  </a:lnTo>
                  <a:lnTo>
                    <a:pt x="887" y="738"/>
                  </a:lnTo>
                  <a:lnTo>
                    <a:pt x="892" y="730"/>
                  </a:lnTo>
                  <a:lnTo>
                    <a:pt x="894" y="727"/>
                  </a:lnTo>
                  <a:lnTo>
                    <a:pt x="894" y="727"/>
                  </a:lnTo>
                  <a:lnTo>
                    <a:pt x="894" y="727"/>
                  </a:lnTo>
                  <a:lnTo>
                    <a:pt x="894" y="727"/>
                  </a:lnTo>
                  <a:lnTo>
                    <a:pt x="894" y="727"/>
                  </a:lnTo>
                  <a:close/>
                  <a:moveTo>
                    <a:pt x="840" y="749"/>
                  </a:moveTo>
                  <a:lnTo>
                    <a:pt x="838" y="747"/>
                  </a:lnTo>
                  <a:lnTo>
                    <a:pt x="838" y="745"/>
                  </a:lnTo>
                  <a:lnTo>
                    <a:pt x="840" y="747"/>
                  </a:lnTo>
                  <a:lnTo>
                    <a:pt x="840" y="749"/>
                  </a:lnTo>
                  <a:lnTo>
                    <a:pt x="840" y="749"/>
                  </a:lnTo>
                  <a:lnTo>
                    <a:pt x="840" y="749"/>
                  </a:lnTo>
                  <a:lnTo>
                    <a:pt x="840" y="749"/>
                  </a:lnTo>
                  <a:close/>
                  <a:moveTo>
                    <a:pt x="860" y="755"/>
                  </a:moveTo>
                  <a:lnTo>
                    <a:pt x="862" y="751"/>
                  </a:lnTo>
                  <a:lnTo>
                    <a:pt x="864" y="755"/>
                  </a:lnTo>
                  <a:lnTo>
                    <a:pt x="862" y="757"/>
                  </a:lnTo>
                  <a:lnTo>
                    <a:pt x="860" y="755"/>
                  </a:lnTo>
                  <a:lnTo>
                    <a:pt x="860" y="755"/>
                  </a:lnTo>
                  <a:lnTo>
                    <a:pt x="860" y="755"/>
                  </a:lnTo>
                  <a:lnTo>
                    <a:pt x="860" y="755"/>
                  </a:lnTo>
                  <a:close/>
                  <a:moveTo>
                    <a:pt x="860" y="745"/>
                  </a:moveTo>
                  <a:lnTo>
                    <a:pt x="864" y="742"/>
                  </a:lnTo>
                  <a:lnTo>
                    <a:pt x="866" y="749"/>
                  </a:lnTo>
                  <a:lnTo>
                    <a:pt x="862" y="751"/>
                  </a:lnTo>
                  <a:lnTo>
                    <a:pt x="860" y="751"/>
                  </a:lnTo>
                  <a:lnTo>
                    <a:pt x="860" y="747"/>
                  </a:lnTo>
                  <a:lnTo>
                    <a:pt x="860" y="745"/>
                  </a:lnTo>
                  <a:lnTo>
                    <a:pt x="860" y="745"/>
                  </a:lnTo>
                  <a:lnTo>
                    <a:pt x="860" y="745"/>
                  </a:lnTo>
                  <a:lnTo>
                    <a:pt x="860" y="745"/>
                  </a:lnTo>
                  <a:close/>
                  <a:moveTo>
                    <a:pt x="860" y="736"/>
                  </a:moveTo>
                  <a:lnTo>
                    <a:pt x="862" y="742"/>
                  </a:lnTo>
                  <a:lnTo>
                    <a:pt x="860" y="742"/>
                  </a:lnTo>
                  <a:lnTo>
                    <a:pt x="860" y="740"/>
                  </a:lnTo>
                  <a:lnTo>
                    <a:pt x="860" y="738"/>
                  </a:lnTo>
                  <a:lnTo>
                    <a:pt x="860" y="736"/>
                  </a:lnTo>
                  <a:lnTo>
                    <a:pt x="860" y="736"/>
                  </a:lnTo>
                  <a:lnTo>
                    <a:pt x="860" y="736"/>
                  </a:lnTo>
                  <a:lnTo>
                    <a:pt x="860" y="736"/>
                  </a:lnTo>
                  <a:close/>
                  <a:moveTo>
                    <a:pt x="862" y="736"/>
                  </a:moveTo>
                  <a:lnTo>
                    <a:pt x="866" y="732"/>
                  </a:lnTo>
                  <a:lnTo>
                    <a:pt x="866" y="730"/>
                  </a:lnTo>
                  <a:lnTo>
                    <a:pt x="868" y="725"/>
                  </a:lnTo>
                  <a:lnTo>
                    <a:pt x="872" y="725"/>
                  </a:lnTo>
                  <a:lnTo>
                    <a:pt x="872" y="725"/>
                  </a:lnTo>
                  <a:lnTo>
                    <a:pt x="875" y="721"/>
                  </a:lnTo>
                  <a:lnTo>
                    <a:pt x="875" y="727"/>
                  </a:lnTo>
                  <a:lnTo>
                    <a:pt x="875" y="730"/>
                  </a:lnTo>
                  <a:lnTo>
                    <a:pt x="875" y="734"/>
                  </a:lnTo>
                  <a:lnTo>
                    <a:pt x="874" y="742"/>
                  </a:lnTo>
                  <a:lnTo>
                    <a:pt x="866" y="745"/>
                  </a:lnTo>
                  <a:lnTo>
                    <a:pt x="864" y="742"/>
                  </a:lnTo>
                  <a:lnTo>
                    <a:pt x="868" y="740"/>
                  </a:lnTo>
                  <a:lnTo>
                    <a:pt x="872" y="736"/>
                  </a:lnTo>
                  <a:lnTo>
                    <a:pt x="872" y="734"/>
                  </a:lnTo>
                  <a:lnTo>
                    <a:pt x="864" y="738"/>
                  </a:lnTo>
                  <a:lnTo>
                    <a:pt x="862" y="736"/>
                  </a:lnTo>
                  <a:lnTo>
                    <a:pt x="862" y="736"/>
                  </a:lnTo>
                  <a:lnTo>
                    <a:pt x="862" y="736"/>
                  </a:lnTo>
                  <a:lnTo>
                    <a:pt x="862" y="736"/>
                  </a:lnTo>
                  <a:close/>
                  <a:moveTo>
                    <a:pt x="830" y="749"/>
                  </a:moveTo>
                  <a:lnTo>
                    <a:pt x="832" y="747"/>
                  </a:lnTo>
                  <a:lnTo>
                    <a:pt x="834" y="749"/>
                  </a:lnTo>
                  <a:lnTo>
                    <a:pt x="834" y="751"/>
                  </a:lnTo>
                  <a:lnTo>
                    <a:pt x="836" y="755"/>
                  </a:lnTo>
                  <a:lnTo>
                    <a:pt x="834" y="761"/>
                  </a:lnTo>
                  <a:lnTo>
                    <a:pt x="832" y="761"/>
                  </a:lnTo>
                  <a:lnTo>
                    <a:pt x="832" y="755"/>
                  </a:lnTo>
                  <a:lnTo>
                    <a:pt x="830" y="751"/>
                  </a:lnTo>
                  <a:lnTo>
                    <a:pt x="830" y="749"/>
                  </a:lnTo>
                  <a:lnTo>
                    <a:pt x="830" y="749"/>
                  </a:lnTo>
                  <a:lnTo>
                    <a:pt x="830" y="749"/>
                  </a:lnTo>
                  <a:lnTo>
                    <a:pt x="830" y="749"/>
                  </a:lnTo>
                  <a:close/>
                  <a:moveTo>
                    <a:pt x="830" y="742"/>
                  </a:moveTo>
                  <a:lnTo>
                    <a:pt x="832" y="742"/>
                  </a:lnTo>
                  <a:lnTo>
                    <a:pt x="834" y="742"/>
                  </a:lnTo>
                  <a:lnTo>
                    <a:pt x="836" y="745"/>
                  </a:lnTo>
                  <a:lnTo>
                    <a:pt x="832" y="747"/>
                  </a:lnTo>
                  <a:lnTo>
                    <a:pt x="830" y="742"/>
                  </a:lnTo>
                  <a:lnTo>
                    <a:pt x="830" y="742"/>
                  </a:lnTo>
                  <a:lnTo>
                    <a:pt x="830" y="742"/>
                  </a:lnTo>
                  <a:lnTo>
                    <a:pt x="830" y="742"/>
                  </a:lnTo>
                  <a:close/>
                  <a:moveTo>
                    <a:pt x="830" y="740"/>
                  </a:moveTo>
                  <a:lnTo>
                    <a:pt x="832" y="736"/>
                  </a:lnTo>
                  <a:lnTo>
                    <a:pt x="832" y="740"/>
                  </a:lnTo>
                  <a:lnTo>
                    <a:pt x="830" y="740"/>
                  </a:lnTo>
                  <a:lnTo>
                    <a:pt x="830" y="740"/>
                  </a:lnTo>
                  <a:lnTo>
                    <a:pt x="830" y="740"/>
                  </a:lnTo>
                  <a:lnTo>
                    <a:pt x="830" y="740"/>
                  </a:lnTo>
                  <a:close/>
                  <a:moveTo>
                    <a:pt x="826" y="732"/>
                  </a:moveTo>
                  <a:lnTo>
                    <a:pt x="830" y="734"/>
                  </a:lnTo>
                  <a:lnTo>
                    <a:pt x="826" y="738"/>
                  </a:lnTo>
                  <a:lnTo>
                    <a:pt x="826" y="732"/>
                  </a:lnTo>
                  <a:lnTo>
                    <a:pt x="826" y="732"/>
                  </a:lnTo>
                  <a:lnTo>
                    <a:pt x="826" y="732"/>
                  </a:lnTo>
                  <a:lnTo>
                    <a:pt x="826" y="732"/>
                  </a:lnTo>
                  <a:close/>
                  <a:moveTo>
                    <a:pt x="826" y="717"/>
                  </a:moveTo>
                  <a:lnTo>
                    <a:pt x="823" y="713"/>
                  </a:lnTo>
                  <a:lnTo>
                    <a:pt x="826" y="715"/>
                  </a:lnTo>
                  <a:lnTo>
                    <a:pt x="826" y="717"/>
                  </a:lnTo>
                  <a:lnTo>
                    <a:pt x="826" y="717"/>
                  </a:lnTo>
                  <a:lnTo>
                    <a:pt x="826" y="717"/>
                  </a:lnTo>
                  <a:lnTo>
                    <a:pt x="826" y="717"/>
                  </a:lnTo>
                  <a:close/>
                  <a:moveTo>
                    <a:pt x="834" y="721"/>
                  </a:moveTo>
                  <a:lnTo>
                    <a:pt x="836" y="717"/>
                  </a:lnTo>
                  <a:lnTo>
                    <a:pt x="838" y="721"/>
                  </a:lnTo>
                  <a:lnTo>
                    <a:pt x="836" y="721"/>
                  </a:lnTo>
                  <a:lnTo>
                    <a:pt x="834" y="721"/>
                  </a:lnTo>
                  <a:lnTo>
                    <a:pt x="834" y="721"/>
                  </a:lnTo>
                  <a:lnTo>
                    <a:pt x="834" y="721"/>
                  </a:lnTo>
                  <a:lnTo>
                    <a:pt x="834" y="721"/>
                  </a:lnTo>
                  <a:close/>
                  <a:moveTo>
                    <a:pt x="836" y="715"/>
                  </a:moveTo>
                  <a:lnTo>
                    <a:pt x="838" y="712"/>
                  </a:lnTo>
                  <a:lnTo>
                    <a:pt x="842" y="710"/>
                  </a:lnTo>
                  <a:lnTo>
                    <a:pt x="843" y="712"/>
                  </a:lnTo>
                  <a:lnTo>
                    <a:pt x="842" y="713"/>
                  </a:lnTo>
                  <a:lnTo>
                    <a:pt x="840" y="713"/>
                  </a:lnTo>
                  <a:lnTo>
                    <a:pt x="838" y="715"/>
                  </a:lnTo>
                  <a:lnTo>
                    <a:pt x="836" y="715"/>
                  </a:lnTo>
                  <a:lnTo>
                    <a:pt x="836" y="715"/>
                  </a:lnTo>
                  <a:lnTo>
                    <a:pt x="836" y="715"/>
                  </a:lnTo>
                  <a:lnTo>
                    <a:pt x="836" y="715"/>
                  </a:lnTo>
                  <a:close/>
                  <a:moveTo>
                    <a:pt x="843" y="717"/>
                  </a:moveTo>
                  <a:lnTo>
                    <a:pt x="845" y="713"/>
                  </a:lnTo>
                  <a:lnTo>
                    <a:pt x="845" y="710"/>
                  </a:lnTo>
                  <a:lnTo>
                    <a:pt x="842" y="706"/>
                  </a:lnTo>
                  <a:lnTo>
                    <a:pt x="845" y="704"/>
                  </a:lnTo>
                  <a:lnTo>
                    <a:pt x="847" y="704"/>
                  </a:lnTo>
                  <a:lnTo>
                    <a:pt x="851" y="708"/>
                  </a:lnTo>
                  <a:lnTo>
                    <a:pt x="847" y="712"/>
                  </a:lnTo>
                  <a:lnTo>
                    <a:pt x="847" y="715"/>
                  </a:lnTo>
                  <a:lnTo>
                    <a:pt x="849" y="717"/>
                  </a:lnTo>
                  <a:lnTo>
                    <a:pt x="851" y="717"/>
                  </a:lnTo>
                  <a:lnTo>
                    <a:pt x="855" y="717"/>
                  </a:lnTo>
                  <a:lnTo>
                    <a:pt x="855" y="725"/>
                  </a:lnTo>
                  <a:lnTo>
                    <a:pt x="851" y="725"/>
                  </a:lnTo>
                  <a:lnTo>
                    <a:pt x="855" y="727"/>
                  </a:lnTo>
                  <a:lnTo>
                    <a:pt x="855" y="730"/>
                  </a:lnTo>
                  <a:lnTo>
                    <a:pt x="851" y="730"/>
                  </a:lnTo>
                  <a:lnTo>
                    <a:pt x="851" y="730"/>
                  </a:lnTo>
                  <a:lnTo>
                    <a:pt x="849" y="732"/>
                  </a:lnTo>
                  <a:lnTo>
                    <a:pt x="855" y="736"/>
                  </a:lnTo>
                  <a:lnTo>
                    <a:pt x="855" y="740"/>
                  </a:lnTo>
                  <a:lnTo>
                    <a:pt x="851" y="742"/>
                  </a:lnTo>
                  <a:lnTo>
                    <a:pt x="851" y="742"/>
                  </a:lnTo>
                  <a:lnTo>
                    <a:pt x="855" y="742"/>
                  </a:lnTo>
                  <a:lnTo>
                    <a:pt x="855" y="742"/>
                  </a:lnTo>
                  <a:lnTo>
                    <a:pt x="855" y="745"/>
                  </a:lnTo>
                  <a:lnTo>
                    <a:pt x="851" y="749"/>
                  </a:lnTo>
                  <a:lnTo>
                    <a:pt x="851" y="749"/>
                  </a:lnTo>
                  <a:lnTo>
                    <a:pt x="849" y="751"/>
                  </a:lnTo>
                  <a:lnTo>
                    <a:pt x="851" y="751"/>
                  </a:lnTo>
                  <a:lnTo>
                    <a:pt x="851" y="755"/>
                  </a:lnTo>
                  <a:lnTo>
                    <a:pt x="851" y="755"/>
                  </a:lnTo>
                  <a:lnTo>
                    <a:pt x="851" y="757"/>
                  </a:lnTo>
                  <a:lnTo>
                    <a:pt x="849" y="761"/>
                  </a:lnTo>
                  <a:lnTo>
                    <a:pt x="847" y="761"/>
                  </a:lnTo>
                  <a:lnTo>
                    <a:pt x="845" y="757"/>
                  </a:lnTo>
                  <a:lnTo>
                    <a:pt x="845" y="755"/>
                  </a:lnTo>
                  <a:lnTo>
                    <a:pt x="842" y="751"/>
                  </a:lnTo>
                  <a:lnTo>
                    <a:pt x="842" y="749"/>
                  </a:lnTo>
                  <a:lnTo>
                    <a:pt x="845" y="747"/>
                  </a:lnTo>
                  <a:lnTo>
                    <a:pt x="843" y="745"/>
                  </a:lnTo>
                  <a:lnTo>
                    <a:pt x="843" y="742"/>
                  </a:lnTo>
                  <a:lnTo>
                    <a:pt x="847" y="742"/>
                  </a:lnTo>
                  <a:lnTo>
                    <a:pt x="845" y="740"/>
                  </a:lnTo>
                  <a:lnTo>
                    <a:pt x="842" y="740"/>
                  </a:lnTo>
                  <a:lnTo>
                    <a:pt x="842" y="742"/>
                  </a:lnTo>
                  <a:lnTo>
                    <a:pt x="840" y="740"/>
                  </a:lnTo>
                  <a:lnTo>
                    <a:pt x="836" y="740"/>
                  </a:lnTo>
                  <a:lnTo>
                    <a:pt x="836" y="738"/>
                  </a:lnTo>
                  <a:lnTo>
                    <a:pt x="838" y="736"/>
                  </a:lnTo>
                  <a:lnTo>
                    <a:pt x="840" y="736"/>
                  </a:lnTo>
                  <a:lnTo>
                    <a:pt x="840" y="734"/>
                  </a:lnTo>
                  <a:lnTo>
                    <a:pt x="840" y="732"/>
                  </a:lnTo>
                  <a:lnTo>
                    <a:pt x="843" y="730"/>
                  </a:lnTo>
                  <a:lnTo>
                    <a:pt x="843" y="727"/>
                  </a:lnTo>
                  <a:lnTo>
                    <a:pt x="842" y="727"/>
                  </a:lnTo>
                  <a:lnTo>
                    <a:pt x="840" y="727"/>
                  </a:lnTo>
                  <a:lnTo>
                    <a:pt x="838" y="725"/>
                  </a:lnTo>
                  <a:lnTo>
                    <a:pt x="840" y="725"/>
                  </a:lnTo>
                  <a:lnTo>
                    <a:pt x="843" y="725"/>
                  </a:lnTo>
                  <a:lnTo>
                    <a:pt x="845" y="721"/>
                  </a:lnTo>
                  <a:lnTo>
                    <a:pt x="843" y="717"/>
                  </a:lnTo>
                  <a:lnTo>
                    <a:pt x="843" y="717"/>
                  </a:lnTo>
                  <a:lnTo>
                    <a:pt x="843" y="717"/>
                  </a:lnTo>
                  <a:lnTo>
                    <a:pt x="843" y="717"/>
                  </a:lnTo>
                  <a:close/>
                  <a:moveTo>
                    <a:pt x="866" y="715"/>
                  </a:moveTo>
                  <a:lnTo>
                    <a:pt x="864" y="712"/>
                  </a:lnTo>
                  <a:lnTo>
                    <a:pt x="866" y="710"/>
                  </a:lnTo>
                  <a:lnTo>
                    <a:pt x="866" y="706"/>
                  </a:lnTo>
                  <a:lnTo>
                    <a:pt x="868" y="708"/>
                  </a:lnTo>
                  <a:lnTo>
                    <a:pt x="868" y="712"/>
                  </a:lnTo>
                  <a:lnTo>
                    <a:pt x="866" y="715"/>
                  </a:lnTo>
                  <a:lnTo>
                    <a:pt x="866" y="715"/>
                  </a:lnTo>
                  <a:lnTo>
                    <a:pt x="866" y="715"/>
                  </a:lnTo>
                  <a:lnTo>
                    <a:pt x="866" y="715"/>
                  </a:lnTo>
                  <a:close/>
                  <a:moveTo>
                    <a:pt x="860" y="717"/>
                  </a:moveTo>
                  <a:lnTo>
                    <a:pt x="860" y="713"/>
                  </a:lnTo>
                  <a:lnTo>
                    <a:pt x="862" y="713"/>
                  </a:lnTo>
                  <a:lnTo>
                    <a:pt x="862" y="717"/>
                  </a:lnTo>
                  <a:lnTo>
                    <a:pt x="860" y="717"/>
                  </a:lnTo>
                  <a:lnTo>
                    <a:pt x="860" y="717"/>
                  </a:lnTo>
                  <a:lnTo>
                    <a:pt x="860" y="717"/>
                  </a:lnTo>
                  <a:lnTo>
                    <a:pt x="860" y="717"/>
                  </a:lnTo>
                  <a:lnTo>
                    <a:pt x="860" y="717"/>
                  </a:lnTo>
                  <a:close/>
                  <a:moveTo>
                    <a:pt x="855" y="715"/>
                  </a:moveTo>
                  <a:lnTo>
                    <a:pt x="857" y="712"/>
                  </a:lnTo>
                  <a:lnTo>
                    <a:pt x="862" y="708"/>
                  </a:lnTo>
                  <a:lnTo>
                    <a:pt x="862" y="710"/>
                  </a:lnTo>
                  <a:lnTo>
                    <a:pt x="860" y="712"/>
                  </a:lnTo>
                  <a:lnTo>
                    <a:pt x="860" y="715"/>
                  </a:lnTo>
                  <a:lnTo>
                    <a:pt x="855" y="715"/>
                  </a:lnTo>
                  <a:lnTo>
                    <a:pt x="855" y="715"/>
                  </a:lnTo>
                  <a:lnTo>
                    <a:pt x="855" y="715"/>
                  </a:lnTo>
                  <a:lnTo>
                    <a:pt x="855" y="715"/>
                  </a:lnTo>
                  <a:close/>
                  <a:moveTo>
                    <a:pt x="851" y="706"/>
                  </a:moveTo>
                  <a:lnTo>
                    <a:pt x="855" y="702"/>
                  </a:lnTo>
                  <a:lnTo>
                    <a:pt x="860" y="702"/>
                  </a:lnTo>
                  <a:lnTo>
                    <a:pt x="860" y="704"/>
                  </a:lnTo>
                  <a:lnTo>
                    <a:pt x="857" y="710"/>
                  </a:lnTo>
                  <a:lnTo>
                    <a:pt x="855" y="708"/>
                  </a:lnTo>
                  <a:lnTo>
                    <a:pt x="851" y="706"/>
                  </a:lnTo>
                  <a:lnTo>
                    <a:pt x="851" y="706"/>
                  </a:lnTo>
                  <a:lnTo>
                    <a:pt x="851" y="706"/>
                  </a:lnTo>
                  <a:lnTo>
                    <a:pt x="851" y="706"/>
                  </a:lnTo>
                  <a:close/>
                  <a:moveTo>
                    <a:pt x="857" y="696"/>
                  </a:moveTo>
                  <a:lnTo>
                    <a:pt x="860" y="691"/>
                  </a:lnTo>
                  <a:lnTo>
                    <a:pt x="864" y="691"/>
                  </a:lnTo>
                  <a:lnTo>
                    <a:pt x="866" y="696"/>
                  </a:lnTo>
                  <a:lnTo>
                    <a:pt x="862" y="700"/>
                  </a:lnTo>
                  <a:lnTo>
                    <a:pt x="860" y="700"/>
                  </a:lnTo>
                  <a:lnTo>
                    <a:pt x="857" y="700"/>
                  </a:lnTo>
                  <a:lnTo>
                    <a:pt x="857" y="696"/>
                  </a:lnTo>
                  <a:lnTo>
                    <a:pt x="857" y="696"/>
                  </a:lnTo>
                  <a:lnTo>
                    <a:pt x="857" y="696"/>
                  </a:lnTo>
                  <a:lnTo>
                    <a:pt x="857" y="696"/>
                  </a:lnTo>
                  <a:close/>
                  <a:moveTo>
                    <a:pt x="845" y="700"/>
                  </a:moveTo>
                  <a:lnTo>
                    <a:pt x="845" y="696"/>
                  </a:lnTo>
                  <a:lnTo>
                    <a:pt x="849" y="687"/>
                  </a:lnTo>
                  <a:lnTo>
                    <a:pt x="851" y="685"/>
                  </a:lnTo>
                  <a:lnTo>
                    <a:pt x="847" y="685"/>
                  </a:lnTo>
                  <a:lnTo>
                    <a:pt x="847" y="681"/>
                  </a:lnTo>
                  <a:lnTo>
                    <a:pt x="845" y="680"/>
                  </a:lnTo>
                  <a:lnTo>
                    <a:pt x="847" y="676"/>
                  </a:lnTo>
                  <a:lnTo>
                    <a:pt x="851" y="676"/>
                  </a:lnTo>
                  <a:lnTo>
                    <a:pt x="855" y="681"/>
                  </a:lnTo>
                  <a:lnTo>
                    <a:pt x="857" y="681"/>
                  </a:lnTo>
                  <a:lnTo>
                    <a:pt x="860" y="685"/>
                  </a:lnTo>
                  <a:lnTo>
                    <a:pt x="860" y="687"/>
                  </a:lnTo>
                  <a:lnTo>
                    <a:pt x="857" y="693"/>
                  </a:lnTo>
                  <a:lnTo>
                    <a:pt x="855" y="693"/>
                  </a:lnTo>
                  <a:lnTo>
                    <a:pt x="855" y="687"/>
                  </a:lnTo>
                  <a:lnTo>
                    <a:pt x="855" y="691"/>
                  </a:lnTo>
                  <a:lnTo>
                    <a:pt x="855" y="693"/>
                  </a:lnTo>
                  <a:lnTo>
                    <a:pt x="851" y="696"/>
                  </a:lnTo>
                  <a:lnTo>
                    <a:pt x="855" y="700"/>
                  </a:lnTo>
                  <a:lnTo>
                    <a:pt x="851" y="700"/>
                  </a:lnTo>
                  <a:lnTo>
                    <a:pt x="851" y="700"/>
                  </a:lnTo>
                  <a:lnTo>
                    <a:pt x="849" y="702"/>
                  </a:lnTo>
                  <a:lnTo>
                    <a:pt x="845" y="700"/>
                  </a:lnTo>
                  <a:lnTo>
                    <a:pt x="845" y="700"/>
                  </a:lnTo>
                  <a:lnTo>
                    <a:pt x="845" y="700"/>
                  </a:lnTo>
                  <a:lnTo>
                    <a:pt x="845" y="700"/>
                  </a:lnTo>
                  <a:close/>
                  <a:moveTo>
                    <a:pt x="836" y="696"/>
                  </a:moveTo>
                  <a:lnTo>
                    <a:pt x="832" y="693"/>
                  </a:lnTo>
                  <a:lnTo>
                    <a:pt x="836" y="691"/>
                  </a:lnTo>
                  <a:lnTo>
                    <a:pt x="834" y="687"/>
                  </a:lnTo>
                  <a:lnTo>
                    <a:pt x="834" y="685"/>
                  </a:lnTo>
                  <a:lnTo>
                    <a:pt x="836" y="683"/>
                  </a:lnTo>
                  <a:lnTo>
                    <a:pt x="840" y="683"/>
                  </a:lnTo>
                  <a:lnTo>
                    <a:pt x="840" y="680"/>
                  </a:lnTo>
                  <a:lnTo>
                    <a:pt x="840" y="680"/>
                  </a:lnTo>
                  <a:lnTo>
                    <a:pt x="843" y="685"/>
                  </a:lnTo>
                  <a:lnTo>
                    <a:pt x="842" y="687"/>
                  </a:lnTo>
                  <a:lnTo>
                    <a:pt x="843" y="691"/>
                  </a:lnTo>
                  <a:lnTo>
                    <a:pt x="845" y="687"/>
                  </a:lnTo>
                  <a:lnTo>
                    <a:pt x="845" y="691"/>
                  </a:lnTo>
                  <a:lnTo>
                    <a:pt x="843" y="696"/>
                  </a:lnTo>
                  <a:lnTo>
                    <a:pt x="838" y="702"/>
                  </a:lnTo>
                  <a:lnTo>
                    <a:pt x="838" y="706"/>
                  </a:lnTo>
                  <a:lnTo>
                    <a:pt x="836" y="708"/>
                  </a:lnTo>
                  <a:lnTo>
                    <a:pt x="832" y="710"/>
                  </a:lnTo>
                  <a:lnTo>
                    <a:pt x="832" y="706"/>
                  </a:lnTo>
                  <a:lnTo>
                    <a:pt x="832" y="704"/>
                  </a:lnTo>
                  <a:lnTo>
                    <a:pt x="830" y="712"/>
                  </a:lnTo>
                  <a:lnTo>
                    <a:pt x="830" y="710"/>
                  </a:lnTo>
                  <a:lnTo>
                    <a:pt x="830" y="706"/>
                  </a:lnTo>
                  <a:lnTo>
                    <a:pt x="830" y="702"/>
                  </a:lnTo>
                  <a:lnTo>
                    <a:pt x="830" y="700"/>
                  </a:lnTo>
                  <a:lnTo>
                    <a:pt x="832" y="700"/>
                  </a:lnTo>
                  <a:lnTo>
                    <a:pt x="834" y="700"/>
                  </a:lnTo>
                  <a:lnTo>
                    <a:pt x="836" y="700"/>
                  </a:lnTo>
                  <a:lnTo>
                    <a:pt x="836" y="696"/>
                  </a:lnTo>
                  <a:lnTo>
                    <a:pt x="836" y="696"/>
                  </a:lnTo>
                  <a:lnTo>
                    <a:pt x="836" y="696"/>
                  </a:lnTo>
                  <a:lnTo>
                    <a:pt x="836" y="696"/>
                  </a:lnTo>
                  <a:close/>
                  <a:moveTo>
                    <a:pt x="834" y="663"/>
                  </a:moveTo>
                  <a:lnTo>
                    <a:pt x="836" y="663"/>
                  </a:lnTo>
                  <a:lnTo>
                    <a:pt x="836" y="666"/>
                  </a:lnTo>
                  <a:lnTo>
                    <a:pt x="834" y="663"/>
                  </a:lnTo>
                  <a:lnTo>
                    <a:pt x="834" y="663"/>
                  </a:lnTo>
                  <a:lnTo>
                    <a:pt x="834" y="663"/>
                  </a:lnTo>
                  <a:lnTo>
                    <a:pt x="834" y="663"/>
                  </a:lnTo>
                  <a:close/>
                  <a:moveTo>
                    <a:pt x="826" y="666"/>
                  </a:moveTo>
                  <a:lnTo>
                    <a:pt x="826" y="663"/>
                  </a:lnTo>
                  <a:lnTo>
                    <a:pt x="830" y="663"/>
                  </a:lnTo>
                  <a:lnTo>
                    <a:pt x="830" y="663"/>
                  </a:lnTo>
                  <a:lnTo>
                    <a:pt x="832" y="666"/>
                  </a:lnTo>
                  <a:lnTo>
                    <a:pt x="832" y="674"/>
                  </a:lnTo>
                  <a:lnTo>
                    <a:pt x="832" y="680"/>
                  </a:lnTo>
                  <a:lnTo>
                    <a:pt x="830" y="681"/>
                  </a:lnTo>
                  <a:lnTo>
                    <a:pt x="830" y="687"/>
                  </a:lnTo>
                  <a:lnTo>
                    <a:pt x="826" y="691"/>
                  </a:lnTo>
                  <a:lnTo>
                    <a:pt x="826" y="696"/>
                  </a:lnTo>
                  <a:lnTo>
                    <a:pt x="826" y="700"/>
                  </a:lnTo>
                  <a:lnTo>
                    <a:pt x="826" y="702"/>
                  </a:lnTo>
                  <a:lnTo>
                    <a:pt x="823" y="702"/>
                  </a:lnTo>
                  <a:lnTo>
                    <a:pt x="823" y="700"/>
                  </a:lnTo>
                  <a:lnTo>
                    <a:pt x="823" y="696"/>
                  </a:lnTo>
                  <a:lnTo>
                    <a:pt x="823" y="696"/>
                  </a:lnTo>
                  <a:lnTo>
                    <a:pt x="821" y="691"/>
                  </a:lnTo>
                  <a:lnTo>
                    <a:pt x="823" y="687"/>
                  </a:lnTo>
                  <a:lnTo>
                    <a:pt x="823" y="687"/>
                  </a:lnTo>
                  <a:lnTo>
                    <a:pt x="826" y="687"/>
                  </a:lnTo>
                  <a:lnTo>
                    <a:pt x="826" y="685"/>
                  </a:lnTo>
                  <a:lnTo>
                    <a:pt x="823" y="687"/>
                  </a:lnTo>
                  <a:lnTo>
                    <a:pt x="823" y="687"/>
                  </a:lnTo>
                  <a:lnTo>
                    <a:pt x="823" y="683"/>
                  </a:lnTo>
                  <a:lnTo>
                    <a:pt x="823" y="683"/>
                  </a:lnTo>
                  <a:lnTo>
                    <a:pt x="823" y="681"/>
                  </a:lnTo>
                  <a:lnTo>
                    <a:pt x="821" y="680"/>
                  </a:lnTo>
                  <a:lnTo>
                    <a:pt x="821" y="678"/>
                  </a:lnTo>
                  <a:lnTo>
                    <a:pt x="823" y="678"/>
                  </a:lnTo>
                  <a:lnTo>
                    <a:pt x="826" y="676"/>
                  </a:lnTo>
                  <a:lnTo>
                    <a:pt x="826" y="672"/>
                  </a:lnTo>
                  <a:lnTo>
                    <a:pt x="826" y="668"/>
                  </a:lnTo>
                  <a:lnTo>
                    <a:pt x="826" y="666"/>
                  </a:lnTo>
                  <a:lnTo>
                    <a:pt x="826" y="666"/>
                  </a:lnTo>
                  <a:lnTo>
                    <a:pt x="826" y="666"/>
                  </a:lnTo>
                  <a:lnTo>
                    <a:pt x="826" y="666"/>
                  </a:lnTo>
                  <a:lnTo>
                    <a:pt x="826" y="666"/>
                  </a:lnTo>
                  <a:close/>
                  <a:moveTo>
                    <a:pt x="819" y="666"/>
                  </a:moveTo>
                  <a:lnTo>
                    <a:pt x="821" y="663"/>
                  </a:lnTo>
                  <a:lnTo>
                    <a:pt x="823" y="666"/>
                  </a:lnTo>
                  <a:lnTo>
                    <a:pt x="821" y="668"/>
                  </a:lnTo>
                  <a:lnTo>
                    <a:pt x="821" y="672"/>
                  </a:lnTo>
                  <a:lnTo>
                    <a:pt x="817" y="674"/>
                  </a:lnTo>
                  <a:lnTo>
                    <a:pt x="817" y="672"/>
                  </a:lnTo>
                  <a:lnTo>
                    <a:pt x="819" y="668"/>
                  </a:lnTo>
                  <a:lnTo>
                    <a:pt x="817" y="668"/>
                  </a:lnTo>
                  <a:lnTo>
                    <a:pt x="819" y="666"/>
                  </a:lnTo>
                  <a:lnTo>
                    <a:pt x="819" y="666"/>
                  </a:lnTo>
                  <a:lnTo>
                    <a:pt x="819" y="666"/>
                  </a:lnTo>
                  <a:lnTo>
                    <a:pt x="819" y="666"/>
                  </a:lnTo>
                  <a:close/>
                  <a:moveTo>
                    <a:pt x="836" y="674"/>
                  </a:moveTo>
                  <a:lnTo>
                    <a:pt x="838" y="670"/>
                  </a:lnTo>
                  <a:lnTo>
                    <a:pt x="838" y="666"/>
                  </a:lnTo>
                  <a:lnTo>
                    <a:pt x="840" y="663"/>
                  </a:lnTo>
                  <a:lnTo>
                    <a:pt x="845" y="663"/>
                  </a:lnTo>
                  <a:lnTo>
                    <a:pt x="843" y="663"/>
                  </a:lnTo>
                  <a:lnTo>
                    <a:pt x="845" y="661"/>
                  </a:lnTo>
                  <a:lnTo>
                    <a:pt x="842" y="657"/>
                  </a:lnTo>
                  <a:lnTo>
                    <a:pt x="843" y="651"/>
                  </a:lnTo>
                  <a:lnTo>
                    <a:pt x="847" y="646"/>
                  </a:lnTo>
                  <a:lnTo>
                    <a:pt x="847" y="636"/>
                  </a:lnTo>
                  <a:lnTo>
                    <a:pt x="849" y="631"/>
                  </a:lnTo>
                  <a:lnTo>
                    <a:pt x="851" y="632"/>
                  </a:lnTo>
                  <a:lnTo>
                    <a:pt x="851" y="636"/>
                  </a:lnTo>
                  <a:lnTo>
                    <a:pt x="855" y="638"/>
                  </a:lnTo>
                  <a:lnTo>
                    <a:pt x="857" y="642"/>
                  </a:lnTo>
                  <a:lnTo>
                    <a:pt x="860" y="655"/>
                  </a:lnTo>
                  <a:lnTo>
                    <a:pt x="855" y="661"/>
                  </a:lnTo>
                  <a:lnTo>
                    <a:pt x="855" y="661"/>
                  </a:lnTo>
                  <a:lnTo>
                    <a:pt x="855" y="651"/>
                  </a:lnTo>
                  <a:lnTo>
                    <a:pt x="855" y="644"/>
                  </a:lnTo>
                  <a:lnTo>
                    <a:pt x="855" y="647"/>
                  </a:lnTo>
                  <a:lnTo>
                    <a:pt x="851" y="661"/>
                  </a:lnTo>
                  <a:lnTo>
                    <a:pt x="851" y="663"/>
                  </a:lnTo>
                  <a:lnTo>
                    <a:pt x="851" y="666"/>
                  </a:lnTo>
                  <a:lnTo>
                    <a:pt x="851" y="666"/>
                  </a:lnTo>
                  <a:lnTo>
                    <a:pt x="847" y="666"/>
                  </a:lnTo>
                  <a:lnTo>
                    <a:pt x="845" y="670"/>
                  </a:lnTo>
                  <a:lnTo>
                    <a:pt x="840" y="674"/>
                  </a:lnTo>
                  <a:lnTo>
                    <a:pt x="838" y="676"/>
                  </a:lnTo>
                  <a:lnTo>
                    <a:pt x="836" y="674"/>
                  </a:lnTo>
                  <a:lnTo>
                    <a:pt x="836" y="674"/>
                  </a:lnTo>
                  <a:lnTo>
                    <a:pt x="836" y="674"/>
                  </a:lnTo>
                  <a:lnTo>
                    <a:pt x="836" y="674"/>
                  </a:lnTo>
                  <a:close/>
                  <a:moveTo>
                    <a:pt x="826" y="632"/>
                  </a:moveTo>
                  <a:lnTo>
                    <a:pt x="830" y="631"/>
                  </a:lnTo>
                  <a:lnTo>
                    <a:pt x="834" y="632"/>
                  </a:lnTo>
                  <a:lnTo>
                    <a:pt x="834" y="636"/>
                  </a:lnTo>
                  <a:lnTo>
                    <a:pt x="832" y="638"/>
                  </a:lnTo>
                  <a:lnTo>
                    <a:pt x="834" y="640"/>
                  </a:lnTo>
                  <a:lnTo>
                    <a:pt x="836" y="638"/>
                  </a:lnTo>
                  <a:lnTo>
                    <a:pt x="840" y="636"/>
                  </a:lnTo>
                  <a:lnTo>
                    <a:pt x="843" y="640"/>
                  </a:lnTo>
                  <a:lnTo>
                    <a:pt x="843" y="642"/>
                  </a:lnTo>
                  <a:lnTo>
                    <a:pt x="840" y="644"/>
                  </a:lnTo>
                  <a:lnTo>
                    <a:pt x="840" y="646"/>
                  </a:lnTo>
                  <a:lnTo>
                    <a:pt x="838" y="647"/>
                  </a:lnTo>
                  <a:lnTo>
                    <a:pt x="836" y="647"/>
                  </a:lnTo>
                  <a:lnTo>
                    <a:pt x="832" y="644"/>
                  </a:lnTo>
                  <a:lnTo>
                    <a:pt x="830" y="638"/>
                  </a:lnTo>
                  <a:lnTo>
                    <a:pt x="830" y="640"/>
                  </a:lnTo>
                  <a:lnTo>
                    <a:pt x="832" y="647"/>
                  </a:lnTo>
                  <a:lnTo>
                    <a:pt x="832" y="651"/>
                  </a:lnTo>
                  <a:lnTo>
                    <a:pt x="838" y="651"/>
                  </a:lnTo>
                  <a:lnTo>
                    <a:pt x="840" y="655"/>
                  </a:lnTo>
                  <a:lnTo>
                    <a:pt x="838" y="657"/>
                  </a:lnTo>
                  <a:lnTo>
                    <a:pt x="836" y="663"/>
                  </a:lnTo>
                  <a:lnTo>
                    <a:pt x="834" y="663"/>
                  </a:lnTo>
                  <a:lnTo>
                    <a:pt x="830" y="657"/>
                  </a:lnTo>
                  <a:lnTo>
                    <a:pt x="830" y="655"/>
                  </a:lnTo>
                  <a:lnTo>
                    <a:pt x="826" y="646"/>
                  </a:lnTo>
                  <a:lnTo>
                    <a:pt x="826" y="649"/>
                  </a:lnTo>
                  <a:lnTo>
                    <a:pt x="826" y="655"/>
                  </a:lnTo>
                  <a:lnTo>
                    <a:pt x="826" y="657"/>
                  </a:lnTo>
                  <a:lnTo>
                    <a:pt x="826" y="663"/>
                  </a:lnTo>
                  <a:lnTo>
                    <a:pt x="823" y="663"/>
                  </a:lnTo>
                  <a:lnTo>
                    <a:pt x="821" y="657"/>
                  </a:lnTo>
                  <a:lnTo>
                    <a:pt x="823" y="655"/>
                  </a:lnTo>
                  <a:lnTo>
                    <a:pt x="819" y="653"/>
                  </a:lnTo>
                  <a:lnTo>
                    <a:pt x="821" y="649"/>
                  </a:lnTo>
                  <a:lnTo>
                    <a:pt x="819" y="644"/>
                  </a:lnTo>
                  <a:lnTo>
                    <a:pt x="821" y="640"/>
                  </a:lnTo>
                  <a:lnTo>
                    <a:pt x="823" y="642"/>
                  </a:lnTo>
                  <a:lnTo>
                    <a:pt x="823" y="640"/>
                  </a:lnTo>
                  <a:lnTo>
                    <a:pt x="821" y="638"/>
                  </a:lnTo>
                  <a:lnTo>
                    <a:pt x="821" y="636"/>
                  </a:lnTo>
                  <a:lnTo>
                    <a:pt x="823" y="631"/>
                  </a:lnTo>
                  <a:lnTo>
                    <a:pt x="823" y="636"/>
                  </a:lnTo>
                  <a:lnTo>
                    <a:pt x="826" y="632"/>
                  </a:lnTo>
                  <a:lnTo>
                    <a:pt x="826" y="632"/>
                  </a:lnTo>
                  <a:lnTo>
                    <a:pt x="826" y="632"/>
                  </a:lnTo>
                  <a:lnTo>
                    <a:pt x="826" y="632"/>
                  </a:lnTo>
                  <a:lnTo>
                    <a:pt x="826" y="632"/>
                  </a:lnTo>
                  <a:close/>
                  <a:moveTo>
                    <a:pt x="826" y="627"/>
                  </a:moveTo>
                  <a:lnTo>
                    <a:pt x="830" y="623"/>
                  </a:lnTo>
                  <a:lnTo>
                    <a:pt x="832" y="627"/>
                  </a:lnTo>
                  <a:lnTo>
                    <a:pt x="830" y="627"/>
                  </a:lnTo>
                  <a:lnTo>
                    <a:pt x="826" y="627"/>
                  </a:lnTo>
                  <a:lnTo>
                    <a:pt x="826" y="627"/>
                  </a:lnTo>
                  <a:lnTo>
                    <a:pt x="826" y="627"/>
                  </a:lnTo>
                  <a:lnTo>
                    <a:pt x="826" y="627"/>
                  </a:lnTo>
                  <a:close/>
                  <a:moveTo>
                    <a:pt x="277" y="399"/>
                  </a:moveTo>
                  <a:lnTo>
                    <a:pt x="275" y="397"/>
                  </a:lnTo>
                  <a:lnTo>
                    <a:pt x="277" y="395"/>
                  </a:lnTo>
                  <a:lnTo>
                    <a:pt x="277" y="397"/>
                  </a:lnTo>
                  <a:lnTo>
                    <a:pt x="277" y="399"/>
                  </a:lnTo>
                  <a:lnTo>
                    <a:pt x="277" y="399"/>
                  </a:lnTo>
                  <a:lnTo>
                    <a:pt x="277" y="399"/>
                  </a:lnTo>
                  <a:lnTo>
                    <a:pt x="277" y="399"/>
                  </a:lnTo>
                  <a:close/>
                  <a:moveTo>
                    <a:pt x="277" y="401"/>
                  </a:moveTo>
                  <a:lnTo>
                    <a:pt x="277" y="403"/>
                  </a:lnTo>
                  <a:lnTo>
                    <a:pt x="277" y="406"/>
                  </a:lnTo>
                  <a:lnTo>
                    <a:pt x="282" y="410"/>
                  </a:lnTo>
                  <a:lnTo>
                    <a:pt x="282" y="414"/>
                  </a:lnTo>
                  <a:lnTo>
                    <a:pt x="275" y="408"/>
                  </a:lnTo>
                  <a:lnTo>
                    <a:pt x="275" y="405"/>
                  </a:lnTo>
                  <a:lnTo>
                    <a:pt x="273" y="403"/>
                  </a:lnTo>
                  <a:lnTo>
                    <a:pt x="273" y="403"/>
                  </a:lnTo>
                  <a:lnTo>
                    <a:pt x="277" y="401"/>
                  </a:lnTo>
                  <a:lnTo>
                    <a:pt x="277" y="401"/>
                  </a:lnTo>
                  <a:lnTo>
                    <a:pt x="277" y="401"/>
                  </a:lnTo>
                  <a:lnTo>
                    <a:pt x="277" y="401"/>
                  </a:lnTo>
                  <a:close/>
                  <a:moveTo>
                    <a:pt x="467" y="339"/>
                  </a:moveTo>
                  <a:lnTo>
                    <a:pt x="465" y="342"/>
                  </a:lnTo>
                  <a:lnTo>
                    <a:pt x="465" y="350"/>
                  </a:lnTo>
                  <a:lnTo>
                    <a:pt x="461" y="350"/>
                  </a:lnTo>
                  <a:lnTo>
                    <a:pt x="461" y="346"/>
                  </a:lnTo>
                  <a:lnTo>
                    <a:pt x="459" y="344"/>
                  </a:lnTo>
                  <a:lnTo>
                    <a:pt x="454" y="346"/>
                  </a:lnTo>
                  <a:lnTo>
                    <a:pt x="450" y="344"/>
                  </a:lnTo>
                  <a:lnTo>
                    <a:pt x="450" y="342"/>
                  </a:lnTo>
                  <a:lnTo>
                    <a:pt x="461" y="331"/>
                  </a:lnTo>
                  <a:lnTo>
                    <a:pt x="465" y="329"/>
                  </a:lnTo>
                  <a:lnTo>
                    <a:pt x="467" y="329"/>
                  </a:lnTo>
                  <a:lnTo>
                    <a:pt x="467" y="339"/>
                  </a:lnTo>
                  <a:lnTo>
                    <a:pt x="467" y="339"/>
                  </a:lnTo>
                  <a:lnTo>
                    <a:pt x="467" y="339"/>
                  </a:lnTo>
                  <a:lnTo>
                    <a:pt x="467" y="339"/>
                  </a:lnTo>
                  <a:close/>
                  <a:moveTo>
                    <a:pt x="469" y="339"/>
                  </a:moveTo>
                  <a:lnTo>
                    <a:pt x="469" y="339"/>
                  </a:lnTo>
                  <a:lnTo>
                    <a:pt x="473" y="335"/>
                  </a:lnTo>
                  <a:lnTo>
                    <a:pt x="473" y="333"/>
                  </a:lnTo>
                  <a:lnTo>
                    <a:pt x="469" y="331"/>
                  </a:lnTo>
                  <a:lnTo>
                    <a:pt x="469" y="329"/>
                  </a:lnTo>
                  <a:lnTo>
                    <a:pt x="467" y="325"/>
                  </a:lnTo>
                  <a:lnTo>
                    <a:pt x="469" y="325"/>
                  </a:lnTo>
                  <a:lnTo>
                    <a:pt x="476" y="324"/>
                  </a:lnTo>
                  <a:lnTo>
                    <a:pt x="484" y="329"/>
                  </a:lnTo>
                  <a:lnTo>
                    <a:pt x="484" y="329"/>
                  </a:lnTo>
                  <a:lnTo>
                    <a:pt x="482" y="331"/>
                  </a:lnTo>
                  <a:lnTo>
                    <a:pt x="473" y="339"/>
                  </a:lnTo>
                  <a:lnTo>
                    <a:pt x="469" y="339"/>
                  </a:lnTo>
                  <a:lnTo>
                    <a:pt x="469" y="339"/>
                  </a:lnTo>
                  <a:lnTo>
                    <a:pt x="469" y="339"/>
                  </a:lnTo>
                  <a:lnTo>
                    <a:pt x="469" y="339"/>
                  </a:lnTo>
                  <a:close/>
                  <a:moveTo>
                    <a:pt x="506" y="314"/>
                  </a:moveTo>
                  <a:lnTo>
                    <a:pt x="506" y="314"/>
                  </a:lnTo>
                  <a:lnTo>
                    <a:pt x="512" y="312"/>
                  </a:lnTo>
                  <a:lnTo>
                    <a:pt x="514" y="316"/>
                  </a:lnTo>
                  <a:lnTo>
                    <a:pt x="512" y="320"/>
                  </a:lnTo>
                  <a:lnTo>
                    <a:pt x="510" y="320"/>
                  </a:lnTo>
                  <a:lnTo>
                    <a:pt x="506" y="314"/>
                  </a:lnTo>
                  <a:lnTo>
                    <a:pt x="506" y="314"/>
                  </a:lnTo>
                  <a:lnTo>
                    <a:pt x="506" y="314"/>
                  </a:lnTo>
                  <a:lnTo>
                    <a:pt x="506" y="314"/>
                  </a:lnTo>
                  <a:close/>
                  <a:moveTo>
                    <a:pt x="693" y="493"/>
                  </a:moveTo>
                  <a:lnTo>
                    <a:pt x="695" y="491"/>
                  </a:lnTo>
                  <a:lnTo>
                    <a:pt x="697" y="493"/>
                  </a:lnTo>
                  <a:lnTo>
                    <a:pt x="695" y="495"/>
                  </a:lnTo>
                  <a:lnTo>
                    <a:pt x="693" y="493"/>
                  </a:lnTo>
                  <a:lnTo>
                    <a:pt x="693" y="493"/>
                  </a:lnTo>
                  <a:lnTo>
                    <a:pt x="693" y="493"/>
                  </a:lnTo>
                  <a:lnTo>
                    <a:pt x="693" y="493"/>
                  </a:lnTo>
                  <a:close/>
                  <a:moveTo>
                    <a:pt x="676" y="550"/>
                  </a:moveTo>
                  <a:lnTo>
                    <a:pt x="680" y="546"/>
                  </a:lnTo>
                  <a:lnTo>
                    <a:pt x="682" y="548"/>
                  </a:lnTo>
                  <a:lnTo>
                    <a:pt x="676" y="550"/>
                  </a:lnTo>
                  <a:lnTo>
                    <a:pt x="676" y="550"/>
                  </a:lnTo>
                  <a:lnTo>
                    <a:pt x="676" y="550"/>
                  </a:lnTo>
                  <a:lnTo>
                    <a:pt x="676" y="550"/>
                  </a:lnTo>
                  <a:close/>
                  <a:moveTo>
                    <a:pt x="717" y="538"/>
                  </a:moveTo>
                  <a:lnTo>
                    <a:pt x="719" y="538"/>
                  </a:lnTo>
                  <a:lnTo>
                    <a:pt x="723" y="538"/>
                  </a:lnTo>
                  <a:lnTo>
                    <a:pt x="719" y="542"/>
                  </a:lnTo>
                  <a:lnTo>
                    <a:pt x="717" y="542"/>
                  </a:lnTo>
                  <a:lnTo>
                    <a:pt x="717" y="538"/>
                  </a:lnTo>
                  <a:lnTo>
                    <a:pt x="717" y="538"/>
                  </a:lnTo>
                  <a:lnTo>
                    <a:pt x="717" y="538"/>
                  </a:lnTo>
                  <a:lnTo>
                    <a:pt x="717" y="538"/>
                  </a:lnTo>
                  <a:close/>
                  <a:moveTo>
                    <a:pt x="687" y="502"/>
                  </a:moveTo>
                  <a:lnTo>
                    <a:pt x="687" y="499"/>
                  </a:lnTo>
                  <a:lnTo>
                    <a:pt x="689" y="499"/>
                  </a:lnTo>
                  <a:lnTo>
                    <a:pt x="689" y="502"/>
                  </a:lnTo>
                  <a:lnTo>
                    <a:pt x="687" y="502"/>
                  </a:lnTo>
                  <a:lnTo>
                    <a:pt x="687" y="502"/>
                  </a:lnTo>
                  <a:lnTo>
                    <a:pt x="687" y="502"/>
                  </a:lnTo>
                  <a:lnTo>
                    <a:pt x="687" y="502"/>
                  </a:lnTo>
                  <a:close/>
                  <a:moveTo>
                    <a:pt x="693" y="518"/>
                  </a:moveTo>
                  <a:lnTo>
                    <a:pt x="693" y="512"/>
                  </a:lnTo>
                  <a:lnTo>
                    <a:pt x="693" y="508"/>
                  </a:lnTo>
                  <a:lnTo>
                    <a:pt x="695" y="508"/>
                  </a:lnTo>
                  <a:lnTo>
                    <a:pt x="695" y="512"/>
                  </a:lnTo>
                  <a:lnTo>
                    <a:pt x="698" y="512"/>
                  </a:lnTo>
                  <a:lnTo>
                    <a:pt x="698" y="518"/>
                  </a:lnTo>
                  <a:lnTo>
                    <a:pt x="697" y="518"/>
                  </a:lnTo>
                  <a:lnTo>
                    <a:pt x="693" y="518"/>
                  </a:lnTo>
                  <a:lnTo>
                    <a:pt x="693" y="518"/>
                  </a:lnTo>
                  <a:lnTo>
                    <a:pt x="693" y="518"/>
                  </a:lnTo>
                  <a:lnTo>
                    <a:pt x="693" y="518"/>
                  </a:lnTo>
                  <a:close/>
                  <a:moveTo>
                    <a:pt x="661" y="529"/>
                  </a:moveTo>
                  <a:lnTo>
                    <a:pt x="665" y="529"/>
                  </a:lnTo>
                  <a:lnTo>
                    <a:pt x="665" y="529"/>
                  </a:lnTo>
                  <a:lnTo>
                    <a:pt x="665" y="527"/>
                  </a:lnTo>
                  <a:lnTo>
                    <a:pt x="672" y="521"/>
                  </a:lnTo>
                  <a:lnTo>
                    <a:pt x="676" y="521"/>
                  </a:lnTo>
                  <a:lnTo>
                    <a:pt x="680" y="518"/>
                  </a:lnTo>
                  <a:lnTo>
                    <a:pt x="682" y="518"/>
                  </a:lnTo>
                  <a:lnTo>
                    <a:pt x="685" y="512"/>
                  </a:lnTo>
                  <a:lnTo>
                    <a:pt x="687" y="514"/>
                  </a:lnTo>
                  <a:lnTo>
                    <a:pt x="685" y="518"/>
                  </a:lnTo>
                  <a:lnTo>
                    <a:pt x="687" y="518"/>
                  </a:lnTo>
                  <a:lnTo>
                    <a:pt x="685" y="519"/>
                  </a:lnTo>
                  <a:lnTo>
                    <a:pt x="682" y="519"/>
                  </a:lnTo>
                  <a:lnTo>
                    <a:pt x="676" y="527"/>
                  </a:lnTo>
                  <a:lnTo>
                    <a:pt x="672" y="529"/>
                  </a:lnTo>
                  <a:lnTo>
                    <a:pt x="672" y="529"/>
                  </a:lnTo>
                  <a:lnTo>
                    <a:pt x="670" y="533"/>
                  </a:lnTo>
                  <a:lnTo>
                    <a:pt x="668" y="529"/>
                  </a:lnTo>
                  <a:lnTo>
                    <a:pt x="665" y="533"/>
                  </a:lnTo>
                  <a:lnTo>
                    <a:pt x="661" y="533"/>
                  </a:lnTo>
                  <a:lnTo>
                    <a:pt x="661" y="529"/>
                  </a:lnTo>
                  <a:lnTo>
                    <a:pt x="661" y="529"/>
                  </a:lnTo>
                  <a:lnTo>
                    <a:pt x="661" y="529"/>
                  </a:lnTo>
                  <a:lnTo>
                    <a:pt x="661" y="529"/>
                  </a:lnTo>
                  <a:close/>
                  <a:moveTo>
                    <a:pt x="661" y="523"/>
                  </a:moveTo>
                  <a:lnTo>
                    <a:pt x="665" y="519"/>
                  </a:lnTo>
                  <a:lnTo>
                    <a:pt x="665" y="523"/>
                  </a:lnTo>
                  <a:lnTo>
                    <a:pt x="661" y="525"/>
                  </a:lnTo>
                  <a:lnTo>
                    <a:pt x="661" y="525"/>
                  </a:lnTo>
                  <a:lnTo>
                    <a:pt x="661" y="523"/>
                  </a:lnTo>
                  <a:lnTo>
                    <a:pt x="661" y="523"/>
                  </a:lnTo>
                  <a:lnTo>
                    <a:pt x="661" y="523"/>
                  </a:lnTo>
                  <a:lnTo>
                    <a:pt x="661" y="523"/>
                  </a:lnTo>
                  <a:close/>
                  <a:moveTo>
                    <a:pt x="670" y="514"/>
                  </a:moveTo>
                  <a:lnTo>
                    <a:pt x="676" y="508"/>
                  </a:lnTo>
                  <a:lnTo>
                    <a:pt x="676" y="508"/>
                  </a:lnTo>
                  <a:lnTo>
                    <a:pt x="678" y="504"/>
                  </a:lnTo>
                  <a:lnTo>
                    <a:pt x="680" y="504"/>
                  </a:lnTo>
                  <a:lnTo>
                    <a:pt x="682" y="508"/>
                  </a:lnTo>
                  <a:lnTo>
                    <a:pt x="678" y="508"/>
                  </a:lnTo>
                  <a:lnTo>
                    <a:pt x="678" y="512"/>
                  </a:lnTo>
                  <a:lnTo>
                    <a:pt x="674" y="514"/>
                  </a:lnTo>
                  <a:lnTo>
                    <a:pt x="672" y="518"/>
                  </a:lnTo>
                  <a:lnTo>
                    <a:pt x="670" y="518"/>
                  </a:lnTo>
                  <a:lnTo>
                    <a:pt x="670" y="514"/>
                  </a:lnTo>
                  <a:lnTo>
                    <a:pt x="670" y="514"/>
                  </a:lnTo>
                  <a:lnTo>
                    <a:pt x="670" y="514"/>
                  </a:lnTo>
                  <a:lnTo>
                    <a:pt x="670" y="514"/>
                  </a:lnTo>
                  <a:close/>
                  <a:moveTo>
                    <a:pt x="676" y="491"/>
                  </a:moveTo>
                  <a:lnTo>
                    <a:pt x="678" y="487"/>
                  </a:lnTo>
                  <a:lnTo>
                    <a:pt x="680" y="489"/>
                  </a:lnTo>
                  <a:lnTo>
                    <a:pt x="680" y="491"/>
                  </a:lnTo>
                  <a:lnTo>
                    <a:pt x="680" y="493"/>
                  </a:lnTo>
                  <a:lnTo>
                    <a:pt x="680" y="495"/>
                  </a:lnTo>
                  <a:lnTo>
                    <a:pt x="676" y="491"/>
                  </a:lnTo>
                  <a:lnTo>
                    <a:pt x="676" y="491"/>
                  </a:lnTo>
                  <a:lnTo>
                    <a:pt x="676" y="491"/>
                  </a:lnTo>
                  <a:lnTo>
                    <a:pt x="676" y="491"/>
                  </a:lnTo>
                  <a:close/>
                  <a:moveTo>
                    <a:pt x="454" y="231"/>
                  </a:moveTo>
                  <a:lnTo>
                    <a:pt x="454" y="231"/>
                  </a:lnTo>
                  <a:lnTo>
                    <a:pt x="456" y="231"/>
                  </a:lnTo>
                  <a:lnTo>
                    <a:pt x="459" y="231"/>
                  </a:lnTo>
                  <a:lnTo>
                    <a:pt x="456" y="235"/>
                  </a:lnTo>
                  <a:lnTo>
                    <a:pt x="454" y="231"/>
                  </a:lnTo>
                  <a:lnTo>
                    <a:pt x="454" y="231"/>
                  </a:lnTo>
                  <a:lnTo>
                    <a:pt x="454" y="231"/>
                  </a:lnTo>
                  <a:lnTo>
                    <a:pt x="454" y="231"/>
                  </a:lnTo>
                  <a:close/>
                  <a:moveTo>
                    <a:pt x="382" y="310"/>
                  </a:moveTo>
                  <a:lnTo>
                    <a:pt x="386" y="305"/>
                  </a:lnTo>
                  <a:lnTo>
                    <a:pt x="384" y="301"/>
                  </a:lnTo>
                  <a:lnTo>
                    <a:pt x="380" y="299"/>
                  </a:lnTo>
                  <a:lnTo>
                    <a:pt x="382" y="295"/>
                  </a:lnTo>
                  <a:lnTo>
                    <a:pt x="380" y="290"/>
                  </a:lnTo>
                  <a:lnTo>
                    <a:pt x="377" y="286"/>
                  </a:lnTo>
                  <a:lnTo>
                    <a:pt x="369" y="286"/>
                  </a:lnTo>
                  <a:lnTo>
                    <a:pt x="369" y="286"/>
                  </a:lnTo>
                  <a:lnTo>
                    <a:pt x="365" y="290"/>
                  </a:lnTo>
                  <a:lnTo>
                    <a:pt x="362" y="284"/>
                  </a:lnTo>
                  <a:lnTo>
                    <a:pt x="362" y="278"/>
                  </a:lnTo>
                  <a:lnTo>
                    <a:pt x="369" y="271"/>
                  </a:lnTo>
                  <a:lnTo>
                    <a:pt x="373" y="265"/>
                  </a:lnTo>
                  <a:lnTo>
                    <a:pt x="375" y="265"/>
                  </a:lnTo>
                  <a:lnTo>
                    <a:pt x="375" y="271"/>
                  </a:lnTo>
                  <a:lnTo>
                    <a:pt x="373" y="273"/>
                  </a:lnTo>
                  <a:lnTo>
                    <a:pt x="378" y="275"/>
                  </a:lnTo>
                  <a:lnTo>
                    <a:pt x="378" y="278"/>
                  </a:lnTo>
                  <a:lnTo>
                    <a:pt x="382" y="278"/>
                  </a:lnTo>
                  <a:lnTo>
                    <a:pt x="384" y="276"/>
                  </a:lnTo>
                  <a:lnTo>
                    <a:pt x="390" y="276"/>
                  </a:lnTo>
                  <a:lnTo>
                    <a:pt x="394" y="280"/>
                  </a:lnTo>
                  <a:lnTo>
                    <a:pt x="394" y="284"/>
                  </a:lnTo>
                  <a:lnTo>
                    <a:pt x="394" y="286"/>
                  </a:lnTo>
                  <a:lnTo>
                    <a:pt x="394" y="290"/>
                  </a:lnTo>
                  <a:lnTo>
                    <a:pt x="397" y="291"/>
                  </a:lnTo>
                  <a:lnTo>
                    <a:pt x="397" y="295"/>
                  </a:lnTo>
                  <a:lnTo>
                    <a:pt x="405" y="303"/>
                  </a:lnTo>
                  <a:lnTo>
                    <a:pt x="405" y="305"/>
                  </a:lnTo>
                  <a:lnTo>
                    <a:pt x="403" y="308"/>
                  </a:lnTo>
                  <a:lnTo>
                    <a:pt x="397" y="305"/>
                  </a:lnTo>
                  <a:lnTo>
                    <a:pt x="395" y="305"/>
                  </a:lnTo>
                  <a:lnTo>
                    <a:pt x="394" y="307"/>
                  </a:lnTo>
                  <a:lnTo>
                    <a:pt x="390" y="308"/>
                  </a:lnTo>
                  <a:lnTo>
                    <a:pt x="386" y="312"/>
                  </a:lnTo>
                  <a:lnTo>
                    <a:pt x="382" y="310"/>
                  </a:lnTo>
                  <a:lnTo>
                    <a:pt x="382" y="310"/>
                  </a:lnTo>
                  <a:lnTo>
                    <a:pt x="382" y="310"/>
                  </a:lnTo>
                  <a:lnTo>
                    <a:pt x="382" y="310"/>
                  </a:lnTo>
                  <a:close/>
                  <a:moveTo>
                    <a:pt x="356" y="437"/>
                  </a:moveTo>
                  <a:lnTo>
                    <a:pt x="363" y="437"/>
                  </a:lnTo>
                  <a:lnTo>
                    <a:pt x="365" y="438"/>
                  </a:lnTo>
                  <a:lnTo>
                    <a:pt x="369" y="438"/>
                  </a:lnTo>
                  <a:lnTo>
                    <a:pt x="373" y="438"/>
                  </a:lnTo>
                  <a:lnTo>
                    <a:pt x="377" y="435"/>
                  </a:lnTo>
                  <a:lnTo>
                    <a:pt x="382" y="435"/>
                  </a:lnTo>
                  <a:lnTo>
                    <a:pt x="382" y="437"/>
                  </a:lnTo>
                  <a:lnTo>
                    <a:pt x="386" y="440"/>
                  </a:lnTo>
                  <a:lnTo>
                    <a:pt x="388" y="444"/>
                  </a:lnTo>
                  <a:lnTo>
                    <a:pt x="384" y="448"/>
                  </a:lnTo>
                  <a:lnTo>
                    <a:pt x="382" y="453"/>
                  </a:lnTo>
                  <a:lnTo>
                    <a:pt x="377" y="453"/>
                  </a:lnTo>
                  <a:lnTo>
                    <a:pt x="373" y="450"/>
                  </a:lnTo>
                  <a:lnTo>
                    <a:pt x="369" y="453"/>
                  </a:lnTo>
                  <a:lnTo>
                    <a:pt x="365" y="450"/>
                  </a:lnTo>
                  <a:lnTo>
                    <a:pt x="363" y="450"/>
                  </a:lnTo>
                  <a:lnTo>
                    <a:pt x="360" y="444"/>
                  </a:lnTo>
                  <a:lnTo>
                    <a:pt x="356" y="437"/>
                  </a:lnTo>
                  <a:lnTo>
                    <a:pt x="356" y="437"/>
                  </a:lnTo>
                  <a:lnTo>
                    <a:pt x="356" y="437"/>
                  </a:lnTo>
                  <a:lnTo>
                    <a:pt x="356" y="437"/>
                  </a:lnTo>
                  <a:close/>
                  <a:moveTo>
                    <a:pt x="602" y="493"/>
                  </a:moveTo>
                  <a:lnTo>
                    <a:pt x="606" y="487"/>
                  </a:lnTo>
                  <a:lnTo>
                    <a:pt x="610" y="487"/>
                  </a:lnTo>
                  <a:lnTo>
                    <a:pt x="610" y="491"/>
                  </a:lnTo>
                  <a:lnTo>
                    <a:pt x="606" y="493"/>
                  </a:lnTo>
                  <a:lnTo>
                    <a:pt x="602" y="493"/>
                  </a:lnTo>
                  <a:lnTo>
                    <a:pt x="602" y="493"/>
                  </a:lnTo>
                  <a:lnTo>
                    <a:pt x="602" y="493"/>
                  </a:lnTo>
                  <a:lnTo>
                    <a:pt x="602" y="493"/>
                  </a:lnTo>
                  <a:close/>
                  <a:moveTo>
                    <a:pt x="563" y="519"/>
                  </a:moveTo>
                  <a:lnTo>
                    <a:pt x="567" y="519"/>
                  </a:lnTo>
                  <a:lnTo>
                    <a:pt x="569" y="519"/>
                  </a:lnTo>
                  <a:lnTo>
                    <a:pt x="567" y="521"/>
                  </a:lnTo>
                  <a:lnTo>
                    <a:pt x="563" y="519"/>
                  </a:lnTo>
                  <a:lnTo>
                    <a:pt x="563" y="519"/>
                  </a:lnTo>
                  <a:lnTo>
                    <a:pt x="563" y="519"/>
                  </a:lnTo>
                  <a:lnTo>
                    <a:pt x="563" y="519"/>
                  </a:lnTo>
                  <a:close/>
                  <a:moveTo>
                    <a:pt x="563" y="551"/>
                  </a:moveTo>
                  <a:lnTo>
                    <a:pt x="565" y="551"/>
                  </a:lnTo>
                  <a:lnTo>
                    <a:pt x="569" y="551"/>
                  </a:lnTo>
                  <a:lnTo>
                    <a:pt x="567" y="553"/>
                  </a:lnTo>
                  <a:lnTo>
                    <a:pt x="565" y="557"/>
                  </a:lnTo>
                  <a:lnTo>
                    <a:pt x="563" y="555"/>
                  </a:lnTo>
                  <a:lnTo>
                    <a:pt x="563" y="551"/>
                  </a:lnTo>
                  <a:lnTo>
                    <a:pt x="563" y="551"/>
                  </a:lnTo>
                  <a:lnTo>
                    <a:pt x="563" y="551"/>
                  </a:lnTo>
                  <a:lnTo>
                    <a:pt x="563" y="551"/>
                  </a:lnTo>
                  <a:close/>
                  <a:moveTo>
                    <a:pt x="550" y="568"/>
                  </a:moveTo>
                  <a:lnTo>
                    <a:pt x="548" y="568"/>
                  </a:lnTo>
                  <a:lnTo>
                    <a:pt x="550" y="566"/>
                  </a:lnTo>
                  <a:lnTo>
                    <a:pt x="552" y="568"/>
                  </a:lnTo>
                  <a:lnTo>
                    <a:pt x="552" y="566"/>
                  </a:lnTo>
                  <a:lnTo>
                    <a:pt x="555" y="568"/>
                  </a:lnTo>
                  <a:lnTo>
                    <a:pt x="557" y="563"/>
                  </a:lnTo>
                  <a:lnTo>
                    <a:pt x="555" y="563"/>
                  </a:lnTo>
                  <a:lnTo>
                    <a:pt x="557" y="559"/>
                  </a:lnTo>
                  <a:lnTo>
                    <a:pt x="561" y="559"/>
                  </a:lnTo>
                  <a:lnTo>
                    <a:pt x="563" y="559"/>
                  </a:lnTo>
                  <a:lnTo>
                    <a:pt x="563" y="563"/>
                  </a:lnTo>
                  <a:lnTo>
                    <a:pt x="563" y="563"/>
                  </a:lnTo>
                  <a:lnTo>
                    <a:pt x="565" y="561"/>
                  </a:lnTo>
                  <a:lnTo>
                    <a:pt x="567" y="561"/>
                  </a:lnTo>
                  <a:lnTo>
                    <a:pt x="569" y="563"/>
                  </a:lnTo>
                  <a:lnTo>
                    <a:pt x="567" y="563"/>
                  </a:lnTo>
                  <a:lnTo>
                    <a:pt x="565" y="568"/>
                  </a:lnTo>
                  <a:lnTo>
                    <a:pt x="569" y="568"/>
                  </a:lnTo>
                  <a:lnTo>
                    <a:pt x="569" y="572"/>
                  </a:lnTo>
                  <a:lnTo>
                    <a:pt x="567" y="572"/>
                  </a:lnTo>
                  <a:lnTo>
                    <a:pt x="565" y="568"/>
                  </a:lnTo>
                  <a:lnTo>
                    <a:pt x="561" y="572"/>
                  </a:lnTo>
                  <a:lnTo>
                    <a:pt x="561" y="572"/>
                  </a:lnTo>
                  <a:lnTo>
                    <a:pt x="557" y="572"/>
                  </a:lnTo>
                  <a:lnTo>
                    <a:pt x="555" y="572"/>
                  </a:lnTo>
                  <a:lnTo>
                    <a:pt x="552" y="572"/>
                  </a:lnTo>
                  <a:lnTo>
                    <a:pt x="550" y="568"/>
                  </a:lnTo>
                  <a:lnTo>
                    <a:pt x="550" y="568"/>
                  </a:lnTo>
                  <a:lnTo>
                    <a:pt x="550" y="568"/>
                  </a:lnTo>
                  <a:lnTo>
                    <a:pt x="550" y="568"/>
                  </a:lnTo>
                  <a:close/>
                  <a:moveTo>
                    <a:pt x="510" y="608"/>
                  </a:moveTo>
                  <a:lnTo>
                    <a:pt x="508" y="610"/>
                  </a:lnTo>
                  <a:lnTo>
                    <a:pt x="506" y="610"/>
                  </a:lnTo>
                  <a:lnTo>
                    <a:pt x="506" y="610"/>
                  </a:lnTo>
                  <a:lnTo>
                    <a:pt x="506" y="606"/>
                  </a:lnTo>
                  <a:lnTo>
                    <a:pt x="506" y="602"/>
                  </a:lnTo>
                  <a:lnTo>
                    <a:pt x="506" y="599"/>
                  </a:lnTo>
                  <a:lnTo>
                    <a:pt x="506" y="593"/>
                  </a:lnTo>
                  <a:lnTo>
                    <a:pt x="506" y="593"/>
                  </a:lnTo>
                  <a:lnTo>
                    <a:pt x="506" y="591"/>
                  </a:lnTo>
                  <a:lnTo>
                    <a:pt x="512" y="587"/>
                  </a:lnTo>
                  <a:lnTo>
                    <a:pt x="520" y="583"/>
                  </a:lnTo>
                  <a:lnTo>
                    <a:pt x="525" y="583"/>
                  </a:lnTo>
                  <a:lnTo>
                    <a:pt x="525" y="583"/>
                  </a:lnTo>
                  <a:lnTo>
                    <a:pt x="527" y="591"/>
                  </a:lnTo>
                  <a:lnTo>
                    <a:pt x="527" y="591"/>
                  </a:lnTo>
                  <a:lnTo>
                    <a:pt x="531" y="587"/>
                  </a:lnTo>
                  <a:lnTo>
                    <a:pt x="527" y="583"/>
                  </a:lnTo>
                  <a:lnTo>
                    <a:pt x="531" y="583"/>
                  </a:lnTo>
                  <a:lnTo>
                    <a:pt x="531" y="585"/>
                  </a:lnTo>
                  <a:lnTo>
                    <a:pt x="533" y="582"/>
                  </a:lnTo>
                  <a:lnTo>
                    <a:pt x="531" y="580"/>
                  </a:lnTo>
                  <a:lnTo>
                    <a:pt x="531" y="578"/>
                  </a:lnTo>
                  <a:lnTo>
                    <a:pt x="533" y="574"/>
                  </a:lnTo>
                  <a:lnTo>
                    <a:pt x="535" y="574"/>
                  </a:lnTo>
                  <a:lnTo>
                    <a:pt x="537" y="576"/>
                  </a:lnTo>
                  <a:lnTo>
                    <a:pt x="537" y="580"/>
                  </a:lnTo>
                  <a:lnTo>
                    <a:pt x="537" y="582"/>
                  </a:lnTo>
                  <a:lnTo>
                    <a:pt x="537" y="583"/>
                  </a:lnTo>
                  <a:lnTo>
                    <a:pt x="538" y="583"/>
                  </a:lnTo>
                  <a:lnTo>
                    <a:pt x="540" y="580"/>
                  </a:lnTo>
                  <a:lnTo>
                    <a:pt x="542" y="580"/>
                  </a:lnTo>
                  <a:lnTo>
                    <a:pt x="544" y="582"/>
                  </a:lnTo>
                  <a:lnTo>
                    <a:pt x="544" y="578"/>
                  </a:lnTo>
                  <a:lnTo>
                    <a:pt x="542" y="574"/>
                  </a:lnTo>
                  <a:lnTo>
                    <a:pt x="544" y="574"/>
                  </a:lnTo>
                  <a:lnTo>
                    <a:pt x="548" y="576"/>
                  </a:lnTo>
                  <a:lnTo>
                    <a:pt x="548" y="578"/>
                  </a:lnTo>
                  <a:lnTo>
                    <a:pt x="546" y="580"/>
                  </a:lnTo>
                  <a:lnTo>
                    <a:pt x="546" y="582"/>
                  </a:lnTo>
                  <a:lnTo>
                    <a:pt x="548" y="582"/>
                  </a:lnTo>
                  <a:lnTo>
                    <a:pt x="552" y="578"/>
                  </a:lnTo>
                  <a:lnTo>
                    <a:pt x="555" y="578"/>
                  </a:lnTo>
                  <a:lnTo>
                    <a:pt x="557" y="578"/>
                  </a:lnTo>
                  <a:lnTo>
                    <a:pt x="557" y="582"/>
                  </a:lnTo>
                  <a:lnTo>
                    <a:pt x="555" y="583"/>
                  </a:lnTo>
                  <a:lnTo>
                    <a:pt x="552" y="583"/>
                  </a:lnTo>
                  <a:lnTo>
                    <a:pt x="552" y="585"/>
                  </a:lnTo>
                  <a:lnTo>
                    <a:pt x="555" y="587"/>
                  </a:lnTo>
                  <a:lnTo>
                    <a:pt x="555" y="589"/>
                  </a:lnTo>
                  <a:lnTo>
                    <a:pt x="552" y="593"/>
                  </a:lnTo>
                  <a:lnTo>
                    <a:pt x="550" y="593"/>
                  </a:lnTo>
                  <a:lnTo>
                    <a:pt x="550" y="591"/>
                  </a:lnTo>
                  <a:lnTo>
                    <a:pt x="546" y="591"/>
                  </a:lnTo>
                  <a:lnTo>
                    <a:pt x="544" y="591"/>
                  </a:lnTo>
                  <a:lnTo>
                    <a:pt x="542" y="591"/>
                  </a:lnTo>
                  <a:lnTo>
                    <a:pt x="540" y="593"/>
                  </a:lnTo>
                  <a:lnTo>
                    <a:pt x="544" y="593"/>
                  </a:lnTo>
                  <a:lnTo>
                    <a:pt x="546" y="599"/>
                  </a:lnTo>
                  <a:lnTo>
                    <a:pt x="542" y="599"/>
                  </a:lnTo>
                  <a:lnTo>
                    <a:pt x="540" y="599"/>
                  </a:lnTo>
                  <a:lnTo>
                    <a:pt x="537" y="597"/>
                  </a:lnTo>
                  <a:lnTo>
                    <a:pt x="533" y="597"/>
                  </a:lnTo>
                  <a:lnTo>
                    <a:pt x="531" y="599"/>
                  </a:lnTo>
                  <a:lnTo>
                    <a:pt x="533" y="599"/>
                  </a:lnTo>
                  <a:lnTo>
                    <a:pt x="535" y="602"/>
                  </a:lnTo>
                  <a:lnTo>
                    <a:pt x="533" y="602"/>
                  </a:lnTo>
                  <a:lnTo>
                    <a:pt x="531" y="602"/>
                  </a:lnTo>
                  <a:lnTo>
                    <a:pt x="527" y="602"/>
                  </a:lnTo>
                  <a:lnTo>
                    <a:pt x="525" y="602"/>
                  </a:lnTo>
                  <a:lnTo>
                    <a:pt x="523" y="606"/>
                  </a:lnTo>
                  <a:lnTo>
                    <a:pt x="522" y="606"/>
                  </a:lnTo>
                  <a:lnTo>
                    <a:pt x="520" y="608"/>
                  </a:lnTo>
                  <a:lnTo>
                    <a:pt x="522" y="610"/>
                  </a:lnTo>
                  <a:lnTo>
                    <a:pt x="516" y="612"/>
                  </a:lnTo>
                  <a:lnTo>
                    <a:pt x="516" y="615"/>
                  </a:lnTo>
                  <a:lnTo>
                    <a:pt x="514" y="615"/>
                  </a:lnTo>
                  <a:lnTo>
                    <a:pt x="512" y="619"/>
                  </a:lnTo>
                  <a:lnTo>
                    <a:pt x="508" y="617"/>
                  </a:lnTo>
                  <a:lnTo>
                    <a:pt x="508" y="615"/>
                  </a:lnTo>
                  <a:lnTo>
                    <a:pt x="516" y="610"/>
                  </a:lnTo>
                  <a:lnTo>
                    <a:pt x="516" y="608"/>
                  </a:lnTo>
                  <a:lnTo>
                    <a:pt x="518" y="606"/>
                  </a:lnTo>
                  <a:lnTo>
                    <a:pt x="516" y="606"/>
                  </a:lnTo>
                  <a:lnTo>
                    <a:pt x="514" y="608"/>
                  </a:lnTo>
                  <a:lnTo>
                    <a:pt x="512" y="606"/>
                  </a:lnTo>
                  <a:lnTo>
                    <a:pt x="514" y="606"/>
                  </a:lnTo>
                  <a:lnTo>
                    <a:pt x="508" y="606"/>
                  </a:lnTo>
                  <a:lnTo>
                    <a:pt x="506" y="606"/>
                  </a:lnTo>
                  <a:lnTo>
                    <a:pt x="508" y="606"/>
                  </a:lnTo>
                  <a:lnTo>
                    <a:pt x="510" y="608"/>
                  </a:lnTo>
                  <a:lnTo>
                    <a:pt x="510" y="608"/>
                  </a:lnTo>
                  <a:lnTo>
                    <a:pt x="510" y="608"/>
                  </a:lnTo>
                  <a:lnTo>
                    <a:pt x="510" y="608"/>
                  </a:lnTo>
                  <a:close/>
                  <a:moveTo>
                    <a:pt x="503" y="623"/>
                  </a:moveTo>
                  <a:lnTo>
                    <a:pt x="506" y="623"/>
                  </a:lnTo>
                  <a:lnTo>
                    <a:pt x="503" y="623"/>
                  </a:lnTo>
                  <a:lnTo>
                    <a:pt x="503" y="623"/>
                  </a:lnTo>
                  <a:lnTo>
                    <a:pt x="503" y="623"/>
                  </a:lnTo>
                  <a:lnTo>
                    <a:pt x="503" y="623"/>
                  </a:lnTo>
                  <a:lnTo>
                    <a:pt x="503" y="623"/>
                  </a:lnTo>
                  <a:close/>
                  <a:moveTo>
                    <a:pt x="493" y="627"/>
                  </a:moveTo>
                  <a:lnTo>
                    <a:pt x="493" y="623"/>
                  </a:lnTo>
                  <a:lnTo>
                    <a:pt x="503" y="619"/>
                  </a:lnTo>
                  <a:lnTo>
                    <a:pt x="497" y="627"/>
                  </a:lnTo>
                  <a:lnTo>
                    <a:pt x="493" y="627"/>
                  </a:lnTo>
                  <a:lnTo>
                    <a:pt x="493" y="627"/>
                  </a:lnTo>
                  <a:lnTo>
                    <a:pt x="493" y="627"/>
                  </a:lnTo>
                  <a:lnTo>
                    <a:pt x="493" y="627"/>
                  </a:lnTo>
                  <a:close/>
                  <a:moveTo>
                    <a:pt x="469" y="647"/>
                  </a:moveTo>
                  <a:lnTo>
                    <a:pt x="467" y="647"/>
                  </a:lnTo>
                  <a:lnTo>
                    <a:pt x="467" y="646"/>
                  </a:lnTo>
                  <a:lnTo>
                    <a:pt x="469" y="644"/>
                  </a:lnTo>
                  <a:lnTo>
                    <a:pt x="469" y="647"/>
                  </a:lnTo>
                  <a:lnTo>
                    <a:pt x="469" y="647"/>
                  </a:lnTo>
                  <a:lnTo>
                    <a:pt x="469" y="647"/>
                  </a:lnTo>
                  <a:lnTo>
                    <a:pt x="469" y="647"/>
                  </a:lnTo>
                  <a:lnTo>
                    <a:pt x="469" y="647"/>
                  </a:lnTo>
                  <a:close/>
                  <a:moveTo>
                    <a:pt x="454" y="614"/>
                  </a:moveTo>
                  <a:lnTo>
                    <a:pt x="458" y="614"/>
                  </a:lnTo>
                  <a:lnTo>
                    <a:pt x="459" y="615"/>
                  </a:lnTo>
                  <a:lnTo>
                    <a:pt x="458" y="617"/>
                  </a:lnTo>
                  <a:lnTo>
                    <a:pt x="454" y="614"/>
                  </a:lnTo>
                  <a:lnTo>
                    <a:pt x="454" y="614"/>
                  </a:lnTo>
                  <a:lnTo>
                    <a:pt x="454" y="614"/>
                  </a:lnTo>
                  <a:lnTo>
                    <a:pt x="454" y="614"/>
                  </a:lnTo>
                  <a:close/>
                  <a:moveTo>
                    <a:pt x="382" y="647"/>
                  </a:moveTo>
                  <a:lnTo>
                    <a:pt x="382" y="647"/>
                  </a:lnTo>
                  <a:lnTo>
                    <a:pt x="384" y="646"/>
                  </a:lnTo>
                  <a:lnTo>
                    <a:pt x="384" y="647"/>
                  </a:lnTo>
                  <a:lnTo>
                    <a:pt x="382" y="647"/>
                  </a:lnTo>
                  <a:lnTo>
                    <a:pt x="382" y="647"/>
                  </a:lnTo>
                  <a:lnTo>
                    <a:pt x="382" y="647"/>
                  </a:lnTo>
                  <a:lnTo>
                    <a:pt x="382" y="647"/>
                  </a:lnTo>
                  <a:close/>
                  <a:moveTo>
                    <a:pt x="378" y="649"/>
                  </a:moveTo>
                  <a:lnTo>
                    <a:pt x="380" y="649"/>
                  </a:lnTo>
                  <a:lnTo>
                    <a:pt x="378" y="651"/>
                  </a:lnTo>
                  <a:lnTo>
                    <a:pt x="378" y="649"/>
                  </a:lnTo>
                  <a:lnTo>
                    <a:pt x="378" y="649"/>
                  </a:lnTo>
                  <a:lnTo>
                    <a:pt x="378" y="649"/>
                  </a:lnTo>
                  <a:lnTo>
                    <a:pt x="378" y="649"/>
                  </a:lnTo>
                  <a:close/>
                  <a:moveTo>
                    <a:pt x="394" y="663"/>
                  </a:moveTo>
                  <a:lnTo>
                    <a:pt x="394" y="666"/>
                  </a:lnTo>
                  <a:lnTo>
                    <a:pt x="394" y="666"/>
                  </a:lnTo>
                  <a:lnTo>
                    <a:pt x="394" y="663"/>
                  </a:lnTo>
                  <a:lnTo>
                    <a:pt x="394" y="663"/>
                  </a:lnTo>
                  <a:lnTo>
                    <a:pt x="394" y="663"/>
                  </a:lnTo>
                  <a:lnTo>
                    <a:pt x="394" y="663"/>
                  </a:lnTo>
                  <a:lnTo>
                    <a:pt x="394" y="663"/>
                  </a:lnTo>
                  <a:close/>
                  <a:moveTo>
                    <a:pt x="390" y="663"/>
                  </a:moveTo>
                  <a:lnTo>
                    <a:pt x="394" y="657"/>
                  </a:lnTo>
                  <a:lnTo>
                    <a:pt x="394" y="661"/>
                  </a:lnTo>
                  <a:lnTo>
                    <a:pt x="394" y="661"/>
                  </a:lnTo>
                  <a:lnTo>
                    <a:pt x="390" y="663"/>
                  </a:lnTo>
                  <a:lnTo>
                    <a:pt x="390" y="663"/>
                  </a:lnTo>
                  <a:lnTo>
                    <a:pt x="390" y="663"/>
                  </a:lnTo>
                  <a:lnTo>
                    <a:pt x="390" y="663"/>
                  </a:lnTo>
                  <a:close/>
                  <a:moveTo>
                    <a:pt x="377" y="666"/>
                  </a:moveTo>
                  <a:lnTo>
                    <a:pt x="378" y="661"/>
                  </a:lnTo>
                  <a:lnTo>
                    <a:pt x="382" y="657"/>
                  </a:lnTo>
                  <a:lnTo>
                    <a:pt x="382" y="657"/>
                  </a:lnTo>
                  <a:lnTo>
                    <a:pt x="388" y="655"/>
                  </a:lnTo>
                  <a:lnTo>
                    <a:pt x="384" y="657"/>
                  </a:lnTo>
                  <a:lnTo>
                    <a:pt x="384" y="661"/>
                  </a:lnTo>
                  <a:lnTo>
                    <a:pt x="378" y="663"/>
                  </a:lnTo>
                  <a:lnTo>
                    <a:pt x="377" y="666"/>
                  </a:lnTo>
                  <a:lnTo>
                    <a:pt x="377" y="666"/>
                  </a:lnTo>
                  <a:lnTo>
                    <a:pt x="377" y="666"/>
                  </a:lnTo>
                  <a:lnTo>
                    <a:pt x="377" y="666"/>
                  </a:lnTo>
                  <a:close/>
                  <a:moveTo>
                    <a:pt x="371" y="655"/>
                  </a:moveTo>
                  <a:lnTo>
                    <a:pt x="369" y="651"/>
                  </a:lnTo>
                  <a:lnTo>
                    <a:pt x="371" y="649"/>
                  </a:lnTo>
                  <a:lnTo>
                    <a:pt x="373" y="647"/>
                  </a:lnTo>
                  <a:lnTo>
                    <a:pt x="375" y="649"/>
                  </a:lnTo>
                  <a:lnTo>
                    <a:pt x="375" y="653"/>
                  </a:lnTo>
                  <a:lnTo>
                    <a:pt x="373" y="655"/>
                  </a:lnTo>
                  <a:lnTo>
                    <a:pt x="371" y="655"/>
                  </a:lnTo>
                  <a:lnTo>
                    <a:pt x="371" y="655"/>
                  </a:lnTo>
                  <a:lnTo>
                    <a:pt x="371" y="655"/>
                  </a:lnTo>
                  <a:lnTo>
                    <a:pt x="371" y="655"/>
                  </a:lnTo>
                  <a:close/>
                  <a:moveTo>
                    <a:pt x="354" y="653"/>
                  </a:moveTo>
                  <a:lnTo>
                    <a:pt x="356" y="651"/>
                  </a:lnTo>
                  <a:lnTo>
                    <a:pt x="356" y="655"/>
                  </a:lnTo>
                  <a:lnTo>
                    <a:pt x="354" y="657"/>
                  </a:lnTo>
                  <a:lnTo>
                    <a:pt x="354" y="653"/>
                  </a:lnTo>
                  <a:lnTo>
                    <a:pt x="354" y="653"/>
                  </a:lnTo>
                  <a:lnTo>
                    <a:pt x="354" y="653"/>
                  </a:lnTo>
                  <a:lnTo>
                    <a:pt x="354" y="653"/>
                  </a:lnTo>
                  <a:close/>
                  <a:moveTo>
                    <a:pt x="341" y="663"/>
                  </a:moveTo>
                  <a:lnTo>
                    <a:pt x="341" y="657"/>
                  </a:lnTo>
                  <a:lnTo>
                    <a:pt x="345" y="657"/>
                  </a:lnTo>
                  <a:lnTo>
                    <a:pt x="345" y="657"/>
                  </a:lnTo>
                  <a:lnTo>
                    <a:pt x="341" y="663"/>
                  </a:lnTo>
                  <a:lnTo>
                    <a:pt x="341" y="663"/>
                  </a:lnTo>
                  <a:lnTo>
                    <a:pt x="341" y="663"/>
                  </a:lnTo>
                  <a:lnTo>
                    <a:pt x="341" y="663"/>
                  </a:lnTo>
                  <a:close/>
                  <a:moveTo>
                    <a:pt x="328" y="670"/>
                  </a:moveTo>
                  <a:lnTo>
                    <a:pt x="331" y="674"/>
                  </a:lnTo>
                  <a:lnTo>
                    <a:pt x="330" y="674"/>
                  </a:lnTo>
                  <a:lnTo>
                    <a:pt x="326" y="672"/>
                  </a:lnTo>
                  <a:lnTo>
                    <a:pt x="328" y="670"/>
                  </a:lnTo>
                  <a:lnTo>
                    <a:pt x="328" y="670"/>
                  </a:lnTo>
                  <a:lnTo>
                    <a:pt x="328" y="670"/>
                  </a:lnTo>
                  <a:lnTo>
                    <a:pt x="328" y="670"/>
                  </a:lnTo>
                  <a:close/>
                  <a:moveTo>
                    <a:pt x="4" y="734"/>
                  </a:moveTo>
                  <a:lnTo>
                    <a:pt x="0" y="738"/>
                  </a:lnTo>
                  <a:lnTo>
                    <a:pt x="4" y="736"/>
                  </a:lnTo>
                  <a:lnTo>
                    <a:pt x="4" y="734"/>
                  </a:lnTo>
                  <a:lnTo>
                    <a:pt x="4" y="734"/>
                  </a:lnTo>
                  <a:lnTo>
                    <a:pt x="4" y="734"/>
                  </a:lnTo>
                  <a:lnTo>
                    <a:pt x="4" y="734"/>
                  </a:lnTo>
                  <a:close/>
                  <a:moveTo>
                    <a:pt x="6" y="725"/>
                  </a:moveTo>
                  <a:lnTo>
                    <a:pt x="4" y="727"/>
                  </a:lnTo>
                  <a:lnTo>
                    <a:pt x="6" y="730"/>
                  </a:lnTo>
                  <a:lnTo>
                    <a:pt x="8" y="727"/>
                  </a:lnTo>
                  <a:lnTo>
                    <a:pt x="6" y="725"/>
                  </a:lnTo>
                  <a:lnTo>
                    <a:pt x="6" y="725"/>
                  </a:lnTo>
                  <a:lnTo>
                    <a:pt x="6" y="725"/>
                  </a:lnTo>
                  <a:lnTo>
                    <a:pt x="6" y="725"/>
                  </a:lnTo>
                  <a:close/>
                  <a:moveTo>
                    <a:pt x="11" y="717"/>
                  </a:moveTo>
                  <a:lnTo>
                    <a:pt x="11" y="721"/>
                  </a:lnTo>
                  <a:lnTo>
                    <a:pt x="11" y="715"/>
                  </a:lnTo>
                  <a:lnTo>
                    <a:pt x="11" y="717"/>
                  </a:lnTo>
                  <a:lnTo>
                    <a:pt x="11" y="717"/>
                  </a:lnTo>
                  <a:lnTo>
                    <a:pt x="11" y="717"/>
                  </a:lnTo>
                  <a:lnTo>
                    <a:pt x="11" y="717"/>
                  </a:lnTo>
                  <a:close/>
                  <a:moveTo>
                    <a:pt x="32" y="721"/>
                  </a:moveTo>
                  <a:lnTo>
                    <a:pt x="28" y="715"/>
                  </a:lnTo>
                  <a:lnTo>
                    <a:pt x="26" y="715"/>
                  </a:lnTo>
                  <a:lnTo>
                    <a:pt x="23" y="717"/>
                  </a:lnTo>
                  <a:lnTo>
                    <a:pt x="25" y="717"/>
                  </a:lnTo>
                  <a:lnTo>
                    <a:pt x="28" y="721"/>
                  </a:lnTo>
                  <a:lnTo>
                    <a:pt x="25" y="721"/>
                  </a:lnTo>
                  <a:lnTo>
                    <a:pt x="26" y="725"/>
                  </a:lnTo>
                  <a:lnTo>
                    <a:pt x="28" y="725"/>
                  </a:lnTo>
                  <a:lnTo>
                    <a:pt x="32" y="721"/>
                  </a:lnTo>
                  <a:lnTo>
                    <a:pt x="32" y="721"/>
                  </a:lnTo>
                  <a:lnTo>
                    <a:pt x="32" y="721"/>
                  </a:lnTo>
                  <a:lnTo>
                    <a:pt x="32" y="721"/>
                  </a:lnTo>
                  <a:lnTo>
                    <a:pt x="32" y="721"/>
                  </a:lnTo>
                  <a:close/>
                  <a:moveTo>
                    <a:pt x="36" y="727"/>
                  </a:moveTo>
                  <a:lnTo>
                    <a:pt x="36" y="730"/>
                  </a:lnTo>
                  <a:lnTo>
                    <a:pt x="42" y="725"/>
                  </a:lnTo>
                  <a:lnTo>
                    <a:pt x="42" y="721"/>
                  </a:lnTo>
                  <a:lnTo>
                    <a:pt x="45" y="717"/>
                  </a:lnTo>
                  <a:lnTo>
                    <a:pt x="42" y="717"/>
                  </a:lnTo>
                  <a:lnTo>
                    <a:pt x="40" y="721"/>
                  </a:lnTo>
                  <a:lnTo>
                    <a:pt x="40" y="725"/>
                  </a:lnTo>
                  <a:lnTo>
                    <a:pt x="36" y="727"/>
                  </a:lnTo>
                  <a:lnTo>
                    <a:pt x="36" y="727"/>
                  </a:lnTo>
                  <a:lnTo>
                    <a:pt x="36" y="727"/>
                  </a:lnTo>
                  <a:lnTo>
                    <a:pt x="36" y="727"/>
                  </a:lnTo>
                  <a:close/>
                  <a:moveTo>
                    <a:pt x="55" y="725"/>
                  </a:moveTo>
                  <a:lnTo>
                    <a:pt x="53" y="721"/>
                  </a:lnTo>
                  <a:lnTo>
                    <a:pt x="51" y="717"/>
                  </a:lnTo>
                  <a:lnTo>
                    <a:pt x="51" y="725"/>
                  </a:lnTo>
                  <a:lnTo>
                    <a:pt x="47" y="725"/>
                  </a:lnTo>
                  <a:lnTo>
                    <a:pt x="45" y="730"/>
                  </a:lnTo>
                  <a:lnTo>
                    <a:pt x="49" y="730"/>
                  </a:lnTo>
                  <a:lnTo>
                    <a:pt x="55" y="725"/>
                  </a:lnTo>
                  <a:lnTo>
                    <a:pt x="55" y="725"/>
                  </a:lnTo>
                  <a:lnTo>
                    <a:pt x="55" y="725"/>
                  </a:lnTo>
                  <a:lnTo>
                    <a:pt x="55" y="725"/>
                  </a:lnTo>
                  <a:close/>
                  <a:moveTo>
                    <a:pt x="98" y="725"/>
                  </a:moveTo>
                  <a:lnTo>
                    <a:pt x="98" y="721"/>
                  </a:lnTo>
                  <a:lnTo>
                    <a:pt x="102" y="717"/>
                  </a:lnTo>
                  <a:lnTo>
                    <a:pt x="100" y="715"/>
                  </a:lnTo>
                  <a:lnTo>
                    <a:pt x="98" y="713"/>
                  </a:lnTo>
                  <a:lnTo>
                    <a:pt x="94" y="715"/>
                  </a:lnTo>
                  <a:lnTo>
                    <a:pt x="94" y="717"/>
                  </a:lnTo>
                  <a:lnTo>
                    <a:pt x="94" y="721"/>
                  </a:lnTo>
                  <a:lnTo>
                    <a:pt x="90" y="717"/>
                  </a:lnTo>
                  <a:lnTo>
                    <a:pt x="89" y="721"/>
                  </a:lnTo>
                  <a:lnTo>
                    <a:pt x="87" y="721"/>
                  </a:lnTo>
                  <a:lnTo>
                    <a:pt x="83" y="721"/>
                  </a:lnTo>
                  <a:lnTo>
                    <a:pt x="81" y="721"/>
                  </a:lnTo>
                  <a:lnTo>
                    <a:pt x="85" y="725"/>
                  </a:lnTo>
                  <a:lnTo>
                    <a:pt x="87" y="725"/>
                  </a:lnTo>
                  <a:lnTo>
                    <a:pt x="90" y="725"/>
                  </a:lnTo>
                  <a:lnTo>
                    <a:pt x="94" y="721"/>
                  </a:lnTo>
                  <a:lnTo>
                    <a:pt x="98" y="725"/>
                  </a:lnTo>
                  <a:lnTo>
                    <a:pt x="98" y="725"/>
                  </a:lnTo>
                  <a:lnTo>
                    <a:pt x="98" y="725"/>
                  </a:lnTo>
                  <a:lnTo>
                    <a:pt x="98" y="725"/>
                  </a:lnTo>
                  <a:close/>
                  <a:moveTo>
                    <a:pt x="106" y="725"/>
                  </a:moveTo>
                  <a:lnTo>
                    <a:pt x="115" y="725"/>
                  </a:lnTo>
                  <a:lnTo>
                    <a:pt x="115" y="725"/>
                  </a:lnTo>
                  <a:lnTo>
                    <a:pt x="119" y="727"/>
                  </a:lnTo>
                  <a:lnTo>
                    <a:pt x="115" y="730"/>
                  </a:lnTo>
                  <a:lnTo>
                    <a:pt x="106" y="727"/>
                  </a:lnTo>
                  <a:lnTo>
                    <a:pt x="104" y="727"/>
                  </a:lnTo>
                  <a:lnTo>
                    <a:pt x="102" y="725"/>
                  </a:lnTo>
                  <a:lnTo>
                    <a:pt x="102" y="725"/>
                  </a:lnTo>
                  <a:lnTo>
                    <a:pt x="106" y="725"/>
                  </a:lnTo>
                  <a:lnTo>
                    <a:pt x="106" y="725"/>
                  </a:lnTo>
                  <a:lnTo>
                    <a:pt x="106" y="725"/>
                  </a:lnTo>
                  <a:lnTo>
                    <a:pt x="106" y="725"/>
                  </a:lnTo>
                  <a:close/>
                  <a:moveTo>
                    <a:pt x="136" y="721"/>
                  </a:moveTo>
                  <a:lnTo>
                    <a:pt x="132" y="717"/>
                  </a:lnTo>
                  <a:lnTo>
                    <a:pt x="126" y="717"/>
                  </a:lnTo>
                  <a:lnTo>
                    <a:pt x="126" y="721"/>
                  </a:lnTo>
                  <a:lnTo>
                    <a:pt x="132" y="721"/>
                  </a:lnTo>
                  <a:lnTo>
                    <a:pt x="136" y="721"/>
                  </a:lnTo>
                  <a:lnTo>
                    <a:pt x="136" y="721"/>
                  </a:lnTo>
                  <a:lnTo>
                    <a:pt x="136" y="721"/>
                  </a:lnTo>
                  <a:lnTo>
                    <a:pt x="136" y="721"/>
                  </a:lnTo>
                  <a:close/>
                  <a:moveTo>
                    <a:pt x="154" y="717"/>
                  </a:moveTo>
                  <a:lnTo>
                    <a:pt x="154" y="713"/>
                  </a:lnTo>
                  <a:lnTo>
                    <a:pt x="153" y="717"/>
                  </a:lnTo>
                  <a:lnTo>
                    <a:pt x="154" y="717"/>
                  </a:lnTo>
                  <a:lnTo>
                    <a:pt x="154" y="717"/>
                  </a:lnTo>
                  <a:lnTo>
                    <a:pt x="154" y="717"/>
                  </a:lnTo>
                  <a:lnTo>
                    <a:pt x="154" y="717"/>
                  </a:lnTo>
                  <a:close/>
                  <a:moveTo>
                    <a:pt x="170" y="713"/>
                  </a:moveTo>
                  <a:lnTo>
                    <a:pt x="166" y="710"/>
                  </a:lnTo>
                  <a:lnTo>
                    <a:pt x="164" y="712"/>
                  </a:lnTo>
                  <a:lnTo>
                    <a:pt x="162" y="715"/>
                  </a:lnTo>
                  <a:lnTo>
                    <a:pt x="168" y="712"/>
                  </a:lnTo>
                  <a:lnTo>
                    <a:pt x="170" y="713"/>
                  </a:lnTo>
                  <a:lnTo>
                    <a:pt x="170" y="713"/>
                  </a:lnTo>
                  <a:lnTo>
                    <a:pt x="170" y="713"/>
                  </a:lnTo>
                  <a:lnTo>
                    <a:pt x="170" y="713"/>
                  </a:lnTo>
                  <a:close/>
                  <a:moveTo>
                    <a:pt x="177" y="712"/>
                  </a:moveTo>
                  <a:lnTo>
                    <a:pt x="177" y="710"/>
                  </a:lnTo>
                  <a:lnTo>
                    <a:pt x="173" y="712"/>
                  </a:lnTo>
                  <a:lnTo>
                    <a:pt x="177" y="713"/>
                  </a:lnTo>
                  <a:lnTo>
                    <a:pt x="177" y="712"/>
                  </a:lnTo>
                  <a:lnTo>
                    <a:pt x="177" y="712"/>
                  </a:lnTo>
                  <a:lnTo>
                    <a:pt x="177" y="712"/>
                  </a:lnTo>
                  <a:lnTo>
                    <a:pt x="177" y="712"/>
                  </a:lnTo>
                  <a:close/>
                  <a:moveTo>
                    <a:pt x="179" y="706"/>
                  </a:moveTo>
                  <a:lnTo>
                    <a:pt x="179" y="704"/>
                  </a:lnTo>
                  <a:lnTo>
                    <a:pt x="177" y="706"/>
                  </a:lnTo>
                  <a:lnTo>
                    <a:pt x="179" y="706"/>
                  </a:lnTo>
                  <a:lnTo>
                    <a:pt x="179" y="706"/>
                  </a:lnTo>
                  <a:lnTo>
                    <a:pt x="179" y="706"/>
                  </a:lnTo>
                  <a:lnTo>
                    <a:pt x="179" y="706"/>
                  </a:lnTo>
                  <a:close/>
                  <a:moveTo>
                    <a:pt x="183" y="708"/>
                  </a:moveTo>
                  <a:lnTo>
                    <a:pt x="183" y="712"/>
                  </a:lnTo>
                  <a:lnTo>
                    <a:pt x="186" y="710"/>
                  </a:lnTo>
                  <a:lnTo>
                    <a:pt x="185" y="706"/>
                  </a:lnTo>
                  <a:lnTo>
                    <a:pt x="183" y="708"/>
                  </a:lnTo>
                  <a:lnTo>
                    <a:pt x="183" y="708"/>
                  </a:lnTo>
                  <a:lnTo>
                    <a:pt x="183" y="708"/>
                  </a:lnTo>
                  <a:lnTo>
                    <a:pt x="183" y="708"/>
                  </a:lnTo>
                  <a:close/>
                  <a:moveTo>
                    <a:pt x="224" y="687"/>
                  </a:moveTo>
                  <a:lnTo>
                    <a:pt x="226" y="691"/>
                  </a:lnTo>
                  <a:lnTo>
                    <a:pt x="228" y="693"/>
                  </a:lnTo>
                  <a:lnTo>
                    <a:pt x="224" y="696"/>
                  </a:lnTo>
                  <a:lnTo>
                    <a:pt x="222" y="700"/>
                  </a:lnTo>
                  <a:lnTo>
                    <a:pt x="217" y="700"/>
                  </a:lnTo>
                  <a:lnTo>
                    <a:pt x="211" y="706"/>
                  </a:lnTo>
                  <a:lnTo>
                    <a:pt x="207" y="706"/>
                  </a:lnTo>
                  <a:lnTo>
                    <a:pt x="203" y="712"/>
                  </a:lnTo>
                  <a:lnTo>
                    <a:pt x="194" y="712"/>
                  </a:lnTo>
                  <a:lnTo>
                    <a:pt x="198" y="708"/>
                  </a:lnTo>
                  <a:lnTo>
                    <a:pt x="202" y="708"/>
                  </a:lnTo>
                  <a:lnTo>
                    <a:pt x="203" y="704"/>
                  </a:lnTo>
                  <a:lnTo>
                    <a:pt x="207" y="702"/>
                  </a:lnTo>
                  <a:lnTo>
                    <a:pt x="207" y="700"/>
                  </a:lnTo>
                  <a:lnTo>
                    <a:pt x="209" y="696"/>
                  </a:lnTo>
                  <a:lnTo>
                    <a:pt x="213" y="696"/>
                  </a:lnTo>
                  <a:lnTo>
                    <a:pt x="215" y="691"/>
                  </a:lnTo>
                  <a:lnTo>
                    <a:pt x="215" y="691"/>
                  </a:lnTo>
                  <a:lnTo>
                    <a:pt x="218" y="691"/>
                  </a:lnTo>
                  <a:lnTo>
                    <a:pt x="218" y="691"/>
                  </a:lnTo>
                  <a:lnTo>
                    <a:pt x="224" y="687"/>
                  </a:lnTo>
                  <a:lnTo>
                    <a:pt x="224" y="687"/>
                  </a:lnTo>
                  <a:lnTo>
                    <a:pt x="224" y="687"/>
                  </a:lnTo>
                  <a:lnTo>
                    <a:pt x="224" y="687"/>
                  </a:lnTo>
                  <a:close/>
                  <a:moveTo>
                    <a:pt x="252" y="676"/>
                  </a:moveTo>
                  <a:lnTo>
                    <a:pt x="252" y="676"/>
                  </a:lnTo>
                  <a:lnTo>
                    <a:pt x="249" y="680"/>
                  </a:lnTo>
                  <a:lnTo>
                    <a:pt x="249" y="683"/>
                  </a:lnTo>
                  <a:lnTo>
                    <a:pt x="250" y="685"/>
                  </a:lnTo>
                  <a:lnTo>
                    <a:pt x="249" y="687"/>
                  </a:lnTo>
                  <a:lnTo>
                    <a:pt x="245" y="685"/>
                  </a:lnTo>
                  <a:lnTo>
                    <a:pt x="241" y="687"/>
                  </a:lnTo>
                  <a:lnTo>
                    <a:pt x="243" y="691"/>
                  </a:lnTo>
                  <a:lnTo>
                    <a:pt x="241" y="691"/>
                  </a:lnTo>
                  <a:lnTo>
                    <a:pt x="237" y="693"/>
                  </a:lnTo>
                  <a:lnTo>
                    <a:pt x="235" y="693"/>
                  </a:lnTo>
                  <a:lnTo>
                    <a:pt x="232" y="696"/>
                  </a:lnTo>
                  <a:lnTo>
                    <a:pt x="228" y="696"/>
                  </a:lnTo>
                  <a:lnTo>
                    <a:pt x="226" y="696"/>
                  </a:lnTo>
                  <a:lnTo>
                    <a:pt x="228" y="700"/>
                  </a:lnTo>
                  <a:lnTo>
                    <a:pt x="234" y="700"/>
                  </a:lnTo>
                  <a:lnTo>
                    <a:pt x="239" y="700"/>
                  </a:lnTo>
                  <a:lnTo>
                    <a:pt x="243" y="693"/>
                  </a:lnTo>
                  <a:lnTo>
                    <a:pt x="243" y="696"/>
                  </a:lnTo>
                  <a:lnTo>
                    <a:pt x="245" y="696"/>
                  </a:lnTo>
                  <a:lnTo>
                    <a:pt x="247" y="693"/>
                  </a:lnTo>
                  <a:lnTo>
                    <a:pt x="247" y="691"/>
                  </a:lnTo>
                  <a:lnTo>
                    <a:pt x="250" y="691"/>
                  </a:lnTo>
                  <a:lnTo>
                    <a:pt x="250" y="693"/>
                  </a:lnTo>
                  <a:lnTo>
                    <a:pt x="252" y="693"/>
                  </a:lnTo>
                  <a:lnTo>
                    <a:pt x="256" y="691"/>
                  </a:lnTo>
                  <a:lnTo>
                    <a:pt x="262" y="687"/>
                  </a:lnTo>
                  <a:lnTo>
                    <a:pt x="262" y="687"/>
                  </a:lnTo>
                  <a:lnTo>
                    <a:pt x="256" y="685"/>
                  </a:lnTo>
                  <a:lnTo>
                    <a:pt x="262" y="683"/>
                  </a:lnTo>
                  <a:lnTo>
                    <a:pt x="258" y="680"/>
                  </a:lnTo>
                  <a:lnTo>
                    <a:pt x="256" y="678"/>
                  </a:lnTo>
                  <a:lnTo>
                    <a:pt x="252" y="676"/>
                  </a:lnTo>
                  <a:lnTo>
                    <a:pt x="252" y="676"/>
                  </a:lnTo>
                  <a:lnTo>
                    <a:pt x="252" y="676"/>
                  </a:lnTo>
                  <a:lnTo>
                    <a:pt x="252" y="676"/>
                  </a:lnTo>
                  <a:close/>
                  <a:moveTo>
                    <a:pt x="266" y="681"/>
                  </a:moveTo>
                  <a:lnTo>
                    <a:pt x="266" y="680"/>
                  </a:lnTo>
                  <a:lnTo>
                    <a:pt x="262" y="678"/>
                  </a:lnTo>
                  <a:lnTo>
                    <a:pt x="262" y="680"/>
                  </a:lnTo>
                  <a:lnTo>
                    <a:pt x="266" y="681"/>
                  </a:lnTo>
                  <a:lnTo>
                    <a:pt x="266" y="681"/>
                  </a:lnTo>
                  <a:lnTo>
                    <a:pt x="266" y="681"/>
                  </a:lnTo>
                  <a:lnTo>
                    <a:pt x="266" y="681"/>
                  </a:lnTo>
                  <a:close/>
                  <a:moveTo>
                    <a:pt x="286" y="678"/>
                  </a:moveTo>
                  <a:lnTo>
                    <a:pt x="282" y="676"/>
                  </a:lnTo>
                  <a:lnTo>
                    <a:pt x="286" y="676"/>
                  </a:lnTo>
                  <a:lnTo>
                    <a:pt x="288" y="678"/>
                  </a:lnTo>
                  <a:lnTo>
                    <a:pt x="286" y="680"/>
                  </a:lnTo>
                  <a:lnTo>
                    <a:pt x="286" y="678"/>
                  </a:lnTo>
                  <a:lnTo>
                    <a:pt x="286" y="678"/>
                  </a:lnTo>
                  <a:lnTo>
                    <a:pt x="286" y="678"/>
                  </a:lnTo>
                  <a:lnTo>
                    <a:pt x="286" y="678"/>
                  </a:lnTo>
                  <a:close/>
                  <a:moveTo>
                    <a:pt x="277" y="680"/>
                  </a:moveTo>
                  <a:lnTo>
                    <a:pt x="281" y="678"/>
                  </a:lnTo>
                  <a:lnTo>
                    <a:pt x="282" y="680"/>
                  </a:lnTo>
                  <a:lnTo>
                    <a:pt x="277" y="680"/>
                  </a:lnTo>
                  <a:lnTo>
                    <a:pt x="277" y="680"/>
                  </a:lnTo>
                  <a:lnTo>
                    <a:pt x="277" y="680"/>
                  </a:lnTo>
                  <a:lnTo>
                    <a:pt x="277" y="680"/>
                  </a:lnTo>
                  <a:close/>
                  <a:moveTo>
                    <a:pt x="277" y="676"/>
                  </a:moveTo>
                  <a:lnTo>
                    <a:pt x="277" y="672"/>
                  </a:lnTo>
                  <a:lnTo>
                    <a:pt x="277" y="670"/>
                  </a:lnTo>
                  <a:lnTo>
                    <a:pt x="277" y="670"/>
                  </a:lnTo>
                  <a:lnTo>
                    <a:pt x="281" y="674"/>
                  </a:lnTo>
                  <a:lnTo>
                    <a:pt x="277" y="676"/>
                  </a:lnTo>
                  <a:lnTo>
                    <a:pt x="277" y="676"/>
                  </a:lnTo>
                  <a:lnTo>
                    <a:pt x="277" y="676"/>
                  </a:lnTo>
                  <a:lnTo>
                    <a:pt x="277" y="676"/>
                  </a:lnTo>
                  <a:close/>
                  <a:moveTo>
                    <a:pt x="269" y="672"/>
                  </a:moveTo>
                  <a:lnTo>
                    <a:pt x="266" y="674"/>
                  </a:lnTo>
                  <a:lnTo>
                    <a:pt x="266" y="676"/>
                  </a:lnTo>
                  <a:lnTo>
                    <a:pt x="269" y="680"/>
                  </a:lnTo>
                  <a:lnTo>
                    <a:pt x="273" y="678"/>
                  </a:lnTo>
                  <a:lnTo>
                    <a:pt x="273" y="676"/>
                  </a:lnTo>
                  <a:lnTo>
                    <a:pt x="271" y="674"/>
                  </a:lnTo>
                  <a:lnTo>
                    <a:pt x="269" y="672"/>
                  </a:lnTo>
                  <a:lnTo>
                    <a:pt x="269" y="672"/>
                  </a:lnTo>
                  <a:lnTo>
                    <a:pt x="269" y="672"/>
                  </a:lnTo>
                  <a:lnTo>
                    <a:pt x="269" y="672"/>
                  </a:lnTo>
                  <a:close/>
                  <a:moveTo>
                    <a:pt x="441" y="521"/>
                  </a:moveTo>
                  <a:lnTo>
                    <a:pt x="441" y="519"/>
                  </a:lnTo>
                  <a:lnTo>
                    <a:pt x="442" y="518"/>
                  </a:lnTo>
                  <a:lnTo>
                    <a:pt x="442" y="521"/>
                  </a:lnTo>
                  <a:lnTo>
                    <a:pt x="441" y="521"/>
                  </a:lnTo>
                  <a:lnTo>
                    <a:pt x="441" y="521"/>
                  </a:lnTo>
                  <a:lnTo>
                    <a:pt x="441" y="521"/>
                  </a:lnTo>
                  <a:lnTo>
                    <a:pt x="441" y="521"/>
                  </a:lnTo>
                  <a:close/>
                  <a:moveTo>
                    <a:pt x="433" y="523"/>
                  </a:moveTo>
                  <a:lnTo>
                    <a:pt x="431" y="521"/>
                  </a:lnTo>
                  <a:lnTo>
                    <a:pt x="431" y="518"/>
                  </a:lnTo>
                  <a:lnTo>
                    <a:pt x="435" y="518"/>
                  </a:lnTo>
                  <a:lnTo>
                    <a:pt x="439" y="514"/>
                  </a:lnTo>
                  <a:lnTo>
                    <a:pt x="439" y="518"/>
                  </a:lnTo>
                  <a:lnTo>
                    <a:pt x="435" y="521"/>
                  </a:lnTo>
                  <a:lnTo>
                    <a:pt x="433" y="523"/>
                  </a:lnTo>
                  <a:lnTo>
                    <a:pt x="433" y="523"/>
                  </a:lnTo>
                  <a:lnTo>
                    <a:pt x="433" y="523"/>
                  </a:lnTo>
                  <a:lnTo>
                    <a:pt x="433" y="523"/>
                  </a:lnTo>
                  <a:close/>
                  <a:moveTo>
                    <a:pt x="292" y="663"/>
                  </a:moveTo>
                  <a:lnTo>
                    <a:pt x="292" y="661"/>
                  </a:lnTo>
                  <a:lnTo>
                    <a:pt x="294" y="657"/>
                  </a:lnTo>
                  <a:lnTo>
                    <a:pt x="296" y="661"/>
                  </a:lnTo>
                  <a:lnTo>
                    <a:pt x="299" y="657"/>
                  </a:lnTo>
                  <a:lnTo>
                    <a:pt x="301" y="657"/>
                  </a:lnTo>
                  <a:lnTo>
                    <a:pt x="303" y="649"/>
                  </a:lnTo>
                  <a:lnTo>
                    <a:pt x="305" y="649"/>
                  </a:lnTo>
                  <a:lnTo>
                    <a:pt x="307" y="653"/>
                  </a:lnTo>
                  <a:lnTo>
                    <a:pt x="311" y="651"/>
                  </a:lnTo>
                  <a:lnTo>
                    <a:pt x="313" y="651"/>
                  </a:lnTo>
                  <a:lnTo>
                    <a:pt x="316" y="651"/>
                  </a:lnTo>
                  <a:lnTo>
                    <a:pt x="316" y="649"/>
                  </a:lnTo>
                  <a:lnTo>
                    <a:pt x="322" y="649"/>
                  </a:lnTo>
                  <a:lnTo>
                    <a:pt x="324" y="653"/>
                  </a:lnTo>
                  <a:lnTo>
                    <a:pt x="322" y="657"/>
                  </a:lnTo>
                  <a:lnTo>
                    <a:pt x="328" y="661"/>
                  </a:lnTo>
                  <a:lnTo>
                    <a:pt x="328" y="663"/>
                  </a:lnTo>
                  <a:lnTo>
                    <a:pt x="324" y="663"/>
                  </a:lnTo>
                  <a:lnTo>
                    <a:pt x="320" y="663"/>
                  </a:lnTo>
                  <a:lnTo>
                    <a:pt x="314" y="666"/>
                  </a:lnTo>
                  <a:lnTo>
                    <a:pt x="311" y="663"/>
                  </a:lnTo>
                  <a:lnTo>
                    <a:pt x="305" y="663"/>
                  </a:lnTo>
                  <a:lnTo>
                    <a:pt x="301" y="666"/>
                  </a:lnTo>
                  <a:lnTo>
                    <a:pt x="299" y="666"/>
                  </a:lnTo>
                  <a:lnTo>
                    <a:pt x="296" y="668"/>
                  </a:lnTo>
                  <a:lnTo>
                    <a:pt x="292" y="666"/>
                  </a:lnTo>
                  <a:lnTo>
                    <a:pt x="292" y="663"/>
                  </a:lnTo>
                  <a:lnTo>
                    <a:pt x="292" y="663"/>
                  </a:lnTo>
                  <a:lnTo>
                    <a:pt x="292" y="663"/>
                  </a:lnTo>
                  <a:close/>
                </a:path>
              </a:pathLst>
            </a:custGeom>
            <a:solidFill>
              <a:srgbClr val="0A9A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40">
              <a:extLst>
                <a:ext uri="{FF2B5EF4-FFF2-40B4-BE49-F238E27FC236}">
                  <a16:creationId xmlns:a16="http://schemas.microsoft.com/office/drawing/2014/main" id="{B3188097-0403-424E-9E01-39894A2585D6}"/>
                </a:ext>
              </a:extLst>
            </p:cNvPr>
            <p:cNvSpPr>
              <a:spLocks noEditPoints="1"/>
            </p:cNvSpPr>
            <p:nvPr/>
          </p:nvSpPr>
          <p:spPr bwMode="auto">
            <a:xfrm>
              <a:off x="4259029" y="2141461"/>
              <a:ext cx="890884" cy="475547"/>
            </a:xfrm>
            <a:custGeom>
              <a:avLst/>
              <a:gdLst/>
              <a:ahLst/>
              <a:cxnLst>
                <a:cxn ang="0">
                  <a:pos x="608" y="63"/>
                </a:cxn>
                <a:cxn ang="0">
                  <a:pos x="732" y="119"/>
                </a:cxn>
                <a:cxn ang="0">
                  <a:pos x="873" y="189"/>
                </a:cxn>
                <a:cxn ang="0">
                  <a:pos x="982" y="155"/>
                </a:cxn>
                <a:cxn ang="0">
                  <a:pos x="1031" y="127"/>
                </a:cxn>
                <a:cxn ang="0">
                  <a:pos x="1037" y="185"/>
                </a:cxn>
                <a:cxn ang="0">
                  <a:pos x="1005" y="194"/>
                </a:cxn>
                <a:cxn ang="0">
                  <a:pos x="975" y="209"/>
                </a:cxn>
                <a:cxn ang="0">
                  <a:pos x="969" y="245"/>
                </a:cxn>
                <a:cxn ang="0">
                  <a:pos x="946" y="264"/>
                </a:cxn>
                <a:cxn ang="0">
                  <a:pos x="894" y="285"/>
                </a:cxn>
                <a:cxn ang="0">
                  <a:pos x="875" y="319"/>
                </a:cxn>
                <a:cxn ang="0">
                  <a:pos x="869" y="324"/>
                </a:cxn>
                <a:cxn ang="0">
                  <a:pos x="852" y="347"/>
                </a:cxn>
                <a:cxn ang="0">
                  <a:pos x="849" y="311"/>
                </a:cxn>
                <a:cxn ang="0">
                  <a:pos x="845" y="338"/>
                </a:cxn>
                <a:cxn ang="0">
                  <a:pos x="845" y="351"/>
                </a:cxn>
                <a:cxn ang="0">
                  <a:pos x="834" y="362"/>
                </a:cxn>
                <a:cxn ang="0">
                  <a:pos x="839" y="387"/>
                </a:cxn>
                <a:cxn ang="0">
                  <a:pos x="849" y="396"/>
                </a:cxn>
                <a:cxn ang="0">
                  <a:pos x="832" y="409"/>
                </a:cxn>
                <a:cxn ang="0">
                  <a:pos x="802" y="436"/>
                </a:cxn>
                <a:cxn ang="0">
                  <a:pos x="756" y="462"/>
                </a:cxn>
                <a:cxn ang="0">
                  <a:pos x="732" y="511"/>
                </a:cxn>
                <a:cxn ang="0">
                  <a:pos x="745" y="594"/>
                </a:cxn>
                <a:cxn ang="0">
                  <a:pos x="715" y="603"/>
                </a:cxn>
                <a:cxn ang="0">
                  <a:pos x="702" y="577"/>
                </a:cxn>
                <a:cxn ang="0">
                  <a:pos x="698" y="535"/>
                </a:cxn>
                <a:cxn ang="0">
                  <a:pos x="668" y="522"/>
                </a:cxn>
                <a:cxn ang="0">
                  <a:pos x="651" y="511"/>
                </a:cxn>
                <a:cxn ang="0">
                  <a:pos x="617" y="507"/>
                </a:cxn>
                <a:cxn ang="0">
                  <a:pos x="576" y="518"/>
                </a:cxn>
                <a:cxn ang="0">
                  <a:pos x="579" y="535"/>
                </a:cxn>
                <a:cxn ang="0">
                  <a:pos x="549" y="532"/>
                </a:cxn>
                <a:cxn ang="0">
                  <a:pos x="521" y="522"/>
                </a:cxn>
                <a:cxn ang="0">
                  <a:pos x="482" y="524"/>
                </a:cxn>
                <a:cxn ang="0">
                  <a:pos x="448" y="545"/>
                </a:cxn>
                <a:cxn ang="0">
                  <a:pos x="431" y="599"/>
                </a:cxn>
                <a:cxn ang="0">
                  <a:pos x="397" y="569"/>
                </a:cxn>
                <a:cxn ang="0">
                  <a:pos x="376" y="522"/>
                </a:cxn>
                <a:cxn ang="0">
                  <a:pos x="342" y="522"/>
                </a:cxn>
                <a:cxn ang="0">
                  <a:pos x="316" y="522"/>
                </a:cxn>
                <a:cxn ang="0">
                  <a:pos x="305" y="500"/>
                </a:cxn>
                <a:cxn ang="0">
                  <a:pos x="280" y="468"/>
                </a:cxn>
                <a:cxn ang="0">
                  <a:pos x="73" y="409"/>
                </a:cxn>
                <a:cxn ang="0">
                  <a:pos x="39" y="381"/>
                </a:cxn>
                <a:cxn ang="0">
                  <a:pos x="24" y="332"/>
                </a:cxn>
                <a:cxn ang="0">
                  <a:pos x="24" y="307"/>
                </a:cxn>
                <a:cxn ang="0">
                  <a:pos x="17" y="307"/>
                </a:cxn>
                <a:cxn ang="0">
                  <a:pos x="3" y="243"/>
                </a:cxn>
                <a:cxn ang="0">
                  <a:pos x="11" y="179"/>
                </a:cxn>
                <a:cxn ang="0">
                  <a:pos x="45" y="87"/>
                </a:cxn>
                <a:cxn ang="0">
                  <a:pos x="49" y="76"/>
                </a:cxn>
                <a:cxn ang="0">
                  <a:pos x="52" y="36"/>
                </a:cxn>
                <a:cxn ang="0">
                  <a:pos x="77" y="38"/>
                </a:cxn>
                <a:cxn ang="0">
                  <a:pos x="79" y="55"/>
                </a:cxn>
                <a:cxn ang="0">
                  <a:pos x="98" y="12"/>
                </a:cxn>
                <a:cxn ang="0">
                  <a:pos x="956" y="264"/>
                </a:cxn>
                <a:cxn ang="0">
                  <a:pos x="931" y="274"/>
                </a:cxn>
                <a:cxn ang="0">
                  <a:pos x="899" y="279"/>
                </a:cxn>
                <a:cxn ang="0">
                  <a:pos x="446" y="554"/>
                </a:cxn>
                <a:cxn ang="0">
                  <a:pos x="433" y="588"/>
                </a:cxn>
              </a:cxnLst>
              <a:rect l="0" t="0" r="r" b="b"/>
              <a:pathLst>
                <a:path w="1044" h="620">
                  <a:moveTo>
                    <a:pt x="92" y="0"/>
                  </a:moveTo>
                  <a:lnTo>
                    <a:pt x="570" y="48"/>
                  </a:lnTo>
                  <a:lnTo>
                    <a:pt x="574" y="49"/>
                  </a:lnTo>
                  <a:lnTo>
                    <a:pt x="576" y="49"/>
                  </a:lnTo>
                  <a:lnTo>
                    <a:pt x="583" y="51"/>
                  </a:lnTo>
                  <a:lnTo>
                    <a:pt x="583" y="53"/>
                  </a:lnTo>
                  <a:lnTo>
                    <a:pt x="583" y="57"/>
                  </a:lnTo>
                  <a:lnTo>
                    <a:pt x="585" y="57"/>
                  </a:lnTo>
                  <a:lnTo>
                    <a:pt x="589" y="59"/>
                  </a:lnTo>
                  <a:lnTo>
                    <a:pt x="589" y="59"/>
                  </a:lnTo>
                  <a:lnTo>
                    <a:pt x="593" y="61"/>
                  </a:lnTo>
                  <a:lnTo>
                    <a:pt x="594" y="63"/>
                  </a:lnTo>
                  <a:lnTo>
                    <a:pt x="594" y="63"/>
                  </a:lnTo>
                  <a:lnTo>
                    <a:pt x="600" y="61"/>
                  </a:lnTo>
                  <a:lnTo>
                    <a:pt x="604" y="63"/>
                  </a:lnTo>
                  <a:lnTo>
                    <a:pt x="608" y="63"/>
                  </a:lnTo>
                  <a:lnTo>
                    <a:pt x="610" y="66"/>
                  </a:lnTo>
                  <a:lnTo>
                    <a:pt x="611" y="66"/>
                  </a:lnTo>
                  <a:lnTo>
                    <a:pt x="613" y="70"/>
                  </a:lnTo>
                  <a:lnTo>
                    <a:pt x="621" y="70"/>
                  </a:lnTo>
                  <a:lnTo>
                    <a:pt x="625" y="72"/>
                  </a:lnTo>
                  <a:lnTo>
                    <a:pt x="628" y="76"/>
                  </a:lnTo>
                  <a:lnTo>
                    <a:pt x="628" y="76"/>
                  </a:lnTo>
                  <a:lnTo>
                    <a:pt x="634" y="76"/>
                  </a:lnTo>
                  <a:lnTo>
                    <a:pt x="638" y="76"/>
                  </a:lnTo>
                  <a:lnTo>
                    <a:pt x="640" y="76"/>
                  </a:lnTo>
                  <a:lnTo>
                    <a:pt x="642" y="80"/>
                  </a:lnTo>
                  <a:lnTo>
                    <a:pt x="651" y="80"/>
                  </a:lnTo>
                  <a:lnTo>
                    <a:pt x="653" y="81"/>
                  </a:lnTo>
                  <a:lnTo>
                    <a:pt x="657" y="83"/>
                  </a:lnTo>
                  <a:lnTo>
                    <a:pt x="658" y="85"/>
                  </a:lnTo>
                  <a:lnTo>
                    <a:pt x="732" y="119"/>
                  </a:lnTo>
                  <a:lnTo>
                    <a:pt x="738" y="125"/>
                  </a:lnTo>
                  <a:lnTo>
                    <a:pt x="749" y="134"/>
                  </a:lnTo>
                  <a:lnTo>
                    <a:pt x="762" y="191"/>
                  </a:lnTo>
                  <a:lnTo>
                    <a:pt x="760" y="215"/>
                  </a:lnTo>
                  <a:lnTo>
                    <a:pt x="756" y="219"/>
                  </a:lnTo>
                  <a:lnTo>
                    <a:pt x="756" y="225"/>
                  </a:lnTo>
                  <a:lnTo>
                    <a:pt x="753" y="228"/>
                  </a:lnTo>
                  <a:lnTo>
                    <a:pt x="745" y="232"/>
                  </a:lnTo>
                  <a:lnTo>
                    <a:pt x="741" y="236"/>
                  </a:lnTo>
                  <a:lnTo>
                    <a:pt x="745" y="243"/>
                  </a:lnTo>
                  <a:lnTo>
                    <a:pt x="809" y="225"/>
                  </a:lnTo>
                  <a:lnTo>
                    <a:pt x="815" y="221"/>
                  </a:lnTo>
                  <a:lnTo>
                    <a:pt x="818" y="213"/>
                  </a:lnTo>
                  <a:lnTo>
                    <a:pt x="852" y="202"/>
                  </a:lnTo>
                  <a:lnTo>
                    <a:pt x="869" y="191"/>
                  </a:lnTo>
                  <a:lnTo>
                    <a:pt x="873" y="189"/>
                  </a:lnTo>
                  <a:lnTo>
                    <a:pt x="877" y="189"/>
                  </a:lnTo>
                  <a:lnTo>
                    <a:pt x="884" y="181"/>
                  </a:lnTo>
                  <a:lnTo>
                    <a:pt x="888" y="176"/>
                  </a:lnTo>
                  <a:lnTo>
                    <a:pt x="894" y="176"/>
                  </a:lnTo>
                  <a:lnTo>
                    <a:pt x="898" y="172"/>
                  </a:lnTo>
                  <a:lnTo>
                    <a:pt x="903" y="170"/>
                  </a:lnTo>
                  <a:lnTo>
                    <a:pt x="956" y="172"/>
                  </a:lnTo>
                  <a:lnTo>
                    <a:pt x="962" y="168"/>
                  </a:lnTo>
                  <a:lnTo>
                    <a:pt x="962" y="168"/>
                  </a:lnTo>
                  <a:lnTo>
                    <a:pt x="963" y="166"/>
                  </a:lnTo>
                  <a:lnTo>
                    <a:pt x="965" y="166"/>
                  </a:lnTo>
                  <a:lnTo>
                    <a:pt x="969" y="166"/>
                  </a:lnTo>
                  <a:lnTo>
                    <a:pt x="973" y="164"/>
                  </a:lnTo>
                  <a:lnTo>
                    <a:pt x="973" y="164"/>
                  </a:lnTo>
                  <a:lnTo>
                    <a:pt x="977" y="155"/>
                  </a:lnTo>
                  <a:lnTo>
                    <a:pt x="982" y="155"/>
                  </a:lnTo>
                  <a:lnTo>
                    <a:pt x="986" y="149"/>
                  </a:lnTo>
                  <a:lnTo>
                    <a:pt x="986" y="145"/>
                  </a:lnTo>
                  <a:lnTo>
                    <a:pt x="988" y="142"/>
                  </a:lnTo>
                  <a:lnTo>
                    <a:pt x="992" y="138"/>
                  </a:lnTo>
                  <a:lnTo>
                    <a:pt x="992" y="136"/>
                  </a:lnTo>
                  <a:lnTo>
                    <a:pt x="995" y="130"/>
                  </a:lnTo>
                  <a:lnTo>
                    <a:pt x="1003" y="125"/>
                  </a:lnTo>
                  <a:lnTo>
                    <a:pt x="1005" y="121"/>
                  </a:lnTo>
                  <a:lnTo>
                    <a:pt x="1007" y="119"/>
                  </a:lnTo>
                  <a:lnTo>
                    <a:pt x="1007" y="119"/>
                  </a:lnTo>
                  <a:lnTo>
                    <a:pt x="1010" y="119"/>
                  </a:lnTo>
                  <a:lnTo>
                    <a:pt x="1012" y="121"/>
                  </a:lnTo>
                  <a:lnTo>
                    <a:pt x="1016" y="121"/>
                  </a:lnTo>
                  <a:lnTo>
                    <a:pt x="1022" y="121"/>
                  </a:lnTo>
                  <a:lnTo>
                    <a:pt x="1024" y="121"/>
                  </a:lnTo>
                  <a:lnTo>
                    <a:pt x="1031" y="127"/>
                  </a:lnTo>
                  <a:lnTo>
                    <a:pt x="1031" y="132"/>
                  </a:lnTo>
                  <a:lnTo>
                    <a:pt x="1027" y="157"/>
                  </a:lnTo>
                  <a:lnTo>
                    <a:pt x="1026" y="159"/>
                  </a:lnTo>
                  <a:lnTo>
                    <a:pt x="1027" y="159"/>
                  </a:lnTo>
                  <a:lnTo>
                    <a:pt x="1029" y="164"/>
                  </a:lnTo>
                  <a:lnTo>
                    <a:pt x="1031" y="164"/>
                  </a:lnTo>
                  <a:lnTo>
                    <a:pt x="1031" y="166"/>
                  </a:lnTo>
                  <a:lnTo>
                    <a:pt x="1029" y="168"/>
                  </a:lnTo>
                  <a:lnTo>
                    <a:pt x="1031" y="170"/>
                  </a:lnTo>
                  <a:lnTo>
                    <a:pt x="1029" y="172"/>
                  </a:lnTo>
                  <a:lnTo>
                    <a:pt x="1029" y="174"/>
                  </a:lnTo>
                  <a:lnTo>
                    <a:pt x="1031" y="174"/>
                  </a:lnTo>
                  <a:lnTo>
                    <a:pt x="1031" y="174"/>
                  </a:lnTo>
                  <a:lnTo>
                    <a:pt x="1035" y="176"/>
                  </a:lnTo>
                  <a:lnTo>
                    <a:pt x="1035" y="181"/>
                  </a:lnTo>
                  <a:lnTo>
                    <a:pt x="1037" y="185"/>
                  </a:lnTo>
                  <a:lnTo>
                    <a:pt x="1039" y="181"/>
                  </a:lnTo>
                  <a:lnTo>
                    <a:pt x="1044" y="185"/>
                  </a:lnTo>
                  <a:lnTo>
                    <a:pt x="1041" y="189"/>
                  </a:lnTo>
                  <a:lnTo>
                    <a:pt x="1037" y="189"/>
                  </a:lnTo>
                  <a:lnTo>
                    <a:pt x="1035" y="185"/>
                  </a:lnTo>
                  <a:lnTo>
                    <a:pt x="1031" y="189"/>
                  </a:lnTo>
                  <a:lnTo>
                    <a:pt x="1029" y="189"/>
                  </a:lnTo>
                  <a:lnTo>
                    <a:pt x="1026" y="189"/>
                  </a:lnTo>
                  <a:lnTo>
                    <a:pt x="1024" y="191"/>
                  </a:lnTo>
                  <a:lnTo>
                    <a:pt x="1020" y="189"/>
                  </a:lnTo>
                  <a:lnTo>
                    <a:pt x="1018" y="194"/>
                  </a:lnTo>
                  <a:lnTo>
                    <a:pt x="1014" y="194"/>
                  </a:lnTo>
                  <a:lnTo>
                    <a:pt x="1014" y="189"/>
                  </a:lnTo>
                  <a:lnTo>
                    <a:pt x="1010" y="189"/>
                  </a:lnTo>
                  <a:lnTo>
                    <a:pt x="1007" y="193"/>
                  </a:lnTo>
                  <a:lnTo>
                    <a:pt x="1005" y="194"/>
                  </a:lnTo>
                  <a:lnTo>
                    <a:pt x="1003" y="191"/>
                  </a:lnTo>
                  <a:lnTo>
                    <a:pt x="1005" y="189"/>
                  </a:lnTo>
                  <a:lnTo>
                    <a:pt x="999" y="193"/>
                  </a:lnTo>
                  <a:lnTo>
                    <a:pt x="995" y="198"/>
                  </a:lnTo>
                  <a:lnTo>
                    <a:pt x="994" y="200"/>
                  </a:lnTo>
                  <a:lnTo>
                    <a:pt x="992" y="198"/>
                  </a:lnTo>
                  <a:lnTo>
                    <a:pt x="990" y="204"/>
                  </a:lnTo>
                  <a:lnTo>
                    <a:pt x="988" y="204"/>
                  </a:lnTo>
                  <a:lnTo>
                    <a:pt x="986" y="198"/>
                  </a:lnTo>
                  <a:lnTo>
                    <a:pt x="986" y="204"/>
                  </a:lnTo>
                  <a:lnTo>
                    <a:pt x="982" y="206"/>
                  </a:lnTo>
                  <a:lnTo>
                    <a:pt x="982" y="204"/>
                  </a:lnTo>
                  <a:lnTo>
                    <a:pt x="982" y="202"/>
                  </a:lnTo>
                  <a:lnTo>
                    <a:pt x="980" y="206"/>
                  </a:lnTo>
                  <a:lnTo>
                    <a:pt x="977" y="206"/>
                  </a:lnTo>
                  <a:lnTo>
                    <a:pt x="975" y="209"/>
                  </a:lnTo>
                  <a:lnTo>
                    <a:pt x="967" y="215"/>
                  </a:lnTo>
                  <a:lnTo>
                    <a:pt x="965" y="221"/>
                  </a:lnTo>
                  <a:lnTo>
                    <a:pt x="963" y="225"/>
                  </a:lnTo>
                  <a:lnTo>
                    <a:pt x="962" y="228"/>
                  </a:lnTo>
                  <a:lnTo>
                    <a:pt x="962" y="228"/>
                  </a:lnTo>
                  <a:lnTo>
                    <a:pt x="962" y="232"/>
                  </a:lnTo>
                  <a:lnTo>
                    <a:pt x="962" y="232"/>
                  </a:lnTo>
                  <a:lnTo>
                    <a:pt x="962" y="234"/>
                  </a:lnTo>
                  <a:lnTo>
                    <a:pt x="956" y="240"/>
                  </a:lnTo>
                  <a:lnTo>
                    <a:pt x="956" y="243"/>
                  </a:lnTo>
                  <a:lnTo>
                    <a:pt x="962" y="243"/>
                  </a:lnTo>
                  <a:lnTo>
                    <a:pt x="962" y="249"/>
                  </a:lnTo>
                  <a:lnTo>
                    <a:pt x="963" y="253"/>
                  </a:lnTo>
                  <a:lnTo>
                    <a:pt x="969" y="253"/>
                  </a:lnTo>
                  <a:lnTo>
                    <a:pt x="971" y="249"/>
                  </a:lnTo>
                  <a:lnTo>
                    <a:pt x="969" y="245"/>
                  </a:lnTo>
                  <a:lnTo>
                    <a:pt x="971" y="245"/>
                  </a:lnTo>
                  <a:lnTo>
                    <a:pt x="973" y="251"/>
                  </a:lnTo>
                  <a:lnTo>
                    <a:pt x="971" y="255"/>
                  </a:lnTo>
                  <a:lnTo>
                    <a:pt x="962" y="260"/>
                  </a:lnTo>
                  <a:lnTo>
                    <a:pt x="962" y="258"/>
                  </a:lnTo>
                  <a:lnTo>
                    <a:pt x="962" y="257"/>
                  </a:lnTo>
                  <a:lnTo>
                    <a:pt x="958" y="253"/>
                  </a:lnTo>
                  <a:lnTo>
                    <a:pt x="956" y="260"/>
                  </a:lnTo>
                  <a:lnTo>
                    <a:pt x="952" y="264"/>
                  </a:lnTo>
                  <a:lnTo>
                    <a:pt x="950" y="262"/>
                  </a:lnTo>
                  <a:lnTo>
                    <a:pt x="950" y="260"/>
                  </a:lnTo>
                  <a:lnTo>
                    <a:pt x="950" y="257"/>
                  </a:lnTo>
                  <a:lnTo>
                    <a:pt x="946" y="253"/>
                  </a:lnTo>
                  <a:lnTo>
                    <a:pt x="946" y="257"/>
                  </a:lnTo>
                  <a:lnTo>
                    <a:pt x="946" y="262"/>
                  </a:lnTo>
                  <a:lnTo>
                    <a:pt x="946" y="264"/>
                  </a:lnTo>
                  <a:lnTo>
                    <a:pt x="945" y="264"/>
                  </a:lnTo>
                  <a:lnTo>
                    <a:pt x="937" y="264"/>
                  </a:lnTo>
                  <a:lnTo>
                    <a:pt x="931" y="264"/>
                  </a:lnTo>
                  <a:lnTo>
                    <a:pt x="928" y="264"/>
                  </a:lnTo>
                  <a:lnTo>
                    <a:pt x="922" y="264"/>
                  </a:lnTo>
                  <a:lnTo>
                    <a:pt x="918" y="264"/>
                  </a:lnTo>
                  <a:lnTo>
                    <a:pt x="918" y="264"/>
                  </a:lnTo>
                  <a:lnTo>
                    <a:pt x="913" y="270"/>
                  </a:lnTo>
                  <a:lnTo>
                    <a:pt x="909" y="270"/>
                  </a:lnTo>
                  <a:lnTo>
                    <a:pt x="903" y="270"/>
                  </a:lnTo>
                  <a:lnTo>
                    <a:pt x="898" y="274"/>
                  </a:lnTo>
                  <a:lnTo>
                    <a:pt x="898" y="274"/>
                  </a:lnTo>
                  <a:lnTo>
                    <a:pt x="898" y="277"/>
                  </a:lnTo>
                  <a:lnTo>
                    <a:pt x="892" y="279"/>
                  </a:lnTo>
                  <a:lnTo>
                    <a:pt x="894" y="283"/>
                  </a:lnTo>
                  <a:lnTo>
                    <a:pt x="894" y="285"/>
                  </a:lnTo>
                  <a:lnTo>
                    <a:pt x="894" y="287"/>
                  </a:lnTo>
                  <a:lnTo>
                    <a:pt x="894" y="290"/>
                  </a:lnTo>
                  <a:lnTo>
                    <a:pt x="894" y="290"/>
                  </a:lnTo>
                  <a:lnTo>
                    <a:pt x="892" y="294"/>
                  </a:lnTo>
                  <a:lnTo>
                    <a:pt x="894" y="294"/>
                  </a:lnTo>
                  <a:lnTo>
                    <a:pt x="892" y="298"/>
                  </a:lnTo>
                  <a:lnTo>
                    <a:pt x="890" y="304"/>
                  </a:lnTo>
                  <a:lnTo>
                    <a:pt x="888" y="304"/>
                  </a:lnTo>
                  <a:lnTo>
                    <a:pt x="886" y="304"/>
                  </a:lnTo>
                  <a:lnTo>
                    <a:pt x="884" y="309"/>
                  </a:lnTo>
                  <a:lnTo>
                    <a:pt x="882" y="311"/>
                  </a:lnTo>
                  <a:lnTo>
                    <a:pt x="882" y="313"/>
                  </a:lnTo>
                  <a:lnTo>
                    <a:pt x="879" y="313"/>
                  </a:lnTo>
                  <a:lnTo>
                    <a:pt x="879" y="315"/>
                  </a:lnTo>
                  <a:lnTo>
                    <a:pt x="875" y="319"/>
                  </a:lnTo>
                  <a:lnTo>
                    <a:pt x="875" y="319"/>
                  </a:lnTo>
                  <a:lnTo>
                    <a:pt x="873" y="321"/>
                  </a:lnTo>
                  <a:lnTo>
                    <a:pt x="875" y="315"/>
                  </a:lnTo>
                  <a:lnTo>
                    <a:pt x="873" y="313"/>
                  </a:lnTo>
                  <a:lnTo>
                    <a:pt x="869" y="313"/>
                  </a:lnTo>
                  <a:lnTo>
                    <a:pt x="867" y="309"/>
                  </a:lnTo>
                  <a:lnTo>
                    <a:pt x="866" y="307"/>
                  </a:lnTo>
                  <a:lnTo>
                    <a:pt x="867" y="304"/>
                  </a:lnTo>
                  <a:lnTo>
                    <a:pt x="873" y="298"/>
                  </a:lnTo>
                  <a:lnTo>
                    <a:pt x="869" y="298"/>
                  </a:lnTo>
                  <a:lnTo>
                    <a:pt x="866" y="304"/>
                  </a:lnTo>
                  <a:lnTo>
                    <a:pt x="864" y="307"/>
                  </a:lnTo>
                  <a:lnTo>
                    <a:pt x="864" y="309"/>
                  </a:lnTo>
                  <a:lnTo>
                    <a:pt x="866" y="311"/>
                  </a:lnTo>
                  <a:lnTo>
                    <a:pt x="866" y="317"/>
                  </a:lnTo>
                  <a:lnTo>
                    <a:pt x="867" y="319"/>
                  </a:lnTo>
                  <a:lnTo>
                    <a:pt x="869" y="324"/>
                  </a:lnTo>
                  <a:lnTo>
                    <a:pt x="869" y="328"/>
                  </a:lnTo>
                  <a:lnTo>
                    <a:pt x="867" y="338"/>
                  </a:lnTo>
                  <a:lnTo>
                    <a:pt x="862" y="339"/>
                  </a:lnTo>
                  <a:lnTo>
                    <a:pt x="860" y="347"/>
                  </a:lnTo>
                  <a:lnTo>
                    <a:pt x="858" y="351"/>
                  </a:lnTo>
                  <a:lnTo>
                    <a:pt x="858" y="353"/>
                  </a:lnTo>
                  <a:lnTo>
                    <a:pt x="856" y="355"/>
                  </a:lnTo>
                  <a:lnTo>
                    <a:pt x="856" y="353"/>
                  </a:lnTo>
                  <a:lnTo>
                    <a:pt x="856" y="351"/>
                  </a:lnTo>
                  <a:lnTo>
                    <a:pt x="852" y="358"/>
                  </a:lnTo>
                  <a:lnTo>
                    <a:pt x="850" y="358"/>
                  </a:lnTo>
                  <a:lnTo>
                    <a:pt x="850" y="362"/>
                  </a:lnTo>
                  <a:lnTo>
                    <a:pt x="850" y="358"/>
                  </a:lnTo>
                  <a:lnTo>
                    <a:pt x="850" y="355"/>
                  </a:lnTo>
                  <a:lnTo>
                    <a:pt x="852" y="351"/>
                  </a:lnTo>
                  <a:lnTo>
                    <a:pt x="852" y="347"/>
                  </a:lnTo>
                  <a:lnTo>
                    <a:pt x="854" y="345"/>
                  </a:lnTo>
                  <a:lnTo>
                    <a:pt x="854" y="343"/>
                  </a:lnTo>
                  <a:lnTo>
                    <a:pt x="858" y="341"/>
                  </a:lnTo>
                  <a:lnTo>
                    <a:pt x="852" y="341"/>
                  </a:lnTo>
                  <a:lnTo>
                    <a:pt x="850" y="339"/>
                  </a:lnTo>
                  <a:lnTo>
                    <a:pt x="852" y="338"/>
                  </a:lnTo>
                  <a:lnTo>
                    <a:pt x="852" y="338"/>
                  </a:lnTo>
                  <a:lnTo>
                    <a:pt x="850" y="338"/>
                  </a:lnTo>
                  <a:lnTo>
                    <a:pt x="850" y="334"/>
                  </a:lnTo>
                  <a:lnTo>
                    <a:pt x="849" y="338"/>
                  </a:lnTo>
                  <a:lnTo>
                    <a:pt x="845" y="332"/>
                  </a:lnTo>
                  <a:lnTo>
                    <a:pt x="845" y="328"/>
                  </a:lnTo>
                  <a:lnTo>
                    <a:pt x="849" y="324"/>
                  </a:lnTo>
                  <a:lnTo>
                    <a:pt x="849" y="321"/>
                  </a:lnTo>
                  <a:lnTo>
                    <a:pt x="849" y="315"/>
                  </a:lnTo>
                  <a:lnTo>
                    <a:pt x="849" y="311"/>
                  </a:lnTo>
                  <a:lnTo>
                    <a:pt x="852" y="309"/>
                  </a:lnTo>
                  <a:lnTo>
                    <a:pt x="850" y="307"/>
                  </a:lnTo>
                  <a:lnTo>
                    <a:pt x="852" y="304"/>
                  </a:lnTo>
                  <a:lnTo>
                    <a:pt x="850" y="304"/>
                  </a:lnTo>
                  <a:lnTo>
                    <a:pt x="850" y="304"/>
                  </a:lnTo>
                  <a:lnTo>
                    <a:pt x="850" y="307"/>
                  </a:lnTo>
                  <a:lnTo>
                    <a:pt x="845" y="311"/>
                  </a:lnTo>
                  <a:lnTo>
                    <a:pt x="845" y="313"/>
                  </a:lnTo>
                  <a:lnTo>
                    <a:pt x="843" y="313"/>
                  </a:lnTo>
                  <a:lnTo>
                    <a:pt x="845" y="315"/>
                  </a:lnTo>
                  <a:lnTo>
                    <a:pt x="845" y="317"/>
                  </a:lnTo>
                  <a:lnTo>
                    <a:pt x="845" y="323"/>
                  </a:lnTo>
                  <a:lnTo>
                    <a:pt x="845" y="324"/>
                  </a:lnTo>
                  <a:lnTo>
                    <a:pt x="845" y="328"/>
                  </a:lnTo>
                  <a:lnTo>
                    <a:pt x="845" y="332"/>
                  </a:lnTo>
                  <a:lnTo>
                    <a:pt x="845" y="338"/>
                  </a:lnTo>
                  <a:lnTo>
                    <a:pt x="843" y="338"/>
                  </a:lnTo>
                  <a:lnTo>
                    <a:pt x="839" y="332"/>
                  </a:lnTo>
                  <a:lnTo>
                    <a:pt x="834" y="332"/>
                  </a:lnTo>
                  <a:lnTo>
                    <a:pt x="832" y="328"/>
                  </a:lnTo>
                  <a:lnTo>
                    <a:pt x="830" y="328"/>
                  </a:lnTo>
                  <a:lnTo>
                    <a:pt x="830" y="328"/>
                  </a:lnTo>
                  <a:lnTo>
                    <a:pt x="832" y="323"/>
                  </a:lnTo>
                  <a:lnTo>
                    <a:pt x="828" y="324"/>
                  </a:lnTo>
                  <a:lnTo>
                    <a:pt x="828" y="328"/>
                  </a:lnTo>
                  <a:lnTo>
                    <a:pt x="832" y="332"/>
                  </a:lnTo>
                  <a:lnTo>
                    <a:pt x="834" y="334"/>
                  </a:lnTo>
                  <a:lnTo>
                    <a:pt x="837" y="338"/>
                  </a:lnTo>
                  <a:lnTo>
                    <a:pt x="843" y="341"/>
                  </a:lnTo>
                  <a:lnTo>
                    <a:pt x="845" y="343"/>
                  </a:lnTo>
                  <a:lnTo>
                    <a:pt x="845" y="345"/>
                  </a:lnTo>
                  <a:lnTo>
                    <a:pt x="845" y="351"/>
                  </a:lnTo>
                  <a:lnTo>
                    <a:pt x="841" y="349"/>
                  </a:lnTo>
                  <a:lnTo>
                    <a:pt x="841" y="347"/>
                  </a:lnTo>
                  <a:lnTo>
                    <a:pt x="839" y="345"/>
                  </a:lnTo>
                  <a:lnTo>
                    <a:pt x="841" y="351"/>
                  </a:lnTo>
                  <a:lnTo>
                    <a:pt x="845" y="353"/>
                  </a:lnTo>
                  <a:lnTo>
                    <a:pt x="845" y="356"/>
                  </a:lnTo>
                  <a:lnTo>
                    <a:pt x="845" y="356"/>
                  </a:lnTo>
                  <a:lnTo>
                    <a:pt x="845" y="358"/>
                  </a:lnTo>
                  <a:lnTo>
                    <a:pt x="839" y="358"/>
                  </a:lnTo>
                  <a:lnTo>
                    <a:pt x="845" y="362"/>
                  </a:lnTo>
                  <a:lnTo>
                    <a:pt x="843" y="362"/>
                  </a:lnTo>
                  <a:lnTo>
                    <a:pt x="841" y="362"/>
                  </a:lnTo>
                  <a:lnTo>
                    <a:pt x="839" y="358"/>
                  </a:lnTo>
                  <a:lnTo>
                    <a:pt x="834" y="358"/>
                  </a:lnTo>
                  <a:lnTo>
                    <a:pt x="832" y="358"/>
                  </a:lnTo>
                  <a:lnTo>
                    <a:pt x="834" y="362"/>
                  </a:lnTo>
                  <a:lnTo>
                    <a:pt x="837" y="362"/>
                  </a:lnTo>
                  <a:lnTo>
                    <a:pt x="839" y="362"/>
                  </a:lnTo>
                  <a:lnTo>
                    <a:pt x="841" y="366"/>
                  </a:lnTo>
                  <a:lnTo>
                    <a:pt x="845" y="366"/>
                  </a:lnTo>
                  <a:lnTo>
                    <a:pt x="845" y="366"/>
                  </a:lnTo>
                  <a:lnTo>
                    <a:pt x="849" y="368"/>
                  </a:lnTo>
                  <a:lnTo>
                    <a:pt x="849" y="371"/>
                  </a:lnTo>
                  <a:lnTo>
                    <a:pt x="849" y="375"/>
                  </a:lnTo>
                  <a:lnTo>
                    <a:pt x="845" y="373"/>
                  </a:lnTo>
                  <a:lnTo>
                    <a:pt x="845" y="375"/>
                  </a:lnTo>
                  <a:lnTo>
                    <a:pt x="845" y="377"/>
                  </a:lnTo>
                  <a:lnTo>
                    <a:pt x="849" y="381"/>
                  </a:lnTo>
                  <a:lnTo>
                    <a:pt x="845" y="383"/>
                  </a:lnTo>
                  <a:lnTo>
                    <a:pt x="845" y="383"/>
                  </a:lnTo>
                  <a:lnTo>
                    <a:pt x="843" y="383"/>
                  </a:lnTo>
                  <a:lnTo>
                    <a:pt x="839" y="387"/>
                  </a:lnTo>
                  <a:lnTo>
                    <a:pt x="835" y="387"/>
                  </a:lnTo>
                  <a:lnTo>
                    <a:pt x="834" y="387"/>
                  </a:lnTo>
                  <a:lnTo>
                    <a:pt x="832" y="383"/>
                  </a:lnTo>
                  <a:lnTo>
                    <a:pt x="830" y="383"/>
                  </a:lnTo>
                  <a:lnTo>
                    <a:pt x="830" y="388"/>
                  </a:lnTo>
                  <a:lnTo>
                    <a:pt x="830" y="392"/>
                  </a:lnTo>
                  <a:lnTo>
                    <a:pt x="834" y="388"/>
                  </a:lnTo>
                  <a:lnTo>
                    <a:pt x="841" y="388"/>
                  </a:lnTo>
                  <a:lnTo>
                    <a:pt x="843" y="388"/>
                  </a:lnTo>
                  <a:lnTo>
                    <a:pt x="843" y="394"/>
                  </a:lnTo>
                  <a:lnTo>
                    <a:pt x="845" y="396"/>
                  </a:lnTo>
                  <a:lnTo>
                    <a:pt x="845" y="392"/>
                  </a:lnTo>
                  <a:lnTo>
                    <a:pt x="849" y="388"/>
                  </a:lnTo>
                  <a:lnTo>
                    <a:pt x="849" y="388"/>
                  </a:lnTo>
                  <a:lnTo>
                    <a:pt x="849" y="392"/>
                  </a:lnTo>
                  <a:lnTo>
                    <a:pt x="849" y="396"/>
                  </a:lnTo>
                  <a:lnTo>
                    <a:pt x="849" y="396"/>
                  </a:lnTo>
                  <a:lnTo>
                    <a:pt x="845" y="400"/>
                  </a:lnTo>
                  <a:lnTo>
                    <a:pt x="843" y="404"/>
                  </a:lnTo>
                  <a:lnTo>
                    <a:pt x="841" y="404"/>
                  </a:lnTo>
                  <a:lnTo>
                    <a:pt x="839" y="402"/>
                  </a:lnTo>
                  <a:lnTo>
                    <a:pt x="835" y="404"/>
                  </a:lnTo>
                  <a:lnTo>
                    <a:pt x="834" y="398"/>
                  </a:lnTo>
                  <a:lnTo>
                    <a:pt x="834" y="402"/>
                  </a:lnTo>
                  <a:lnTo>
                    <a:pt x="832" y="402"/>
                  </a:lnTo>
                  <a:lnTo>
                    <a:pt x="828" y="402"/>
                  </a:lnTo>
                  <a:lnTo>
                    <a:pt x="826" y="402"/>
                  </a:lnTo>
                  <a:lnTo>
                    <a:pt x="828" y="404"/>
                  </a:lnTo>
                  <a:lnTo>
                    <a:pt x="832" y="404"/>
                  </a:lnTo>
                  <a:lnTo>
                    <a:pt x="834" y="405"/>
                  </a:lnTo>
                  <a:lnTo>
                    <a:pt x="832" y="407"/>
                  </a:lnTo>
                  <a:lnTo>
                    <a:pt x="832" y="409"/>
                  </a:lnTo>
                  <a:lnTo>
                    <a:pt x="828" y="411"/>
                  </a:lnTo>
                  <a:lnTo>
                    <a:pt x="824" y="411"/>
                  </a:lnTo>
                  <a:lnTo>
                    <a:pt x="826" y="413"/>
                  </a:lnTo>
                  <a:lnTo>
                    <a:pt x="832" y="413"/>
                  </a:lnTo>
                  <a:lnTo>
                    <a:pt x="835" y="411"/>
                  </a:lnTo>
                  <a:lnTo>
                    <a:pt x="835" y="411"/>
                  </a:lnTo>
                  <a:lnTo>
                    <a:pt x="837" y="413"/>
                  </a:lnTo>
                  <a:lnTo>
                    <a:pt x="834" y="417"/>
                  </a:lnTo>
                  <a:lnTo>
                    <a:pt x="830" y="417"/>
                  </a:lnTo>
                  <a:lnTo>
                    <a:pt x="830" y="413"/>
                  </a:lnTo>
                  <a:lnTo>
                    <a:pt x="828" y="413"/>
                  </a:lnTo>
                  <a:lnTo>
                    <a:pt x="826" y="417"/>
                  </a:lnTo>
                  <a:lnTo>
                    <a:pt x="824" y="417"/>
                  </a:lnTo>
                  <a:lnTo>
                    <a:pt x="815" y="420"/>
                  </a:lnTo>
                  <a:lnTo>
                    <a:pt x="803" y="428"/>
                  </a:lnTo>
                  <a:lnTo>
                    <a:pt x="802" y="436"/>
                  </a:lnTo>
                  <a:lnTo>
                    <a:pt x="800" y="436"/>
                  </a:lnTo>
                  <a:lnTo>
                    <a:pt x="798" y="434"/>
                  </a:lnTo>
                  <a:lnTo>
                    <a:pt x="794" y="436"/>
                  </a:lnTo>
                  <a:lnTo>
                    <a:pt x="790" y="437"/>
                  </a:lnTo>
                  <a:lnTo>
                    <a:pt x="783" y="447"/>
                  </a:lnTo>
                  <a:lnTo>
                    <a:pt x="783" y="451"/>
                  </a:lnTo>
                  <a:lnTo>
                    <a:pt x="779" y="451"/>
                  </a:lnTo>
                  <a:lnTo>
                    <a:pt x="777" y="451"/>
                  </a:lnTo>
                  <a:lnTo>
                    <a:pt x="777" y="452"/>
                  </a:lnTo>
                  <a:lnTo>
                    <a:pt x="773" y="456"/>
                  </a:lnTo>
                  <a:lnTo>
                    <a:pt x="771" y="456"/>
                  </a:lnTo>
                  <a:lnTo>
                    <a:pt x="770" y="456"/>
                  </a:lnTo>
                  <a:lnTo>
                    <a:pt x="770" y="458"/>
                  </a:lnTo>
                  <a:lnTo>
                    <a:pt x="766" y="458"/>
                  </a:lnTo>
                  <a:lnTo>
                    <a:pt x="762" y="462"/>
                  </a:lnTo>
                  <a:lnTo>
                    <a:pt x="756" y="462"/>
                  </a:lnTo>
                  <a:lnTo>
                    <a:pt x="756" y="464"/>
                  </a:lnTo>
                  <a:lnTo>
                    <a:pt x="753" y="464"/>
                  </a:lnTo>
                  <a:lnTo>
                    <a:pt x="753" y="466"/>
                  </a:lnTo>
                  <a:lnTo>
                    <a:pt x="747" y="466"/>
                  </a:lnTo>
                  <a:lnTo>
                    <a:pt x="747" y="468"/>
                  </a:lnTo>
                  <a:lnTo>
                    <a:pt x="747" y="468"/>
                  </a:lnTo>
                  <a:lnTo>
                    <a:pt x="747" y="471"/>
                  </a:lnTo>
                  <a:lnTo>
                    <a:pt x="745" y="475"/>
                  </a:lnTo>
                  <a:lnTo>
                    <a:pt x="745" y="475"/>
                  </a:lnTo>
                  <a:lnTo>
                    <a:pt x="741" y="477"/>
                  </a:lnTo>
                  <a:lnTo>
                    <a:pt x="738" y="477"/>
                  </a:lnTo>
                  <a:lnTo>
                    <a:pt x="736" y="483"/>
                  </a:lnTo>
                  <a:lnTo>
                    <a:pt x="732" y="488"/>
                  </a:lnTo>
                  <a:lnTo>
                    <a:pt x="732" y="494"/>
                  </a:lnTo>
                  <a:lnTo>
                    <a:pt x="732" y="505"/>
                  </a:lnTo>
                  <a:lnTo>
                    <a:pt x="732" y="511"/>
                  </a:lnTo>
                  <a:lnTo>
                    <a:pt x="732" y="518"/>
                  </a:lnTo>
                  <a:lnTo>
                    <a:pt x="732" y="524"/>
                  </a:lnTo>
                  <a:lnTo>
                    <a:pt x="736" y="532"/>
                  </a:lnTo>
                  <a:lnTo>
                    <a:pt x="736" y="535"/>
                  </a:lnTo>
                  <a:lnTo>
                    <a:pt x="738" y="545"/>
                  </a:lnTo>
                  <a:lnTo>
                    <a:pt x="741" y="547"/>
                  </a:lnTo>
                  <a:lnTo>
                    <a:pt x="741" y="550"/>
                  </a:lnTo>
                  <a:lnTo>
                    <a:pt x="741" y="556"/>
                  </a:lnTo>
                  <a:lnTo>
                    <a:pt x="738" y="560"/>
                  </a:lnTo>
                  <a:lnTo>
                    <a:pt x="741" y="564"/>
                  </a:lnTo>
                  <a:lnTo>
                    <a:pt x="741" y="575"/>
                  </a:lnTo>
                  <a:lnTo>
                    <a:pt x="745" y="577"/>
                  </a:lnTo>
                  <a:lnTo>
                    <a:pt x="747" y="582"/>
                  </a:lnTo>
                  <a:lnTo>
                    <a:pt x="745" y="584"/>
                  </a:lnTo>
                  <a:lnTo>
                    <a:pt x="745" y="586"/>
                  </a:lnTo>
                  <a:lnTo>
                    <a:pt x="745" y="594"/>
                  </a:lnTo>
                  <a:lnTo>
                    <a:pt x="745" y="594"/>
                  </a:lnTo>
                  <a:lnTo>
                    <a:pt x="745" y="599"/>
                  </a:lnTo>
                  <a:lnTo>
                    <a:pt x="741" y="603"/>
                  </a:lnTo>
                  <a:lnTo>
                    <a:pt x="741" y="609"/>
                  </a:lnTo>
                  <a:lnTo>
                    <a:pt x="738" y="613"/>
                  </a:lnTo>
                  <a:lnTo>
                    <a:pt x="736" y="616"/>
                  </a:lnTo>
                  <a:lnTo>
                    <a:pt x="736" y="618"/>
                  </a:lnTo>
                  <a:lnTo>
                    <a:pt x="732" y="620"/>
                  </a:lnTo>
                  <a:lnTo>
                    <a:pt x="728" y="618"/>
                  </a:lnTo>
                  <a:lnTo>
                    <a:pt x="726" y="616"/>
                  </a:lnTo>
                  <a:lnTo>
                    <a:pt x="722" y="614"/>
                  </a:lnTo>
                  <a:lnTo>
                    <a:pt x="724" y="614"/>
                  </a:lnTo>
                  <a:lnTo>
                    <a:pt x="721" y="611"/>
                  </a:lnTo>
                  <a:lnTo>
                    <a:pt x="721" y="607"/>
                  </a:lnTo>
                  <a:lnTo>
                    <a:pt x="721" y="603"/>
                  </a:lnTo>
                  <a:lnTo>
                    <a:pt x="715" y="603"/>
                  </a:lnTo>
                  <a:lnTo>
                    <a:pt x="713" y="603"/>
                  </a:lnTo>
                  <a:lnTo>
                    <a:pt x="713" y="599"/>
                  </a:lnTo>
                  <a:lnTo>
                    <a:pt x="713" y="594"/>
                  </a:lnTo>
                  <a:lnTo>
                    <a:pt x="707" y="590"/>
                  </a:lnTo>
                  <a:lnTo>
                    <a:pt x="707" y="590"/>
                  </a:lnTo>
                  <a:lnTo>
                    <a:pt x="711" y="588"/>
                  </a:lnTo>
                  <a:lnTo>
                    <a:pt x="711" y="584"/>
                  </a:lnTo>
                  <a:lnTo>
                    <a:pt x="713" y="581"/>
                  </a:lnTo>
                  <a:lnTo>
                    <a:pt x="711" y="582"/>
                  </a:lnTo>
                  <a:lnTo>
                    <a:pt x="707" y="581"/>
                  </a:lnTo>
                  <a:lnTo>
                    <a:pt x="707" y="582"/>
                  </a:lnTo>
                  <a:lnTo>
                    <a:pt x="707" y="584"/>
                  </a:lnTo>
                  <a:lnTo>
                    <a:pt x="707" y="581"/>
                  </a:lnTo>
                  <a:lnTo>
                    <a:pt x="706" y="581"/>
                  </a:lnTo>
                  <a:lnTo>
                    <a:pt x="706" y="579"/>
                  </a:lnTo>
                  <a:lnTo>
                    <a:pt x="702" y="577"/>
                  </a:lnTo>
                  <a:lnTo>
                    <a:pt x="702" y="573"/>
                  </a:lnTo>
                  <a:lnTo>
                    <a:pt x="702" y="569"/>
                  </a:lnTo>
                  <a:lnTo>
                    <a:pt x="706" y="566"/>
                  </a:lnTo>
                  <a:lnTo>
                    <a:pt x="706" y="560"/>
                  </a:lnTo>
                  <a:lnTo>
                    <a:pt x="704" y="560"/>
                  </a:lnTo>
                  <a:lnTo>
                    <a:pt x="702" y="560"/>
                  </a:lnTo>
                  <a:lnTo>
                    <a:pt x="702" y="564"/>
                  </a:lnTo>
                  <a:lnTo>
                    <a:pt x="700" y="566"/>
                  </a:lnTo>
                  <a:lnTo>
                    <a:pt x="700" y="566"/>
                  </a:lnTo>
                  <a:lnTo>
                    <a:pt x="696" y="564"/>
                  </a:lnTo>
                  <a:lnTo>
                    <a:pt x="696" y="560"/>
                  </a:lnTo>
                  <a:lnTo>
                    <a:pt x="700" y="552"/>
                  </a:lnTo>
                  <a:lnTo>
                    <a:pt x="704" y="545"/>
                  </a:lnTo>
                  <a:lnTo>
                    <a:pt x="704" y="539"/>
                  </a:lnTo>
                  <a:lnTo>
                    <a:pt x="702" y="535"/>
                  </a:lnTo>
                  <a:lnTo>
                    <a:pt x="698" y="535"/>
                  </a:lnTo>
                  <a:lnTo>
                    <a:pt x="696" y="532"/>
                  </a:lnTo>
                  <a:lnTo>
                    <a:pt x="696" y="532"/>
                  </a:lnTo>
                  <a:lnTo>
                    <a:pt x="694" y="532"/>
                  </a:lnTo>
                  <a:lnTo>
                    <a:pt x="692" y="530"/>
                  </a:lnTo>
                  <a:lnTo>
                    <a:pt x="692" y="526"/>
                  </a:lnTo>
                  <a:lnTo>
                    <a:pt x="690" y="526"/>
                  </a:lnTo>
                  <a:lnTo>
                    <a:pt x="689" y="522"/>
                  </a:lnTo>
                  <a:lnTo>
                    <a:pt x="687" y="517"/>
                  </a:lnTo>
                  <a:lnTo>
                    <a:pt x="683" y="515"/>
                  </a:lnTo>
                  <a:lnTo>
                    <a:pt x="681" y="515"/>
                  </a:lnTo>
                  <a:lnTo>
                    <a:pt x="677" y="515"/>
                  </a:lnTo>
                  <a:lnTo>
                    <a:pt x="674" y="517"/>
                  </a:lnTo>
                  <a:lnTo>
                    <a:pt x="674" y="517"/>
                  </a:lnTo>
                  <a:lnTo>
                    <a:pt x="674" y="518"/>
                  </a:lnTo>
                  <a:lnTo>
                    <a:pt x="672" y="517"/>
                  </a:lnTo>
                  <a:lnTo>
                    <a:pt x="668" y="522"/>
                  </a:lnTo>
                  <a:lnTo>
                    <a:pt x="664" y="522"/>
                  </a:lnTo>
                  <a:lnTo>
                    <a:pt x="658" y="524"/>
                  </a:lnTo>
                  <a:lnTo>
                    <a:pt x="657" y="522"/>
                  </a:lnTo>
                  <a:lnTo>
                    <a:pt x="657" y="520"/>
                  </a:lnTo>
                  <a:lnTo>
                    <a:pt x="658" y="522"/>
                  </a:lnTo>
                  <a:lnTo>
                    <a:pt x="658" y="520"/>
                  </a:lnTo>
                  <a:lnTo>
                    <a:pt x="658" y="518"/>
                  </a:lnTo>
                  <a:lnTo>
                    <a:pt x="657" y="517"/>
                  </a:lnTo>
                  <a:lnTo>
                    <a:pt x="653" y="515"/>
                  </a:lnTo>
                  <a:lnTo>
                    <a:pt x="653" y="515"/>
                  </a:lnTo>
                  <a:lnTo>
                    <a:pt x="657" y="515"/>
                  </a:lnTo>
                  <a:lnTo>
                    <a:pt x="657" y="515"/>
                  </a:lnTo>
                  <a:lnTo>
                    <a:pt x="653" y="511"/>
                  </a:lnTo>
                  <a:lnTo>
                    <a:pt x="653" y="511"/>
                  </a:lnTo>
                  <a:lnTo>
                    <a:pt x="651" y="507"/>
                  </a:lnTo>
                  <a:lnTo>
                    <a:pt x="651" y="511"/>
                  </a:lnTo>
                  <a:lnTo>
                    <a:pt x="653" y="515"/>
                  </a:lnTo>
                  <a:lnTo>
                    <a:pt x="649" y="511"/>
                  </a:lnTo>
                  <a:lnTo>
                    <a:pt x="645" y="507"/>
                  </a:lnTo>
                  <a:lnTo>
                    <a:pt x="642" y="507"/>
                  </a:lnTo>
                  <a:lnTo>
                    <a:pt x="636" y="507"/>
                  </a:lnTo>
                  <a:lnTo>
                    <a:pt x="636" y="507"/>
                  </a:lnTo>
                  <a:lnTo>
                    <a:pt x="642" y="507"/>
                  </a:lnTo>
                  <a:lnTo>
                    <a:pt x="643" y="505"/>
                  </a:lnTo>
                  <a:lnTo>
                    <a:pt x="643" y="505"/>
                  </a:lnTo>
                  <a:lnTo>
                    <a:pt x="638" y="505"/>
                  </a:lnTo>
                  <a:lnTo>
                    <a:pt x="634" y="507"/>
                  </a:lnTo>
                  <a:lnTo>
                    <a:pt x="632" y="507"/>
                  </a:lnTo>
                  <a:lnTo>
                    <a:pt x="628" y="507"/>
                  </a:lnTo>
                  <a:lnTo>
                    <a:pt x="626" y="505"/>
                  </a:lnTo>
                  <a:lnTo>
                    <a:pt x="623" y="507"/>
                  </a:lnTo>
                  <a:lnTo>
                    <a:pt x="617" y="507"/>
                  </a:lnTo>
                  <a:lnTo>
                    <a:pt x="615" y="507"/>
                  </a:lnTo>
                  <a:lnTo>
                    <a:pt x="611" y="505"/>
                  </a:lnTo>
                  <a:lnTo>
                    <a:pt x="610" y="501"/>
                  </a:lnTo>
                  <a:lnTo>
                    <a:pt x="611" y="501"/>
                  </a:lnTo>
                  <a:lnTo>
                    <a:pt x="608" y="501"/>
                  </a:lnTo>
                  <a:lnTo>
                    <a:pt x="608" y="505"/>
                  </a:lnTo>
                  <a:lnTo>
                    <a:pt x="608" y="505"/>
                  </a:lnTo>
                  <a:lnTo>
                    <a:pt x="604" y="505"/>
                  </a:lnTo>
                  <a:lnTo>
                    <a:pt x="602" y="505"/>
                  </a:lnTo>
                  <a:lnTo>
                    <a:pt x="594" y="505"/>
                  </a:lnTo>
                  <a:lnTo>
                    <a:pt x="585" y="507"/>
                  </a:lnTo>
                  <a:lnTo>
                    <a:pt x="583" y="511"/>
                  </a:lnTo>
                  <a:lnTo>
                    <a:pt x="576" y="515"/>
                  </a:lnTo>
                  <a:lnTo>
                    <a:pt x="574" y="517"/>
                  </a:lnTo>
                  <a:lnTo>
                    <a:pt x="574" y="520"/>
                  </a:lnTo>
                  <a:lnTo>
                    <a:pt x="576" y="518"/>
                  </a:lnTo>
                  <a:lnTo>
                    <a:pt x="579" y="517"/>
                  </a:lnTo>
                  <a:lnTo>
                    <a:pt x="579" y="517"/>
                  </a:lnTo>
                  <a:lnTo>
                    <a:pt x="579" y="518"/>
                  </a:lnTo>
                  <a:lnTo>
                    <a:pt x="583" y="520"/>
                  </a:lnTo>
                  <a:lnTo>
                    <a:pt x="583" y="520"/>
                  </a:lnTo>
                  <a:lnTo>
                    <a:pt x="576" y="524"/>
                  </a:lnTo>
                  <a:lnTo>
                    <a:pt x="576" y="526"/>
                  </a:lnTo>
                  <a:lnTo>
                    <a:pt x="579" y="530"/>
                  </a:lnTo>
                  <a:lnTo>
                    <a:pt x="583" y="532"/>
                  </a:lnTo>
                  <a:lnTo>
                    <a:pt x="589" y="535"/>
                  </a:lnTo>
                  <a:lnTo>
                    <a:pt x="587" y="535"/>
                  </a:lnTo>
                  <a:lnTo>
                    <a:pt x="585" y="535"/>
                  </a:lnTo>
                  <a:lnTo>
                    <a:pt x="583" y="539"/>
                  </a:lnTo>
                  <a:lnTo>
                    <a:pt x="583" y="535"/>
                  </a:lnTo>
                  <a:lnTo>
                    <a:pt x="583" y="535"/>
                  </a:lnTo>
                  <a:lnTo>
                    <a:pt x="579" y="535"/>
                  </a:lnTo>
                  <a:lnTo>
                    <a:pt x="579" y="532"/>
                  </a:lnTo>
                  <a:lnTo>
                    <a:pt x="574" y="532"/>
                  </a:lnTo>
                  <a:lnTo>
                    <a:pt x="574" y="526"/>
                  </a:lnTo>
                  <a:lnTo>
                    <a:pt x="570" y="526"/>
                  </a:lnTo>
                  <a:lnTo>
                    <a:pt x="570" y="530"/>
                  </a:lnTo>
                  <a:lnTo>
                    <a:pt x="570" y="535"/>
                  </a:lnTo>
                  <a:lnTo>
                    <a:pt x="568" y="535"/>
                  </a:lnTo>
                  <a:lnTo>
                    <a:pt x="566" y="535"/>
                  </a:lnTo>
                  <a:lnTo>
                    <a:pt x="564" y="532"/>
                  </a:lnTo>
                  <a:lnTo>
                    <a:pt x="561" y="535"/>
                  </a:lnTo>
                  <a:lnTo>
                    <a:pt x="559" y="535"/>
                  </a:lnTo>
                  <a:lnTo>
                    <a:pt x="553" y="535"/>
                  </a:lnTo>
                  <a:lnTo>
                    <a:pt x="551" y="532"/>
                  </a:lnTo>
                  <a:lnTo>
                    <a:pt x="549" y="532"/>
                  </a:lnTo>
                  <a:lnTo>
                    <a:pt x="546" y="532"/>
                  </a:lnTo>
                  <a:lnTo>
                    <a:pt x="549" y="532"/>
                  </a:lnTo>
                  <a:lnTo>
                    <a:pt x="549" y="530"/>
                  </a:lnTo>
                  <a:lnTo>
                    <a:pt x="549" y="526"/>
                  </a:lnTo>
                  <a:lnTo>
                    <a:pt x="546" y="526"/>
                  </a:lnTo>
                  <a:lnTo>
                    <a:pt x="546" y="526"/>
                  </a:lnTo>
                  <a:lnTo>
                    <a:pt x="546" y="522"/>
                  </a:lnTo>
                  <a:lnTo>
                    <a:pt x="544" y="522"/>
                  </a:lnTo>
                  <a:lnTo>
                    <a:pt x="542" y="522"/>
                  </a:lnTo>
                  <a:lnTo>
                    <a:pt x="540" y="522"/>
                  </a:lnTo>
                  <a:lnTo>
                    <a:pt x="540" y="520"/>
                  </a:lnTo>
                  <a:lnTo>
                    <a:pt x="538" y="518"/>
                  </a:lnTo>
                  <a:lnTo>
                    <a:pt x="534" y="520"/>
                  </a:lnTo>
                  <a:lnTo>
                    <a:pt x="534" y="522"/>
                  </a:lnTo>
                  <a:lnTo>
                    <a:pt x="534" y="524"/>
                  </a:lnTo>
                  <a:lnTo>
                    <a:pt x="530" y="526"/>
                  </a:lnTo>
                  <a:lnTo>
                    <a:pt x="521" y="524"/>
                  </a:lnTo>
                  <a:lnTo>
                    <a:pt x="521" y="522"/>
                  </a:lnTo>
                  <a:lnTo>
                    <a:pt x="512" y="520"/>
                  </a:lnTo>
                  <a:lnTo>
                    <a:pt x="506" y="520"/>
                  </a:lnTo>
                  <a:lnTo>
                    <a:pt x="500" y="522"/>
                  </a:lnTo>
                  <a:lnTo>
                    <a:pt x="497" y="522"/>
                  </a:lnTo>
                  <a:lnTo>
                    <a:pt x="495" y="524"/>
                  </a:lnTo>
                  <a:lnTo>
                    <a:pt x="491" y="526"/>
                  </a:lnTo>
                  <a:lnTo>
                    <a:pt x="487" y="526"/>
                  </a:lnTo>
                  <a:lnTo>
                    <a:pt x="489" y="526"/>
                  </a:lnTo>
                  <a:lnTo>
                    <a:pt x="487" y="522"/>
                  </a:lnTo>
                  <a:lnTo>
                    <a:pt x="489" y="518"/>
                  </a:lnTo>
                  <a:lnTo>
                    <a:pt x="489" y="515"/>
                  </a:lnTo>
                  <a:lnTo>
                    <a:pt x="487" y="517"/>
                  </a:lnTo>
                  <a:lnTo>
                    <a:pt x="483" y="520"/>
                  </a:lnTo>
                  <a:lnTo>
                    <a:pt x="482" y="520"/>
                  </a:lnTo>
                  <a:lnTo>
                    <a:pt x="480" y="518"/>
                  </a:lnTo>
                  <a:lnTo>
                    <a:pt x="482" y="524"/>
                  </a:lnTo>
                  <a:lnTo>
                    <a:pt x="482" y="526"/>
                  </a:lnTo>
                  <a:lnTo>
                    <a:pt x="483" y="532"/>
                  </a:lnTo>
                  <a:lnTo>
                    <a:pt x="482" y="532"/>
                  </a:lnTo>
                  <a:lnTo>
                    <a:pt x="478" y="532"/>
                  </a:lnTo>
                  <a:lnTo>
                    <a:pt x="472" y="539"/>
                  </a:lnTo>
                  <a:lnTo>
                    <a:pt x="465" y="541"/>
                  </a:lnTo>
                  <a:lnTo>
                    <a:pt x="463" y="541"/>
                  </a:lnTo>
                  <a:lnTo>
                    <a:pt x="459" y="545"/>
                  </a:lnTo>
                  <a:lnTo>
                    <a:pt x="457" y="545"/>
                  </a:lnTo>
                  <a:lnTo>
                    <a:pt x="459" y="541"/>
                  </a:lnTo>
                  <a:lnTo>
                    <a:pt x="457" y="539"/>
                  </a:lnTo>
                  <a:lnTo>
                    <a:pt x="455" y="541"/>
                  </a:lnTo>
                  <a:lnTo>
                    <a:pt x="453" y="539"/>
                  </a:lnTo>
                  <a:lnTo>
                    <a:pt x="450" y="541"/>
                  </a:lnTo>
                  <a:lnTo>
                    <a:pt x="451" y="543"/>
                  </a:lnTo>
                  <a:lnTo>
                    <a:pt x="448" y="545"/>
                  </a:lnTo>
                  <a:lnTo>
                    <a:pt x="446" y="543"/>
                  </a:lnTo>
                  <a:lnTo>
                    <a:pt x="446" y="549"/>
                  </a:lnTo>
                  <a:lnTo>
                    <a:pt x="442" y="550"/>
                  </a:lnTo>
                  <a:lnTo>
                    <a:pt x="442" y="549"/>
                  </a:lnTo>
                  <a:lnTo>
                    <a:pt x="438" y="554"/>
                  </a:lnTo>
                  <a:lnTo>
                    <a:pt x="442" y="556"/>
                  </a:lnTo>
                  <a:lnTo>
                    <a:pt x="436" y="560"/>
                  </a:lnTo>
                  <a:lnTo>
                    <a:pt x="433" y="560"/>
                  </a:lnTo>
                  <a:lnTo>
                    <a:pt x="436" y="566"/>
                  </a:lnTo>
                  <a:lnTo>
                    <a:pt x="433" y="569"/>
                  </a:lnTo>
                  <a:lnTo>
                    <a:pt x="431" y="575"/>
                  </a:lnTo>
                  <a:lnTo>
                    <a:pt x="429" y="581"/>
                  </a:lnTo>
                  <a:lnTo>
                    <a:pt x="431" y="584"/>
                  </a:lnTo>
                  <a:lnTo>
                    <a:pt x="431" y="590"/>
                  </a:lnTo>
                  <a:lnTo>
                    <a:pt x="431" y="594"/>
                  </a:lnTo>
                  <a:lnTo>
                    <a:pt x="431" y="599"/>
                  </a:lnTo>
                  <a:lnTo>
                    <a:pt x="427" y="603"/>
                  </a:lnTo>
                  <a:lnTo>
                    <a:pt x="427" y="601"/>
                  </a:lnTo>
                  <a:lnTo>
                    <a:pt x="425" y="599"/>
                  </a:lnTo>
                  <a:lnTo>
                    <a:pt x="421" y="599"/>
                  </a:lnTo>
                  <a:lnTo>
                    <a:pt x="418" y="599"/>
                  </a:lnTo>
                  <a:lnTo>
                    <a:pt x="412" y="594"/>
                  </a:lnTo>
                  <a:lnTo>
                    <a:pt x="408" y="594"/>
                  </a:lnTo>
                  <a:lnTo>
                    <a:pt x="408" y="590"/>
                  </a:lnTo>
                  <a:lnTo>
                    <a:pt x="404" y="590"/>
                  </a:lnTo>
                  <a:lnTo>
                    <a:pt x="402" y="590"/>
                  </a:lnTo>
                  <a:lnTo>
                    <a:pt x="402" y="590"/>
                  </a:lnTo>
                  <a:lnTo>
                    <a:pt x="401" y="588"/>
                  </a:lnTo>
                  <a:lnTo>
                    <a:pt x="401" y="584"/>
                  </a:lnTo>
                  <a:lnTo>
                    <a:pt x="397" y="573"/>
                  </a:lnTo>
                  <a:lnTo>
                    <a:pt x="397" y="571"/>
                  </a:lnTo>
                  <a:lnTo>
                    <a:pt x="397" y="569"/>
                  </a:lnTo>
                  <a:lnTo>
                    <a:pt x="397" y="569"/>
                  </a:lnTo>
                  <a:lnTo>
                    <a:pt x="397" y="566"/>
                  </a:lnTo>
                  <a:lnTo>
                    <a:pt x="393" y="560"/>
                  </a:lnTo>
                  <a:lnTo>
                    <a:pt x="391" y="556"/>
                  </a:lnTo>
                  <a:lnTo>
                    <a:pt x="391" y="554"/>
                  </a:lnTo>
                  <a:lnTo>
                    <a:pt x="387" y="552"/>
                  </a:lnTo>
                  <a:lnTo>
                    <a:pt x="387" y="550"/>
                  </a:lnTo>
                  <a:lnTo>
                    <a:pt x="387" y="549"/>
                  </a:lnTo>
                  <a:lnTo>
                    <a:pt x="384" y="541"/>
                  </a:lnTo>
                  <a:lnTo>
                    <a:pt x="384" y="539"/>
                  </a:lnTo>
                  <a:lnTo>
                    <a:pt x="382" y="539"/>
                  </a:lnTo>
                  <a:lnTo>
                    <a:pt x="382" y="535"/>
                  </a:lnTo>
                  <a:lnTo>
                    <a:pt x="382" y="532"/>
                  </a:lnTo>
                  <a:lnTo>
                    <a:pt x="380" y="532"/>
                  </a:lnTo>
                  <a:lnTo>
                    <a:pt x="378" y="526"/>
                  </a:lnTo>
                  <a:lnTo>
                    <a:pt x="376" y="522"/>
                  </a:lnTo>
                  <a:lnTo>
                    <a:pt x="372" y="518"/>
                  </a:lnTo>
                  <a:lnTo>
                    <a:pt x="370" y="517"/>
                  </a:lnTo>
                  <a:lnTo>
                    <a:pt x="367" y="515"/>
                  </a:lnTo>
                  <a:lnTo>
                    <a:pt x="365" y="515"/>
                  </a:lnTo>
                  <a:lnTo>
                    <a:pt x="363" y="515"/>
                  </a:lnTo>
                  <a:lnTo>
                    <a:pt x="363" y="515"/>
                  </a:lnTo>
                  <a:lnTo>
                    <a:pt x="359" y="515"/>
                  </a:lnTo>
                  <a:lnTo>
                    <a:pt x="357" y="515"/>
                  </a:lnTo>
                  <a:lnTo>
                    <a:pt x="354" y="515"/>
                  </a:lnTo>
                  <a:lnTo>
                    <a:pt x="352" y="515"/>
                  </a:lnTo>
                  <a:lnTo>
                    <a:pt x="352" y="515"/>
                  </a:lnTo>
                  <a:lnTo>
                    <a:pt x="350" y="515"/>
                  </a:lnTo>
                  <a:lnTo>
                    <a:pt x="350" y="515"/>
                  </a:lnTo>
                  <a:lnTo>
                    <a:pt x="346" y="515"/>
                  </a:lnTo>
                  <a:lnTo>
                    <a:pt x="344" y="517"/>
                  </a:lnTo>
                  <a:lnTo>
                    <a:pt x="342" y="522"/>
                  </a:lnTo>
                  <a:lnTo>
                    <a:pt x="340" y="524"/>
                  </a:lnTo>
                  <a:lnTo>
                    <a:pt x="340" y="526"/>
                  </a:lnTo>
                  <a:lnTo>
                    <a:pt x="340" y="526"/>
                  </a:lnTo>
                  <a:lnTo>
                    <a:pt x="338" y="526"/>
                  </a:lnTo>
                  <a:lnTo>
                    <a:pt x="335" y="530"/>
                  </a:lnTo>
                  <a:lnTo>
                    <a:pt x="335" y="532"/>
                  </a:lnTo>
                  <a:lnTo>
                    <a:pt x="333" y="532"/>
                  </a:lnTo>
                  <a:lnTo>
                    <a:pt x="333" y="532"/>
                  </a:lnTo>
                  <a:lnTo>
                    <a:pt x="333" y="530"/>
                  </a:lnTo>
                  <a:lnTo>
                    <a:pt x="327" y="526"/>
                  </a:lnTo>
                  <a:lnTo>
                    <a:pt x="325" y="526"/>
                  </a:lnTo>
                  <a:lnTo>
                    <a:pt x="323" y="526"/>
                  </a:lnTo>
                  <a:lnTo>
                    <a:pt x="320" y="524"/>
                  </a:lnTo>
                  <a:lnTo>
                    <a:pt x="318" y="524"/>
                  </a:lnTo>
                  <a:lnTo>
                    <a:pt x="316" y="522"/>
                  </a:lnTo>
                  <a:lnTo>
                    <a:pt x="316" y="522"/>
                  </a:lnTo>
                  <a:lnTo>
                    <a:pt x="316" y="520"/>
                  </a:lnTo>
                  <a:lnTo>
                    <a:pt x="314" y="518"/>
                  </a:lnTo>
                  <a:lnTo>
                    <a:pt x="312" y="520"/>
                  </a:lnTo>
                  <a:lnTo>
                    <a:pt x="310" y="518"/>
                  </a:lnTo>
                  <a:lnTo>
                    <a:pt x="310" y="518"/>
                  </a:lnTo>
                  <a:lnTo>
                    <a:pt x="310" y="517"/>
                  </a:lnTo>
                  <a:lnTo>
                    <a:pt x="308" y="515"/>
                  </a:lnTo>
                  <a:lnTo>
                    <a:pt x="308" y="511"/>
                  </a:lnTo>
                  <a:lnTo>
                    <a:pt x="305" y="507"/>
                  </a:lnTo>
                  <a:lnTo>
                    <a:pt x="305" y="505"/>
                  </a:lnTo>
                  <a:lnTo>
                    <a:pt x="305" y="505"/>
                  </a:lnTo>
                  <a:lnTo>
                    <a:pt x="308" y="505"/>
                  </a:lnTo>
                  <a:lnTo>
                    <a:pt x="308" y="501"/>
                  </a:lnTo>
                  <a:lnTo>
                    <a:pt x="305" y="501"/>
                  </a:lnTo>
                  <a:lnTo>
                    <a:pt x="305" y="500"/>
                  </a:lnTo>
                  <a:lnTo>
                    <a:pt x="305" y="500"/>
                  </a:lnTo>
                  <a:lnTo>
                    <a:pt x="303" y="498"/>
                  </a:lnTo>
                  <a:lnTo>
                    <a:pt x="303" y="492"/>
                  </a:lnTo>
                  <a:lnTo>
                    <a:pt x="301" y="490"/>
                  </a:lnTo>
                  <a:lnTo>
                    <a:pt x="297" y="488"/>
                  </a:lnTo>
                  <a:lnTo>
                    <a:pt x="295" y="488"/>
                  </a:lnTo>
                  <a:lnTo>
                    <a:pt x="297" y="486"/>
                  </a:lnTo>
                  <a:lnTo>
                    <a:pt x="297" y="485"/>
                  </a:lnTo>
                  <a:lnTo>
                    <a:pt x="293" y="483"/>
                  </a:lnTo>
                  <a:lnTo>
                    <a:pt x="290" y="481"/>
                  </a:lnTo>
                  <a:lnTo>
                    <a:pt x="291" y="481"/>
                  </a:lnTo>
                  <a:lnTo>
                    <a:pt x="290" y="477"/>
                  </a:lnTo>
                  <a:lnTo>
                    <a:pt x="288" y="477"/>
                  </a:lnTo>
                  <a:lnTo>
                    <a:pt x="288" y="477"/>
                  </a:lnTo>
                  <a:lnTo>
                    <a:pt x="286" y="471"/>
                  </a:lnTo>
                  <a:lnTo>
                    <a:pt x="284" y="469"/>
                  </a:lnTo>
                  <a:lnTo>
                    <a:pt x="280" y="468"/>
                  </a:lnTo>
                  <a:lnTo>
                    <a:pt x="250" y="466"/>
                  </a:lnTo>
                  <a:lnTo>
                    <a:pt x="250" y="471"/>
                  </a:lnTo>
                  <a:lnTo>
                    <a:pt x="197" y="471"/>
                  </a:lnTo>
                  <a:lnTo>
                    <a:pt x="133" y="443"/>
                  </a:lnTo>
                  <a:lnTo>
                    <a:pt x="133" y="441"/>
                  </a:lnTo>
                  <a:lnTo>
                    <a:pt x="133" y="437"/>
                  </a:lnTo>
                  <a:lnTo>
                    <a:pt x="88" y="441"/>
                  </a:lnTo>
                  <a:lnTo>
                    <a:pt x="88" y="437"/>
                  </a:lnTo>
                  <a:lnTo>
                    <a:pt x="88" y="432"/>
                  </a:lnTo>
                  <a:lnTo>
                    <a:pt x="88" y="426"/>
                  </a:lnTo>
                  <a:lnTo>
                    <a:pt x="83" y="417"/>
                  </a:lnTo>
                  <a:lnTo>
                    <a:pt x="79" y="413"/>
                  </a:lnTo>
                  <a:lnTo>
                    <a:pt x="77" y="413"/>
                  </a:lnTo>
                  <a:lnTo>
                    <a:pt x="75" y="413"/>
                  </a:lnTo>
                  <a:lnTo>
                    <a:pt x="73" y="413"/>
                  </a:lnTo>
                  <a:lnTo>
                    <a:pt x="73" y="409"/>
                  </a:lnTo>
                  <a:lnTo>
                    <a:pt x="73" y="407"/>
                  </a:lnTo>
                  <a:lnTo>
                    <a:pt x="67" y="407"/>
                  </a:lnTo>
                  <a:lnTo>
                    <a:pt x="64" y="407"/>
                  </a:lnTo>
                  <a:lnTo>
                    <a:pt x="60" y="404"/>
                  </a:lnTo>
                  <a:lnTo>
                    <a:pt x="60" y="400"/>
                  </a:lnTo>
                  <a:lnTo>
                    <a:pt x="58" y="398"/>
                  </a:lnTo>
                  <a:lnTo>
                    <a:pt x="52" y="398"/>
                  </a:lnTo>
                  <a:lnTo>
                    <a:pt x="51" y="396"/>
                  </a:lnTo>
                  <a:lnTo>
                    <a:pt x="47" y="394"/>
                  </a:lnTo>
                  <a:lnTo>
                    <a:pt x="43" y="394"/>
                  </a:lnTo>
                  <a:lnTo>
                    <a:pt x="39" y="394"/>
                  </a:lnTo>
                  <a:lnTo>
                    <a:pt x="35" y="392"/>
                  </a:lnTo>
                  <a:lnTo>
                    <a:pt x="35" y="388"/>
                  </a:lnTo>
                  <a:lnTo>
                    <a:pt x="35" y="388"/>
                  </a:lnTo>
                  <a:lnTo>
                    <a:pt x="35" y="387"/>
                  </a:lnTo>
                  <a:lnTo>
                    <a:pt x="39" y="381"/>
                  </a:lnTo>
                  <a:lnTo>
                    <a:pt x="35" y="377"/>
                  </a:lnTo>
                  <a:lnTo>
                    <a:pt x="34" y="373"/>
                  </a:lnTo>
                  <a:lnTo>
                    <a:pt x="34" y="373"/>
                  </a:lnTo>
                  <a:lnTo>
                    <a:pt x="35" y="371"/>
                  </a:lnTo>
                  <a:lnTo>
                    <a:pt x="34" y="370"/>
                  </a:lnTo>
                  <a:lnTo>
                    <a:pt x="30" y="366"/>
                  </a:lnTo>
                  <a:lnTo>
                    <a:pt x="26" y="358"/>
                  </a:lnTo>
                  <a:lnTo>
                    <a:pt x="24" y="353"/>
                  </a:lnTo>
                  <a:lnTo>
                    <a:pt x="22" y="349"/>
                  </a:lnTo>
                  <a:lnTo>
                    <a:pt x="22" y="347"/>
                  </a:lnTo>
                  <a:lnTo>
                    <a:pt x="22" y="343"/>
                  </a:lnTo>
                  <a:lnTo>
                    <a:pt x="20" y="339"/>
                  </a:lnTo>
                  <a:lnTo>
                    <a:pt x="20" y="338"/>
                  </a:lnTo>
                  <a:lnTo>
                    <a:pt x="22" y="338"/>
                  </a:lnTo>
                  <a:lnTo>
                    <a:pt x="24" y="338"/>
                  </a:lnTo>
                  <a:lnTo>
                    <a:pt x="24" y="332"/>
                  </a:lnTo>
                  <a:lnTo>
                    <a:pt x="22" y="332"/>
                  </a:lnTo>
                  <a:lnTo>
                    <a:pt x="20" y="328"/>
                  </a:lnTo>
                  <a:lnTo>
                    <a:pt x="19" y="324"/>
                  </a:lnTo>
                  <a:lnTo>
                    <a:pt x="17" y="324"/>
                  </a:lnTo>
                  <a:lnTo>
                    <a:pt x="17" y="323"/>
                  </a:lnTo>
                  <a:lnTo>
                    <a:pt x="19" y="319"/>
                  </a:lnTo>
                  <a:lnTo>
                    <a:pt x="17" y="317"/>
                  </a:lnTo>
                  <a:lnTo>
                    <a:pt x="19" y="315"/>
                  </a:lnTo>
                  <a:lnTo>
                    <a:pt x="19" y="313"/>
                  </a:lnTo>
                  <a:lnTo>
                    <a:pt x="20" y="311"/>
                  </a:lnTo>
                  <a:lnTo>
                    <a:pt x="22" y="311"/>
                  </a:lnTo>
                  <a:lnTo>
                    <a:pt x="24" y="315"/>
                  </a:lnTo>
                  <a:lnTo>
                    <a:pt x="26" y="317"/>
                  </a:lnTo>
                  <a:lnTo>
                    <a:pt x="26" y="315"/>
                  </a:lnTo>
                  <a:lnTo>
                    <a:pt x="24" y="313"/>
                  </a:lnTo>
                  <a:lnTo>
                    <a:pt x="24" y="307"/>
                  </a:lnTo>
                  <a:lnTo>
                    <a:pt x="22" y="307"/>
                  </a:lnTo>
                  <a:lnTo>
                    <a:pt x="22" y="304"/>
                  </a:lnTo>
                  <a:lnTo>
                    <a:pt x="24" y="304"/>
                  </a:lnTo>
                  <a:lnTo>
                    <a:pt x="26" y="304"/>
                  </a:lnTo>
                  <a:lnTo>
                    <a:pt x="30" y="304"/>
                  </a:lnTo>
                  <a:lnTo>
                    <a:pt x="30" y="304"/>
                  </a:lnTo>
                  <a:lnTo>
                    <a:pt x="28" y="304"/>
                  </a:lnTo>
                  <a:lnTo>
                    <a:pt x="26" y="300"/>
                  </a:lnTo>
                  <a:lnTo>
                    <a:pt x="24" y="300"/>
                  </a:lnTo>
                  <a:lnTo>
                    <a:pt x="22" y="298"/>
                  </a:lnTo>
                  <a:lnTo>
                    <a:pt x="22" y="300"/>
                  </a:lnTo>
                  <a:lnTo>
                    <a:pt x="19" y="298"/>
                  </a:lnTo>
                  <a:lnTo>
                    <a:pt x="19" y="304"/>
                  </a:lnTo>
                  <a:lnTo>
                    <a:pt x="19" y="307"/>
                  </a:lnTo>
                  <a:lnTo>
                    <a:pt x="19" y="307"/>
                  </a:lnTo>
                  <a:lnTo>
                    <a:pt x="17" y="307"/>
                  </a:lnTo>
                  <a:lnTo>
                    <a:pt x="17" y="304"/>
                  </a:lnTo>
                  <a:lnTo>
                    <a:pt x="11" y="300"/>
                  </a:lnTo>
                  <a:lnTo>
                    <a:pt x="11" y="298"/>
                  </a:lnTo>
                  <a:lnTo>
                    <a:pt x="11" y="294"/>
                  </a:lnTo>
                  <a:lnTo>
                    <a:pt x="11" y="292"/>
                  </a:lnTo>
                  <a:lnTo>
                    <a:pt x="5" y="281"/>
                  </a:lnTo>
                  <a:lnTo>
                    <a:pt x="3" y="277"/>
                  </a:lnTo>
                  <a:lnTo>
                    <a:pt x="5" y="275"/>
                  </a:lnTo>
                  <a:lnTo>
                    <a:pt x="5" y="274"/>
                  </a:lnTo>
                  <a:lnTo>
                    <a:pt x="5" y="270"/>
                  </a:lnTo>
                  <a:lnTo>
                    <a:pt x="3" y="268"/>
                  </a:lnTo>
                  <a:lnTo>
                    <a:pt x="3" y="264"/>
                  </a:lnTo>
                  <a:lnTo>
                    <a:pt x="5" y="262"/>
                  </a:lnTo>
                  <a:lnTo>
                    <a:pt x="5" y="257"/>
                  </a:lnTo>
                  <a:lnTo>
                    <a:pt x="5" y="249"/>
                  </a:lnTo>
                  <a:lnTo>
                    <a:pt x="3" y="243"/>
                  </a:lnTo>
                  <a:lnTo>
                    <a:pt x="0" y="240"/>
                  </a:lnTo>
                  <a:lnTo>
                    <a:pt x="0" y="234"/>
                  </a:lnTo>
                  <a:lnTo>
                    <a:pt x="2" y="230"/>
                  </a:lnTo>
                  <a:lnTo>
                    <a:pt x="9" y="226"/>
                  </a:lnTo>
                  <a:lnTo>
                    <a:pt x="9" y="221"/>
                  </a:lnTo>
                  <a:lnTo>
                    <a:pt x="9" y="221"/>
                  </a:lnTo>
                  <a:lnTo>
                    <a:pt x="9" y="219"/>
                  </a:lnTo>
                  <a:lnTo>
                    <a:pt x="9" y="215"/>
                  </a:lnTo>
                  <a:lnTo>
                    <a:pt x="11" y="213"/>
                  </a:lnTo>
                  <a:lnTo>
                    <a:pt x="11" y="206"/>
                  </a:lnTo>
                  <a:lnTo>
                    <a:pt x="11" y="200"/>
                  </a:lnTo>
                  <a:lnTo>
                    <a:pt x="11" y="196"/>
                  </a:lnTo>
                  <a:lnTo>
                    <a:pt x="13" y="194"/>
                  </a:lnTo>
                  <a:lnTo>
                    <a:pt x="9" y="191"/>
                  </a:lnTo>
                  <a:lnTo>
                    <a:pt x="9" y="185"/>
                  </a:lnTo>
                  <a:lnTo>
                    <a:pt x="11" y="179"/>
                  </a:lnTo>
                  <a:lnTo>
                    <a:pt x="11" y="172"/>
                  </a:lnTo>
                  <a:lnTo>
                    <a:pt x="13" y="168"/>
                  </a:lnTo>
                  <a:lnTo>
                    <a:pt x="17" y="164"/>
                  </a:lnTo>
                  <a:lnTo>
                    <a:pt x="19" y="159"/>
                  </a:lnTo>
                  <a:lnTo>
                    <a:pt x="20" y="157"/>
                  </a:lnTo>
                  <a:lnTo>
                    <a:pt x="22" y="151"/>
                  </a:lnTo>
                  <a:lnTo>
                    <a:pt x="26" y="147"/>
                  </a:lnTo>
                  <a:lnTo>
                    <a:pt x="30" y="142"/>
                  </a:lnTo>
                  <a:lnTo>
                    <a:pt x="30" y="132"/>
                  </a:lnTo>
                  <a:lnTo>
                    <a:pt x="35" y="125"/>
                  </a:lnTo>
                  <a:lnTo>
                    <a:pt x="35" y="115"/>
                  </a:lnTo>
                  <a:lnTo>
                    <a:pt x="39" y="104"/>
                  </a:lnTo>
                  <a:lnTo>
                    <a:pt x="41" y="100"/>
                  </a:lnTo>
                  <a:lnTo>
                    <a:pt x="45" y="96"/>
                  </a:lnTo>
                  <a:lnTo>
                    <a:pt x="45" y="93"/>
                  </a:lnTo>
                  <a:lnTo>
                    <a:pt x="45" y="87"/>
                  </a:lnTo>
                  <a:lnTo>
                    <a:pt x="49" y="85"/>
                  </a:lnTo>
                  <a:lnTo>
                    <a:pt x="49" y="81"/>
                  </a:lnTo>
                  <a:lnTo>
                    <a:pt x="49" y="81"/>
                  </a:lnTo>
                  <a:lnTo>
                    <a:pt x="52" y="81"/>
                  </a:lnTo>
                  <a:lnTo>
                    <a:pt x="58" y="83"/>
                  </a:lnTo>
                  <a:lnTo>
                    <a:pt x="60" y="85"/>
                  </a:lnTo>
                  <a:lnTo>
                    <a:pt x="64" y="83"/>
                  </a:lnTo>
                  <a:lnTo>
                    <a:pt x="66" y="87"/>
                  </a:lnTo>
                  <a:lnTo>
                    <a:pt x="67" y="91"/>
                  </a:lnTo>
                  <a:lnTo>
                    <a:pt x="67" y="85"/>
                  </a:lnTo>
                  <a:lnTo>
                    <a:pt x="64" y="83"/>
                  </a:lnTo>
                  <a:lnTo>
                    <a:pt x="60" y="83"/>
                  </a:lnTo>
                  <a:lnTo>
                    <a:pt x="60" y="80"/>
                  </a:lnTo>
                  <a:lnTo>
                    <a:pt x="54" y="80"/>
                  </a:lnTo>
                  <a:lnTo>
                    <a:pt x="49" y="78"/>
                  </a:lnTo>
                  <a:lnTo>
                    <a:pt x="49" y="76"/>
                  </a:lnTo>
                  <a:lnTo>
                    <a:pt x="49" y="76"/>
                  </a:lnTo>
                  <a:lnTo>
                    <a:pt x="51" y="76"/>
                  </a:lnTo>
                  <a:lnTo>
                    <a:pt x="52" y="72"/>
                  </a:lnTo>
                  <a:lnTo>
                    <a:pt x="52" y="70"/>
                  </a:lnTo>
                  <a:lnTo>
                    <a:pt x="54" y="66"/>
                  </a:lnTo>
                  <a:lnTo>
                    <a:pt x="51" y="66"/>
                  </a:lnTo>
                  <a:lnTo>
                    <a:pt x="49" y="63"/>
                  </a:lnTo>
                  <a:lnTo>
                    <a:pt x="51" y="61"/>
                  </a:lnTo>
                  <a:lnTo>
                    <a:pt x="52" y="61"/>
                  </a:lnTo>
                  <a:lnTo>
                    <a:pt x="54" y="59"/>
                  </a:lnTo>
                  <a:lnTo>
                    <a:pt x="54" y="57"/>
                  </a:lnTo>
                  <a:lnTo>
                    <a:pt x="51" y="57"/>
                  </a:lnTo>
                  <a:lnTo>
                    <a:pt x="51" y="55"/>
                  </a:lnTo>
                  <a:lnTo>
                    <a:pt x="52" y="49"/>
                  </a:lnTo>
                  <a:lnTo>
                    <a:pt x="51" y="44"/>
                  </a:lnTo>
                  <a:lnTo>
                    <a:pt x="52" y="36"/>
                  </a:lnTo>
                  <a:lnTo>
                    <a:pt x="51" y="29"/>
                  </a:lnTo>
                  <a:lnTo>
                    <a:pt x="51" y="25"/>
                  </a:lnTo>
                  <a:lnTo>
                    <a:pt x="54" y="17"/>
                  </a:lnTo>
                  <a:lnTo>
                    <a:pt x="54" y="14"/>
                  </a:lnTo>
                  <a:lnTo>
                    <a:pt x="56" y="14"/>
                  </a:lnTo>
                  <a:lnTo>
                    <a:pt x="64" y="21"/>
                  </a:lnTo>
                  <a:lnTo>
                    <a:pt x="67" y="25"/>
                  </a:lnTo>
                  <a:lnTo>
                    <a:pt x="77" y="25"/>
                  </a:lnTo>
                  <a:lnTo>
                    <a:pt x="79" y="27"/>
                  </a:lnTo>
                  <a:lnTo>
                    <a:pt x="81" y="31"/>
                  </a:lnTo>
                  <a:lnTo>
                    <a:pt x="83" y="29"/>
                  </a:lnTo>
                  <a:lnTo>
                    <a:pt x="84" y="29"/>
                  </a:lnTo>
                  <a:lnTo>
                    <a:pt x="84" y="32"/>
                  </a:lnTo>
                  <a:lnTo>
                    <a:pt x="84" y="32"/>
                  </a:lnTo>
                  <a:lnTo>
                    <a:pt x="81" y="36"/>
                  </a:lnTo>
                  <a:lnTo>
                    <a:pt x="77" y="38"/>
                  </a:lnTo>
                  <a:lnTo>
                    <a:pt x="77" y="42"/>
                  </a:lnTo>
                  <a:lnTo>
                    <a:pt x="81" y="42"/>
                  </a:lnTo>
                  <a:lnTo>
                    <a:pt x="83" y="36"/>
                  </a:lnTo>
                  <a:lnTo>
                    <a:pt x="84" y="36"/>
                  </a:lnTo>
                  <a:lnTo>
                    <a:pt x="88" y="32"/>
                  </a:lnTo>
                  <a:lnTo>
                    <a:pt x="88" y="36"/>
                  </a:lnTo>
                  <a:lnTo>
                    <a:pt x="84" y="38"/>
                  </a:lnTo>
                  <a:lnTo>
                    <a:pt x="83" y="44"/>
                  </a:lnTo>
                  <a:lnTo>
                    <a:pt x="83" y="48"/>
                  </a:lnTo>
                  <a:lnTo>
                    <a:pt x="83" y="49"/>
                  </a:lnTo>
                  <a:lnTo>
                    <a:pt x="81" y="48"/>
                  </a:lnTo>
                  <a:lnTo>
                    <a:pt x="79" y="49"/>
                  </a:lnTo>
                  <a:lnTo>
                    <a:pt x="77" y="48"/>
                  </a:lnTo>
                  <a:lnTo>
                    <a:pt x="75" y="51"/>
                  </a:lnTo>
                  <a:lnTo>
                    <a:pt x="77" y="53"/>
                  </a:lnTo>
                  <a:lnTo>
                    <a:pt x="79" y="55"/>
                  </a:lnTo>
                  <a:lnTo>
                    <a:pt x="84" y="51"/>
                  </a:lnTo>
                  <a:lnTo>
                    <a:pt x="84" y="48"/>
                  </a:lnTo>
                  <a:lnTo>
                    <a:pt x="84" y="46"/>
                  </a:lnTo>
                  <a:lnTo>
                    <a:pt x="84" y="42"/>
                  </a:lnTo>
                  <a:lnTo>
                    <a:pt x="88" y="42"/>
                  </a:lnTo>
                  <a:lnTo>
                    <a:pt x="88" y="36"/>
                  </a:lnTo>
                  <a:lnTo>
                    <a:pt x="92" y="32"/>
                  </a:lnTo>
                  <a:lnTo>
                    <a:pt x="98" y="31"/>
                  </a:lnTo>
                  <a:lnTo>
                    <a:pt x="94" y="29"/>
                  </a:lnTo>
                  <a:lnTo>
                    <a:pt x="94" y="25"/>
                  </a:lnTo>
                  <a:lnTo>
                    <a:pt x="92" y="25"/>
                  </a:lnTo>
                  <a:lnTo>
                    <a:pt x="94" y="21"/>
                  </a:lnTo>
                  <a:lnTo>
                    <a:pt x="98" y="19"/>
                  </a:lnTo>
                  <a:lnTo>
                    <a:pt x="92" y="17"/>
                  </a:lnTo>
                  <a:lnTo>
                    <a:pt x="92" y="14"/>
                  </a:lnTo>
                  <a:lnTo>
                    <a:pt x="98" y="12"/>
                  </a:lnTo>
                  <a:lnTo>
                    <a:pt x="98" y="12"/>
                  </a:lnTo>
                  <a:lnTo>
                    <a:pt x="92" y="8"/>
                  </a:lnTo>
                  <a:lnTo>
                    <a:pt x="92" y="0"/>
                  </a:lnTo>
                  <a:lnTo>
                    <a:pt x="92" y="0"/>
                  </a:lnTo>
                  <a:lnTo>
                    <a:pt x="92" y="0"/>
                  </a:lnTo>
                  <a:lnTo>
                    <a:pt x="92" y="0"/>
                  </a:lnTo>
                  <a:close/>
                  <a:moveTo>
                    <a:pt x="956" y="264"/>
                  </a:moveTo>
                  <a:lnTo>
                    <a:pt x="956" y="264"/>
                  </a:lnTo>
                  <a:lnTo>
                    <a:pt x="962" y="264"/>
                  </a:lnTo>
                  <a:lnTo>
                    <a:pt x="962" y="264"/>
                  </a:lnTo>
                  <a:lnTo>
                    <a:pt x="963" y="264"/>
                  </a:lnTo>
                  <a:lnTo>
                    <a:pt x="962" y="262"/>
                  </a:lnTo>
                  <a:lnTo>
                    <a:pt x="958" y="262"/>
                  </a:lnTo>
                  <a:lnTo>
                    <a:pt x="958" y="262"/>
                  </a:lnTo>
                  <a:lnTo>
                    <a:pt x="956" y="264"/>
                  </a:lnTo>
                  <a:lnTo>
                    <a:pt x="956" y="264"/>
                  </a:lnTo>
                  <a:lnTo>
                    <a:pt x="956" y="264"/>
                  </a:lnTo>
                  <a:lnTo>
                    <a:pt x="956" y="264"/>
                  </a:lnTo>
                  <a:close/>
                  <a:moveTo>
                    <a:pt x="899" y="279"/>
                  </a:moveTo>
                  <a:lnTo>
                    <a:pt x="898" y="279"/>
                  </a:lnTo>
                  <a:lnTo>
                    <a:pt x="903" y="279"/>
                  </a:lnTo>
                  <a:lnTo>
                    <a:pt x="903" y="277"/>
                  </a:lnTo>
                  <a:lnTo>
                    <a:pt x="907" y="277"/>
                  </a:lnTo>
                  <a:lnTo>
                    <a:pt x="911" y="277"/>
                  </a:lnTo>
                  <a:lnTo>
                    <a:pt x="916" y="275"/>
                  </a:lnTo>
                  <a:lnTo>
                    <a:pt x="918" y="275"/>
                  </a:lnTo>
                  <a:lnTo>
                    <a:pt x="924" y="275"/>
                  </a:lnTo>
                  <a:lnTo>
                    <a:pt x="928" y="274"/>
                  </a:lnTo>
                  <a:lnTo>
                    <a:pt x="928" y="274"/>
                  </a:lnTo>
                  <a:lnTo>
                    <a:pt x="933" y="274"/>
                  </a:lnTo>
                  <a:lnTo>
                    <a:pt x="935" y="270"/>
                  </a:lnTo>
                  <a:lnTo>
                    <a:pt x="931" y="274"/>
                  </a:lnTo>
                  <a:lnTo>
                    <a:pt x="931" y="270"/>
                  </a:lnTo>
                  <a:lnTo>
                    <a:pt x="928" y="274"/>
                  </a:lnTo>
                  <a:lnTo>
                    <a:pt x="928" y="270"/>
                  </a:lnTo>
                  <a:lnTo>
                    <a:pt x="928" y="270"/>
                  </a:lnTo>
                  <a:lnTo>
                    <a:pt x="928" y="270"/>
                  </a:lnTo>
                  <a:lnTo>
                    <a:pt x="924" y="270"/>
                  </a:lnTo>
                  <a:lnTo>
                    <a:pt x="918" y="270"/>
                  </a:lnTo>
                  <a:lnTo>
                    <a:pt x="913" y="274"/>
                  </a:lnTo>
                  <a:lnTo>
                    <a:pt x="909" y="274"/>
                  </a:lnTo>
                  <a:lnTo>
                    <a:pt x="903" y="274"/>
                  </a:lnTo>
                  <a:lnTo>
                    <a:pt x="899" y="274"/>
                  </a:lnTo>
                  <a:lnTo>
                    <a:pt x="898" y="277"/>
                  </a:lnTo>
                  <a:lnTo>
                    <a:pt x="898" y="279"/>
                  </a:lnTo>
                  <a:lnTo>
                    <a:pt x="899" y="279"/>
                  </a:lnTo>
                  <a:lnTo>
                    <a:pt x="899" y="279"/>
                  </a:lnTo>
                  <a:lnTo>
                    <a:pt x="899" y="279"/>
                  </a:lnTo>
                  <a:lnTo>
                    <a:pt x="899" y="279"/>
                  </a:lnTo>
                  <a:close/>
                  <a:moveTo>
                    <a:pt x="92" y="19"/>
                  </a:moveTo>
                  <a:lnTo>
                    <a:pt x="88" y="21"/>
                  </a:lnTo>
                  <a:lnTo>
                    <a:pt x="88" y="27"/>
                  </a:lnTo>
                  <a:lnTo>
                    <a:pt x="88" y="32"/>
                  </a:lnTo>
                  <a:lnTo>
                    <a:pt x="92" y="32"/>
                  </a:lnTo>
                  <a:lnTo>
                    <a:pt x="88" y="25"/>
                  </a:lnTo>
                  <a:lnTo>
                    <a:pt x="88" y="21"/>
                  </a:lnTo>
                  <a:lnTo>
                    <a:pt x="92" y="21"/>
                  </a:lnTo>
                  <a:lnTo>
                    <a:pt x="92" y="19"/>
                  </a:lnTo>
                  <a:lnTo>
                    <a:pt x="92" y="19"/>
                  </a:lnTo>
                  <a:lnTo>
                    <a:pt x="92" y="19"/>
                  </a:lnTo>
                  <a:lnTo>
                    <a:pt x="92" y="19"/>
                  </a:lnTo>
                  <a:close/>
                  <a:moveTo>
                    <a:pt x="442" y="560"/>
                  </a:moveTo>
                  <a:lnTo>
                    <a:pt x="442" y="556"/>
                  </a:lnTo>
                  <a:lnTo>
                    <a:pt x="446" y="554"/>
                  </a:lnTo>
                  <a:lnTo>
                    <a:pt x="448" y="550"/>
                  </a:lnTo>
                  <a:lnTo>
                    <a:pt x="446" y="552"/>
                  </a:lnTo>
                  <a:lnTo>
                    <a:pt x="442" y="560"/>
                  </a:lnTo>
                  <a:lnTo>
                    <a:pt x="442" y="560"/>
                  </a:lnTo>
                  <a:lnTo>
                    <a:pt x="442" y="560"/>
                  </a:lnTo>
                  <a:lnTo>
                    <a:pt x="442" y="560"/>
                  </a:lnTo>
                  <a:close/>
                  <a:moveTo>
                    <a:pt x="436" y="569"/>
                  </a:moveTo>
                  <a:lnTo>
                    <a:pt x="438" y="569"/>
                  </a:lnTo>
                  <a:lnTo>
                    <a:pt x="440" y="564"/>
                  </a:lnTo>
                  <a:lnTo>
                    <a:pt x="440" y="560"/>
                  </a:lnTo>
                  <a:lnTo>
                    <a:pt x="436" y="569"/>
                  </a:lnTo>
                  <a:lnTo>
                    <a:pt x="436" y="569"/>
                  </a:lnTo>
                  <a:lnTo>
                    <a:pt x="436" y="569"/>
                  </a:lnTo>
                  <a:lnTo>
                    <a:pt x="436" y="569"/>
                  </a:lnTo>
                  <a:close/>
                  <a:moveTo>
                    <a:pt x="433" y="594"/>
                  </a:moveTo>
                  <a:lnTo>
                    <a:pt x="433" y="588"/>
                  </a:lnTo>
                  <a:lnTo>
                    <a:pt x="433" y="581"/>
                  </a:lnTo>
                  <a:lnTo>
                    <a:pt x="436" y="571"/>
                  </a:lnTo>
                  <a:lnTo>
                    <a:pt x="433" y="579"/>
                  </a:lnTo>
                  <a:lnTo>
                    <a:pt x="433" y="588"/>
                  </a:lnTo>
                  <a:lnTo>
                    <a:pt x="433" y="588"/>
                  </a:lnTo>
                  <a:lnTo>
                    <a:pt x="433" y="594"/>
                  </a:lnTo>
                  <a:lnTo>
                    <a:pt x="433" y="594"/>
                  </a:lnTo>
                  <a:lnTo>
                    <a:pt x="433" y="594"/>
                  </a:lnTo>
                  <a:lnTo>
                    <a:pt x="433" y="594"/>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41">
              <a:extLst>
                <a:ext uri="{FF2B5EF4-FFF2-40B4-BE49-F238E27FC236}">
                  <a16:creationId xmlns:a16="http://schemas.microsoft.com/office/drawing/2014/main" id="{B51E40FC-3BF8-904C-9B8A-4B971C9CD995}"/>
                </a:ext>
              </a:extLst>
            </p:cNvPr>
            <p:cNvSpPr>
              <a:spLocks/>
            </p:cNvSpPr>
            <p:nvPr/>
          </p:nvSpPr>
          <p:spPr bwMode="auto">
            <a:xfrm>
              <a:off x="4690818" y="2729758"/>
              <a:ext cx="62294" cy="60594"/>
            </a:xfrm>
            <a:custGeom>
              <a:avLst/>
              <a:gdLst/>
              <a:ahLst/>
              <a:cxnLst>
                <a:cxn ang="0">
                  <a:pos x="38" y="79"/>
                </a:cxn>
                <a:cxn ang="0">
                  <a:pos x="40" y="74"/>
                </a:cxn>
                <a:cxn ang="0">
                  <a:pos x="49" y="70"/>
                </a:cxn>
                <a:cxn ang="0">
                  <a:pos x="53" y="66"/>
                </a:cxn>
                <a:cxn ang="0">
                  <a:pos x="55" y="58"/>
                </a:cxn>
                <a:cxn ang="0">
                  <a:pos x="64" y="49"/>
                </a:cxn>
                <a:cxn ang="0">
                  <a:pos x="70" y="45"/>
                </a:cxn>
                <a:cxn ang="0">
                  <a:pos x="73" y="41"/>
                </a:cxn>
                <a:cxn ang="0">
                  <a:pos x="73" y="38"/>
                </a:cxn>
                <a:cxn ang="0">
                  <a:pos x="68" y="41"/>
                </a:cxn>
                <a:cxn ang="0">
                  <a:pos x="64" y="38"/>
                </a:cxn>
                <a:cxn ang="0">
                  <a:pos x="60" y="36"/>
                </a:cxn>
                <a:cxn ang="0">
                  <a:pos x="56" y="36"/>
                </a:cxn>
                <a:cxn ang="0">
                  <a:pos x="56" y="0"/>
                </a:cxn>
                <a:cxn ang="0">
                  <a:pos x="24" y="11"/>
                </a:cxn>
                <a:cxn ang="0">
                  <a:pos x="21" y="13"/>
                </a:cxn>
                <a:cxn ang="0">
                  <a:pos x="24" y="19"/>
                </a:cxn>
                <a:cxn ang="0">
                  <a:pos x="28" y="21"/>
                </a:cxn>
                <a:cxn ang="0">
                  <a:pos x="30" y="25"/>
                </a:cxn>
                <a:cxn ang="0">
                  <a:pos x="36" y="28"/>
                </a:cxn>
                <a:cxn ang="0">
                  <a:pos x="38" y="30"/>
                </a:cxn>
                <a:cxn ang="0">
                  <a:pos x="11" y="34"/>
                </a:cxn>
                <a:cxn ang="0">
                  <a:pos x="2" y="55"/>
                </a:cxn>
                <a:cxn ang="0">
                  <a:pos x="2" y="58"/>
                </a:cxn>
                <a:cxn ang="0">
                  <a:pos x="4" y="58"/>
                </a:cxn>
                <a:cxn ang="0">
                  <a:pos x="2" y="62"/>
                </a:cxn>
                <a:cxn ang="0">
                  <a:pos x="0" y="64"/>
                </a:cxn>
                <a:cxn ang="0">
                  <a:pos x="6" y="70"/>
                </a:cxn>
                <a:cxn ang="0">
                  <a:pos x="9" y="75"/>
                </a:cxn>
                <a:cxn ang="0">
                  <a:pos x="24" y="79"/>
                </a:cxn>
                <a:cxn ang="0">
                  <a:pos x="36" y="79"/>
                </a:cxn>
                <a:cxn ang="0">
                  <a:pos x="36" y="79"/>
                </a:cxn>
              </a:cxnLst>
              <a:rect l="0" t="0" r="r" b="b"/>
              <a:pathLst>
                <a:path w="73" h="79">
                  <a:moveTo>
                    <a:pt x="36" y="79"/>
                  </a:moveTo>
                  <a:lnTo>
                    <a:pt x="38" y="79"/>
                  </a:lnTo>
                  <a:lnTo>
                    <a:pt x="38" y="77"/>
                  </a:lnTo>
                  <a:lnTo>
                    <a:pt x="40" y="74"/>
                  </a:lnTo>
                  <a:lnTo>
                    <a:pt x="45" y="70"/>
                  </a:lnTo>
                  <a:lnTo>
                    <a:pt x="49" y="70"/>
                  </a:lnTo>
                  <a:lnTo>
                    <a:pt x="49" y="70"/>
                  </a:lnTo>
                  <a:lnTo>
                    <a:pt x="53" y="66"/>
                  </a:lnTo>
                  <a:lnTo>
                    <a:pt x="56" y="60"/>
                  </a:lnTo>
                  <a:lnTo>
                    <a:pt x="55" y="58"/>
                  </a:lnTo>
                  <a:lnTo>
                    <a:pt x="58" y="55"/>
                  </a:lnTo>
                  <a:lnTo>
                    <a:pt x="64" y="49"/>
                  </a:lnTo>
                  <a:lnTo>
                    <a:pt x="64" y="49"/>
                  </a:lnTo>
                  <a:lnTo>
                    <a:pt x="70" y="45"/>
                  </a:lnTo>
                  <a:lnTo>
                    <a:pt x="72" y="43"/>
                  </a:lnTo>
                  <a:lnTo>
                    <a:pt x="73" y="41"/>
                  </a:lnTo>
                  <a:lnTo>
                    <a:pt x="73" y="40"/>
                  </a:lnTo>
                  <a:lnTo>
                    <a:pt x="73" y="38"/>
                  </a:lnTo>
                  <a:lnTo>
                    <a:pt x="70" y="38"/>
                  </a:lnTo>
                  <a:lnTo>
                    <a:pt x="68" y="41"/>
                  </a:lnTo>
                  <a:lnTo>
                    <a:pt x="68" y="38"/>
                  </a:lnTo>
                  <a:lnTo>
                    <a:pt x="64" y="38"/>
                  </a:lnTo>
                  <a:lnTo>
                    <a:pt x="62" y="36"/>
                  </a:lnTo>
                  <a:lnTo>
                    <a:pt x="60" y="36"/>
                  </a:lnTo>
                  <a:lnTo>
                    <a:pt x="60" y="36"/>
                  </a:lnTo>
                  <a:lnTo>
                    <a:pt x="56" y="36"/>
                  </a:lnTo>
                  <a:lnTo>
                    <a:pt x="56" y="0"/>
                  </a:lnTo>
                  <a:lnTo>
                    <a:pt x="56" y="0"/>
                  </a:lnTo>
                  <a:lnTo>
                    <a:pt x="24" y="0"/>
                  </a:lnTo>
                  <a:lnTo>
                    <a:pt x="24" y="11"/>
                  </a:lnTo>
                  <a:lnTo>
                    <a:pt x="17" y="11"/>
                  </a:lnTo>
                  <a:lnTo>
                    <a:pt x="21" y="13"/>
                  </a:lnTo>
                  <a:lnTo>
                    <a:pt x="21" y="15"/>
                  </a:lnTo>
                  <a:lnTo>
                    <a:pt x="24" y="19"/>
                  </a:lnTo>
                  <a:lnTo>
                    <a:pt x="28" y="21"/>
                  </a:lnTo>
                  <a:lnTo>
                    <a:pt x="28" y="21"/>
                  </a:lnTo>
                  <a:lnTo>
                    <a:pt x="30" y="25"/>
                  </a:lnTo>
                  <a:lnTo>
                    <a:pt x="30" y="25"/>
                  </a:lnTo>
                  <a:lnTo>
                    <a:pt x="32" y="28"/>
                  </a:lnTo>
                  <a:lnTo>
                    <a:pt x="36" y="28"/>
                  </a:lnTo>
                  <a:lnTo>
                    <a:pt x="38" y="28"/>
                  </a:lnTo>
                  <a:lnTo>
                    <a:pt x="38" y="30"/>
                  </a:lnTo>
                  <a:lnTo>
                    <a:pt x="36" y="34"/>
                  </a:lnTo>
                  <a:lnTo>
                    <a:pt x="11" y="34"/>
                  </a:lnTo>
                  <a:lnTo>
                    <a:pt x="2" y="53"/>
                  </a:lnTo>
                  <a:lnTo>
                    <a:pt x="2" y="55"/>
                  </a:lnTo>
                  <a:lnTo>
                    <a:pt x="2" y="55"/>
                  </a:lnTo>
                  <a:lnTo>
                    <a:pt x="2" y="58"/>
                  </a:lnTo>
                  <a:lnTo>
                    <a:pt x="4" y="58"/>
                  </a:lnTo>
                  <a:lnTo>
                    <a:pt x="4" y="58"/>
                  </a:lnTo>
                  <a:lnTo>
                    <a:pt x="4" y="60"/>
                  </a:lnTo>
                  <a:lnTo>
                    <a:pt x="2" y="62"/>
                  </a:lnTo>
                  <a:lnTo>
                    <a:pt x="0" y="64"/>
                  </a:lnTo>
                  <a:lnTo>
                    <a:pt x="0" y="64"/>
                  </a:lnTo>
                  <a:lnTo>
                    <a:pt x="4" y="68"/>
                  </a:lnTo>
                  <a:lnTo>
                    <a:pt x="6" y="70"/>
                  </a:lnTo>
                  <a:lnTo>
                    <a:pt x="9" y="70"/>
                  </a:lnTo>
                  <a:lnTo>
                    <a:pt x="9" y="75"/>
                  </a:lnTo>
                  <a:lnTo>
                    <a:pt x="21" y="79"/>
                  </a:lnTo>
                  <a:lnTo>
                    <a:pt x="24" y="79"/>
                  </a:lnTo>
                  <a:lnTo>
                    <a:pt x="28" y="79"/>
                  </a:lnTo>
                  <a:lnTo>
                    <a:pt x="36" y="79"/>
                  </a:lnTo>
                  <a:lnTo>
                    <a:pt x="36" y="79"/>
                  </a:lnTo>
                  <a:lnTo>
                    <a:pt x="36" y="79"/>
                  </a:lnTo>
                  <a:close/>
                </a:path>
              </a:pathLst>
            </a:custGeom>
            <a:solidFill>
              <a:srgbClr val="0A9A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42">
              <a:extLst>
                <a:ext uri="{FF2B5EF4-FFF2-40B4-BE49-F238E27FC236}">
                  <a16:creationId xmlns:a16="http://schemas.microsoft.com/office/drawing/2014/main" id="{258C6838-FE67-9745-BA0F-BC39357DD26E}"/>
                </a:ext>
              </a:extLst>
            </p:cNvPr>
            <p:cNvSpPr>
              <a:spLocks noEditPoints="1"/>
            </p:cNvSpPr>
            <p:nvPr/>
          </p:nvSpPr>
          <p:spPr bwMode="auto">
            <a:xfrm>
              <a:off x="4335830" y="2478178"/>
              <a:ext cx="449708" cy="300668"/>
            </a:xfrm>
            <a:custGeom>
              <a:avLst/>
              <a:gdLst/>
              <a:ahLst/>
              <a:cxnLst>
                <a:cxn ang="0">
                  <a:pos x="198" y="38"/>
                </a:cxn>
                <a:cxn ang="0">
                  <a:pos x="213" y="53"/>
                </a:cxn>
                <a:cxn ang="0">
                  <a:pos x="218" y="78"/>
                </a:cxn>
                <a:cxn ang="0">
                  <a:pos x="233" y="87"/>
                </a:cxn>
                <a:cxn ang="0">
                  <a:pos x="250" y="87"/>
                </a:cxn>
                <a:cxn ang="0">
                  <a:pos x="273" y="76"/>
                </a:cxn>
                <a:cxn ang="0">
                  <a:pos x="292" y="100"/>
                </a:cxn>
                <a:cxn ang="0">
                  <a:pos x="307" y="132"/>
                </a:cxn>
                <a:cxn ang="0">
                  <a:pos x="328" y="160"/>
                </a:cxn>
                <a:cxn ang="0">
                  <a:pos x="341" y="166"/>
                </a:cxn>
                <a:cxn ang="0">
                  <a:pos x="331" y="185"/>
                </a:cxn>
                <a:cxn ang="0">
                  <a:pos x="324" y="232"/>
                </a:cxn>
                <a:cxn ang="0">
                  <a:pos x="329" y="262"/>
                </a:cxn>
                <a:cxn ang="0">
                  <a:pos x="360" y="307"/>
                </a:cxn>
                <a:cxn ang="0">
                  <a:pos x="399" y="315"/>
                </a:cxn>
                <a:cxn ang="0">
                  <a:pos x="431" y="319"/>
                </a:cxn>
                <a:cxn ang="0">
                  <a:pos x="448" y="292"/>
                </a:cxn>
                <a:cxn ang="0">
                  <a:pos x="497" y="255"/>
                </a:cxn>
                <a:cxn ang="0">
                  <a:pos x="520" y="273"/>
                </a:cxn>
                <a:cxn ang="0">
                  <a:pos x="506" y="302"/>
                </a:cxn>
                <a:cxn ang="0">
                  <a:pos x="499" y="309"/>
                </a:cxn>
                <a:cxn ang="0">
                  <a:pos x="478" y="328"/>
                </a:cxn>
                <a:cxn ang="0">
                  <a:pos x="437" y="343"/>
                </a:cxn>
                <a:cxn ang="0">
                  <a:pos x="425" y="362"/>
                </a:cxn>
                <a:cxn ang="0">
                  <a:pos x="410" y="388"/>
                </a:cxn>
                <a:cxn ang="0">
                  <a:pos x="375" y="358"/>
                </a:cxn>
                <a:cxn ang="0">
                  <a:pos x="375" y="358"/>
                </a:cxn>
                <a:cxn ang="0">
                  <a:pos x="367" y="362"/>
                </a:cxn>
                <a:cxn ang="0">
                  <a:pos x="307" y="360"/>
                </a:cxn>
                <a:cxn ang="0">
                  <a:pos x="267" y="343"/>
                </a:cxn>
                <a:cxn ang="0">
                  <a:pos x="220" y="322"/>
                </a:cxn>
                <a:cxn ang="0">
                  <a:pos x="188" y="300"/>
                </a:cxn>
                <a:cxn ang="0">
                  <a:pos x="181" y="273"/>
                </a:cxn>
                <a:cxn ang="0">
                  <a:pos x="179" y="234"/>
                </a:cxn>
                <a:cxn ang="0">
                  <a:pos x="141" y="187"/>
                </a:cxn>
                <a:cxn ang="0">
                  <a:pos x="120" y="162"/>
                </a:cxn>
                <a:cxn ang="0">
                  <a:pos x="124" y="145"/>
                </a:cxn>
                <a:cxn ang="0">
                  <a:pos x="102" y="117"/>
                </a:cxn>
                <a:cxn ang="0">
                  <a:pos x="83" y="98"/>
                </a:cxn>
                <a:cxn ang="0">
                  <a:pos x="70" y="66"/>
                </a:cxn>
                <a:cxn ang="0">
                  <a:pos x="58" y="32"/>
                </a:cxn>
                <a:cxn ang="0">
                  <a:pos x="38" y="38"/>
                </a:cxn>
                <a:cxn ang="0">
                  <a:pos x="53" y="87"/>
                </a:cxn>
                <a:cxn ang="0">
                  <a:pos x="70" y="115"/>
                </a:cxn>
                <a:cxn ang="0">
                  <a:pos x="81" y="136"/>
                </a:cxn>
                <a:cxn ang="0">
                  <a:pos x="90" y="170"/>
                </a:cxn>
                <a:cxn ang="0">
                  <a:pos x="100" y="191"/>
                </a:cxn>
                <a:cxn ang="0">
                  <a:pos x="105" y="221"/>
                </a:cxn>
                <a:cxn ang="0">
                  <a:pos x="77" y="187"/>
                </a:cxn>
                <a:cxn ang="0">
                  <a:pos x="64" y="147"/>
                </a:cxn>
                <a:cxn ang="0">
                  <a:pos x="45" y="132"/>
                </a:cxn>
                <a:cxn ang="0">
                  <a:pos x="28" y="111"/>
                </a:cxn>
                <a:cxn ang="0">
                  <a:pos x="40" y="102"/>
                </a:cxn>
                <a:cxn ang="0">
                  <a:pos x="19" y="70"/>
                </a:cxn>
                <a:cxn ang="0">
                  <a:pos x="11" y="36"/>
                </a:cxn>
                <a:cxn ang="0">
                  <a:pos x="0" y="4"/>
                </a:cxn>
                <a:cxn ang="0">
                  <a:pos x="98" y="187"/>
                </a:cxn>
                <a:cxn ang="0">
                  <a:pos x="333" y="179"/>
                </a:cxn>
                <a:cxn ang="0">
                  <a:pos x="333" y="187"/>
                </a:cxn>
              </a:cxnLst>
              <a:rect l="0" t="0" r="r" b="b"/>
              <a:pathLst>
                <a:path w="527" h="392">
                  <a:moveTo>
                    <a:pt x="0" y="4"/>
                  </a:moveTo>
                  <a:lnTo>
                    <a:pt x="43" y="0"/>
                  </a:lnTo>
                  <a:lnTo>
                    <a:pt x="45" y="4"/>
                  </a:lnTo>
                  <a:lnTo>
                    <a:pt x="43" y="4"/>
                  </a:lnTo>
                  <a:lnTo>
                    <a:pt x="107" y="32"/>
                  </a:lnTo>
                  <a:lnTo>
                    <a:pt x="160" y="34"/>
                  </a:lnTo>
                  <a:lnTo>
                    <a:pt x="160" y="29"/>
                  </a:lnTo>
                  <a:lnTo>
                    <a:pt x="188" y="29"/>
                  </a:lnTo>
                  <a:lnTo>
                    <a:pt x="194" y="32"/>
                  </a:lnTo>
                  <a:lnTo>
                    <a:pt x="196" y="34"/>
                  </a:lnTo>
                  <a:lnTo>
                    <a:pt x="198" y="38"/>
                  </a:lnTo>
                  <a:lnTo>
                    <a:pt x="198" y="38"/>
                  </a:lnTo>
                  <a:lnTo>
                    <a:pt x="200" y="38"/>
                  </a:lnTo>
                  <a:lnTo>
                    <a:pt x="201" y="42"/>
                  </a:lnTo>
                  <a:lnTo>
                    <a:pt x="200" y="44"/>
                  </a:lnTo>
                  <a:lnTo>
                    <a:pt x="203" y="46"/>
                  </a:lnTo>
                  <a:lnTo>
                    <a:pt x="205" y="47"/>
                  </a:lnTo>
                  <a:lnTo>
                    <a:pt x="205" y="49"/>
                  </a:lnTo>
                  <a:lnTo>
                    <a:pt x="205" y="49"/>
                  </a:lnTo>
                  <a:lnTo>
                    <a:pt x="205" y="49"/>
                  </a:lnTo>
                  <a:lnTo>
                    <a:pt x="209" y="53"/>
                  </a:lnTo>
                  <a:lnTo>
                    <a:pt x="213" y="53"/>
                  </a:lnTo>
                  <a:lnTo>
                    <a:pt x="213" y="59"/>
                  </a:lnTo>
                  <a:lnTo>
                    <a:pt x="215" y="61"/>
                  </a:lnTo>
                  <a:lnTo>
                    <a:pt x="215" y="61"/>
                  </a:lnTo>
                  <a:lnTo>
                    <a:pt x="215" y="62"/>
                  </a:lnTo>
                  <a:lnTo>
                    <a:pt x="218" y="64"/>
                  </a:lnTo>
                  <a:lnTo>
                    <a:pt x="218" y="66"/>
                  </a:lnTo>
                  <a:lnTo>
                    <a:pt x="215" y="68"/>
                  </a:lnTo>
                  <a:lnTo>
                    <a:pt x="215" y="68"/>
                  </a:lnTo>
                  <a:lnTo>
                    <a:pt x="215" y="70"/>
                  </a:lnTo>
                  <a:lnTo>
                    <a:pt x="218" y="74"/>
                  </a:lnTo>
                  <a:lnTo>
                    <a:pt x="218" y="78"/>
                  </a:lnTo>
                  <a:lnTo>
                    <a:pt x="220" y="78"/>
                  </a:lnTo>
                  <a:lnTo>
                    <a:pt x="220" y="81"/>
                  </a:lnTo>
                  <a:lnTo>
                    <a:pt x="220" y="81"/>
                  </a:lnTo>
                  <a:lnTo>
                    <a:pt x="222" y="81"/>
                  </a:lnTo>
                  <a:lnTo>
                    <a:pt x="224" y="81"/>
                  </a:lnTo>
                  <a:lnTo>
                    <a:pt x="226" y="81"/>
                  </a:lnTo>
                  <a:lnTo>
                    <a:pt x="226" y="83"/>
                  </a:lnTo>
                  <a:lnTo>
                    <a:pt x="226" y="83"/>
                  </a:lnTo>
                  <a:lnTo>
                    <a:pt x="228" y="87"/>
                  </a:lnTo>
                  <a:lnTo>
                    <a:pt x="230" y="87"/>
                  </a:lnTo>
                  <a:lnTo>
                    <a:pt x="233" y="87"/>
                  </a:lnTo>
                  <a:lnTo>
                    <a:pt x="233" y="89"/>
                  </a:lnTo>
                  <a:lnTo>
                    <a:pt x="237" y="89"/>
                  </a:lnTo>
                  <a:lnTo>
                    <a:pt x="243" y="91"/>
                  </a:lnTo>
                  <a:lnTo>
                    <a:pt x="243" y="93"/>
                  </a:lnTo>
                  <a:lnTo>
                    <a:pt x="243" y="93"/>
                  </a:lnTo>
                  <a:lnTo>
                    <a:pt x="245" y="93"/>
                  </a:lnTo>
                  <a:lnTo>
                    <a:pt x="245" y="91"/>
                  </a:lnTo>
                  <a:lnTo>
                    <a:pt x="248" y="89"/>
                  </a:lnTo>
                  <a:lnTo>
                    <a:pt x="250" y="89"/>
                  </a:lnTo>
                  <a:lnTo>
                    <a:pt x="250" y="87"/>
                  </a:lnTo>
                  <a:lnTo>
                    <a:pt x="250" y="87"/>
                  </a:lnTo>
                  <a:lnTo>
                    <a:pt x="252" y="83"/>
                  </a:lnTo>
                  <a:lnTo>
                    <a:pt x="254" y="78"/>
                  </a:lnTo>
                  <a:lnTo>
                    <a:pt x="256" y="78"/>
                  </a:lnTo>
                  <a:lnTo>
                    <a:pt x="260" y="78"/>
                  </a:lnTo>
                  <a:lnTo>
                    <a:pt x="260" y="78"/>
                  </a:lnTo>
                  <a:lnTo>
                    <a:pt x="262" y="78"/>
                  </a:lnTo>
                  <a:lnTo>
                    <a:pt x="262" y="78"/>
                  </a:lnTo>
                  <a:lnTo>
                    <a:pt x="264" y="76"/>
                  </a:lnTo>
                  <a:lnTo>
                    <a:pt x="267" y="76"/>
                  </a:lnTo>
                  <a:lnTo>
                    <a:pt x="269" y="76"/>
                  </a:lnTo>
                  <a:lnTo>
                    <a:pt x="273" y="76"/>
                  </a:lnTo>
                  <a:lnTo>
                    <a:pt x="273" y="76"/>
                  </a:lnTo>
                  <a:lnTo>
                    <a:pt x="275" y="78"/>
                  </a:lnTo>
                  <a:lnTo>
                    <a:pt x="277" y="78"/>
                  </a:lnTo>
                  <a:lnTo>
                    <a:pt x="280" y="78"/>
                  </a:lnTo>
                  <a:lnTo>
                    <a:pt x="282" y="81"/>
                  </a:lnTo>
                  <a:lnTo>
                    <a:pt x="286" y="83"/>
                  </a:lnTo>
                  <a:lnTo>
                    <a:pt x="288" y="87"/>
                  </a:lnTo>
                  <a:lnTo>
                    <a:pt x="288" y="93"/>
                  </a:lnTo>
                  <a:lnTo>
                    <a:pt x="292" y="93"/>
                  </a:lnTo>
                  <a:lnTo>
                    <a:pt x="292" y="96"/>
                  </a:lnTo>
                  <a:lnTo>
                    <a:pt x="292" y="100"/>
                  </a:lnTo>
                  <a:lnTo>
                    <a:pt x="292" y="102"/>
                  </a:lnTo>
                  <a:lnTo>
                    <a:pt x="294" y="102"/>
                  </a:lnTo>
                  <a:lnTo>
                    <a:pt x="296" y="111"/>
                  </a:lnTo>
                  <a:lnTo>
                    <a:pt x="297" y="111"/>
                  </a:lnTo>
                  <a:lnTo>
                    <a:pt x="297" y="113"/>
                  </a:lnTo>
                  <a:lnTo>
                    <a:pt x="301" y="115"/>
                  </a:lnTo>
                  <a:lnTo>
                    <a:pt x="301" y="119"/>
                  </a:lnTo>
                  <a:lnTo>
                    <a:pt x="303" y="123"/>
                  </a:lnTo>
                  <a:lnTo>
                    <a:pt x="307" y="127"/>
                  </a:lnTo>
                  <a:lnTo>
                    <a:pt x="307" y="130"/>
                  </a:lnTo>
                  <a:lnTo>
                    <a:pt x="307" y="132"/>
                  </a:lnTo>
                  <a:lnTo>
                    <a:pt x="307" y="132"/>
                  </a:lnTo>
                  <a:lnTo>
                    <a:pt x="307" y="136"/>
                  </a:lnTo>
                  <a:lnTo>
                    <a:pt x="311" y="145"/>
                  </a:lnTo>
                  <a:lnTo>
                    <a:pt x="311" y="149"/>
                  </a:lnTo>
                  <a:lnTo>
                    <a:pt x="312" y="153"/>
                  </a:lnTo>
                  <a:lnTo>
                    <a:pt x="312" y="153"/>
                  </a:lnTo>
                  <a:lnTo>
                    <a:pt x="312" y="153"/>
                  </a:lnTo>
                  <a:lnTo>
                    <a:pt x="316" y="153"/>
                  </a:lnTo>
                  <a:lnTo>
                    <a:pt x="318" y="155"/>
                  </a:lnTo>
                  <a:lnTo>
                    <a:pt x="322" y="157"/>
                  </a:lnTo>
                  <a:lnTo>
                    <a:pt x="328" y="160"/>
                  </a:lnTo>
                  <a:lnTo>
                    <a:pt x="331" y="160"/>
                  </a:lnTo>
                  <a:lnTo>
                    <a:pt x="335" y="160"/>
                  </a:lnTo>
                  <a:lnTo>
                    <a:pt x="337" y="162"/>
                  </a:lnTo>
                  <a:lnTo>
                    <a:pt x="337" y="166"/>
                  </a:lnTo>
                  <a:lnTo>
                    <a:pt x="337" y="166"/>
                  </a:lnTo>
                  <a:lnTo>
                    <a:pt x="341" y="166"/>
                  </a:lnTo>
                  <a:lnTo>
                    <a:pt x="341" y="160"/>
                  </a:lnTo>
                  <a:lnTo>
                    <a:pt x="343" y="157"/>
                  </a:lnTo>
                  <a:lnTo>
                    <a:pt x="343" y="160"/>
                  </a:lnTo>
                  <a:lnTo>
                    <a:pt x="341" y="166"/>
                  </a:lnTo>
                  <a:lnTo>
                    <a:pt x="341" y="166"/>
                  </a:lnTo>
                  <a:lnTo>
                    <a:pt x="341" y="170"/>
                  </a:lnTo>
                  <a:lnTo>
                    <a:pt x="337" y="174"/>
                  </a:lnTo>
                  <a:lnTo>
                    <a:pt x="337" y="177"/>
                  </a:lnTo>
                  <a:lnTo>
                    <a:pt x="335" y="177"/>
                  </a:lnTo>
                  <a:lnTo>
                    <a:pt x="335" y="175"/>
                  </a:lnTo>
                  <a:lnTo>
                    <a:pt x="335" y="172"/>
                  </a:lnTo>
                  <a:lnTo>
                    <a:pt x="333" y="172"/>
                  </a:lnTo>
                  <a:lnTo>
                    <a:pt x="333" y="177"/>
                  </a:lnTo>
                  <a:lnTo>
                    <a:pt x="329" y="181"/>
                  </a:lnTo>
                  <a:lnTo>
                    <a:pt x="333" y="181"/>
                  </a:lnTo>
                  <a:lnTo>
                    <a:pt x="331" y="185"/>
                  </a:lnTo>
                  <a:lnTo>
                    <a:pt x="329" y="191"/>
                  </a:lnTo>
                  <a:lnTo>
                    <a:pt x="328" y="191"/>
                  </a:lnTo>
                  <a:lnTo>
                    <a:pt x="328" y="194"/>
                  </a:lnTo>
                  <a:lnTo>
                    <a:pt x="329" y="196"/>
                  </a:lnTo>
                  <a:lnTo>
                    <a:pt x="328" y="198"/>
                  </a:lnTo>
                  <a:lnTo>
                    <a:pt x="329" y="202"/>
                  </a:lnTo>
                  <a:lnTo>
                    <a:pt x="326" y="211"/>
                  </a:lnTo>
                  <a:lnTo>
                    <a:pt x="328" y="215"/>
                  </a:lnTo>
                  <a:lnTo>
                    <a:pt x="326" y="224"/>
                  </a:lnTo>
                  <a:lnTo>
                    <a:pt x="324" y="230"/>
                  </a:lnTo>
                  <a:lnTo>
                    <a:pt x="324" y="232"/>
                  </a:lnTo>
                  <a:lnTo>
                    <a:pt x="326" y="240"/>
                  </a:lnTo>
                  <a:lnTo>
                    <a:pt x="326" y="243"/>
                  </a:lnTo>
                  <a:lnTo>
                    <a:pt x="329" y="251"/>
                  </a:lnTo>
                  <a:lnTo>
                    <a:pt x="329" y="256"/>
                  </a:lnTo>
                  <a:lnTo>
                    <a:pt x="329" y="256"/>
                  </a:lnTo>
                  <a:lnTo>
                    <a:pt x="328" y="251"/>
                  </a:lnTo>
                  <a:lnTo>
                    <a:pt x="324" y="245"/>
                  </a:lnTo>
                  <a:lnTo>
                    <a:pt x="324" y="249"/>
                  </a:lnTo>
                  <a:lnTo>
                    <a:pt x="326" y="251"/>
                  </a:lnTo>
                  <a:lnTo>
                    <a:pt x="329" y="260"/>
                  </a:lnTo>
                  <a:lnTo>
                    <a:pt x="329" y="262"/>
                  </a:lnTo>
                  <a:lnTo>
                    <a:pt x="328" y="264"/>
                  </a:lnTo>
                  <a:lnTo>
                    <a:pt x="331" y="268"/>
                  </a:lnTo>
                  <a:lnTo>
                    <a:pt x="331" y="270"/>
                  </a:lnTo>
                  <a:lnTo>
                    <a:pt x="341" y="283"/>
                  </a:lnTo>
                  <a:lnTo>
                    <a:pt x="343" y="287"/>
                  </a:lnTo>
                  <a:lnTo>
                    <a:pt x="346" y="292"/>
                  </a:lnTo>
                  <a:lnTo>
                    <a:pt x="346" y="294"/>
                  </a:lnTo>
                  <a:lnTo>
                    <a:pt x="346" y="298"/>
                  </a:lnTo>
                  <a:lnTo>
                    <a:pt x="354" y="305"/>
                  </a:lnTo>
                  <a:lnTo>
                    <a:pt x="358" y="309"/>
                  </a:lnTo>
                  <a:lnTo>
                    <a:pt x="360" y="307"/>
                  </a:lnTo>
                  <a:lnTo>
                    <a:pt x="365" y="309"/>
                  </a:lnTo>
                  <a:lnTo>
                    <a:pt x="365" y="309"/>
                  </a:lnTo>
                  <a:lnTo>
                    <a:pt x="371" y="313"/>
                  </a:lnTo>
                  <a:lnTo>
                    <a:pt x="375" y="319"/>
                  </a:lnTo>
                  <a:lnTo>
                    <a:pt x="376" y="322"/>
                  </a:lnTo>
                  <a:lnTo>
                    <a:pt x="380" y="319"/>
                  </a:lnTo>
                  <a:lnTo>
                    <a:pt x="388" y="319"/>
                  </a:lnTo>
                  <a:lnTo>
                    <a:pt x="390" y="322"/>
                  </a:lnTo>
                  <a:lnTo>
                    <a:pt x="392" y="322"/>
                  </a:lnTo>
                  <a:lnTo>
                    <a:pt x="399" y="317"/>
                  </a:lnTo>
                  <a:lnTo>
                    <a:pt x="399" y="315"/>
                  </a:lnTo>
                  <a:lnTo>
                    <a:pt x="405" y="315"/>
                  </a:lnTo>
                  <a:lnTo>
                    <a:pt x="410" y="315"/>
                  </a:lnTo>
                  <a:lnTo>
                    <a:pt x="414" y="311"/>
                  </a:lnTo>
                  <a:lnTo>
                    <a:pt x="418" y="311"/>
                  </a:lnTo>
                  <a:lnTo>
                    <a:pt x="424" y="313"/>
                  </a:lnTo>
                  <a:lnTo>
                    <a:pt x="424" y="311"/>
                  </a:lnTo>
                  <a:lnTo>
                    <a:pt x="429" y="313"/>
                  </a:lnTo>
                  <a:lnTo>
                    <a:pt x="425" y="315"/>
                  </a:lnTo>
                  <a:lnTo>
                    <a:pt x="424" y="317"/>
                  </a:lnTo>
                  <a:lnTo>
                    <a:pt x="427" y="319"/>
                  </a:lnTo>
                  <a:lnTo>
                    <a:pt x="431" y="319"/>
                  </a:lnTo>
                  <a:lnTo>
                    <a:pt x="431" y="319"/>
                  </a:lnTo>
                  <a:lnTo>
                    <a:pt x="433" y="319"/>
                  </a:lnTo>
                  <a:lnTo>
                    <a:pt x="437" y="315"/>
                  </a:lnTo>
                  <a:lnTo>
                    <a:pt x="437" y="309"/>
                  </a:lnTo>
                  <a:lnTo>
                    <a:pt x="439" y="305"/>
                  </a:lnTo>
                  <a:lnTo>
                    <a:pt x="435" y="307"/>
                  </a:lnTo>
                  <a:lnTo>
                    <a:pt x="435" y="307"/>
                  </a:lnTo>
                  <a:lnTo>
                    <a:pt x="442" y="302"/>
                  </a:lnTo>
                  <a:lnTo>
                    <a:pt x="444" y="302"/>
                  </a:lnTo>
                  <a:lnTo>
                    <a:pt x="448" y="298"/>
                  </a:lnTo>
                  <a:lnTo>
                    <a:pt x="448" y="292"/>
                  </a:lnTo>
                  <a:lnTo>
                    <a:pt x="456" y="285"/>
                  </a:lnTo>
                  <a:lnTo>
                    <a:pt x="454" y="283"/>
                  </a:lnTo>
                  <a:lnTo>
                    <a:pt x="456" y="273"/>
                  </a:lnTo>
                  <a:lnTo>
                    <a:pt x="463" y="264"/>
                  </a:lnTo>
                  <a:lnTo>
                    <a:pt x="459" y="264"/>
                  </a:lnTo>
                  <a:lnTo>
                    <a:pt x="459" y="260"/>
                  </a:lnTo>
                  <a:lnTo>
                    <a:pt x="472" y="258"/>
                  </a:lnTo>
                  <a:lnTo>
                    <a:pt x="488" y="258"/>
                  </a:lnTo>
                  <a:lnTo>
                    <a:pt x="489" y="255"/>
                  </a:lnTo>
                  <a:lnTo>
                    <a:pt x="493" y="255"/>
                  </a:lnTo>
                  <a:lnTo>
                    <a:pt x="497" y="255"/>
                  </a:lnTo>
                  <a:lnTo>
                    <a:pt x="499" y="253"/>
                  </a:lnTo>
                  <a:lnTo>
                    <a:pt x="499" y="251"/>
                  </a:lnTo>
                  <a:lnTo>
                    <a:pt x="506" y="251"/>
                  </a:lnTo>
                  <a:lnTo>
                    <a:pt x="516" y="253"/>
                  </a:lnTo>
                  <a:lnTo>
                    <a:pt x="518" y="253"/>
                  </a:lnTo>
                  <a:lnTo>
                    <a:pt x="518" y="251"/>
                  </a:lnTo>
                  <a:lnTo>
                    <a:pt x="521" y="249"/>
                  </a:lnTo>
                  <a:lnTo>
                    <a:pt x="527" y="256"/>
                  </a:lnTo>
                  <a:lnTo>
                    <a:pt x="527" y="262"/>
                  </a:lnTo>
                  <a:lnTo>
                    <a:pt x="523" y="264"/>
                  </a:lnTo>
                  <a:lnTo>
                    <a:pt x="520" y="273"/>
                  </a:lnTo>
                  <a:lnTo>
                    <a:pt x="510" y="279"/>
                  </a:lnTo>
                  <a:lnTo>
                    <a:pt x="508" y="283"/>
                  </a:lnTo>
                  <a:lnTo>
                    <a:pt x="508" y="288"/>
                  </a:lnTo>
                  <a:lnTo>
                    <a:pt x="504" y="290"/>
                  </a:lnTo>
                  <a:lnTo>
                    <a:pt x="503" y="292"/>
                  </a:lnTo>
                  <a:lnTo>
                    <a:pt x="506" y="294"/>
                  </a:lnTo>
                  <a:lnTo>
                    <a:pt x="508" y="294"/>
                  </a:lnTo>
                  <a:lnTo>
                    <a:pt x="508" y="294"/>
                  </a:lnTo>
                  <a:lnTo>
                    <a:pt x="504" y="300"/>
                  </a:lnTo>
                  <a:lnTo>
                    <a:pt x="504" y="302"/>
                  </a:lnTo>
                  <a:lnTo>
                    <a:pt x="506" y="302"/>
                  </a:lnTo>
                  <a:lnTo>
                    <a:pt x="508" y="300"/>
                  </a:lnTo>
                  <a:lnTo>
                    <a:pt x="510" y="300"/>
                  </a:lnTo>
                  <a:lnTo>
                    <a:pt x="508" y="304"/>
                  </a:lnTo>
                  <a:lnTo>
                    <a:pt x="504" y="315"/>
                  </a:lnTo>
                  <a:lnTo>
                    <a:pt x="503" y="322"/>
                  </a:lnTo>
                  <a:lnTo>
                    <a:pt x="503" y="322"/>
                  </a:lnTo>
                  <a:lnTo>
                    <a:pt x="499" y="319"/>
                  </a:lnTo>
                  <a:lnTo>
                    <a:pt x="493" y="317"/>
                  </a:lnTo>
                  <a:lnTo>
                    <a:pt x="493" y="315"/>
                  </a:lnTo>
                  <a:lnTo>
                    <a:pt x="497" y="313"/>
                  </a:lnTo>
                  <a:lnTo>
                    <a:pt x="499" y="309"/>
                  </a:lnTo>
                  <a:lnTo>
                    <a:pt x="493" y="309"/>
                  </a:lnTo>
                  <a:lnTo>
                    <a:pt x="491" y="315"/>
                  </a:lnTo>
                  <a:lnTo>
                    <a:pt x="488" y="317"/>
                  </a:lnTo>
                  <a:lnTo>
                    <a:pt x="488" y="317"/>
                  </a:lnTo>
                  <a:lnTo>
                    <a:pt x="486" y="317"/>
                  </a:lnTo>
                  <a:lnTo>
                    <a:pt x="484" y="319"/>
                  </a:lnTo>
                  <a:lnTo>
                    <a:pt x="484" y="319"/>
                  </a:lnTo>
                  <a:lnTo>
                    <a:pt x="482" y="322"/>
                  </a:lnTo>
                  <a:lnTo>
                    <a:pt x="480" y="324"/>
                  </a:lnTo>
                  <a:lnTo>
                    <a:pt x="480" y="328"/>
                  </a:lnTo>
                  <a:lnTo>
                    <a:pt x="478" y="328"/>
                  </a:lnTo>
                  <a:lnTo>
                    <a:pt x="478" y="328"/>
                  </a:lnTo>
                  <a:lnTo>
                    <a:pt x="478" y="328"/>
                  </a:lnTo>
                  <a:lnTo>
                    <a:pt x="478" y="324"/>
                  </a:lnTo>
                  <a:lnTo>
                    <a:pt x="474" y="324"/>
                  </a:lnTo>
                  <a:lnTo>
                    <a:pt x="474" y="328"/>
                  </a:lnTo>
                  <a:lnTo>
                    <a:pt x="472" y="328"/>
                  </a:lnTo>
                  <a:lnTo>
                    <a:pt x="440" y="328"/>
                  </a:lnTo>
                  <a:lnTo>
                    <a:pt x="440" y="339"/>
                  </a:lnTo>
                  <a:lnTo>
                    <a:pt x="431" y="339"/>
                  </a:lnTo>
                  <a:lnTo>
                    <a:pt x="435" y="341"/>
                  </a:lnTo>
                  <a:lnTo>
                    <a:pt x="437" y="343"/>
                  </a:lnTo>
                  <a:lnTo>
                    <a:pt x="439" y="347"/>
                  </a:lnTo>
                  <a:lnTo>
                    <a:pt x="442" y="349"/>
                  </a:lnTo>
                  <a:lnTo>
                    <a:pt x="444" y="349"/>
                  </a:lnTo>
                  <a:lnTo>
                    <a:pt x="444" y="353"/>
                  </a:lnTo>
                  <a:lnTo>
                    <a:pt x="444" y="353"/>
                  </a:lnTo>
                  <a:lnTo>
                    <a:pt x="448" y="356"/>
                  </a:lnTo>
                  <a:lnTo>
                    <a:pt x="450" y="356"/>
                  </a:lnTo>
                  <a:lnTo>
                    <a:pt x="454" y="356"/>
                  </a:lnTo>
                  <a:lnTo>
                    <a:pt x="454" y="358"/>
                  </a:lnTo>
                  <a:lnTo>
                    <a:pt x="450" y="362"/>
                  </a:lnTo>
                  <a:lnTo>
                    <a:pt x="425" y="362"/>
                  </a:lnTo>
                  <a:lnTo>
                    <a:pt x="416" y="381"/>
                  </a:lnTo>
                  <a:lnTo>
                    <a:pt x="416" y="381"/>
                  </a:lnTo>
                  <a:lnTo>
                    <a:pt x="416" y="383"/>
                  </a:lnTo>
                  <a:lnTo>
                    <a:pt x="416" y="385"/>
                  </a:lnTo>
                  <a:lnTo>
                    <a:pt x="418" y="386"/>
                  </a:lnTo>
                  <a:lnTo>
                    <a:pt x="418" y="386"/>
                  </a:lnTo>
                  <a:lnTo>
                    <a:pt x="418" y="388"/>
                  </a:lnTo>
                  <a:lnTo>
                    <a:pt x="416" y="390"/>
                  </a:lnTo>
                  <a:lnTo>
                    <a:pt x="414" y="392"/>
                  </a:lnTo>
                  <a:lnTo>
                    <a:pt x="414" y="392"/>
                  </a:lnTo>
                  <a:lnTo>
                    <a:pt x="410" y="388"/>
                  </a:lnTo>
                  <a:lnTo>
                    <a:pt x="407" y="385"/>
                  </a:lnTo>
                  <a:lnTo>
                    <a:pt x="405" y="381"/>
                  </a:lnTo>
                  <a:lnTo>
                    <a:pt x="401" y="381"/>
                  </a:lnTo>
                  <a:lnTo>
                    <a:pt x="390" y="371"/>
                  </a:lnTo>
                  <a:lnTo>
                    <a:pt x="388" y="369"/>
                  </a:lnTo>
                  <a:lnTo>
                    <a:pt x="388" y="368"/>
                  </a:lnTo>
                  <a:lnTo>
                    <a:pt x="384" y="362"/>
                  </a:lnTo>
                  <a:lnTo>
                    <a:pt x="380" y="360"/>
                  </a:lnTo>
                  <a:lnTo>
                    <a:pt x="376" y="358"/>
                  </a:lnTo>
                  <a:lnTo>
                    <a:pt x="376" y="358"/>
                  </a:lnTo>
                  <a:lnTo>
                    <a:pt x="375" y="358"/>
                  </a:lnTo>
                  <a:lnTo>
                    <a:pt x="375" y="360"/>
                  </a:lnTo>
                  <a:lnTo>
                    <a:pt x="382" y="362"/>
                  </a:lnTo>
                  <a:lnTo>
                    <a:pt x="386" y="368"/>
                  </a:lnTo>
                  <a:lnTo>
                    <a:pt x="386" y="368"/>
                  </a:lnTo>
                  <a:lnTo>
                    <a:pt x="384" y="366"/>
                  </a:lnTo>
                  <a:lnTo>
                    <a:pt x="376" y="362"/>
                  </a:lnTo>
                  <a:lnTo>
                    <a:pt x="375" y="360"/>
                  </a:lnTo>
                  <a:lnTo>
                    <a:pt x="371" y="360"/>
                  </a:lnTo>
                  <a:lnTo>
                    <a:pt x="371" y="360"/>
                  </a:lnTo>
                  <a:lnTo>
                    <a:pt x="371" y="360"/>
                  </a:lnTo>
                  <a:lnTo>
                    <a:pt x="375" y="358"/>
                  </a:lnTo>
                  <a:lnTo>
                    <a:pt x="375" y="358"/>
                  </a:lnTo>
                  <a:lnTo>
                    <a:pt x="371" y="358"/>
                  </a:lnTo>
                  <a:lnTo>
                    <a:pt x="367" y="358"/>
                  </a:lnTo>
                  <a:lnTo>
                    <a:pt x="367" y="356"/>
                  </a:lnTo>
                  <a:lnTo>
                    <a:pt x="367" y="356"/>
                  </a:lnTo>
                  <a:lnTo>
                    <a:pt x="361" y="358"/>
                  </a:lnTo>
                  <a:lnTo>
                    <a:pt x="361" y="360"/>
                  </a:lnTo>
                  <a:lnTo>
                    <a:pt x="367" y="360"/>
                  </a:lnTo>
                  <a:lnTo>
                    <a:pt x="371" y="360"/>
                  </a:lnTo>
                  <a:lnTo>
                    <a:pt x="371" y="362"/>
                  </a:lnTo>
                  <a:lnTo>
                    <a:pt x="367" y="362"/>
                  </a:lnTo>
                  <a:lnTo>
                    <a:pt x="361" y="362"/>
                  </a:lnTo>
                  <a:lnTo>
                    <a:pt x="360" y="362"/>
                  </a:lnTo>
                  <a:lnTo>
                    <a:pt x="354" y="366"/>
                  </a:lnTo>
                  <a:lnTo>
                    <a:pt x="350" y="366"/>
                  </a:lnTo>
                  <a:lnTo>
                    <a:pt x="341" y="371"/>
                  </a:lnTo>
                  <a:lnTo>
                    <a:pt x="337" y="371"/>
                  </a:lnTo>
                  <a:lnTo>
                    <a:pt x="328" y="368"/>
                  </a:lnTo>
                  <a:lnTo>
                    <a:pt x="322" y="364"/>
                  </a:lnTo>
                  <a:lnTo>
                    <a:pt x="316" y="364"/>
                  </a:lnTo>
                  <a:lnTo>
                    <a:pt x="311" y="362"/>
                  </a:lnTo>
                  <a:lnTo>
                    <a:pt x="307" y="360"/>
                  </a:lnTo>
                  <a:lnTo>
                    <a:pt x="305" y="360"/>
                  </a:lnTo>
                  <a:lnTo>
                    <a:pt x="301" y="360"/>
                  </a:lnTo>
                  <a:lnTo>
                    <a:pt x="297" y="358"/>
                  </a:lnTo>
                  <a:lnTo>
                    <a:pt x="294" y="353"/>
                  </a:lnTo>
                  <a:lnTo>
                    <a:pt x="294" y="353"/>
                  </a:lnTo>
                  <a:lnTo>
                    <a:pt x="292" y="353"/>
                  </a:lnTo>
                  <a:lnTo>
                    <a:pt x="286" y="353"/>
                  </a:lnTo>
                  <a:lnTo>
                    <a:pt x="282" y="353"/>
                  </a:lnTo>
                  <a:lnTo>
                    <a:pt x="279" y="349"/>
                  </a:lnTo>
                  <a:lnTo>
                    <a:pt x="275" y="347"/>
                  </a:lnTo>
                  <a:lnTo>
                    <a:pt x="267" y="343"/>
                  </a:lnTo>
                  <a:lnTo>
                    <a:pt x="258" y="341"/>
                  </a:lnTo>
                  <a:lnTo>
                    <a:pt x="252" y="336"/>
                  </a:lnTo>
                  <a:lnTo>
                    <a:pt x="250" y="336"/>
                  </a:lnTo>
                  <a:lnTo>
                    <a:pt x="243" y="328"/>
                  </a:lnTo>
                  <a:lnTo>
                    <a:pt x="239" y="322"/>
                  </a:lnTo>
                  <a:lnTo>
                    <a:pt x="237" y="324"/>
                  </a:lnTo>
                  <a:lnTo>
                    <a:pt x="237" y="324"/>
                  </a:lnTo>
                  <a:lnTo>
                    <a:pt x="233" y="324"/>
                  </a:lnTo>
                  <a:lnTo>
                    <a:pt x="226" y="322"/>
                  </a:lnTo>
                  <a:lnTo>
                    <a:pt x="224" y="322"/>
                  </a:lnTo>
                  <a:lnTo>
                    <a:pt x="220" y="322"/>
                  </a:lnTo>
                  <a:lnTo>
                    <a:pt x="218" y="322"/>
                  </a:lnTo>
                  <a:lnTo>
                    <a:pt x="215" y="319"/>
                  </a:lnTo>
                  <a:lnTo>
                    <a:pt x="213" y="317"/>
                  </a:lnTo>
                  <a:lnTo>
                    <a:pt x="209" y="311"/>
                  </a:lnTo>
                  <a:lnTo>
                    <a:pt x="205" y="307"/>
                  </a:lnTo>
                  <a:lnTo>
                    <a:pt x="200" y="305"/>
                  </a:lnTo>
                  <a:lnTo>
                    <a:pt x="200" y="304"/>
                  </a:lnTo>
                  <a:lnTo>
                    <a:pt x="201" y="300"/>
                  </a:lnTo>
                  <a:lnTo>
                    <a:pt x="200" y="300"/>
                  </a:lnTo>
                  <a:lnTo>
                    <a:pt x="196" y="302"/>
                  </a:lnTo>
                  <a:lnTo>
                    <a:pt x="188" y="300"/>
                  </a:lnTo>
                  <a:lnTo>
                    <a:pt x="188" y="298"/>
                  </a:lnTo>
                  <a:lnTo>
                    <a:pt x="184" y="298"/>
                  </a:lnTo>
                  <a:lnTo>
                    <a:pt x="184" y="298"/>
                  </a:lnTo>
                  <a:lnTo>
                    <a:pt x="184" y="292"/>
                  </a:lnTo>
                  <a:lnTo>
                    <a:pt x="181" y="288"/>
                  </a:lnTo>
                  <a:lnTo>
                    <a:pt x="181" y="285"/>
                  </a:lnTo>
                  <a:lnTo>
                    <a:pt x="177" y="283"/>
                  </a:lnTo>
                  <a:lnTo>
                    <a:pt x="175" y="275"/>
                  </a:lnTo>
                  <a:lnTo>
                    <a:pt x="175" y="273"/>
                  </a:lnTo>
                  <a:lnTo>
                    <a:pt x="177" y="273"/>
                  </a:lnTo>
                  <a:lnTo>
                    <a:pt x="181" y="273"/>
                  </a:lnTo>
                  <a:lnTo>
                    <a:pt x="181" y="270"/>
                  </a:lnTo>
                  <a:lnTo>
                    <a:pt x="181" y="270"/>
                  </a:lnTo>
                  <a:lnTo>
                    <a:pt x="179" y="270"/>
                  </a:lnTo>
                  <a:lnTo>
                    <a:pt x="179" y="268"/>
                  </a:lnTo>
                  <a:lnTo>
                    <a:pt x="184" y="264"/>
                  </a:lnTo>
                  <a:lnTo>
                    <a:pt x="184" y="260"/>
                  </a:lnTo>
                  <a:lnTo>
                    <a:pt x="184" y="256"/>
                  </a:lnTo>
                  <a:lnTo>
                    <a:pt x="181" y="245"/>
                  </a:lnTo>
                  <a:lnTo>
                    <a:pt x="179" y="240"/>
                  </a:lnTo>
                  <a:lnTo>
                    <a:pt x="179" y="236"/>
                  </a:lnTo>
                  <a:lnTo>
                    <a:pt x="179" y="234"/>
                  </a:lnTo>
                  <a:lnTo>
                    <a:pt x="179" y="230"/>
                  </a:lnTo>
                  <a:lnTo>
                    <a:pt x="171" y="223"/>
                  </a:lnTo>
                  <a:lnTo>
                    <a:pt x="171" y="219"/>
                  </a:lnTo>
                  <a:lnTo>
                    <a:pt x="166" y="211"/>
                  </a:lnTo>
                  <a:lnTo>
                    <a:pt x="160" y="206"/>
                  </a:lnTo>
                  <a:lnTo>
                    <a:pt x="156" y="198"/>
                  </a:lnTo>
                  <a:lnTo>
                    <a:pt x="151" y="194"/>
                  </a:lnTo>
                  <a:lnTo>
                    <a:pt x="149" y="191"/>
                  </a:lnTo>
                  <a:lnTo>
                    <a:pt x="149" y="191"/>
                  </a:lnTo>
                  <a:lnTo>
                    <a:pt x="143" y="187"/>
                  </a:lnTo>
                  <a:lnTo>
                    <a:pt x="141" y="187"/>
                  </a:lnTo>
                  <a:lnTo>
                    <a:pt x="139" y="185"/>
                  </a:lnTo>
                  <a:lnTo>
                    <a:pt x="143" y="185"/>
                  </a:lnTo>
                  <a:lnTo>
                    <a:pt x="143" y="181"/>
                  </a:lnTo>
                  <a:lnTo>
                    <a:pt x="143" y="179"/>
                  </a:lnTo>
                  <a:lnTo>
                    <a:pt x="141" y="175"/>
                  </a:lnTo>
                  <a:lnTo>
                    <a:pt x="139" y="172"/>
                  </a:lnTo>
                  <a:lnTo>
                    <a:pt x="137" y="172"/>
                  </a:lnTo>
                  <a:lnTo>
                    <a:pt x="136" y="172"/>
                  </a:lnTo>
                  <a:lnTo>
                    <a:pt x="128" y="166"/>
                  </a:lnTo>
                  <a:lnTo>
                    <a:pt x="124" y="162"/>
                  </a:lnTo>
                  <a:lnTo>
                    <a:pt x="120" y="162"/>
                  </a:lnTo>
                  <a:lnTo>
                    <a:pt x="119" y="160"/>
                  </a:lnTo>
                  <a:lnTo>
                    <a:pt x="117" y="157"/>
                  </a:lnTo>
                  <a:lnTo>
                    <a:pt x="119" y="153"/>
                  </a:lnTo>
                  <a:lnTo>
                    <a:pt x="122" y="149"/>
                  </a:lnTo>
                  <a:lnTo>
                    <a:pt x="126" y="149"/>
                  </a:lnTo>
                  <a:lnTo>
                    <a:pt x="128" y="151"/>
                  </a:lnTo>
                  <a:lnTo>
                    <a:pt x="128" y="149"/>
                  </a:lnTo>
                  <a:lnTo>
                    <a:pt x="128" y="145"/>
                  </a:lnTo>
                  <a:lnTo>
                    <a:pt x="128" y="145"/>
                  </a:lnTo>
                  <a:lnTo>
                    <a:pt x="126" y="145"/>
                  </a:lnTo>
                  <a:lnTo>
                    <a:pt x="124" y="145"/>
                  </a:lnTo>
                  <a:lnTo>
                    <a:pt x="122" y="142"/>
                  </a:lnTo>
                  <a:lnTo>
                    <a:pt x="119" y="138"/>
                  </a:lnTo>
                  <a:lnTo>
                    <a:pt x="117" y="138"/>
                  </a:lnTo>
                  <a:lnTo>
                    <a:pt x="113" y="138"/>
                  </a:lnTo>
                  <a:lnTo>
                    <a:pt x="111" y="136"/>
                  </a:lnTo>
                  <a:lnTo>
                    <a:pt x="113" y="132"/>
                  </a:lnTo>
                  <a:lnTo>
                    <a:pt x="111" y="132"/>
                  </a:lnTo>
                  <a:lnTo>
                    <a:pt x="107" y="132"/>
                  </a:lnTo>
                  <a:lnTo>
                    <a:pt x="102" y="125"/>
                  </a:lnTo>
                  <a:lnTo>
                    <a:pt x="102" y="121"/>
                  </a:lnTo>
                  <a:lnTo>
                    <a:pt x="102" y="117"/>
                  </a:lnTo>
                  <a:lnTo>
                    <a:pt x="102" y="113"/>
                  </a:lnTo>
                  <a:lnTo>
                    <a:pt x="102" y="111"/>
                  </a:lnTo>
                  <a:lnTo>
                    <a:pt x="98" y="113"/>
                  </a:lnTo>
                  <a:lnTo>
                    <a:pt x="98" y="111"/>
                  </a:lnTo>
                  <a:lnTo>
                    <a:pt x="94" y="111"/>
                  </a:lnTo>
                  <a:lnTo>
                    <a:pt x="94" y="111"/>
                  </a:lnTo>
                  <a:lnTo>
                    <a:pt x="90" y="108"/>
                  </a:lnTo>
                  <a:lnTo>
                    <a:pt x="90" y="106"/>
                  </a:lnTo>
                  <a:lnTo>
                    <a:pt x="88" y="102"/>
                  </a:lnTo>
                  <a:lnTo>
                    <a:pt x="87" y="100"/>
                  </a:lnTo>
                  <a:lnTo>
                    <a:pt x="83" y="98"/>
                  </a:lnTo>
                  <a:lnTo>
                    <a:pt x="83" y="94"/>
                  </a:lnTo>
                  <a:lnTo>
                    <a:pt x="83" y="91"/>
                  </a:lnTo>
                  <a:lnTo>
                    <a:pt x="81" y="91"/>
                  </a:lnTo>
                  <a:lnTo>
                    <a:pt x="77" y="83"/>
                  </a:lnTo>
                  <a:lnTo>
                    <a:pt x="77" y="81"/>
                  </a:lnTo>
                  <a:lnTo>
                    <a:pt x="75" y="81"/>
                  </a:lnTo>
                  <a:lnTo>
                    <a:pt x="75" y="81"/>
                  </a:lnTo>
                  <a:lnTo>
                    <a:pt x="75" y="78"/>
                  </a:lnTo>
                  <a:lnTo>
                    <a:pt x="77" y="78"/>
                  </a:lnTo>
                  <a:lnTo>
                    <a:pt x="72" y="70"/>
                  </a:lnTo>
                  <a:lnTo>
                    <a:pt x="70" y="66"/>
                  </a:lnTo>
                  <a:lnTo>
                    <a:pt x="72" y="64"/>
                  </a:lnTo>
                  <a:lnTo>
                    <a:pt x="70" y="59"/>
                  </a:lnTo>
                  <a:lnTo>
                    <a:pt x="68" y="57"/>
                  </a:lnTo>
                  <a:lnTo>
                    <a:pt x="68" y="49"/>
                  </a:lnTo>
                  <a:lnTo>
                    <a:pt x="66" y="46"/>
                  </a:lnTo>
                  <a:lnTo>
                    <a:pt x="66" y="44"/>
                  </a:lnTo>
                  <a:lnTo>
                    <a:pt x="68" y="40"/>
                  </a:lnTo>
                  <a:lnTo>
                    <a:pt x="68" y="38"/>
                  </a:lnTo>
                  <a:lnTo>
                    <a:pt x="64" y="36"/>
                  </a:lnTo>
                  <a:lnTo>
                    <a:pt x="62" y="36"/>
                  </a:lnTo>
                  <a:lnTo>
                    <a:pt x="58" y="32"/>
                  </a:lnTo>
                  <a:lnTo>
                    <a:pt x="56" y="32"/>
                  </a:lnTo>
                  <a:lnTo>
                    <a:pt x="56" y="32"/>
                  </a:lnTo>
                  <a:lnTo>
                    <a:pt x="53" y="32"/>
                  </a:lnTo>
                  <a:lnTo>
                    <a:pt x="51" y="32"/>
                  </a:lnTo>
                  <a:lnTo>
                    <a:pt x="47" y="25"/>
                  </a:lnTo>
                  <a:lnTo>
                    <a:pt x="41" y="25"/>
                  </a:lnTo>
                  <a:lnTo>
                    <a:pt x="40" y="19"/>
                  </a:lnTo>
                  <a:lnTo>
                    <a:pt x="40" y="25"/>
                  </a:lnTo>
                  <a:lnTo>
                    <a:pt x="41" y="29"/>
                  </a:lnTo>
                  <a:lnTo>
                    <a:pt x="40" y="32"/>
                  </a:lnTo>
                  <a:lnTo>
                    <a:pt x="38" y="38"/>
                  </a:lnTo>
                  <a:lnTo>
                    <a:pt x="38" y="46"/>
                  </a:lnTo>
                  <a:lnTo>
                    <a:pt x="40" y="57"/>
                  </a:lnTo>
                  <a:lnTo>
                    <a:pt x="38" y="61"/>
                  </a:lnTo>
                  <a:lnTo>
                    <a:pt x="40" y="62"/>
                  </a:lnTo>
                  <a:lnTo>
                    <a:pt x="41" y="68"/>
                  </a:lnTo>
                  <a:lnTo>
                    <a:pt x="41" y="72"/>
                  </a:lnTo>
                  <a:lnTo>
                    <a:pt x="43" y="72"/>
                  </a:lnTo>
                  <a:lnTo>
                    <a:pt x="45" y="76"/>
                  </a:lnTo>
                  <a:lnTo>
                    <a:pt x="51" y="78"/>
                  </a:lnTo>
                  <a:lnTo>
                    <a:pt x="53" y="83"/>
                  </a:lnTo>
                  <a:lnTo>
                    <a:pt x="53" y="87"/>
                  </a:lnTo>
                  <a:lnTo>
                    <a:pt x="53" y="89"/>
                  </a:lnTo>
                  <a:lnTo>
                    <a:pt x="56" y="91"/>
                  </a:lnTo>
                  <a:lnTo>
                    <a:pt x="56" y="93"/>
                  </a:lnTo>
                  <a:lnTo>
                    <a:pt x="56" y="96"/>
                  </a:lnTo>
                  <a:lnTo>
                    <a:pt x="58" y="98"/>
                  </a:lnTo>
                  <a:lnTo>
                    <a:pt x="62" y="100"/>
                  </a:lnTo>
                  <a:lnTo>
                    <a:pt x="64" y="102"/>
                  </a:lnTo>
                  <a:lnTo>
                    <a:pt x="64" y="108"/>
                  </a:lnTo>
                  <a:lnTo>
                    <a:pt x="64" y="111"/>
                  </a:lnTo>
                  <a:lnTo>
                    <a:pt x="68" y="115"/>
                  </a:lnTo>
                  <a:lnTo>
                    <a:pt x="70" y="115"/>
                  </a:lnTo>
                  <a:lnTo>
                    <a:pt x="73" y="121"/>
                  </a:lnTo>
                  <a:lnTo>
                    <a:pt x="73" y="128"/>
                  </a:lnTo>
                  <a:lnTo>
                    <a:pt x="75" y="128"/>
                  </a:lnTo>
                  <a:lnTo>
                    <a:pt x="77" y="130"/>
                  </a:lnTo>
                  <a:lnTo>
                    <a:pt x="75" y="132"/>
                  </a:lnTo>
                  <a:lnTo>
                    <a:pt x="75" y="136"/>
                  </a:lnTo>
                  <a:lnTo>
                    <a:pt x="77" y="140"/>
                  </a:lnTo>
                  <a:lnTo>
                    <a:pt x="81" y="138"/>
                  </a:lnTo>
                  <a:lnTo>
                    <a:pt x="81" y="136"/>
                  </a:lnTo>
                  <a:lnTo>
                    <a:pt x="81" y="136"/>
                  </a:lnTo>
                  <a:lnTo>
                    <a:pt x="81" y="136"/>
                  </a:lnTo>
                  <a:lnTo>
                    <a:pt x="81" y="138"/>
                  </a:lnTo>
                  <a:lnTo>
                    <a:pt x="87" y="142"/>
                  </a:lnTo>
                  <a:lnTo>
                    <a:pt x="87" y="149"/>
                  </a:lnTo>
                  <a:lnTo>
                    <a:pt x="87" y="151"/>
                  </a:lnTo>
                  <a:lnTo>
                    <a:pt x="87" y="157"/>
                  </a:lnTo>
                  <a:lnTo>
                    <a:pt x="87" y="157"/>
                  </a:lnTo>
                  <a:lnTo>
                    <a:pt x="87" y="160"/>
                  </a:lnTo>
                  <a:lnTo>
                    <a:pt x="88" y="162"/>
                  </a:lnTo>
                  <a:lnTo>
                    <a:pt x="88" y="166"/>
                  </a:lnTo>
                  <a:lnTo>
                    <a:pt x="90" y="170"/>
                  </a:lnTo>
                  <a:lnTo>
                    <a:pt x="90" y="170"/>
                  </a:lnTo>
                  <a:lnTo>
                    <a:pt x="88" y="174"/>
                  </a:lnTo>
                  <a:lnTo>
                    <a:pt x="92" y="177"/>
                  </a:lnTo>
                  <a:lnTo>
                    <a:pt x="92" y="181"/>
                  </a:lnTo>
                  <a:lnTo>
                    <a:pt x="90" y="185"/>
                  </a:lnTo>
                  <a:lnTo>
                    <a:pt x="90" y="187"/>
                  </a:lnTo>
                  <a:lnTo>
                    <a:pt x="94" y="191"/>
                  </a:lnTo>
                  <a:lnTo>
                    <a:pt x="96" y="194"/>
                  </a:lnTo>
                  <a:lnTo>
                    <a:pt x="98" y="194"/>
                  </a:lnTo>
                  <a:lnTo>
                    <a:pt x="100" y="194"/>
                  </a:lnTo>
                  <a:lnTo>
                    <a:pt x="100" y="191"/>
                  </a:lnTo>
                  <a:lnTo>
                    <a:pt x="100" y="191"/>
                  </a:lnTo>
                  <a:lnTo>
                    <a:pt x="102" y="194"/>
                  </a:lnTo>
                  <a:lnTo>
                    <a:pt x="102" y="194"/>
                  </a:lnTo>
                  <a:lnTo>
                    <a:pt x="105" y="196"/>
                  </a:lnTo>
                  <a:lnTo>
                    <a:pt x="107" y="198"/>
                  </a:lnTo>
                  <a:lnTo>
                    <a:pt x="107" y="202"/>
                  </a:lnTo>
                  <a:lnTo>
                    <a:pt x="111" y="204"/>
                  </a:lnTo>
                  <a:lnTo>
                    <a:pt x="111" y="208"/>
                  </a:lnTo>
                  <a:lnTo>
                    <a:pt x="113" y="209"/>
                  </a:lnTo>
                  <a:lnTo>
                    <a:pt x="113" y="211"/>
                  </a:lnTo>
                  <a:lnTo>
                    <a:pt x="111" y="219"/>
                  </a:lnTo>
                  <a:lnTo>
                    <a:pt x="105" y="221"/>
                  </a:lnTo>
                  <a:lnTo>
                    <a:pt x="102" y="219"/>
                  </a:lnTo>
                  <a:lnTo>
                    <a:pt x="102" y="215"/>
                  </a:lnTo>
                  <a:lnTo>
                    <a:pt x="100" y="215"/>
                  </a:lnTo>
                  <a:lnTo>
                    <a:pt x="98" y="211"/>
                  </a:lnTo>
                  <a:lnTo>
                    <a:pt x="98" y="208"/>
                  </a:lnTo>
                  <a:lnTo>
                    <a:pt x="96" y="204"/>
                  </a:lnTo>
                  <a:lnTo>
                    <a:pt x="92" y="204"/>
                  </a:lnTo>
                  <a:lnTo>
                    <a:pt x="88" y="200"/>
                  </a:lnTo>
                  <a:lnTo>
                    <a:pt x="87" y="198"/>
                  </a:lnTo>
                  <a:lnTo>
                    <a:pt x="87" y="196"/>
                  </a:lnTo>
                  <a:lnTo>
                    <a:pt x="77" y="187"/>
                  </a:lnTo>
                  <a:lnTo>
                    <a:pt x="75" y="185"/>
                  </a:lnTo>
                  <a:lnTo>
                    <a:pt x="72" y="185"/>
                  </a:lnTo>
                  <a:lnTo>
                    <a:pt x="72" y="181"/>
                  </a:lnTo>
                  <a:lnTo>
                    <a:pt x="70" y="181"/>
                  </a:lnTo>
                  <a:lnTo>
                    <a:pt x="66" y="179"/>
                  </a:lnTo>
                  <a:lnTo>
                    <a:pt x="66" y="175"/>
                  </a:lnTo>
                  <a:lnTo>
                    <a:pt x="68" y="170"/>
                  </a:lnTo>
                  <a:lnTo>
                    <a:pt x="70" y="166"/>
                  </a:lnTo>
                  <a:lnTo>
                    <a:pt x="70" y="157"/>
                  </a:lnTo>
                  <a:lnTo>
                    <a:pt x="66" y="151"/>
                  </a:lnTo>
                  <a:lnTo>
                    <a:pt x="64" y="147"/>
                  </a:lnTo>
                  <a:lnTo>
                    <a:pt x="62" y="147"/>
                  </a:lnTo>
                  <a:lnTo>
                    <a:pt x="62" y="147"/>
                  </a:lnTo>
                  <a:lnTo>
                    <a:pt x="53" y="140"/>
                  </a:lnTo>
                  <a:lnTo>
                    <a:pt x="53" y="136"/>
                  </a:lnTo>
                  <a:lnTo>
                    <a:pt x="53" y="132"/>
                  </a:lnTo>
                  <a:lnTo>
                    <a:pt x="53" y="132"/>
                  </a:lnTo>
                  <a:lnTo>
                    <a:pt x="51" y="136"/>
                  </a:lnTo>
                  <a:lnTo>
                    <a:pt x="47" y="136"/>
                  </a:lnTo>
                  <a:lnTo>
                    <a:pt x="45" y="136"/>
                  </a:lnTo>
                  <a:lnTo>
                    <a:pt x="43" y="132"/>
                  </a:lnTo>
                  <a:lnTo>
                    <a:pt x="45" y="132"/>
                  </a:lnTo>
                  <a:lnTo>
                    <a:pt x="41" y="132"/>
                  </a:lnTo>
                  <a:lnTo>
                    <a:pt x="40" y="132"/>
                  </a:lnTo>
                  <a:lnTo>
                    <a:pt x="40" y="130"/>
                  </a:lnTo>
                  <a:lnTo>
                    <a:pt x="34" y="128"/>
                  </a:lnTo>
                  <a:lnTo>
                    <a:pt x="32" y="127"/>
                  </a:lnTo>
                  <a:lnTo>
                    <a:pt x="32" y="123"/>
                  </a:lnTo>
                  <a:lnTo>
                    <a:pt x="28" y="119"/>
                  </a:lnTo>
                  <a:lnTo>
                    <a:pt x="28" y="119"/>
                  </a:lnTo>
                  <a:lnTo>
                    <a:pt x="23" y="113"/>
                  </a:lnTo>
                  <a:lnTo>
                    <a:pt x="24" y="111"/>
                  </a:lnTo>
                  <a:lnTo>
                    <a:pt x="28" y="111"/>
                  </a:lnTo>
                  <a:lnTo>
                    <a:pt x="32" y="113"/>
                  </a:lnTo>
                  <a:lnTo>
                    <a:pt x="36" y="113"/>
                  </a:lnTo>
                  <a:lnTo>
                    <a:pt x="38" y="115"/>
                  </a:lnTo>
                  <a:lnTo>
                    <a:pt x="40" y="113"/>
                  </a:lnTo>
                  <a:lnTo>
                    <a:pt x="40" y="111"/>
                  </a:lnTo>
                  <a:lnTo>
                    <a:pt x="38" y="111"/>
                  </a:lnTo>
                  <a:lnTo>
                    <a:pt x="36" y="111"/>
                  </a:lnTo>
                  <a:lnTo>
                    <a:pt x="38" y="108"/>
                  </a:lnTo>
                  <a:lnTo>
                    <a:pt x="41" y="108"/>
                  </a:lnTo>
                  <a:lnTo>
                    <a:pt x="41" y="106"/>
                  </a:lnTo>
                  <a:lnTo>
                    <a:pt x="40" y="102"/>
                  </a:lnTo>
                  <a:lnTo>
                    <a:pt x="40" y="102"/>
                  </a:lnTo>
                  <a:lnTo>
                    <a:pt x="43" y="100"/>
                  </a:lnTo>
                  <a:lnTo>
                    <a:pt x="40" y="94"/>
                  </a:lnTo>
                  <a:lnTo>
                    <a:pt x="38" y="94"/>
                  </a:lnTo>
                  <a:lnTo>
                    <a:pt x="36" y="89"/>
                  </a:lnTo>
                  <a:lnTo>
                    <a:pt x="32" y="83"/>
                  </a:lnTo>
                  <a:lnTo>
                    <a:pt x="32" y="81"/>
                  </a:lnTo>
                  <a:lnTo>
                    <a:pt x="28" y="78"/>
                  </a:lnTo>
                  <a:lnTo>
                    <a:pt x="24" y="72"/>
                  </a:lnTo>
                  <a:lnTo>
                    <a:pt x="23" y="74"/>
                  </a:lnTo>
                  <a:lnTo>
                    <a:pt x="19" y="70"/>
                  </a:lnTo>
                  <a:lnTo>
                    <a:pt x="17" y="64"/>
                  </a:lnTo>
                  <a:lnTo>
                    <a:pt x="17" y="57"/>
                  </a:lnTo>
                  <a:lnTo>
                    <a:pt x="15" y="57"/>
                  </a:lnTo>
                  <a:lnTo>
                    <a:pt x="13" y="53"/>
                  </a:lnTo>
                  <a:lnTo>
                    <a:pt x="13" y="49"/>
                  </a:lnTo>
                  <a:lnTo>
                    <a:pt x="15" y="49"/>
                  </a:lnTo>
                  <a:lnTo>
                    <a:pt x="13" y="46"/>
                  </a:lnTo>
                  <a:lnTo>
                    <a:pt x="9" y="42"/>
                  </a:lnTo>
                  <a:lnTo>
                    <a:pt x="9" y="40"/>
                  </a:lnTo>
                  <a:lnTo>
                    <a:pt x="11" y="38"/>
                  </a:lnTo>
                  <a:lnTo>
                    <a:pt x="11" y="36"/>
                  </a:lnTo>
                  <a:lnTo>
                    <a:pt x="8" y="32"/>
                  </a:lnTo>
                  <a:lnTo>
                    <a:pt x="4" y="29"/>
                  </a:lnTo>
                  <a:lnTo>
                    <a:pt x="4" y="25"/>
                  </a:lnTo>
                  <a:lnTo>
                    <a:pt x="8" y="23"/>
                  </a:lnTo>
                  <a:lnTo>
                    <a:pt x="4" y="19"/>
                  </a:lnTo>
                  <a:lnTo>
                    <a:pt x="4" y="17"/>
                  </a:lnTo>
                  <a:lnTo>
                    <a:pt x="0" y="8"/>
                  </a:lnTo>
                  <a:lnTo>
                    <a:pt x="0" y="4"/>
                  </a:lnTo>
                  <a:lnTo>
                    <a:pt x="0" y="4"/>
                  </a:lnTo>
                  <a:lnTo>
                    <a:pt x="0" y="4"/>
                  </a:lnTo>
                  <a:lnTo>
                    <a:pt x="0" y="4"/>
                  </a:lnTo>
                  <a:close/>
                  <a:moveTo>
                    <a:pt x="94" y="179"/>
                  </a:moveTo>
                  <a:lnTo>
                    <a:pt x="96" y="177"/>
                  </a:lnTo>
                  <a:lnTo>
                    <a:pt x="96" y="175"/>
                  </a:lnTo>
                  <a:lnTo>
                    <a:pt x="94" y="172"/>
                  </a:lnTo>
                  <a:lnTo>
                    <a:pt x="92" y="174"/>
                  </a:lnTo>
                  <a:lnTo>
                    <a:pt x="94" y="175"/>
                  </a:lnTo>
                  <a:lnTo>
                    <a:pt x="94" y="179"/>
                  </a:lnTo>
                  <a:lnTo>
                    <a:pt x="94" y="179"/>
                  </a:lnTo>
                  <a:lnTo>
                    <a:pt x="94" y="179"/>
                  </a:lnTo>
                  <a:lnTo>
                    <a:pt x="94" y="179"/>
                  </a:lnTo>
                  <a:close/>
                  <a:moveTo>
                    <a:pt x="98" y="187"/>
                  </a:moveTo>
                  <a:lnTo>
                    <a:pt x="98" y="191"/>
                  </a:lnTo>
                  <a:lnTo>
                    <a:pt x="100" y="191"/>
                  </a:lnTo>
                  <a:lnTo>
                    <a:pt x="100" y="187"/>
                  </a:lnTo>
                  <a:lnTo>
                    <a:pt x="98" y="187"/>
                  </a:lnTo>
                  <a:lnTo>
                    <a:pt x="98" y="187"/>
                  </a:lnTo>
                  <a:lnTo>
                    <a:pt x="98" y="187"/>
                  </a:lnTo>
                  <a:lnTo>
                    <a:pt x="98" y="187"/>
                  </a:lnTo>
                  <a:close/>
                  <a:moveTo>
                    <a:pt x="333" y="181"/>
                  </a:moveTo>
                  <a:lnTo>
                    <a:pt x="335" y="181"/>
                  </a:lnTo>
                  <a:lnTo>
                    <a:pt x="335" y="179"/>
                  </a:lnTo>
                  <a:lnTo>
                    <a:pt x="333" y="179"/>
                  </a:lnTo>
                  <a:lnTo>
                    <a:pt x="333" y="181"/>
                  </a:lnTo>
                  <a:lnTo>
                    <a:pt x="333" y="181"/>
                  </a:lnTo>
                  <a:lnTo>
                    <a:pt x="333" y="181"/>
                  </a:lnTo>
                  <a:lnTo>
                    <a:pt x="333" y="181"/>
                  </a:lnTo>
                  <a:close/>
                  <a:moveTo>
                    <a:pt x="333" y="187"/>
                  </a:moveTo>
                  <a:lnTo>
                    <a:pt x="333" y="187"/>
                  </a:lnTo>
                  <a:lnTo>
                    <a:pt x="335" y="185"/>
                  </a:lnTo>
                  <a:lnTo>
                    <a:pt x="333" y="185"/>
                  </a:lnTo>
                  <a:lnTo>
                    <a:pt x="333" y="187"/>
                  </a:lnTo>
                  <a:lnTo>
                    <a:pt x="333" y="187"/>
                  </a:lnTo>
                  <a:lnTo>
                    <a:pt x="333" y="187"/>
                  </a:lnTo>
                  <a:lnTo>
                    <a:pt x="333" y="187"/>
                  </a:lnTo>
                  <a:close/>
                  <a:moveTo>
                    <a:pt x="331" y="194"/>
                  </a:moveTo>
                  <a:lnTo>
                    <a:pt x="333" y="191"/>
                  </a:lnTo>
                  <a:lnTo>
                    <a:pt x="331" y="187"/>
                  </a:lnTo>
                  <a:lnTo>
                    <a:pt x="331" y="194"/>
                  </a:lnTo>
                  <a:lnTo>
                    <a:pt x="331" y="194"/>
                  </a:lnTo>
                  <a:lnTo>
                    <a:pt x="331" y="194"/>
                  </a:lnTo>
                  <a:close/>
                </a:path>
              </a:pathLst>
            </a:custGeom>
            <a:solidFill>
              <a:srgbClr val="0A9A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43">
              <a:extLst>
                <a:ext uri="{FF2B5EF4-FFF2-40B4-BE49-F238E27FC236}">
                  <a16:creationId xmlns:a16="http://schemas.microsoft.com/office/drawing/2014/main" id="{1DF12922-2D28-9547-9FAE-E1E010AD6719}"/>
                </a:ext>
              </a:extLst>
            </p:cNvPr>
            <p:cNvSpPr>
              <a:spLocks noEditPoints="1"/>
            </p:cNvSpPr>
            <p:nvPr/>
          </p:nvSpPr>
          <p:spPr bwMode="auto">
            <a:xfrm>
              <a:off x="4973271" y="2913074"/>
              <a:ext cx="616962" cy="583696"/>
            </a:xfrm>
            <a:custGeom>
              <a:avLst/>
              <a:gdLst/>
              <a:ahLst/>
              <a:cxnLst>
                <a:cxn ang="0">
                  <a:pos x="426" y="106"/>
                </a:cxn>
                <a:cxn ang="0">
                  <a:pos x="433" y="94"/>
                </a:cxn>
                <a:cxn ang="0">
                  <a:pos x="443" y="89"/>
                </a:cxn>
                <a:cxn ang="0">
                  <a:pos x="439" y="94"/>
                </a:cxn>
                <a:cxn ang="0">
                  <a:pos x="446" y="100"/>
                </a:cxn>
                <a:cxn ang="0">
                  <a:pos x="435" y="61"/>
                </a:cxn>
                <a:cxn ang="0">
                  <a:pos x="397" y="42"/>
                </a:cxn>
                <a:cxn ang="0">
                  <a:pos x="369" y="61"/>
                </a:cxn>
                <a:cxn ang="0">
                  <a:pos x="330" y="53"/>
                </a:cxn>
                <a:cxn ang="0">
                  <a:pos x="309" y="61"/>
                </a:cxn>
                <a:cxn ang="0">
                  <a:pos x="266" y="62"/>
                </a:cxn>
                <a:cxn ang="0">
                  <a:pos x="262" y="19"/>
                </a:cxn>
                <a:cxn ang="0">
                  <a:pos x="234" y="13"/>
                </a:cxn>
                <a:cxn ang="0">
                  <a:pos x="173" y="25"/>
                </a:cxn>
                <a:cxn ang="0">
                  <a:pos x="166" y="74"/>
                </a:cxn>
                <a:cxn ang="0">
                  <a:pos x="108" y="68"/>
                </a:cxn>
                <a:cxn ang="0">
                  <a:pos x="72" y="93"/>
                </a:cxn>
                <a:cxn ang="0">
                  <a:pos x="61" y="177"/>
                </a:cxn>
                <a:cxn ang="0">
                  <a:pos x="12" y="213"/>
                </a:cxn>
                <a:cxn ang="0">
                  <a:pos x="15" y="272"/>
                </a:cxn>
                <a:cxn ang="0">
                  <a:pos x="64" y="302"/>
                </a:cxn>
                <a:cxn ang="0">
                  <a:pos x="113" y="302"/>
                </a:cxn>
                <a:cxn ang="0">
                  <a:pos x="162" y="309"/>
                </a:cxn>
                <a:cxn ang="0">
                  <a:pos x="221" y="349"/>
                </a:cxn>
                <a:cxn ang="0">
                  <a:pos x="292" y="418"/>
                </a:cxn>
                <a:cxn ang="0">
                  <a:pos x="311" y="515"/>
                </a:cxn>
                <a:cxn ang="0">
                  <a:pos x="371" y="554"/>
                </a:cxn>
                <a:cxn ang="0">
                  <a:pos x="390" y="599"/>
                </a:cxn>
                <a:cxn ang="0">
                  <a:pos x="356" y="643"/>
                </a:cxn>
                <a:cxn ang="0">
                  <a:pos x="330" y="686"/>
                </a:cxn>
                <a:cxn ang="0">
                  <a:pos x="381" y="712"/>
                </a:cxn>
                <a:cxn ang="0">
                  <a:pos x="411" y="761"/>
                </a:cxn>
                <a:cxn ang="0">
                  <a:pos x="435" y="707"/>
                </a:cxn>
                <a:cxn ang="0">
                  <a:pos x="448" y="686"/>
                </a:cxn>
                <a:cxn ang="0">
                  <a:pos x="433" y="718"/>
                </a:cxn>
                <a:cxn ang="0">
                  <a:pos x="482" y="643"/>
                </a:cxn>
                <a:cxn ang="0">
                  <a:pos x="480" y="601"/>
                </a:cxn>
                <a:cxn ang="0">
                  <a:pos x="505" y="571"/>
                </a:cxn>
                <a:cxn ang="0">
                  <a:pos x="552" y="537"/>
                </a:cxn>
                <a:cxn ang="0">
                  <a:pos x="567" y="537"/>
                </a:cxn>
                <a:cxn ang="0">
                  <a:pos x="601" y="530"/>
                </a:cxn>
                <a:cxn ang="0">
                  <a:pos x="629" y="486"/>
                </a:cxn>
                <a:cxn ang="0">
                  <a:pos x="648" y="411"/>
                </a:cxn>
                <a:cxn ang="0">
                  <a:pos x="650" y="347"/>
                </a:cxn>
                <a:cxn ang="0">
                  <a:pos x="653" y="341"/>
                </a:cxn>
                <a:cxn ang="0">
                  <a:pos x="697" y="290"/>
                </a:cxn>
                <a:cxn ang="0">
                  <a:pos x="714" y="211"/>
                </a:cxn>
                <a:cxn ang="0">
                  <a:pos x="644" y="159"/>
                </a:cxn>
                <a:cxn ang="0">
                  <a:pos x="591" y="149"/>
                </a:cxn>
                <a:cxn ang="0">
                  <a:pos x="559" y="147"/>
                </a:cxn>
                <a:cxn ang="0">
                  <a:pos x="542" y="155"/>
                </a:cxn>
                <a:cxn ang="0">
                  <a:pos x="522" y="126"/>
                </a:cxn>
                <a:cxn ang="0">
                  <a:pos x="492" y="113"/>
                </a:cxn>
                <a:cxn ang="0">
                  <a:pos x="454" y="142"/>
                </a:cxn>
                <a:cxn ang="0">
                  <a:pos x="452" y="136"/>
                </a:cxn>
                <a:cxn ang="0">
                  <a:pos x="454" y="130"/>
                </a:cxn>
                <a:cxn ang="0">
                  <a:pos x="443" y="102"/>
                </a:cxn>
                <a:cxn ang="0">
                  <a:pos x="414" y="123"/>
                </a:cxn>
                <a:cxn ang="0">
                  <a:pos x="422" y="96"/>
                </a:cxn>
                <a:cxn ang="0">
                  <a:pos x="433" y="62"/>
                </a:cxn>
              </a:cxnLst>
              <a:rect l="0" t="0" r="r" b="b"/>
              <a:pathLst>
                <a:path w="723" h="761">
                  <a:moveTo>
                    <a:pt x="422" y="110"/>
                  </a:moveTo>
                  <a:lnTo>
                    <a:pt x="424" y="110"/>
                  </a:lnTo>
                  <a:lnTo>
                    <a:pt x="428" y="108"/>
                  </a:lnTo>
                  <a:lnTo>
                    <a:pt x="428" y="108"/>
                  </a:lnTo>
                  <a:lnTo>
                    <a:pt x="428" y="110"/>
                  </a:lnTo>
                  <a:lnTo>
                    <a:pt x="424" y="110"/>
                  </a:lnTo>
                  <a:lnTo>
                    <a:pt x="422" y="110"/>
                  </a:lnTo>
                  <a:lnTo>
                    <a:pt x="422" y="110"/>
                  </a:lnTo>
                  <a:lnTo>
                    <a:pt x="422" y="110"/>
                  </a:lnTo>
                  <a:lnTo>
                    <a:pt x="422" y="110"/>
                  </a:lnTo>
                  <a:close/>
                  <a:moveTo>
                    <a:pt x="420" y="110"/>
                  </a:moveTo>
                  <a:lnTo>
                    <a:pt x="420" y="110"/>
                  </a:lnTo>
                  <a:lnTo>
                    <a:pt x="422" y="110"/>
                  </a:lnTo>
                  <a:lnTo>
                    <a:pt x="426" y="106"/>
                  </a:lnTo>
                  <a:lnTo>
                    <a:pt x="428" y="106"/>
                  </a:lnTo>
                  <a:lnTo>
                    <a:pt x="429" y="102"/>
                  </a:lnTo>
                  <a:lnTo>
                    <a:pt x="429" y="100"/>
                  </a:lnTo>
                  <a:lnTo>
                    <a:pt x="429" y="100"/>
                  </a:lnTo>
                  <a:lnTo>
                    <a:pt x="428" y="100"/>
                  </a:lnTo>
                  <a:lnTo>
                    <a:pt x="426" y="100"/>
                  </a:lnTo>
                  <a:lnTo>
                    <a:pt x="422" y="104"/>
                  </a:lnTo>
                  <a:lnTo>
                    <a:pt x="420" y="110"/>
                  </a:lnTo>
                  <a:lnTo>
                    <a:pt x="420" y="110"/>
                  </a:lnTo>
                  <a:lnTo>
                    <a:pt x="420" y="110"/>
                  </a:lnTo>
                  <a:lnTo>
                    <a:pt x="420" y="110"/>
                  </a:lnTo>
                  <a:close/>
                  <a:moveTo>
                    <a:pt x="435" y="96"/>
                  </a:moveTo>
                  <a:lnTo>
                    <a:pt x="433" y="94"/>
                  </a:lnTo>
                  <a:lnTo>
                    <a:pt x="433" y="94"/>
                  </a:lnTo>
                  <a:lnTo>
                    <a:pt x="433" y="96"/>
                  </a:lnTo>
                  <a:lnTo>
                    <a:pt x="433" y="98"/>
                  </a:lnTo>
                  <a:lnTo>
                    <a:pt x="433" y="98"/>
                  </a:lnTo>
                  <a:lnTo>
                    <a:pt x="435" y="96"/>
                  </a:lnTo>
                  <a:lnTo>
                    <a:pt x="435" y="96"/>
                  </a:lnTo>
                  <a:lnTo>
                    <a:pt x="435" y="96"/>
                  </a:lnTo>
                  <a:lnTo>
                    <a:pt x="435" y="96"/>
                  </a:lnTo>
                  <a:close/>
                  <a:moveTo>
                    <a:pt x="435" y="93"/>
                  </a:moveTo>
                  <a:lnTo>
                    <a:pt x="433" y="89"/>
                  </a:lnTo>
                  <a:lnTo>
                    <a:pt x="435" y="89"/>
                  </a:lnTo>
                  <a:lnTo>
                    <a:pt x="437" y="89"/>
                  </a:lnTo>
                  <a:lnTo>
                    <a:pt x="443" y="85"/>
                  </a:lnTo>
                  <a:lnTo>
                    <a:pt x="443" y="85"/>
                  </a:lnTo>
                  <a:lnTo>
                    <a:pt x="443" y="89"/>
                  </a:lnTo>
                  <a:lnTo>
                    <a:pt x="439" y="89"/>
                  </a:lnTo>
                  <a:lnTo>
                    <a:pt x="437" y="93"/>
                  </a:lnTo>
                  <a:lnTo>
                    <a:pt x="435" y="93"/>
                  </a:lnTo>
                  <a:lnTo>
                    <a:pt x="435" y="93"/>
                  </a:lnTo>
                  <a:lnTo>
                    <a:pt x="435" y="93"/>
                  </a:lnTo>
                  <a:lnTo>
                    <a:pt x="435" y="93"/>
                  </a:lnTo>
                  <a:close/>
                  <a:moveTo>
                    <a:pt x="435" y="96"/>
                  </a:moveTo>
                  <a:lnTo>
                    <a:pt x="437" y="96"/>
                  </a:lnTo>
                  <a:lnTo>
                    <a:pt x="443" y="96"/>
                  </a:lnTo>
                  <a:lnTo>
                    <a:pt x="445" y="98"/>
                  </a:lnTo>
                  <a:lnTo>
                    <a:pt x="446" y="96"/>
                  </a:lnTo>
                  <a:lnTo>
                    <a:pt x="446" y="94"/>
                  </a:lnTo>
                  <a:lnTo>
                    <a:pt x="445" y="93"/>
                  </a:lnTo>
                  <a:lnTo>
                    <a:pt x="439" y="94"/>
                  </a:lnTo>
                  <a:lnTo>
                    <a:pt x="437" y="94"/>
                  </a:lnTo>
                  <a:lnTo>
                    <a:pt x="435" y="96"/>
                  </a:lnTo>
                  <a:lnTo>
                    <a:pt x="435" y="96"/>
                  </a:lnTo>
                  <a:lnTo>
                    <a:pt x="435" y="96"/>
                  </a:lnTo>
                  <a:lnTo>
                    <a:pt x="435" y="96"/>
                  </a:lnTo>
                  <a:close/>
                  <a:moveTo>
                    <a:pt x="446" y="100"/>
                  </a:moveTo>
                  <a:lnTo>
                    <a:pt x="450" y="98"/>
                  </a:lnTo>
                  <a:lnTo>
                    <a:pt x="450" y="98"/>
                  </a:lnTo>
                  <a:lnTo>
                    <a:pt x="454" y="96"/>
                  </a:lnTo>
                  <a:lnTo>
                    <a:pt x="454" y="98"/>
                  </a:lnTo>
                  <a:lnTo>
                    <a:pt x="454" y="102"/>
                  </a:lnTo>
                  <a:lnTo>
                    <a:pt x="450" y="102"/>
                  </a:lnTo>
                  <a:lnTo>
                    <a:pt x="446" y="100"/>
                  </a:lnTo>
                  <a:lnTo>
                    <a:pt x="446" y="100"/>
                  </a:lnTo>
                  <a:lnTo>
                    <a:pt x="446" y="100"/>
                  </a:lnTo>
                  <a:lnTo>
                    <a:pt x="446" y="100"/>
                  </a:lnTo>
                  <a:close/>
                  <a:moveTo>
                    <a:pt x="435" y="61"/>
                  </a:moveTo>
                  <a:lnTo>
                    <a:pt x="433" y="59"/>
                  </a:lnTo>
                  <a:lnTo>
                    <a:pt x="433" y="55"/>
                  </a:lnTo>
                  <a:lnTo>
                    <a:pt x="433" y="53"/>
                  </a:lnTo>
                  <a:lnTo>
                    <a:pt x="435" y="55"/>
                  </a:lnTo>
                  <a:lnTo>
                    <a:pt x="437" y="59"/>
                  </a:lnTo>
                  <a:lnTo>
                    <a:pt x="437" y="62"/>
                  </a:lnTo>
                  <a:lnTo>
                    <a:pt x="437" y="62"/>
                  </a:lnTo>
                  <a:lnTo>
                    <a:pt x="435" y="61"/>
                  </a:lnTo>
                  <a:lnTo>
                    <a:pt x="435" y="61"/>
                  </a:lnTo>
                  <a:lnTo>
                    <a:pt x="435" y="61"/>
                  </a:lnTo>
                  <a:lnTo>
                    <a:pt x="435" y="61"/>
                  </a:lnTo>
                  <a:close/>
                  <a:moveTo>
                    <a:pt x="418" y="25"/>
                  </a:moveTo>
                  <a:lnTo>
                    <a:pt x="418" y="25"/>
                  </a:lnTo>
                  <a:lnTo>
                    <a:pt x="416" y="21"/>
                  </a:lnTo>
                  <a:lnTo>
                    <a:pt x="414" y="15"/>
                  </a:lnTo>
                  <a:lnTo>
                    <a:pt x="413" y="17"/>
                  </a:lnTo>
                  <a:lnTo>
                    <a:pt x="414" y="19"/>
                  </a:lnTo>
                  <a:lnTo>
                    <a:pt x="413" y="23"/>
                  </a:lnTo>
                  <a:lnTo>
                    <a:pt x="409" y="25"/>
                  </a:lnTo>
                  <a:lnTo>
                    <a:pt x="409" y="25"/>
                  </a:lnTo>
                  <a:lnTo>
                    <a:pt x="409" y="25"/>
                  </a:lnTo>
                  <a:lnTo>
                    <a:pt x="405" y="25"/>
                  </a:lnTo>
                  <a:lnTo>
                    <a:pt x="403" y="34"/>
                  </a:lnTo>
                  <a:lnTo>
                    <a:pt x="397" y="38"/>
                  </a:lnTo>
                  <a:lnTo>
                    <a:pt x="397" y="42"/>
                  </a:lnTo>
                  <a:lnTo>
                    <a:pt x="394" y="49"/>
                  </a:lnTo>
                  <a:lnTo>
                    <a:pt x="390" y="55"/>
                  </a:lnTo>
                  <a:lnTo>
                    <a:pt x="388" y="59"/>
                  </a:lnTo>
                  <a:lnTo>
                    <a:pt x="384" y="59"/>
                  </a:lnTo>
                  <a:lnTo>
                    <a:pt x="384" y="61"/>
                  </a:lnTo>
                  <a:lnTo>
                    <a:pt x="384" y="62"/>
                  </a:lnTo>
                  <a:lnTo>
                    <a:pt x="379" y="68"/>
                  </a:lnTo>
                  <a:lnTo>
                    <a:pt x="379" y="64"/>
                  </a:lnTo>
                  <a:lnTo>
                    <a:pt x="379" y="61"/>
                  </a:lnTo>
                  <a:lnTo>
                    <a:pt x="375" y="59"/>
                  </a:lnTo>
                  <a:lnTo>
                    <a:pt x="375" y="59"/>
                  </a:lnTo>
                  <a:lnTo>
                    <a:pt x="373" y="59"/>
                  </a:lnTo>
                  <a:lnTo>
                    <a:pt x="371" y="59"/>
                  </a:lnTo>
                  <a:lnTo>
                    <a:pt x="369" y="61"/>
                  </a:lnTo>
                  <a:lnTo>
                    <a:pt x="365" y="61"/>
                  </a:lnTo>
                  <a:lnTo>
                    <a:pt x="364" y="59"/>
                  </a:lnTo>
                  <a:lnTo>
                    <a:pt x="364" y="55"/>
                  </a:lnTo>
                  <a:lnTo>
                    <a:pt x="362" y="55"/>
                  </a:lnTo>
                  <a:lnTo>
                    <a:pt x="360" y="53"/>
                  </a:lnTo>
                  <a:lnTo>
                    <a:pt x="360" y="51"/>
                  </a:lnTo>
                  <a:lnTo>
                    <a:pt x="358" y="51"/>
                  </a:lnTo>
                  <a:lnTo>
                    <a:pt x="354" y="47"/>
                  </a:lnTo>
                  <a:lnTo>
                    <a:pt x="350" y="47"/>
                  </a:lnTo>
                  <a:lnTo>
                    <a:pt x="347" y="49"/>
                  </a:lnTo>
                  <a:lnTo>
                    <a:pt x="337" y="49"/>
                  </a:lnTo>
                  <a:lnTo>
                    <a:pt x="333" y="47"/>
                  </a:lnTo>
                  <a:lnTo>
                    <a:pt x="330" y="49"/>
                  </a:lnTo>
                  <a:lnTo>
                    <a:pt x="330" y="53"/>
                  </a:lnTo>
                  <a:lnTo>
                    <a:pt x="333" y="55"/>
                  </a:lnTo>
                  <a:lnTo>
                    <a:pt x="333" y="59"/>
                  </a:lnTo>
                  <a:lnTo>
                    <a:pt x="335" y="62"/>
                  </a:lnTo>
                  <a:lnTo>
                    <a:pt x="335" y="64"/>
                  </a:lnTo>
                  <a:lnTo>
                    <a:pt x="332" y="64"/>
                  </a:lnTo>
                  <a:lnTo>
                    <a:pt x="326" y="62"/>
                  </a:lnTo>
                  <a:lnTo>
                    <a:pt x="326" y="61"/>
                  </a:lnTo>
                  <a:lnTo>
                    <a:pt x="326" y="61"/>
                  </a:lnTo>
                  <a:lnTo>
                    <a:pt x="326" y="61"/>
                  </a:lnTo>
                  <a:lnTo>
                    <a:pt x="326" y="61"/>
                  </a:lnTo>
                  <a:lnTo>
                    <a:pt x="317" y="61"/>
                  </a:lnTo>
                  <a:lnTo>
                    <a:pt x="315" y="62"/>
                  </a:lnTo>
                  <a:lnTo>
                    <a:pt x="315" y="61"/>
                  </a:lnTo>
                  <a:lnTo>
                    <a:pt x="309" y="61"/>
                  </a:lnTo>
                  <a:lnTo>
                    <a:pt x="305" y="62"/>
                  </a:lnTo>
                  <a:lnTo>
                    <a:pt x="301" y="68"/>
                  </a:lnTo>
                  <a:lnTo>
                    <a:pt x="296" y="68"/>
                  </a:lnTo>
                  <a:lnTo>
                    <a:pt x="292" y="70"/>
                  </a:lnTo>
                  <a:lnTo>
                    <a:pt x="290" y="72"/>
                  </a:lnTo>
                  <a:lnTo>
                    <a:pt x="288" y="74"/>
                  </a:lnTo>
                  <a:lnTo>
                    <a:pt x="283" y="76"/>
                  </a:lnTo>
                  <a:lnTo>
                    <a:pt x="283" y="74"/>
                  </a:lnTo>
                  <a:lnTo>
                    <a:pt x="281" y="74"/>
                  </a:lnTo>
                  <a:lnTo>
                    <a:pt x="277" y="78"/>
                  </a:lnTo>
                  <a:lnTo>
                    <a:pt x="275" y="76"/>
                  </a:lnTo>
                  <a:lnTo>
                    <a:pt x="268" y="70"/>
                  </a:lnTo>
                  <a:lnTo>
                    <a:pt x="266" y="68"/>
                  </a:lnTo>
                  <a:lnTo>
                    <a:pt x="266" y="62"/>
                  </a:lnTo>
                  <a:lnTo>
                    <a:pt x="262" y="59"/>
                  </a:lnTo>
                  <a:lnTo>
                    <a:pt x="258" y="55"/>
                  </a:lnTo>
                  <a:lnTo>
                    <a:pt x="258" y="53"/>
                  </a:lnTo>
                  <a:lnTo>
                    <a:pt x="258" y="51"/>
                  </a:lnTo>
                  <a:lnTo>
                    <a:pt x="258" y="49"/>
                  </a:lnTo>
                  <a:lnTo>
                    <a:pt x="258" y="45"/>
                  </a:lnTo>
                  <a:lnTo>
                    <a:pt x="260" y="42"/>
                  </a:lnTo>
                  <a:lnTo>
                    <a:pt x="260" y="38"/>
                  </a:lnTo>
                  <a:lnTo>
                    <a:pt x="262" y="30"/>
                  </a:lnTo>
                  <a:lnTo>
                    <a:pt x="262" y="25"/>
                  </a:lnTo>
                  <a:lnTo>
                    <a:pt x="268" y="23"/>
                  </a:lnTo>
                  <a:lnTo>
                    <a:pt x="268" y="21"/>
                  </a:lnTo>
                  <a:lnTo>
                    <a:pt x="262" y="21"/>
                  </a:lnTo>
                  <a:lnTo>
                    <a:pt x="262" y="19"/>
                  </a:lnTo>
                  <a:lnTo>
                    <a:pt x="260" y="15"/>
                  </a:lnTo>
                  <a:lnTo>
                    <a:pt x="256" y="15"/>
                  </a:lnTo>
                  <a:lnTo>
                    <a:pt x="253" y="13"/>
                  </a:lnTo>
                  <a:lnTo>
                    <a:pt x="254" y="12"/>
                  </a:lnTo>
                  <a:lnTo>
                    <a:pt x="258" y="8"/>
                  </a:lnTo>
                  <a:lnTo>
                    <a:pt x="258" y="4"/>
                  </a:lnTo>
                  <a:lnTo>
                    <a:pt x="254" y="0"/>
                  </a:lnTo>
                  <a:lnTo>
                    <a:pt x="251" y="0"/>
                  </a:lnTo>
                  <a:lnTo>
                    <a:pt x="247" y="0"/>
                  </a:lnTo>
                  <a:lnTo>
                    <a:pt x="247" y="0"/>
                  </a:lnTo>
                  <a:lnTo>
                    <a:pt x="247" y="0"/>
                  </a:lnTo>
                  <a:lnTo>
                    <a:pt x="247" y="4"/>
                  </a:lnTo>
                  <a:lnTo>
                    <a:pt x="243" y="6"/>
                  </a:lnTo>
                  <a:lnTo>
                    <a:pt x="234" y="13"/>
                  </a:lnTo>
                  <a:lnTo>
                    <a:pt x="228" y="13"/>
                  </a:lnTo>
                  <a:lnTo>
                    <a:pt x="219" y="17"/>
                  </a:lnTo>
                  <a:lnTo>
                    <a:pt x="217" y="15"/>
                  </a:lnTo>
                  <a:lnTo>
                    <a:pt x="213" y="17"/>
                  </a:lnTo>
                  <a:lnTo>
                    <a:pt x="205" y="23"/>
                  </a:lnTo>
                  <a:lnTo>
                    <a:pt x="200" y="25"/>
                  </a:lnTo>
                  <a:lnTo>
                    <a:pt x="198" y="23"/>
                  </a:lnTo>
                  <a:lnTo>
                    <a:pt x="189" y="25"/>
                  </a:lnTo>
                  <a:lnTo>
                    <a:pt x="183" y="25"/>
                  </a:lnTo>
                  <a:lnTo>
                    <a:pt x="177" y="21"/>
                  </a:lnTo>
                  <a:lnTo>
                    <a:pt x="172" y="21"/>
                  </a:lnTo>
                  <a:lnTo>
                    <a:pt x="166" y="19"/>
                  </a:lnTo>
                  <a:lnTo>
                    <a:pt x="168" y="23"/>
                  </a:lnTo>
                  <a:lnTo>
                    <a:pt x="173" y="25"/>
                  </a:lnTo>
                  <a:lnTo>
                    <a:pt x="177" y="29"/>
                  </a:lnTo>
                  <a:lnTo>
                    <a:pt x="179" y="30"/>
                  </a:lnTo>
                  <a:lnTo>
                    <a:pt x="173" y="40"/>
                  </a:lnTo>
                  <a:lnTo>
                    <a:pt x="175" y="44"/>
                  </a:lnTo>
                  <a:lnTo>
                    <a:pt x="173" y="49"/>
                  </a:lnTo>
                  <a:lnTo>
                    <a:pt x="183" y="53"/>
                  </a:lnTo>
                  <a:lnTo>
                    <a:pt x="189" y="53"/>
                  </a:lnTo>
                  <a:lnTo>
                    <a:pt x="194" y="53"/>
                  </a:lnTo>
                  <a:lnTo>
                    <a:pt x="194" y="55"/>
                  </a:lnTo>
                  <a:lnTo>
                    <a:pt x="189" y="59"/>
                  </a:lnTo>
                  <a:lnTo>
                    <a:pt x="179" y="59"/>
                  </a:lnTo>
                  <a:lnTo>
                    <a:pt x="179" y="62"/>
                  </a:lnTo>
                  <a:lnTo>
                    <a:pt x="177" y="68"/>
                  </a:lnTo>
                  <a:lnTo>
                    <a:pt x="166" y="74"/>
                  </a:lnTo>
                  <a:lnTo>
                    <a:pt x="164" y="78"/>
                  </a:lnTo>
                  <a:lnTo>
                    <a:pt x="158" y="79"/>
                  </a:lnTo>
                  <a:lnTo>
                    <a:pt x="153" y="85"/>
                  </a:lnTo>
                  <a:lnTo>
                    <a:pt x="145" y="85"/>
                  </a:lnTo>
                  <a:lnTo>
                    <a:pt x="141" y="85"/>
                  </a:lnTo>
                  <a:lnTo>
                    <a:pt x="134" y="79"/>
                  </a:lnTo>
                  <a:lnTo>
                    <a:pt x="128" y="76"/>
                  </a:lnTo>
                  <a:lnTo>
                    <a:pt x="123" y="76"/>
                  </a:lnTo>
                  <a:lnTo>
                    <a:pt x="123" y="72"/>
                  </a:lnTo>
                  <a:lnTo>
                    <a:pt x="123" y="68"/>
                  </a:lnTo>
                  <a:lnTo>
                    <a:pt x="119" y="62"/>
                  </a:lnTo>
                  <a:lnTo>
                    <a:pt x="117" y="61"/>
                  </a:lnTo>
                  <a:lnTo>
                    <a:pt x="113" y="61"/>
                  </a:lnTo>
                  <a:lnTo>
                    <a:pt x="108" y="68"/>
                  </a:lnTo>
                  <a:lnTo>
                    <a:pt x="106" y="68"/>
                  </a:lnTo>
                  <a:lnTo>
                    <a:pt x="104" y="64"/>
                  </a:lnTo>
                  <a:lnTo>
                    <a:pt x="100" y="64"/>
                  </a:lnTo>
                  <a:lnTo>
                    <a:pt x="100" y="68"/>
                  </a:lnTo>
                  <a:lnTo>
                    <a:pt x="79" y="68"/>
                  </a:lnTo>
                  <a:lnTo>
                    <a:pt x="76" y="74"/>
                  </a:lnTo>
                  <a:lnTo>
                    <a:pt x="79" y="78"/>
                  </a:lnTo>
                  <a:lnTo>
                    <a:pt x="85" y="79"/>
                  </a:lnTo>
                  <a:lnTo>
                    <a:pt x="87" y="85"/>
                  </a:lnTo>
                  <a:lnTo>
                    <a:pt x="85" y="85"/>
                  </a:lnTo>
                  <a:lnTo>
                    <a:pt x="89" y="89"/>
                  </a:lnTo>
                  <a:lnTo>
                    <a:pt x="87" y="93"/>
                  </a:lnTo>
                  <a:lnTo>
                    <a:pt x="83" y="89"/>
                  </a:lnTo>
                  <a:lnTo>
                    <a:pt x="72" y="93"/>
                  </a:lnTo>
                  <a:lnTo>
                    <a:pt x="72" y="104"/>
                  </a:lnTo>
                  <a:lnTo>
                    <a:pt x="76" y="108"/>
                  </a:lnTo>
                  <a:lnTo>
                    <a:pt x="81" y="113"/>
                  </a:lnTo>
                  <a:lnTo>
                    <a:pt x="85" y="123"/>
                  </a:lnTo>
                  <a:lnTo>
                    <a:pt x="85" y="126"/>
                  </a:lnTo>
                  <a:lnTo>
                    <a:pt x="85" y="130"/>
                  </a:lnTo>
                  <a:lnTo>
                    <a:pt x="76" y="170"/>
                  </a:lnTo>
                  <a:lnTo>
                    <a:pt x="72" y="177"/>
                  </a:lnTo>
                  <a:lnTo>
                    <a:pt x="72" y="179"/>
                  </a:lnTo>
                  <a:lnTo>
                    <a:pt x="72" y="183"/>
                  </a:lnTo>
                  <a:lnTo>
                    <a:pt x="66" y="181"/>
                  </a:lnTo>
                  <a:lnTo>
                    <a:pt x="68" y="181"/>
                  </a:lnTo>
                  <a:lnTo>
                    <a:pt x="62" y="177"/>
                  </a:lnTo>
                  <a:lnTo>
                    <a:pt x="61" y="177"/>
                  </a:lnTo>
                  <a:lnTo>
                    <a:pt x="57" y="177"/>
                  </a:lnTo>
                  <a:lnTo>
                    <a:pt x="55" y="177"/>
                  </a:lnTo>
                  <a:lnTo>
                    <a:pt x="55" y="181"/>
                  </a:lnTo>
                  <a:lnTo>
                    <a:pt x="44" y="187"/>
                  </a:lnTo>
                  <a:lnTo>
                    <a:pt x="32" y="187"/>
                  </a:lnTo>
                  <a:lnTo>
                    <a:pt x="30" y="189"/>
                  </a:lnTo>
                  <a:lnTo>
                    <a:pt x="29" y="191"/>
                  </a:lnTo>
                  <a:lnTo>
                    <a:pt x="25" y="194"/>
                  </a:lnTo>
                  <a:lnTo>
                    <a:pt x="21" y="196"/>
                  </a:lnTo>
                  <a:lnTo>
                    <a:pt x="17" y="198"/>
                  </a:lnTo>
                  <a:lnTo>
                    <a:pt x="17" y="204"/>
                  </a:lnTo>
                  <a:lnTo>
                    <a:pt x="15" y="207"/>
                  </a:lnTo>
                  <a:lnTo>
                    <a:pt x="17" y="207"/>
                  </a:lnTo>
                  <a:lnTo>
                    <a:pt x="12" y="213"/>
                  </a:lnTo>
                  <a:lnTo>
                    <a:pt x="13" y="221"/>
                  </a:lnTo>
                  <a:lnTo>
                    <a:pt x="15" y="224"/>
                  </a:lnTo>
                  <a:lnTo>
                    <a:pt x="12" y="226"/>
                  </a:lnTo>
                  <a:lnTo>
                    <a:pt x="10" y="226"/>
                  </a:lnTo>
                  <a:lnTo>
                    <a:pt x="4" y="230"/>
                  </a:lnTo>
                  <a:lnTo>
                    <a:pt x="4" y="232"/>
                  </a:lnTo>
                  <a:lnTo>
                    <a:pt x="0" y="236"/>
                  </a:lnTo>
                  <a:lnTo>
                    <a:pt x="2" y="238"/>
                  </a:lnTo>
                  <a:lnTo>
                    <a:pt x="2" y="241"/>
                  </a:lnTo>
                  <a:lnTo>
                    <a:pt x="0" y="245"/>
                  </a:lnTo>
                  <a:lnTo>
                    <a:pt x="2" y="249"/>
                  </a:lnTo>
                  <a:lnTo>
                    <a:pt x="0" y="251"/>
                  </a:lnTo>
                  <a:lnTo>
                    <a:pt x="6" y="256"/>
                  </a:lnTo>
                  <a:lnTo>
                    <a:pt x="15" y="272"/>
                  </a:lnTo>
                  <a:lnTo>
                    <a:pt x="12" y="277"/>
                  </a:lnTo>
                  <a:lnTo>
                    <a:pt x="21" y="275"/>
                  </a:lnTo>
                  <a:lnTo>
                    <a:pt x="27" y="277"/>
                  </a:lnTo>
                  <a:lnTo>
                    <a:pt x="30" y="283"/>
                  </a:lnTo>
                  <a:lnTo>
                    <a:pt x="32" y="288"/>
                  </a:lnTo>
                  <a:lnTo>
                    <a:pt x="42" y="288"/>
                  </a:lnTo>
                  <a:lnTo>
                    <a:pt x="49" y="288"/>
                  </a:lnTo>
                  <a:lnTo>
                    <a:pt x="57" y="281"/>
                  </a:lnTo>
                  <a:lnTo>
                    <a:pt x="64" y="277"/>
                  </a:lnTo>
                  <a:lnTo>
                    <a:pt x="66" y="279"/>
                  </a:lnTo>
                  <a:lnTo>
                    <a:pt x="66" y="285"/>
                  </a:lnTo>
                  <a:lnTo>
                    <a:pt x="64" y="287"/>
                  </a:lnTo>
                  <a:lnTo>
                    <a:pt x="64" y="292"/>
                  </a:lnTo>
                  <a:lnTo>
                    <a:pt x="64" y="302"/>
                  </a:lnTo>
                  <a:lnTo>
                    <a:pt x="64" y="307"/>
                  </a:lnTo>
                  <a:lnTo>
                    <a:pt x="68" y="309"/>
                  </a:lnTo>
                  <a:lnTo>
                    <a:pt x="72" y="309"/>
                  </a:lnTo>
                  <a:lnTo>
                    <a:pt x="76" y="307"/>
                  </a:lnTo>
                  <a:lnTo>
                    <a:pt x="79" y="307"/>
                  </a:lnTo>
                  <a:lnTo>
                    <a:pt x="79" y="307"/>
                  </a:lnTo>
                  <a:lnTo>
                    <a:pt x="81" y="307"/>
                  </a:lnTo>
                  <a:lnTo>
                    <a:pt x="83" y="309"/>
                  </a:lnTo>
                  <a:lnTo>
                    <a:pt x="83" y="309"/>
                  </a:lnTo>
                  <a:lnTo>
                    <a:pt x="94" y="307"/>
                  </a:lnTo>
                  <a:lnTo>
                    <a:pt x="100" y="309"/>
                  </a:lnTo>
                  <a:lnTo>
                    <a:pt x="104" y="305"/>
                  </a:lnTo>
                  <a:lnTo>
                    <a:pt x="108" y="305"/>
                  </a:lnTo>
                  <a:lnTo>
                    <a:pt x="113" y="302"/>
                  </a:lnTo>
                  <a:lnTo>
                    <a:pt x="117" y="302"/>
                  </a:lnTo>
                  <a:lnTo>
                    <a:pt x="123" y="300"/>
                  </a:lnTo>
                  <a:lnTo>
                    <a:pt x="125" y="292"/>
                  </a:lnTo>
                  <a:lnTo>
                    <a:pt x="134" y="287"/>
                  </a:lnTo>
                  <a:lnTo>
                    <a:pt x="140" y="287"/>
                  </a:lnTo>
                  <a:lnTo>
                    <a:pt x="145" y="283"/>
                  </a:lnTo>
                  <a:lnTo>
                    <a:pt x="151" y="283"/>
                  </a:lnTo>
                  <a:lnTo>
                    <a:pt x="155" y="287"/>
                  </a:lnTo>
                  <a:lnTo>
                    <a:pt x="158" y="283"/>
                  </a:lnTo>
                  <a:lnTo>
                    <a:pt x="158" y="285"/>
                  </a:lnTo>
                  <a:lnTo>
                    <a:pt x="158" y="290"/>
                  </a:lnTo>
                  <a:lnTo>
                    <a:pt x="162" y="296"/>
                  </a:lnTo>
                  <a:lnTo>
                    <a:pt x="158" y="300"/>
                  </a:lnTo>
                  <a:lnTo>
                    <a:pt x="162" y="309"/>
                  </a:lnTo>
                  <a:lnTo>
                    <a:pt x="158" y="313"/>
                  </a:lnTo>
                  <a:lnTo>
                    <a:pt x="162" y="320"/>
                  </a:lnTo>
                  <a:lnTo>
                    <a:pt x="166" y="322"/>
                  </a:lnTo>
                  <a:lnTo>
                    <a:pt x="168" y="330"/>
                  </a:lnTo>
                  <a:lnTo>
                    <a:pt x="172" y="330"/>
                  </a:lnTo>
                  <a:lnTo>
                    <a:pt x="179" y="334"/>
                  </a:lnTo>
                  <a:lnTo>
                    <a:pt x="183" y="337"/>
                  </a:lnTo>
                  <a:lnTo>
                    <a:pt x="183" y="336"/>
                  </a:lnTo>
                  <a:lnTo>
                    <a:pt x="192" y="334"/>
                  </a:lnTo>
                  <a:lnTo>
                    <a:pt x="198" y="339"/>
                  </a:lnTo>
                  <a:lnTo>
                    <a:pt x="204" y="339"/>
                  </a:lnTo>
                  <a:lnTo>
                    <a:pt x="209" y="347"/>
                  </a:lnTo>
                  <a:lnTo>
                    <a:pt x="213" y="347"/>
                  </a:lnTo>
                  <a:lnTo>
                    <a:pt x="221" y="349"/>
                  </a:lnTo>
                  <a:lnTo>
                    <a:pt x="226" y="351"/>
                  </a:lnTo>
                  <a:lnTo>
                    <a:pt x="226" y="356"/>
                  </a:lnTo>
                  <a:lnTo>
                    <a:pt x="230" y="356"/>
                  </a:lnTo>
                  <a:lnTo>
                    <a:pt x="236" y="360"/>
                  </a:lnTo>
                  <a:lnTo>
                    <a:pt x="247" y="360"/>
                  </a:lnTo>
                  <a:lnTo>
                    <a:pt x="253" y="362"/>
                  </a:lnTo>
                  <a:lnTo>
                    <a:pt x="254" y="366"/>
                  </a:lnTo>
                  <a:lnTo>
                    <a:pt x="254" y="375"/>
                  </a:lnTo>
                  <a:lnTo>
                    <a:pt x="254" y="381"/>
                  </a:lnTo>
                  <a:lnTo>
                    <a:pt x="253" y="385"/>
                  </a:lnTo>
                  <a:lnTo>
                    <a:pt x="260" y="398"/>
                  </a:lnTo>
                  <a:lnTo>
                    <a:pt x="260" y="407"/>
                  </a:lnTo>
                  <a:lnTo>
                    <a:pt x="292" y="407"/>
                  </a:lnTo>
                  <a:lnTo>
                    <a:pt x="292" y="418"/>
                  </a:lnTo>
                  <a:lnTo>
                    <a:pt x="292" y="426"/>
                  </a:lnTo>
                  <a:lnTo>
                    <a:pt x="301" y="428"/>
                  </a:lnTo>
                  <a:lnTo>
                    <a:pt x="313" y="445"/>
                  </a:lnTo>
                  <a:lnTo>
                    <a:pt x="313" y="454"/>
                  </a:lnTo>
                  <a:lnTo>
                    <a:pt x="305" y="473"/>
                  </a:lnTo>
                  <a:lnTo>
                    <a:pt x="305" y="475"/>
                  </a:lnTo>
                  <a:lnTo>
                    <a:pt x="301" y="479"/>
                  </a:lnTo>
                  <a:lnTo>
                    <a:pt x="305" y="481"/>
                  </a:lnTo>
                  <a:lnTo>
                    <a:pt x="301" y="484"/>
                  </a:lnTo>
                  <a:lnTo>
                    <a:pt x="307" y="488"/>
                  </a:lnTo>
                  <a:lnTo>
                    <a:pt x="307" y="494"/>
                  </a:lnTo>
                  <a:lnTo>
                    <a:pt x="311" y="499"/>
                  </a:lnTo>
                  <a:lnTo>
                    <a:pt x="309" y="513"/>
                  </a:lnTo>
                  <a:lnTo>
                    <a:pt x="311" y="515"/>
                  </a:lnTo>
                  <a:lnTo>
                    <a:pt x="309" y="518"/>
                  </a:lnTo>
                  <a:lnTo>
                    <a:pt x="311" y="524"/>
                  </a:lnTo>
                  <a:lnTo>
                    <a:pt x="317" y="522"/>
                  </a:lnTo>
                  <a:lnTo>
                    <a:pt x="320" y="524"/>
                  </a:lnTo>
                  <a:lnTo>
                    <a:pt x="330" y="524"/>
                  </a:lnTo>
                  <a:lnTo>
                    <a:pt x="333" y="526"/>
                  </a:lnTo>
                  <a:lnTo>
                    <a:pt x="341" y="522"/>
                  </a:lnTo>
                  <a:lnTo>
                    <a:pt x="347" y="526"/>
                  </a:lnTo>
                  <a:lnTo>
                    <a:pt x="350" y="526"/>
                  </a:lnTo>
                  <a:lnTo>
                    <a:pt x="350" y="530"/>
                  </a:lnTo>
                  <a:lnTo>
                    <a:pt x="356" y="550"/>
                  </a:lnTo>
                  <a:lnTo>
                    <a:pt x="360" y="558"/>
                  </a:lnTo>
                  <a:lnTo>
                    <a:pt x="362" y="560"/>
                  </a:lnTo>
                  <a:lnTo>
                    <a:pt x="371" y="554"/>
                  </a:lnTo>
                  <a:lnTo>
                    <a:pt x="375" y="556"/>
                  </a:lnTo>
                  <a:lnTo>
                    <a:pt x="379" y="560"/>
                  </a:lnTo>
                  <a:lnTo>
                    <a:pt x="379" y="560"/>
                  </a:lnTo>
                  <a:lnTo>
                    <a:pt x="379" y="563"/>
                  </a:lnTo>
                  <a:lnTo>
                    <a:pt x="379" y="580"/>
                  </a:lnTo>
                  <a:lnTo>
                    <a:pt x="375" y="582"/>
                  </a:lnTo>
                  <a:lnTo>
                    <a:pt x="375" y="582"/>
                  </a:lnTo>
                  <a:lnTo>
                    <a:pt x="375" y="584"/>
                  </a:lnTo>
                  <a:lnTo>
                    <a:pt x="375" y="586"/>
                  </a:lnTo>
                  <a:lnTo>
                    <a:pt x="375" y="588"/>
                  </a:lnTo>
                  <a:lnTo>
                    <a:pt x="379" y="588"/>
                  </a:lnTo>
                  <a:lnTo>
                    <a:pt x="386" y="588"/>
                  </a:lnTo>
                  <a:lnTo>
                    <a:pt x="386" y="592"/>
                  </a:lnTo>
                  <a:lnTo>
                    <a:pt x="390" y="599"/>
                  </a:lnTo>
                  <a:lnTo>
                    <a:pt x="390" y="605"/>
                  </a:lnTo>
                  <a:lnTo>
                    <a:pt x="392" y="612"/>
                  </a:lnTo>
                  <a:lnTo>
                    <a:pt x="392" y="618"/>
                  </a:lnTo>
                  <a:lnTo>
                    <a:pt x="390" y="622"/>
                  </a:lnTo>
                  <a:lnTo>
                    <a:pt x="386" y="622"/>
                  </a:lnTo>
                  <a:lnTo>
                    <a:pt x="384" y="624"/>
                  </a:lnTo>
                  <a:lnTo>
                    <a:pt x="381" y="628"/>
                  </a:lnTo>
                  <a:lnTo>
                    <a:pt x="379" y="628"/>
                  </a:lnTo>
                  <a:lnTo>
                    <a:pt x="379" y="628"/>
                  </a:lnTo>
                  <a:lnTo>
                    <a:pt x="371" y="633"/>
                  </a:lnTo>
                  <a:lnTo>
                    <a:pt x="369" y="635"/>
                  </a:lnTo>
                  <a:lnTo>
                    <a:pt x="365" y="635"/>
                  </a:lnTo>
                  <a:lnTo>
                    <a:pt x="360" y="643"/>
                  </a:lnTo>
                  <a:lnTo>
                    <a:pt x="356" y="643"/>
                  </a:lnTo>
                  <a:lnTo>
                    <a:pt x="356" y="648"/>
                  </a:lnTo>
                  <a:lnTo>
                    <a:pt x="354" y="648"/>
                  </a:lnTo>
                  <a:lnTo>
                    <a:pt x="350" y="648"/>
                  </a:lnTo>
                  <a:lnTo>
                    <a:pt x="347" y="656"/>
                  </a:lnTo>
                  <a:lnTo>
                    <a:pt x="345" y="656"/>
                  </a:lnTo>
                  <a:lnTo>
                    <a:pt x="347" y="661"/>
                  </a:lnTo>
                  <a:lnTo>
                    <a:pt x="341" y="661"/>
                  </a:lnTo>
                  <a:lnTo>
                    <a:pt x="341" y="665"/>
                  </a:lnTo>
                  <a:lnTo>
                    <a:pt x="337" y="671"/>
                  </a:lnTo>
                  <a:lnTo>
                    <a:pt x="335" y="675"/>
                  </a:lnTo>
                  <a:lnTo>
                    <a:pt x="332" y="680"/>
                  </a:lnTo>
                  <a:lnTo>
                    <a:pt x="332" y="682"/>
                  </a:lnTo>
                  <a:lnTo>
                    <a:pt x="330" y="682"/>
                  </a:lnTo>
                  <a:lnTo>
                    <a:pt x="330" y="686"/>
                  </a:lnTo>
                  <a:lnTo>
                    <a:pt x="330" y="686"/>
                  </a:lnTo>
                  <a:lnTo>
                    <a:pt x="332" y="686"/>
                  </a:lnTo>
                  <a:lnTo>
                    <a:pt x="341" y="682"/>
                  </a:lnTo>
                  <a:lnTo>
                    <a:pt x="347" y="686"/>
                  </a:lnTo>
                  <a:lnTo>
                    <a:pt x="350" y="692"/>
                  </a:lnTo>
                  <a:lnTo>
                    <a:pt x="354" y="693"/>
                  </a:lnTo>
                  <a:lnTo>
                    <a:pt x="356" y="699"/>
                  </a:lnTo>
                  <a:lnTo>
                    <a:pt x="360" y="707"/>
                  </a:lnTo>
                  <a:lnTo>
                    <a:pt x="362" y="707"/>
                  </a:lnTo>
                  <a:lnTo>
                    <a:pt x="365" y="703"/>
                  </a:lnTo>
                  <a:lnTo>
                    <a:pt x="367" y="703"/>
                  </a:lnTo>
                  <a:lnTo>
                    <a:pt x="373" y="710"/>
                  </a:lnTo>
                  <a:lnTo>
                    <a:pt x="379" y="712"/>
                  </a:lnTo>
                  <a:lnTo>
                    <a:pt x="381" y="712"/>
                  </a:lnTo>
                  <a:lnTo>
                    <a:pt x="386" y="716"/>
                  </a:lnTo>
                  <a:lnTo>
                    <a:pt x="386" y="722"/>
                  </a:lnTo>
                  <a:lnTo>
                    <a:pt x="390" y="720"/>
                  </a:lnTo>
                  <a:lnTo>
                    <a:pt x="397" y="724"/>
                  </a:lnTo>
                  <a:lnTo>
                    <a:pt x="399" y="729"/>
                  </a:lnTo>
                  <a:lnTo>
                    <a:pt x="405" y="737"/>
                  </a:lnTo>
                  <a:lnTo>
                    <a:pt x="409" y="741"/>
                  </a:lnTo>
                  <a:lnTo>
                    <a:pt x="409" y="746"/>
                  </a:lnTo>
                  <a:lnTo>
                    <a:pt x="405" y="750"/>
                  </a:lnTo>
                  <a:lnTo>
                    <a:pt x="409" y="754"/>
                  </a:lnTo>
                  <a:lnTo>
                    <a:pt x="409" y="756"/>
                  </a:lnTo>
                  <a:lnTo>
                    <a:pt x="409" y="758"/>
                  </a:lnTo>
                  <a:lnTo>
                    <a:pt x="411" y="759"/>
                  </a:lnTo>
                  <a:lnTo>
                    <a:pt x="411" y="761"/>
                  </a:lnTo>
                  <a:lnTo>
                    <a:pt x="418" y="756"/>
                  </a:lnTo>
                  <a:lnTo>
                    <a:pt x="420" y="750"/>
                  </a:lnTo>
                  <a:lnTo>
                    <a:pt x="424" y="737"/>
                  </a:lnTo>
                  <a:lnTo>
                    <a:pt x="428" y="727"/>
                  </a:lnTo>
                  <a:lnTo>
                    <a:pt x="428" y="725"/>
                  </a:lnTo>
                  <a:lnTo>
                    <a:pt x="428" y="724"/>
                  </a:lnTo>
                  <a:lnTo>
                    <a:pt x="424" y="720"/>
                  </a:lnTo>
                  <a:lnTo>
                    <a:pt x="426" y="716"/>
                  </a:lnTo>
                  <a:lnTo>
                    <a:pt x="428" y="716"/>
                  </a:lnTo>
                  <a:lnTo>
                    <a:pt x="428" y="712"/>
                  </a:lnTo>
                  <a:lnTo>
                    <a:pt x="429" y="707"/>
                  </a:lnTo>
                  <a:lnTo>
                    <a:pt x="429" y="707"/>
                  </a:lnTo>
                  <a:lnTo>
                    <a:pt x="433" y="707"/>
                  </a:lnTo>
                  <a:lnTo>
                    <a:pt x="435" y="707"/>
                  </a:lnTo>
                  <a:lnTo>
                    <a:pt x="437" y="705"/>
                  </a:lnTo>
                  <a:lnTo>
                    <a:pt x="439" y="701"/>
                  </a:lnTo>
                  <a:lnTo>
                    <a:pt x="439" y="699"/>
                  </a:lnTo>
                  <a:lnTo>
                    <a:pt x="439" y="695"/>
                  </a:lnTo>
                  <a:lnTo>
                    <a:pt x="443" y="693"/>
                  </a:lnTo>
                  <a:lnTo>
                    <a:pt x="443" y="693"/>
                  </a:lnTo>
                  <a:lnTo>
                    <a:pt x="445" y="690"/>
                  </a:lnTo>
                  <a:lnTo>
                    <a:pt x="443" y="686"/>
                  </a:lnTo>
                  <a:lnTo>
                    <a:pt x="443" y="686"/>
                  </a:lnTo>
                  <a:lnTo>
                    <a:pt x="443" y="680"/>
                  </a:lnTo>
                  <a:lnTo>
                    <a:pt x="443" y="678"/>
                  </a:lnTo>
                  <a:lnTo>
                    <a:pt x="443" y="678"/>
                  </a:lnTo>
                  <a:lnTo>
                    <a:pt x="445" y="682"/>
                  </a:lnTo>
                  <a:lnTo>
                    <a:pt x="448" y="686"/>
                  </a:lnTo>
                  <a:lnTo>
                    <a:pt x="450" y="686"/>
                  </a:lnTo>
                  <a:lnTo>
                    <a:pt x="452" y="686"/>
                  </a:lnTo>
                  <a:lnTo>
                    <a:pt x="454" y="688"/>
                  </a:lnTo>
                  <a:lnTo>
                    <a:pt x="454" y="690"/>
                  </a:lnTo>
                  <a:lnTo>
                    <a:pt x="452" y="692"/>
                  </a:lnTo>
                  <a:lnTo>
                    <a:pt x="450" y="697"/>
                  </a:lnTo>
                  <a:lnTo>
                    <a:pt x="446" y="705"/>
                  </a:lnTo>
                  <a:lnTo>
                    <a:pt x="443" y="705"/>
                  </a:lnTo>
                  <a:lnTo>
                    <a:pt x="443" y="710"/>
                  </a:lnTo>
                  <a:lnTo>
                    <a:pt x="443" y="712"/>
                  </a:lnTo>
                  <a:lnTo>
                    <a:pt x="439" y="712"/>
                  </a:lnTo>
                  <a:lnTo>
                    <a:pt x="435" y="712"/>
                  </a:lnTo>
                  <a:lnTo>
                    <a:pt x="433" y="716"/>
                  </a:lnTo>
                  <a:lnTo>
                    <a:pt x="433" y="718"/>
                  </a:lnTo>
                  <a:lnTo>
                    <a:pt x="429" y="718"/>
                  </a:lnTo>
                  <a:lnTo>
                    <a:pt x="429" y="720"/>
                  </a:lnTo>
                  <a:lnTo>
                    <a:pt x="429" y="722"/>
                  </a:lnTo>
                  <a:lnTo>
                    <a:pt x="433" y="724"/>
                  </a:lnTo>
                  <a:lnTo>
                    <a:pt x="443" y="716"/>
                  </a:lnTo>
                  <a:lnTo>
                    <a:pt x="450" y="707"/>
                  </a:lnTo>
                  <a:lnTo>
                    <a:pt x="460" y="692"/>
                  </a:lnTo>
                  <a:lnTo>
                    <a:pt x="463" y="686"/>
                  </a:lnTo>
                  <a:lnTo>
                    <a:pt x="463" y="677"/>
                  </a:lnTo>
                  <a:lnTo>
                    <a:pt x="473" y="661"/>
                  </a:lnTo>
                  <a:lnTo>
                    <a:pt x="482" y="650"/>
                  </a:lnTo>
                  <a:lnTo>
                    <a:pt x="484" y="646"/>
                  </a:lnTo>
                  <a:lnTo>
                    <a:pt x="482" y="646"/>
                  </a:lnTo>
                  <a:lnTo>
                    <a:pt x="482" y="643"/>
                  </a:lnTo>
                  <a:lnTo>
                    <a:pt x="484" y="643"/>
                  </a:lnTo>
                  <a:lnTo>
                    <a:pt x="486" y="639"/>
                  </a:lnTo>
                  <a:lnTo>
                    <a:pt x="488" y="637"/>
                  </a:lnTo>
                  <a:lnTo>
                    <a:pt x="488" y="633"/>
                  </a:lnTo>
                  <a:lnTo>
                    <a:pt x="488" y="631"/>
                  </a:lnTo>
                  <a:lnTo>
                    <a:pt x="488" y="631"/>
                  </a:lnTo>
                  <a:lnTo>
                    <a:pt x="486" y="628"/>
                  </a:lnTo>
                  <a:lnTo>
                    <a:pt x="486" y="624"/>
                  </a:lnTo>
                  <a:lnTo>
                    <a:pt x="482" y="618"/>
                  </a:lnTo>
                  <a:lnTo>
                    <a:pt x="482" y="618"/>
                  </a:lnTo>
                  <a:lnTo>
                    <a:pt x="484" y="616"/>
                  </a:lnTo>
                  <a:lnTo>
                    <a:pt x="482" y="614"/>
                  </a:lnTo>
                  <a:lnTo>
                    <a:pt x="482" y="607"/>
                  </a:lnTo>
                  <a:lnTo>
                    <a:pt x="480" y="601"/>
                  </a:lnTo>
                  <a:lnTo>
                    <a:pt x="480" y="601"/>
                  </a:lnTo>
                  <a:lnTo>
                    <a:pt x="486" y="599"/>
                  </a:lnTo>
                  <a:lnTo>
                    <a:pt x="484" y="597"/>
                  </a:lnTo>
                  <a:lnTo>
                    <a:pt x="482" y="597"/>
                  </a:lnTo>
                  <a:lnTo>
                    <a:pt x="488" y="594"/>
                  </a:lnTo>
                  <a:lnTo>
                    <a:pt x="488" y="592"/>
                  </a:lnTo>
                  <a:lnTo>
                    <a:pt x="482" y="588"/>
                  </a:lnTo>
                  <a:lnTo>
                    <a:pt x="486" y="588"/>
                  </a:lnTo>
                  <a:lnTo>
                    <a:pt x="488" y="584"/>
                  </a:lnTo>
                  <a:lnTo>
                    <a:pt x="492" y="586"/>
                  </a:lnTo>
                  <a:lnTo>
                    <a:pt x="495" y="580"/>
                  </a:lnTo>
                  <a:lnTo>
                    <a:pt x="499" y="579"/>
                  </a:lnTo>
                  <a:lnTo>
                    <a:pt x="499" y="577"/>
                  </a:lnTo>
                  <a:lnTo>
                    <a:pt x="505" y="571"/>
                  </a:lnTo>
                  <a:lnTo>
                    <a:pt x="510" y="567"/>
                  </a:lnTo>
                  <a:lnTo>
                    <a:pt x="518" y="560"/>
                  </a:lnTo>
                  <a:lnTo>
                    <a:pt x="524" y="560"/>
                  </a:lnTo>
                  <a:lnTo>
                    <a:pt x="527" y="556"/>
                  </a:lnTo>
                  <a:lnTo>
                    <a:pt x="531" y="552"/>
                  </a:lnTo>
                  <a:lnTo>
                    <a:pt x="535" y="552"/>
                  </a:lnTo>
                  <a:lnTo>
                    <a:pt x="539" y="554"/>
                  </a:lnTo>
                  <a:lnTo>
                    <a:pt x="541" y="554"/>
                  </a:lnTo>
                  <a:lnTo>
                    <a:pt x="541" y="552"/>
                  </a:lnTo>
                  <a:lnTo>
                    <a:pt x="542" y="547"/>
                  </a:lnTo>
                  <a:lnTo>
                    <a:pt x="550" y="543"/>
                  </a:lnTo>
                  <a:lnTo>
                    <a:pt x="554" y="543"/>
                  </a:lnTo>
                  <a:lnTo>
                    <a:pt x="554" y="539"/>
                  </a:lnTo>
                  <a:lnTo>
                    <a:pt x="552" y="537"/>
                  </a:lnTo>
                  <a:lnTo>
                    <a:pt x="550" y="537"/>
                  </a:lnTo>
                  <a:lnTo>
                    <a:pt x="548" y="537"/>
                  </a:lnTo>
                  <a:lnTo>
                    <a:pt x="552" y="533"/>
                  </a:lnTo>
                  <a:lnTo>
                    <a:pt x="556" y="533"/>
                  </a:lnTo>
                  <a:lnTo>
                    <a:pt x="559" y="533"/>
                  </a:lnTo>
                  <a:lnTo>
                    <a:pt x="563" y="533"/>
                  </a:lnTo>
                  <a:lnTo>
                    <a:pt x="565" y="530"/>
                  </a:lnTo>
                  <a:lnTo>
                    <a:pt x="567" y="530"/>
                  </a:lnTo>
                  <a:lnTo>
                    <a:pt x="567" y="533"/>
                  </a:lnTo>
                  <a:lnTo>
                    <a:pt x="563" y="533"/>
                  </a:lnTo>
                  <a:lnTo>
                    <a:pt x="557" y="537"/>
                  </a:lnTo>
                  <a:lnTo>
                    <a:pt x="557" y="537"/>
                  </a:lnTo>
                  <a:lnTo>
                    <a:pt x="559" y="537"/>
                  </a:lnTo>
                  <a:lnTo>
                    <a:pt x="567" y="537"/>
                  </a:lnTo>
                  <a:lnTo>
                    <a:pt x="576" y="533"/>
                  </a:lnTo>
                  <a:lnTo>
                    <a:pt x="573" y="530"/>
                  </a:lnTo>
                  <a:lnTo>
                    <a:pt x="576" y="530"/>
                  </a:lnTo>
                  <a:lnTo>
                    <a:pt x="580" y="530"/>
                  </a:lnTo>
                  <a:lnTo>
                    <a:pt x="576" y="530"/>
                  </a:lnTo>
                  <a:lnTo>
                    <a:pt x="576" y="530"/>
                  </a:lnTo>
                  <a:lnTo>
                    <a:pt x="580" y="533"/>
                  </a:lnTo>
                  <a:lnTo>
                    <a:pt x="580" y="533"/>
                  </a:lnTo>
                  <a:lnTo>
                    <a:pt x="584" y="537"/>
                  </a:lnTo>
                  <a:lnTo>
                    <a:pt x="586" y="533"/>
                  </a:lnTo>
                  <a:lnTo>
                    <a:pt x="591" y="533"/>
                  </a:lnTo>
                  <a:lnTo>
                    <a:pt x="597" y="533"/>
                  </a:lnTo>
                  <a:lnTo>
                    <a:pt x="601" y="533"/>
                  </a:lnTo>
                  <a:lnTo>
                    <a:pt x="601" y="530"/>
                  </a:lnTo>
                  <a:lnTo>
                    <a:pt x="601" y="530"/>
                  </a:lnTo>
                  <a:lnTo>
                    <a:pt x="601" y="528"/>
                  </a:lnTo>
                  <a:lnTo>
                    <a:pt x="608" y="522"/>
                  </a:lnTo>
                  <a:lnTo>
                    <a:pt x="616" y="518"/>
                  </a:lnTo>
                  <a:lnTo>
                    <a:pt x="620" y="516"/>
                  </a:lnTo>
                  <a:lnTo>
                    <a:pt x="621" y="515"/>
                  </a:lnTo>
                  <a:lnTo>
                    <a:pt x="620" y="513"/>
                  </a:lnTo>
                  <a:lnTo>
                    <a:pt x="618" y="505"/>
                  </a:lnTo>
                  <a:lnTo>
                    <a:pt x="620" y="499"/>
                  </a:lnTo>
                  <a:lnTo>
                    <a:pt x="621" y="498"/>
                  </a:lnTo>
                  <a:lnTo>
                    <a:pt x="621" y="494"/>
                  </a:lnTo>
                  <a:lnTo>
                    <a:pt x="621" y="494"/>
                  </a:lnTo>
                  <a:lnTo>
                    <a:pt x="625" y="490"/>
                  </a:lnTo>
                  <a:lnTo>
                    <a:pt x="629" y="486"/>
                  </a:lnTo>
                  <a:lnTo>
                    <a:pt x="625" y="486"/>
                  </a:lnTo>
                  <a:lnTo>
                    <a:pt x="631" y="479"/>
                  </a:lnTo>
                  <a:lnTo>
                    <a:pt x="638" y="469"/>
                  </a:lnTo>
                  <a:lnTo>
                    <a:pt x="638" y="466"/>
                  </a:lnTo>
                  <a:lnTo>
                    <a:pt x="637" y="454"/>
                  </a:lnTo>
                  <a:lnTo>
                    <a:pt x="637" y="450"/>
                  </a:lnTo>
                  <a:lnTo>
                    <a:pt x="638" y="445"/>
                  </a:lnTo>
                  <a:lnTo>
                    <a:pt x="640" y="443"/>
                  </a:lnTo>
                  <a:lnTo>
                    <a:pt x="640" y="441"/>
                  </a:lnTo>
                  <a:lnTo>
                    <a:pt x="646" y="435"/>
                  </a:lnTo>
                  <a:lnTo>
                    <a:pt x="648" y="434"/>
                  </a:lnTo>
                  <a:lnTo>
                    <a:pt x="646" y="426"/>
                  </a:lnTo>
                  <a:lnTo>
                    <a:pt x="650" y="418"/>
                  </a:lnTo>
                  <a:lnTo>
                    <a:pt x="648" y="411"/>
                  </a:lnTo>
                  <a:lnTo>
                    <a:pt x="650" y="407"/>
                  </a:lnTo>
                  <a:lnTo>
                    <a:pt x="650" y="403"/>
                  </a:lnTo>
                  <a:lnTo>
                    <a:pt x="650" y="398"/>
                  </a:lnTo>
                  <a:lnTo>
                    <a:pt x="648" y="371"/>
                  </a:lnTo>
                  <a:lnTo>
                    <a:pt x="648" y="368"/>
                  </a:lnTo>
                  <a:lnTo>
                    <a:pt x="650" y="364"/>
                  </a:lnTo>
                  <a:lnTo>
                    <a:pt x="650" y="360"/>
                  </a:lnTo>
                  <a:lnTo>
                    <a:pt x="648" y="362"/>
                  </a:lnTo>
                  <a:lnTo>
                    <a:pt x="646" y="360"/>
                  </a:lnTo>
                  <a:lnTo>
                    <a:pt x="646" y="356"/>
                  </a:lnTo>
                  <a:lnTo>
                    <a:pt x="648" y="354"/>
                  </a:lnTo>
                  <a:lnTo>
                    <a:pt x="648" y="351"/>
                  </a:lnTo>
                  <a:lnTo>
                    <a:pt x="648" y="347"/>
                  </a:lnTo>
                  <a:lnTo>
                    <a:pt x="650" y="347"/>
                  </a:lnTo>
                  <a:lnTo>
                    <a:pt x="650" y="341"/>
                  </a:lnTo>
                  <a:lnTo>
                    <a:pt x="648" y="337"/>
                  </a:lnTo>
                  <a:lnTo>
                    <a:pt x="644" y="336"/>
                  </a:lnTo>
                  <a:lnTo>
                    <a:pt x="644" y="334"/>
                  </a:lnTo>
                  <a:lnTo>
                    <a:pt x="646" y="332"/>
                  </a:lnTo>
                  <a:lnTo>
                    <a:pt x="646" y="336"/>
                  </a:lnTo>
                  <a:lnTo>
                    <a:pt x="650" y="337"/>
                  </a:lnTo>
                  <a:lnTo>
                    <a:pt x="650" y="337"/>
                  </a:lnTo>
                  <a:lnTo>
                    <a:pt x="653" y="334"/>
                  </a:lnTo>
                  <a:lnTo>
                    <a:pt x="655" y="334"/>
                  </a:lnTo>
                  <a:lnTo>
                    <a:pt x="655" y="336"/>
                  </a:lnTo>
                  <a:lnTo>
                    <a:pt x="659" y="337"/>
                  </a:lnTo>
                  <a:lnTo>
                    <a:pt x="655" y="339"/>
                  </a:lnTo>
                  <a:lnTo>
                    <a:pt x="653" y="341"/>
                  </a:lnTo>
                  <a:lnTo>
                    <a:pt x="653" y="345"/>
                  </a:lnTo>
                  <a:lnTo>
                    <a:pt x="655" y="345"/>
                  </a:lnTo>
                  <a:lnTo>
                    <a:pt x="659" y="341"/>
                  </a:lnTo>
                  <a:lnTo>
                    <a:pt x="663" y="337"/>
                  </a:lnTo>
                  <a:lnTo>
                    <a:pt x="670" y="330"/>
                  </a:lnTo>
                  <a:lnTo>
                    <a:pt x="672" y="322"/>
                  </a:lnTo>
                  <a:lnTo>
                    <a:pt x="674" y="317"/>
                  </a:lnTo>
                  <a:lnTo>
                    <a:pt x="676" y="315"/>
                  </a:lnTo>
                  <a:lnTo>
                    <a:pt x="678" y="309"/>
                  </a:lnTo>
                  <a:lnTo>
                    <a:pt x="680" y="305"/>
                  </a:lnTo>
                  <a:lnTo>
                    <a:pt x="689" y="296"/>
                  </a:lnTo>
                  <a:lnTo>
                    <a:pt x="691" y="292"/>
                  </a:lnTo>
                  <a:lnTo>
                    <a:pt x="695" y="292"/>
                  </a:lnTo>
                  <a:lnTo>
                    <a:pt x="697" y="290"/>
                  </a:lnTo>
                  <a:lnTo>
                    <a:pt x="704" y="281"/>
                  </a:lnTo>
                  <a:lnTo>
                    <a:pt x="714" y="272"/>
                  </a:lnTo>
                  <a:lnTo>
                    <a:pt x="714" y="268"/>
                  </a:lnTo>
                  <a:lnTo>
                    <a:pt x="717" y="260"/>
                  </a:lnTo>
                  <a:lnTo>
                    <a:pt x="719" y="255"/>
                  </a:lnTo>
                  <a:lnTo>
                    <a:pt x="721" y="251"/>
                  </a:lnTo>
                  <a:lnTo>
                    <a:pt x="721" y="249"/>
                  </a:lnTo>
                  <a:lnTo>
                    <a:pt x="719" y="245"/>
                  </a:lnTo>
                  <a:lnTo>
                    <a:pt x="719" y="241"/>
                  </a:lnTo>
                  <a:lnTo>
                    <a:pt x="723" y="238"/>
                  </a:lnTo>
                  <a:lnTo>
                    <a:pt x="721" y="230"/>
                  </a:lnTo>
                  <a:lnTo>
                    <a:pt x="719" y="228"/>
                  </a:lnTo>
                  <a:lnTo>
                    <a:pt x="719" y="224"/>
                  </a:lnTo>
                  <a:lnTo>
                    <a:pt x="714" y="211"/>
                  </a:lnTo>
                  <a:lnTo>
                    <a:pt x="714" y="206"/>
                  </a:lnTo>
                  <a:lnTo>
                    <a:pt x="710" y="198"/>
                  </a:lnTo>
                  <a:lnTo>
                    <a:pt x="701" y="194"/>
                  </a:lnTo>
                  <a:lnTo>
                    <a:pt x="693" y="194"/>
                  </a:lnTo>
                  <a:lnTo>
                    <a:pt x="687" y="196"/>
                  </a:lnTo>
                  <a:lnTo>
                    <a:pt x="684" y="191"/>
                  </a:lnTo>
                  <a:lnTo>
                    <a:pt x="680" y="191"/>
                  </a:lnTo>
                  <a:lnTo>
                    <a:pt x="676" y="187"/>
                  </a:lnTo>
                  <a:lnTo>
                    <a:pt x="670" y="183"/>
                  </a:lnTo>
                  <a:lnTo>
                    <a:pt x="667" y="183"/>
                  </a:lnTo>
                  <a:lnTo>
                    <a:pt x="659" y="174"/>
                  </a:lnTo>
                  <a:lnTo>
                    <a:pt x="653" y="164"/>
                  </a:lnTo>
                  <a:lnTo>
                    <a:pt x="650" y="164"/>
                  </a:lnTo>
                  <a:lnTo>
                    <a:pt x="644" y="159"/>
                  </a:lnTo>
                  <a:lnTo>
                    <a:pt x="640" y="160"/>
                  </a:lnTo>
                  <a:lnTo>
                    <a:pt x="629" y="153"/>
                  </a:lnTo>
                  <a:lnTo>
                    <a:pt x="625" y="153"/>
                  </a:lnTo>
                  <a:lnTo>
                    <a:pt x="620" y="149"/>
                  </a:lnTo>
                  <a:lnTo>
                    <a:pt x="616" y="153"/>
                  </a:lnTo>
                  <a:lnTo>
                    <a:pt x="610" y="153"/>
                  </a:lnTo>
                  <a:lnTo>
                    <a:pt x="606" y="149"/>
                  </a:lnTo>
                  <a:lnTo>
                    <a:pt x="605" y="153"/>
                  </a:lnTo>
                  <a:lnTo>
                    <a:pt x="601" y="153"/>
                  </a:lnTo>
                  <a:lnTo>
                    <a:pt x="601" y="153"/>
                  </a:lnTo>
                  <a:lnTo>
                    <a:pt x="595" y="147"/>
                  </a:lnTo>
                  <a:lnTo>
                    <a:pt x="595" y="149"/>
                  </a:lnTo>
                  <a:lnTo>
                    <a:pt x="591" y="147"/>
                  </a:lnTo>
                  <a:lnTo>
                    <a:pt x="591" y="149"/>
                  </a:lnTo>
                  <a:lnTo>
                    <a:pt x="591" y="153"/>
                  </a:lnTo>
                  <a:lnTo>
                    <a:pt x="588" y="149"/>
                  </a:lnTo>
                  <a:lnTo>
                    <a:pt x="588" y="147"/>
                  </a:lnTo>
                  <a:lnTo>
                    <a:pt x="586" y="147"/>
                  </a:lnTo>
                  <a:lnTo>
                    <a:pt x="586" y="147"/>
                  </a:lnTo>
                  <a:lnTo>
                    <a:pt x="584" y="149"/>
                  </a:lnTo>
                  <a:lnTo>
                    <a:pt x="580" y="147"/>
                  </a:lnTo>
                  <a:lnTo>
                    <a:pt x="576" y="147"/>
                  </a:lnTo>
                  <a:lnTo>
                    <a:pt x="573" y="147"/>
                  </a:lnTo>
                  <a:lnTo>
                    <a:pt x="563" y="142"/>
                  </a:lnTo>
                  <a:lnTo>
                    <a:pt x="559" y="143"/>
                  </a:lnTo>
                  <a:lnTo>
                    <a:pt x="559" y="143"/>
                  </a:lnTo>
                  <a:lnTo>
                    <a:pt x="559" y="143"/>
                  </a:lnTo>
                  <a:lnTo>
                    <a:pt x="559" y="147"/>
                  </a:lnTo>
                  <a:lnTo>
                    <a:pt x="556" y="143"/>
                  </a:lnTo>
                  <a:lnTo>
                    <a:pt x="556" y="147"/>
                  </a:lnTo>
                  <a:lnTo>
                    <a:pt x="556" y="147"/>
                  </a:lnTo>
                  <a:lnTo>
                    <a:pt x="552" y="147"/>
                  </a:lnTo>
                  <a:lnTo>
                    <a:pt x="550" y="153"/>
                  </a:lnTo>
                  <a:lnTo>
                    <a:pt x="550" y="155"/>
                  </a:lnTo>
                  <a:lnTo>
                    <a:pt x="548" y="153"/>
                  </a:lnTo>
                  <a:lnTo>
                    <a:pt x="546" y="149"/>
                  </a:lnTo>
                  <a:lnTo>
                    <a:pt x="546" y="149"/>
                  </a:lnTo>
                  <a:lnTo>
                    <a:pt x="546" y="153"/>
                  </a:lnTo>
                  <a:lnTo>
                    <a:pt x="542" y="159"/>
                  </a:lnTo>
                  <a:lnTo>
                    <a:pt x="542" y="164"/>
                  </a:lnTo>
                  <a:lnTo>
                    <a:pt x="542" y="159"/>
                  </a:lnTo>
                  <a:lnTo>
                    <a:pt x="542" y="155"/>
                  </a:lnTo>
                  <a:lnTo>
                    <a:pt x="542" y="153"/>
                  </a:lnTo>
                  <a:lnTo>
                    <a:pt x="542" y="143"/>
                  </a:lnTo>
                  <a:lnTo>
                    <a:pt x="546" y="143"/>
                  </a:lnTo>
                  <a:lnTo>
                    <a:pt x="542" y="143"/>
                  </a:lnTo>
                  <a:lnTo>
                    <a:pt x="542" y="143"/>
                  </a:lnTo>
                  <a:lnTo>
                    <a:pt x="546" y="138"/>
                  </a:lnTo>
                  <a:lnTo>
                    <a:pt x="541" y="132"/>
                  </a:lnTo>
                  <a:lnTo>
                    <a:pt x="537" y="126"/>
                  </a:lnTo>
                  <a:lnTo>
                    <a:pt x="535" y="126"/>
                  </a:lnTo>
                  <a:lnTo>
                    <a:pt x="529" y="126"/>
                  </a:lnTo>
                  <a:lnTo>
                    <a:pt x="527" y="130"/>
                  </a:lnTo>
                  <a:lnTo>
                    <a:pt x="525" y="130"/>
                  </a:lnTo>
                  <a:lnTo>
                    <a:pt x="524" y="128"/>
                  </a:lnTo>
                  <a:lnTo>
                    <a:pt x="522" y="126"/>
                  </a:lnTo>
                  <a:lnTo>
                    <a:pt x="522" y="125"/>
                  </a:lnTo>
                  <a:lnTo>
                    <a:pt x="518" y="123"/>
                  </a:lnTo>
                  <a:lnTo>
                    <a:pt x="518" y="123"/>
                  </a:lnTo>
                  <a:lnTo>
                    <a:pt x="516" y="123"/>
                  </a:lnTo>
                  <a:lnTo>
                    <a:pt x="512" y="119"/>
                  </a:lnTo>
                  <a:lnTo>
                    <a:pt x="510" y="123"/>
                  </a:lnTo>
                  <a:lnTo>
                    <a:pt x="510" y="123"/>
                  </a:lnTo>
                  <a:lnTo>
                    <a:pt x="509" y="119"/>
                  </a:lnTo>
                  <a:lnTo>
                    <a:pt x="509" y="117"/>
                  </a:lnTo>
                  <a:lnTo>
                    <a:pt x="505" y="119"/>
                  </a:lnTo>
                  <a:lnTo>
                    <a:pt x="501" y="117"/>
                  </a:lnTo>
                  <a:lnTo>
                    <a:pt x="495" y="113"/>
                  </a:lnTo>
                  <a:lnTo>
                    <a:pt x="493" y="113"/>
                  </a:lnTo>
                  <a:lnTo>
                    <a:pt x="492" y="113"/>
                  </a:lnTo>
                  <a:lnTo>
                    <a:pt x="492" y="113"/>
                  </a:lnTo>
                  <a:lnTo>
                    <a:pt x="488" y="113"/>
                  </a:lnTo>
                  <a:lnTo>
                    <a:pt x="488" y="113"/>
                  </a:lnTo>
                  <a:lnTo>
                    <a:pt x="486" y="113"/>
                  </a:lnTo>
                  <a:lnTo>
                    <a:pt x="484" y="113"/>
                  </a:lnTo>
                  <a:lnTo>
                    <a:pt x="480" y="113"/>
                  </a:lnTo>
                  <a:lnTo>
                    <a:pt x="477" y="113"/>
                  </a:lnTo>
                  <a:lnTo>
                    <a:pt x="475" y="119"/>
                  </a:lnTo>
                  <a:lnTo>
                    <a:pt x="475" y="119"/>
                  </a:lnTo>
                  <a:lnTo>
                    <a:pt x="471" y="123"/>
                  </a:lnTo>
                  <a:lnTo>
                    <a:pt x="467" y="126"/>
                  </a:lnTo>
                  <a:lnTo>
                    <a:pt x="460" y="130"/>
                  </a:lnTo>
                  <a:lnTo>
                    <a:pt x="454" y="136"/>
                  </a:lnTo>
                  <a:lnTo>
                    <a:pt x="454" y="142"/>
                  </a:lnTo>
                  <a:lnTo>
                    <a:pt x="454" y="143"/>
                  </a:lnTo>
                  <a:lnTo>
                    <a:pt x="452" y="147"/>
                  </a:lnTo>
                  <a:lnTo>
                    <a:pt x="448" y="153"/>
                  </a:lnTo>
                  <a:lnTo>
                    <a:pt x="448" y="153"/>
                  </a:lnTo>
                  <a:lnTo>
                    <a:pt x="448" y="157"/>
                  </a:lnTo>
                  <a:lnTo>
                    <a:pt x="448" y="164"/>
                  </a:lnTo>
                  <a:lnTo>
                    <a:pt x="446" y="160"/>
                  </a:lnTo>
                  <a:lnTo>
                    <a:pt x="445" y="155"/>
                  </a:lnTo>
                  <a:lnTo>
                    <a:pt x="445" y="153"/>
                  </a:lnTo>
                  <a:lnTo>
                    <a:pt x="446" y="149"/>
                  </a:lnTo>
                  <a:lnTo>
                    <a:pt x="450" y="147"/>
                  </a:lnTo>
                  <a:lnTo>
                    <a:pt x="450" y="143"/>
                  </a:lnTo>
                  <a:lnTo>
                    <a:pt x="452" y="138"/>
                  </a:lnTo>
                  <a:lnTo>
                    <a:pt x="452" y="136"/>
                  </a:lnTo>
                  <a:lnTo>
                    <a:pt x="448" y="136"/>
                  </a:lnTo>
                  <a:lnTo>
                    <a:pt x="445" y="138"/>
                  </a:lnTo>
                  <a:lnTo>
                    <a:pt x="439" y="136"/>
                  </a:lnTo>
                  <a:lnTo>
                    <a:pt x="435" y="136"/>
                  </a:lnTo>
                  <a:lnTo>
                    <a:pt x="433" y="138"/>
                  </a:lnTo>
                  <a:lnTo>
                    <a:pt x="429" y="134"/>
                  </a:lnTo>
                  <a:lnTo>
                    <a:pt x="433" y="136"/>
                  </a:lnTo>
                  <a:lnTo>
                    <a:pt x="435" y="132"/>
                  </a:lnTo>
                  <a:lnTo>
                    <a:pt x="439" y="132"/>
                  </a:lnTo>
                  <a:lnTo>
                    <a:pt x="445" y="132"/>
                  </a:lnTo>
                  <a:lnTo>
                    <a:pt x="448" y="132"/>
                  </a:lnTo>
                  <a:lnTo>
                    <a:pt x="450" y="128"/>
                  </a:lnTo>
                  <a:lnTo>
                    <a:pt x="452" y="128"/>
                  </a:lnTo>
                  <a:lnTo>
                    <a:pt x="454" y="130"/>
                  </a:lnTo>
                  <a:lnTo>
                    <a:pt x="454" y="128"/>
                  </a:lnTo>
                  <a:lnTo>
                    <a:pt x="460" y="126"/>
                  </a:lnTo>
                  <a:lnTo>
                    <a:pt x="463" y="125"/>
                  </a:lnTo>
                  <a:lnTo>
                    <a:pt x="463" y="123"/>
                  </a:lnTo>
                  <a:lnTo>
                    <a:pt x="469" y="117"/>
                  </a:lnTo>
                  <a:lnTo>
                    <a:pt x="469" y="110"/>
                  </a:lnTo>
                  <a:lnTo>
                    <a:pt x="471" y="110"/>
                  </a:lnTo>
                  <a:lnTo>
                    <a:pt x="471" y="106"/>
                  </a:lnTo>
                  <a:lnTo>
                    <a:pt x="467" y="104"/>
                  </a:lnTo>
                  <a:lnTo>
                    <a:pt x="463" y="102"/>
                  </a:lnTo>
                  <a:lnTo>
                    <a:pt x="460" y="102"/>
                  </a:lnTo>
                  <a:lnTo>
                    <a:pt x="454" y="104"/>
                  </a:lnTo>
                  <a:lnTo>
                    <a:pt x="448" y="106"/>
                  </a:lnTo>
                  <a:lnTo>
                    <a:pt x="443" y="102"/>
                  </a:lnTo>
                  <a:lnTo>
                    <a:pt x="435" y="102"/>
                  </a:lnTo>
                  <a:lnTo>
                    <a:pt x="429" y="108"/>
                  </a:lnTo>
                  <a:lnTo>
                    <a:pt x="429" y="110"/>
                  </a:lnTo>
                  <a:lnTo>
                    <a:pt x="433" y="110"/>
                  </a:lnTo>
                  <a:lnTo>
                    <a:pt x="433" y="113"/>
                  </a:lnTo>
                  <a:lnTo>
                    <a:pt x="429" y="113"/>
                  </a:lnTo>
                  <a:lnTo>
                    <a:pt x="429" y="113"/>
                  </a:lnTo>
                  <a:lnTo>
                    <a:pt x="428" y="117"/>
                  </a:lnTo>
                  <a:lnTo>
                    <a:pt x="428" y="113"/>
                  </a:lnTo>
                  <a:lnTo>
                    <a:pt x="426" y="113"/>
                  </a:lnTo>
                  <a:lnTo>
                    <a:pt x="422" y="113"/>
                  </a:lnTo>
                  <a:lnTo>
                    <a:pt x="416" y="119"/>
                  </a:lnTo>
                  <a:lnTo>
                    <a:pt x="411" y="126"/>
                  </a:lnTo>
                  <a:lnTo>
                    <a:pt x="414" y="123"/>
                  </a:lnTo>
                  <a:lnTo>
                    <a:pt x="414" y="119"/>
                  </a:lnTo>
                  <a:lnTo>
                    <a:pt x="416" y="113"/>
                  </a:lnTo>
                  <a:lnTo>
                    <a:pt x="416" y="113"/>
                  </a:lnTo>
                  <a:lnTo>
                    <a:pt x="414" y="113"/>
                  </a:lnTo>
                  <a:lnTo>
                    <a:pt x="411" y="117"/>
                  </a:lnTo>
                  <a:lnTo>
                    <a:pt x="409" y="119"/>
                  </a:lnTo>
                  <a:lnTo>
                    <a:pt x="409" y="125"/>
                  </a:lnTo>
                  <a:lnTo>
                    <a:pt x="405" y="126"/>
                  </a:lnTo>
                  <a:lnTo>
                    <a:pt x="409" y="123"/>
                  </a:lnTo>
                  <a:lnTo>
                    <a:pt x="409" y="117"/>
                  </a:lnTo>
                  <a:lnTo>
                    <a:pt x="414" y="110"/>
                  </a:lnTo>
                  <a:lnTo>
                    <a:pt x="416" y="104"/>
                  </a:lnTo>
                  <a:lnTo>
                    <a:pt x="418" y="100"/>
                  </a:lnTo>
                  <a:lnTo>
                    <a:pt x="422" y="96"/>
                  </a:lnTo>
                  <a:lnTo>
                    <a:pt x="426" y="94"/>
                  </a:lnTo>
                  <a:lnTo>
                    <a:pt x="429" y="93"/>
                  </a:lnTo>
                  <a:lnTo>
                    <a:pt x="433" y="89"/>
                  </a:lnTo>
                  <a:lnTo>
                    <a:pt x="443" y="79"/>
                  </a:lnTo>
                  <a:lnTo>
                    <a:pt x="443" y="78"/>
                  </a:lnTo>
                  <a:lnTo>
                    <a:pt x="443" y="76"/>
                  </a:lnTo>
                  <a:lnTo>
                    <a:pt x="443" y="74"/>
                  </a:lnTo>
                  <a:lnTo>
                    <a:pt x="443" y="72"/>
                  </a:lnTo>
                  <a:lnTo>
                    <a:pt x="443" y="70"/>
                  </a:lnTo>
                  <a:lnTo>
                    <a:pt x="443" y="68"/>
                  </a:lnTo>
                  <a:lnTo>
                    <a:pt x="439" y="62"/>
                  </a:lnTo>
                  <a:lnTo>
                    <a:pt x="435" y="64"/>
                  </a:lnTo>
                  <a:lnTo>
                    <a:pt x="433" y="64"/>
                  </a:lnTo>
                  <a:lnTo>
                    <a:pt x="433" y="62"/>
                  </a:lnTo>
                  <a:lnTo>
                    <a:pt x="429" y="55"/>
                  </a:lnTo>
                  <a:lnTo>
                    <a:pt x="426" y="45"/>
                  </a:lnTo>
                  <a:lnTo>
                    <a:pt x="422" y="40"/>
                  </a:lnTo>
                  <a:lnTo>
                    <a:pt x="420" y="34"/>
                  </a:lnTo>
                  <a:lnTo>
                    <a:pt x="420" y="29"/>
                  </a:lnTo>
                  <a:lnTo>
                    <a:pt x="418" y="25"/>
                  </a:lnTo>
                  <a:lnTo>
                    <a:pt x="418" y="25"/>
                  </a:lnTo>
                  <a:lnTo>
                    <a:pt x="418" y="25"/>
                  </a:lnTo>
                  <a:close/>
                </a:path>
              </a:pathLst>
            </a:custGeom>
            <a:solidFill>
              <a:srgbClr val="0A9A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44">
              <a:extLst>
                <a:ext uri="{FF2B5EF4-FFF2-40B4-BE49-F238E27FC236}">
                  <a16:creationId xmlns:a16="http://schemas.microsoft.com/office/drawing/2014/main" id="{560E77CF-3181-744E-9F27-41307FB410EA}"/>
                </a:ext>
              </a:extLst>
            </p:cNvPr>
            <p:cNvSpPr>
              <a:spLocks/>
            </p:cNvSpPr>
            <p:nvPr/>
          </p:nvSpPr>
          <p:spPr bwMode="auto">
            <a:xfrm>
              <a:off x="4893058" y="2807993"/>
              <a:ext cx="189441" cy="242376"/>
            </a:xfrm>
            <a:custGeom>
              <a:avLst/>
              <a:gdLst/>
              <a:ahLst/>
              <a:cxnLst>
                <a:cxn ang="0">
                  <a:pos x="179" y="260"/>
                </a:cxn>
                <a:cxn ang="0">
                  <a:pos x="177" y="228"/>
                </a:cxn>
                <a:cxn ang="0">
                  <a:pos x="179" y="216"/>
                </a:cxn>
                <a:cxn ang="0">
                  <a:pos x="194" y="203"/>
                </a:cxn>
                <a:cxn ang="0">
                  <a:pos x="211" y="199"/>
                </a:cxn>
                <a:cxn ang="0">
                  <a:pos x="222" y="213"/>
                </a:cxn>
                <a:cxn ang="0">
                  <a:pos x="213" y="190"/>
                </a:cxn>
                <a:cxn ang="0">
                  <a:pos x="207" y="186"/>
                </a:cxn>
                <a:cxn ang="0">
                  <a:pos x="205" y="156"/>
                </a:cxn>
                <a:cxn ang="0">
                  <a:pos x="207" y="135"/>
                </a:cxn>
                <a:cxn ang="0">
                  <a:pos x="213" y="118"/>
                </a:cxn>
                <a:cxn ang="0">
                  <a:pos x="198" y="118"/>
                </a:cxn>
                <a:cxn ang="0">
                  <a:pos x="187" y="117"/>
                </a:cxn>
                <a:cxn ang="0">
                  <a:pos x="153" y="101"/>
                </a:cxn>
                <a:cxn ang="0">
                  <a:pos x="134" y="101"/>
                </a:cxn>
                <a:cxn ang="0">
                  <a:pos x="123" y="92"/>
                </a:cxn>
                <a:cxn ang="0">
                  <a:pos x="113" y="60"/>
                </a:cxn>
                <a:cxn ang="0">
                  <a:pos x="113" y="49"/>
                </a:cxn>
                <a:cxn ang="0">
                  <a:pos x="123" y="24"/>
                </a:cxn>
                <a:cxn ang="0">
                  <a:pos x="143" y="9"/>
                </a:cxn>
                <a:cxn ang="0">
                  <a:pos x="147" y="4"/>
                </a:cxn>
                <a:cxn ang="0">
                  <a:pos x="134" y="4"/>
                </a:cxn>
                <a:cxn ang="0">
                  <a:pos x="126" y="7"/>
                </a:cxn>
                <a:cxn ang="0">
                  <a:pos x="106" y="20"/>
                </a:cxn>
                <a:cxn ang="0">
                  <a:pos x="91" y="28"/>
                </a:cxn>
                <a:cxn ang="0">
                  <a:pos x="87" y="28"/>
                </a:cxn>
                <a:cxn ang="0">
                  <a:pos x="72" y="28"/>
                </a:cxn>
                <a:cxn ang="0">
                  <a:pos x="62" y="47"/>
                </a:cxn>
                <a:cxn ang="0">
                  <a:pos x="57" y="58"/>
                </a:cxn>
                <a:cxn ang="0">
                  <a:pos x="42" y="69"/>
                </a:cxn>
                <a:cxn ang="0">
                  <a:pos x="42" y="86"/>
                </a:cxn>
                <a:cxn ang="0">
                  <a:pos x="34" y="79"/>
                </a:cxn>
                <a:cxn ang="0">
                  <a:pos x="30" y="81"/>
                </a:cxn>
                <a:cxn ang="0">
                  <a:pos x="21" y="98"/>
                </a:cxn>
                <a:cxn ang="0">
                  <a:pos x="27" y="111"/>
                </a:cxn>
                <a:cxn ang="0">
                  <a:pos x="30" y="122"/>
                </a:cxn>
                <a:cxn ang="0">
                  <a:pos x="30" y="134"/>
                </a:cxn>
                <a:cxn ang="0">
                  <a:pos x="27" y="156"/>
                </a:cxn>
                <a:cxn ang="0">
                  <a:pos x="36" y="164"/>
                </a:cxn>
                <a:cxn ang="0">
                  <a:pos x="25" y="182"/>
                </a:cxn>
                <a:cxn ang="0">
                  <a:pos x="2" y="207"/>
                </a:cxn>
                <a:cxn ang="0">
                  <a:pos x="23" y="222"/>
                </a:cxn>
                <a:cxn ang="0">
                  <a:pos x="38" y="235"/>
                </a:cxn>
                <a:cxn ang="0">
                  <a:pos x="51" y="230"/>
                </a:cxn>
                <a:cxn ang="0">
                  <a:pos x="64" y="237"/>
                </a:cxn>
                <a:cxn ang="0">
                  <a:pos x="79" y="243"/>
                </a:cxn>
                <a:cxn ang="0">
                  <a:pos x="91" y="260"/>
                </a:cxn>
                <a:cxn ang="0">
                  <a:pos x="106" y="275"/>
                </a:cxn>
                <a:cxn ang="0">
                  <a:pos x="115" y="282"/>
                </a:cxn>
                <a:cxn ang="0">
                  <a:pos x="138" y="280"/>
                </a:cxn>
                <a:cxn ang="0">
                  <a:pos x="155" y="282"/>
                </a:cxn>
                <a:cxn ang="0">
                  <a:pos x="153" y="311"/>
                </a:cxn>
                <a:cxn ang="0">
                  <a:pos x="164" y="316"/>
                </a:cxn>
              </a:cxnLst>
              <a:rect l="0" t="0" r="r" b="b"/>
              <a:pathLst>
                <a:path w="222" h="316">
                  <a:moveTo>
                    <a:pt x="164" y="316"/>
                  </a:moveTo>
                  <a:lnTo>
                    <a:pt x="168" y="307"/>
                  </a:lnTo>
                  <a:lnTo>
                    <a:pt x="179" y="267"/>
                  </a:lnTo>
                  <a:lnTo>
                    <a:pt x="179" y="265"/>
                  </a:lnTo>
                  <a:lnTo>
                    <a:pt x="179" y="260"/>
                  </a:lnTo>
                  <a:lnTo>
                    <a:pt x="175" y="250"/>
                  </a:lnTo>
                  <a:lnTo>
                    <a:pt x="168" y="247"/>
                  </a:lnTo>
                  <a:lnTo>
                    <a:pt x="164" y="243"/>
                  </a:lnTo>
                  <a:lnTo>
                    <a:pt x="164" y="231"/>
                  </a:lnTo>
                  <a:lnTo>
                    <a:pt x="177" y="228"/>
                  </a:lnTo>
                  <a:lnTo>
                    <a:pt x="181" y="230"/>
                  </a:lnTo>
                  <a:lnTo>
                    <a:pt x="183" y="228"/>
                  </a:lnTo>
                  <a:lnTo>
                    <a:pt x="179" y="224"/>
                  </a:lnTo>
                  <a:lnTo>
                    <a:pt x="181" y="222"/>
                  </a:lnTo>
                  <a:lnTo>
                    <a:pt x="179" y="216"/>
                  </a:lnTo>
                  <a:lnTo>
                    <a:pt x="171" y="216"/>
                  </a:lnTo>
                  <a:lnTo>
                    <a:pt x="170" y="213"/>
                  </a:lnTo>
                  <a:lnTo>
                    <a:pt x="171" y="205"/>
                  </a:lnTo>
                  <a:lnTo>
                    <a:pt x="192" y="205"/>
                  </a:lnTo>
                  <a:lnTo>
                    <a:pt x="194" y="203"/>
                  </a:lnTo>
                  <a:lnTo>
                    <a:pt x="198" y="203"/>
                  </a:lnTo>
                  <a:lnTo>
                    <a:pt x="200" y="205"/>
                  </a:lnTo>
                  <a:lnTo>
                    <a:pt x="202" y="205"/>
                  </a:lnTo>
                  <a:lnTo>
                    <a:pt x="205" y="199"/>
                  </a:lnTo>
                  <a:lnTo>
                    <a:pt x="211" y="199"/>
                  </a:lnTo>
                  <a:lnTo>
                    <a:pt x="213" y="201"/>
                  </a:lnTo>
                  <a:lnTo>
                    <a:pt x="217" y="205"/>
                  </a:lnTo>
                  <a:lnTo>
                    <a:pt x="217" y="211"/>
                  </a:lnTo>
                  <a:lnTo>
                    <a:pt x="217" y="213"/>
                  </a:lnTo>
                  <a:lnTo>
                    <a:pt x="222" y="213"/>
                  </a:lnTo>
                  <a:lnTo>
                    <a:pt x="222" y="211"/>
                  </a:lnTo>
                  <a:lnTo>
                    <a:pt x="217" y="201"/>
                  </a:lnTo>
                  <a:lnTo>
                    <a:pt x="213" y="196"/>
                  </a:lnTo>
                  <a:lnTo>
                    <a:pt x="217" y="194"/>
                  </a:lnTo>
                  <a:lnTo>
                    <a:pt x="213" y="190"/>
                  </a:lnTo>
                  <a:lnTo>
                    <a:pt x="213" y="188"/>
                  </a:lnTo>
                  <a:lnTo>
                    <a:pt x="211" y="186"/>
                  </a:lnTo>
                  <a:lnTo>
                    <a:pt x="211" y="186"/>
                  </a:lnTo>
                  <a:lnTo>
                    <a:pt x="209" y="186"/>
                  </a:lnTo>
                  <a:lnTo>
                    <a:pt x="207" y="186"/>
                  </a:lnTo>
                  <a:lnTo>
                    <a:pt x="205" y="182"/>
                  </a:lnTo>
                  <a:lnTo>
                    <a:pt x="213" y="173"/>
                  </a:lnTo>
                  <a:lnTo>
                    <a:pt x="207" y="162"/>
                  </a:lnTo>
                  <a:lnTo>
                    <a:pt x="207" y="162"/>
                  </a:lnTo>
                  <a:lnTo>
                    <a:pt x="205" y="156"/>
                  </a:lnTo>
                  <a:lnTo>
                    <a:pt x="205" y="152"/>
                  </a:lnTo>
                  <a:lnTo>
                    <a:pt x="207" y="147"/>
                  </a:lnTo>
                  <a:lnTo>
                    <a:pt x="207" y="145"/>
                  </a:lnTo>
                  <a:lnTo>
                    <a:pt x="205" y="137"/>
                  </a:lnTo>
                  <a:lnTo>
                    <a:pt x="207" y="135"/>
                  </a:lnTo>
                  <a:lnTo>
                    <a:pt x="213" y="134"/>
                  </a:lnTo>
                  <a:lnTo>
                    <a:pt x="213" y="132"/>
                  </a:lnTo>
                  <a:lnTo>
                    <a:pt x="213" y="128"/>
                  </a:lnTo>
                  <a:lnTo>
                    <a:pt x="213" y="124"/>
                  </a:lnTo>
                  <a:lnTo>
                    <a:pt x="213" y="118"/>
                  </a:lnTo>
                  <a:lnTo>
                    <a:pt x="211" y="117"/>
                  </a:lnTo>
                  <a:lnTo>
                    <a:pt x="207" y="117"/>
                  </a:lnTo>
                  <a:lnTo>
                    <a:pt x="207" y="118"/>
                  </a:lnTo>
                  <a:lnTo>
                    <a:pt x="202" y="118"/>
                  </a:lnTo>
                  <a:lnTo>
                    <a:pt x="198" y="118"/>
                  </a:lnTo>
                  <a:lnTo>
                    <a:pt x="194" y="118"/>
                  </a:lnTo>
                  <a:lnTo>
                    <a:pt x="192" y="118"/>
                  </a:lnTo>
                  <a:lnTo>
                    <a:pt x="188" y="118"/>
                  </a:lnTo>
                  <a:lnTo>
                    <a:pt x="187" y="118"/>
                  </a:lnTo>
                  <a:lnTo>
                    <a:pt x="187" y="117"/>
                  </a:lnTo>
                  <a:lnTo>
                    <a:pt x="181" y="118"/>
                  </a:lnTo>
                  <a:lnTo>
                    <a:pt x="168" y="103"/>
                  </a:lnTo>
                  <a:lnTo>
                    <a:pt x="164" y="101"/>
                  </a:lnTo>
                  <a:lnTo>
                    <a:pt x="158" y="101"/>
                  </a:lnTo>
                  <a:lnTo>
                    <a:pt x="153" y="101"/>
                  </a:lnTo>
                  <a:lnTo>
                    <a:pt x="151" y="103"/>
                  </a:lnTo>
                  <a:lnTo>
                    <a:pt x="145" y="101"/>
                  </a:lnTo>
                  <a:lnTo>
                    <a:pt x="143" y="101"/>
                  </a:lnTo>
                  <a:lnTo>
                    <a:pt x="138" y="103"/>
                  </a:lnTo>
                  <a:lnTo>
                    <a:pt x="134" y="101"/>
                  </a:lnTo>
                  <a:lnTo>
                    <a:pt x="130" y="100"/>
                  </a:lnTo>
                  <a:lnTo>
                    <a:pt x="126" y="98"/>
                  </a:lnTo>
                  <a:lnTo>
                    <a:pt x="123" y="94"/>
                  </a:lnTo>
                  <a:lnTo>
                    <a:pt x="123" y="92"/>
                  </a:lnTo>
                  <a:lnTo>
                    <a:pt x="123" y="92"/>
                  </a:lnTo>
                  <a:lnTo>
                    <a:pt x="123" y="88"/>
                  </a:lnTo>
                  <a:lnTo>
                    <a:pt x="124" y="85"/>
                  </a:lnTo>
                  <a:lnTo>
                    <a:pt x="124" y="81"/>
                  </a:lnTo>
                  <a:lnTo>
                    <a:pt x="121" y="75"/>
                  </a:lnTo>
                  <a:lnTo>
                    <a:pt x="113" y="60"/>
                  </a:lnTo>
                  <a:lnTo>
                    <a:pt x="109" y="60"/>
                  </a:lnTo>
                  <a:lnTo>
                    <a:pt x="106" y="64"/>
                  </a:lnTo>
                  <a:lnTo>
                    <a:pt x="109" y="58"/>
                  </a:lnTo>
                  <a:lnTo>
                    <a:pt x="109" y="54"/>
                  </a:lnTo>
                  <a:lnTo>
                    <a:pt x="113" y="49"/>
                  </a:lnTo>
                  <a:lnTo>
                    <a:pt x="109" y="45"/>
                  </a:lnTo>
                  <a:lnTo>
                    <a:pt x="113" y="41"/>
                  </a:lnTo>
                  <a:lnTo>
                    <a:pt x="117" y="34"/>
                  </a:lnTo>
                  <a:lnTo>
                    <a:pt x="119" y="30"/>
                  </a:lnTo>
                  <a:lnTo>
                    <a:pt x="123" y="24"/>
                  </a:lnTo>
                  <a:lnTo>
                    <a:pt x="126" y="24"/>
                  </a:lnTo>
                  <a:lnTo>
                    <a:pt x="128" y="22"/>
                  </a:lnTo>
                  <a:lnTo>
                    <a:pt x="134" y="15"/>
                  </a:lnTo>
                  <a:lnTo>
                    <a:pt x="143" y="11"/>
                  </a:lnTo>
                  <a:lnTo>
                    <a:pt x="143" y="9"/>
                  </a:lnTo>
                  <a:lnTo>
                    <a:pt x="145" y="9"/>
                  </a:lnTo>
                  <a:lnTo>
                    <a:pt x="145" y="9"/>
                  </a:lnTo>
                  <a:lnTo>
                    <a:pt x="149" y="7"/>
                  </a:lnTo>
                  <a:lnTo>
                    <a:pt x="149" y="5"/>
                  </a:lnTo>
                  <a:lnTo>
                    <a:pt x="147" y="4"/>
                  </a:lnTo>
                  <a:lnTo>
                    <a:pt x="139" y="0"/>
                  </a:lnTo>
                  <a:lnTo>
                    <a:pt x="138" y="0"/>
                  </a:lnTo>
                  <a:lnTo>
                    <a:pt x="138" y="0"/>
                  </a:lnTo>
                  <a:lnTo>
                    <a:pt x="138" y="4"/>
                  </a:lnTo>
                  <a:lnTo>
                    <a:pt x="134" y="4"/>
                  </a:lnTo>
                  <a:lnTo>
                    <a:pt x="130" y="4"/>
                  </a:lnTo>
                  <a:lnTo>
                    <a:pt x="130" y="4"/>
                  </a:lnTo>
                  <a:lnTo>
                    <a:pt x="126" y="4"/>
                  </a:lnTo>
                  <a:lnTo>
                    <a:pt x="124" y="5"/>
                  </a:lnTo>
                  <a:lnTo>
                    <a:pt x="126" y="7"/>
                  </a:lnTo>
                  <a:lnTo>
                    <a:pt x="126" y="9"/>
                  </a:lnTo>
                  <a:lnTo>
                    <a:pt x="121" y="13"/>
                  </a:lnTo>
                  <a:lnTo>
                    <a:pt x="113" y="17"/>
                  </a:lnTo>
                  <a:lnTo>
                    <a:pt x="109" y="19"/>
                  </a:lnTo>
                  <a:lnTo>
                    <a:pt x="106" y="20"/>
                  </a:lnTo>
                  <a:lnTo>
                    <a:pt x="100" y="20"/>
                  </a:lnTo>
                  <a:lnTo>
                    <a:pt x="94" y="20"/>
                  </a:lnTo>
                  <a:lnTo>
                    <a:pt x="89" y="22"/>
                  </a:lnTo>
                  <a:lnTo>
                    <a:pt x="91" y="24"/>
                  </a:lnTo>
                  <a:lnTo>
                    <a:pt x="91" y="28"/>
                  </a:lnTo>
                  <a:lnTo>
                    <a:pt x="91" y="30"/>
                  </a:lnTo>
                  <a:lnTo>
                    <a:pt x="87" y="34"/>
                  </a:lnTo>
                  <a:lnTo>
                    <a:pt x="85" y="34"/>
                  </a:lnTo>
                  <a:lnTo>
                    <a:pt x="87" y="28"/>
                  </a:lnTo>
                  <a:lnTo>
                    <a:pt x="87" y="28"/>
                  </a:lnTo>
                  <a:lnTo>
                    <a:pt x="89" y="28"/>
                  </a:lnTo>
                  <a:lnTo>
                    <a:pt x="85" y="28"/>
                  </a:lnTo>
                  <a:lnTo>
                    <a:pt x="81" y="24"/>
                  </a:lnTo>
                  <a:lnTo>
                    <a:pt x="79" y="24"/>
                  </a:lnTo>
                  <a:lnTo>
                    <a:pt x="72" y="28"/>
                  </a:lnTo>
                  <a:lnTo>
                    <a:pt x="72" y="30"/>
                  </a:lnTo>
                  <a:lnTo>
                    <a:pt x="66" y="36"/>
                  </a:lnTo>
                  <a:lnTo>
                    <a:pt x="60" y="45"/>
                  </a:lnTo>
                  <a:lnTo>
                    <a:pt x="60" y="49"/>
                  </a:lnTo>
                  <a:lnTo>
                    <a:pt x="62" y="47"/>
                  </a:lnTo>
                  <a:lnTo>
                    <a:pt x="64" y="49"/>
                  </a:lnTo>
                  <a:lnTo>
                    <a:pt x="64" y="53"/>
                  </a:lnTo>
                  <a:lnTo>
                    <a:pt x="62" y="54"/>
                  </a:lnTo>
                  <a:lnTo>
                    <a:pt x="60" y="58"/>
                  </a:lnTo>
                  <a:lnTo>
                    <a:pt x="57" y="58"/>
                  </a:lnTo>
                  <a:lnTo>
                    <a:pt x="55" y="58"/>
                  </a:lnTo>
                  <a:lnTo>
                    <a:pt x="51" y="64"/>
                  </a:lnTo>
                  <a:lnTo>
                    <a:pt x="49" y="64"/>
                  </a:lnTo>
                  <a:lnTo>
                    <a:pt x="45" y="69"/>
                  </a:lnTo>
                  <a:lnTo>
                    <a:pt x="42" y="69"/>
                  </a:lnTo>
                  <a:lnTo>
                    <a:pt x="40" y="69"/>
                  </a:lnTo>
                  <a:lnTo>
                    <a:pt x="40" y="73"/>
                  </a:lnTo>
                  <a:lnTo>
                    <a:pt x="43" y="77"/>
                  </a:lnTo>
                  <a:lnTo>
                    <a:pt x="43" y="83"/>
                  </a:lnTo>
                  <a:lnTo>
                    <a:pt x="42" y="86"/>
                  </a:lnTo>
                  <a:lnTo>
                    <a:pt x="40" y="86"/>
                  </a:lnTo>
                  <a:lnTo>
                    <a:pt x="36" y="83"/>
                  </a:lnTo>
                  <a:lnTo>
                    <a:pt x="36" y="81"/>
                  </a:lnTo>
                  <a:lnTo>
                    <a:pt x="38" y="79"/>
                  </a:lnTo>
                  <a:lnTo>
                    <a:pt x="34" y="79"/>
                  </a:lnTo>
                  <a:lnTo>
                    <a:pt x="34" y="75"/>
                  </a:lnTo>
                  <a:lnTo>
                    <a:pt x="30" y="71"/>
                  </a:lnTo>
                  <a:lnTo>
                    <a:pt x="30" y="73"/>
                  </a:lnTo>
                  <a:lnTo>
                    <a:pt x="30" y="77"/>
                  </a:lnTo>
                  <a:lnTo>
                    <a:pt x="30" y="81"/>
                  </a:lnTo>
                  <a:lnTo>
                    <a:pt x="30" y="86"/>
                  </a:lnTo>
                  <a:lnTo>
                    <a:pt x="27" y="92"/>
                  </a:lnTo>
                  <a:lnTo>
                    <a:pt x="27" y="92"/>
                  </a:lnTo>
                  <a:lnTo>
                    <a:pt x="25" y="92"/>
                  </a:lnTo>
                  <a:lnTo>
                    <a:pt x="21" y="98"/>
                  </a:lnTo>
                  <a:lnTo>
                    <a:pt x="23" y="98"/>
                  </a:lnTo>
                  <a:lnTo>
                    <a:pt x="23" y="103"/>
                  </a:lnTo>
                  <a:lnTo>
                    <a:pt x="23" y="107"/>
                  </a:lnTo>
                  <a:lnTo>
                    <a:pt x="27" y="113"/>
                  </a:lnTo>
                  <a:lnTo>
                    <a:pt x="27" y="111"/>
                  </a:lnTo>
                  <a:lnTo>
                    <a:pt x="30" y="111"/>
                  </a:lnTo>
                  <a:lnTo>
                    <a:pt x="30" y="113"/>
                  </a:lnTo>
                  <a:lnTo>
                    <a:pt x="30" y="117"/>
                  </a:lnTo>
                  <a:lnTo>
                    <a:pt x="30" y="118"/>
                  </a:lnTo>
                  <a:lnTo>
                    <a:pt x="30" y="122"/>
                  </a:lnTo>
                  <a:lnTo>
                    <a:pt x="30" y="122"/>
                  </a:lnTo>
                  <a:lnTo>
                    <a:pt x="30" y="128"/>
                  </a:lnTo>
                  <a:lnTo>
                    <a:pt x="30" y="130"/>
                  </a:lnTo>
                  <a:lnTo>
                    <a:pt x="27" y="132"/>
                  </a:lnTo>
                  <a:lnTo>
                    <a:pt x="30" y="134"/>
                  </a:lnTo>
                  <a:lnTo>
                    <a:pt x="30" y="137"/>
                  </a:lnTo>
                  <a:lnTo>
                    <a:pt x="30" y="143"/>
                  </a:lnTo>
                  <a:lnTo>
                    <a:pt x="30" y="152"/>
                  </a:lnTo>
                  <a:lnTo>
                    <a:pt x="27" y="154"/>
                  </a:lnTo>
                  <a:lnTo>
                    <a:pt x="27" y="156"/>
                  </a:lnTo>
                  <a:lnTo>
                    <a:pt x="30" y="162"/>
                  </a:lnTo>
                  <a:lnTo>
                    <a:pt x="32" y="158"/>
                  </a:lnTo>
                  <a:lnTo>
                    <a:pt x="30" y="162"/>
                  </a:lnTo>
                  <a:lnTo>
                    <a:pt x="34" y="164"/>
                  </a:lnTo>
                  <a:lnTo>
                    <a:pt x="36" y="164"/>
                  </a:lnTo>
                  <a:lnTo>
                    <a:pt x="36" y="166"/>
                  </a:lnTo>
                  <a:lnTo>
                    <a:pt x="34" y="167"/>
                  </a:lnTo>
                  <a:lnTo>
                    <a:pt x="32" y="171"/>
                  </a:lnTo>
                  <a:lnTo>
                    <a:pt x="27" y="179"/>
                  </a:lnTo>
                  <a:lnTo>
                    <a:pt x="25" y="182"/>
                  </a:lnTo>
                  <a:lnTo>
                    <a:pt x="19" y="186"/>
                  </a:lnTo>
                  <a:lnTo>
                    <a:pt x="11" y="188"/>
                  </a:lnTo>
                  <a:lnTo>
                    <a:pt x="6" y="192"/>
                  </a:lnTo>
                  <a:lnTo>
                    <a:pt x="2" y="201"/>
                  </a:lnTo>
                  <a:lnTo>
                    <a:pt x="2" y="207"/>
                  </a:lnTo>
                  <a:lnTo>
                    <a:pt x="0" y="211"/>
                  </a:lnTo>
                  <a:lnTo>
                    <a:pt x="6" y="213"/>
                  </a:lnTo>
                  <a:lnTo>
                    <a:pt x="11" y="216"/>
                  </a:lnTo>
                  <a:lnTo>
                    <a:pt x="19" y="222"/>
                  </a:lnTo>
                  <a:lnTo>
                    <a:pt x="23" y="222"/>
                  </a:lnTo>
                  <a:lnTo>
                    <a:pt x="27" y="226"/>
                  </a:lnTo>
                  <a:lnTo>
                    <a:pt x="27" y="230"/>
                  </a:lnTo>
                  <a:lnTo>
                    <a:pt x="27" y="231"/>
                  </a:lnTo>
                  <a:lnTo>
                    <a:pt x="32" y="233"/>
                  </a:lnTo>
                  <a:lnTo>
                    <a:pt x="38" y="235"/>
                  </a:lnTo>
                  <a:lnTo>
                    <a:pt x="42" y="237"/>
                  </a:lnTo>
                  <a:lnTo>
                    <a:pt x="47" y="237"/>
                  </a:lnTo>
                  <a:lnTo>
                    <a:pt x="49" y="237"/>
                  </a:lnTo>
                  <a:lnTo>
                    <a:pt x="49" y="233"/>
                  </a:lnTo>
                  <a:lnTo>
                    <a:pt x="51" y="230"/>
                  </a:lnTo>
                  <a:lnTo>
                    <a:pt x="55" y="231"/>
                  </a:lnTo>
                  <a:lnTo>
                    <a:pt x="60" y="233"/>
                  </a:lnTo>
                  <a:lnTo>
                    <a:pt x="60" y="235"/>
                  </a:lnTo>
                  <a:lnTo>
                    <a:pt x="62" y="237"/>
                  </a:lnTo>
                  <a:lnTo>
                    <a:pt x="64" y="237"/>
                  </a:lnTo>
                  <a:lnTo>
                    <a:pt x="64" y="237"/>
                  </a:lnTo>
                  <a:lnTo>
                    <a:pt x="66" y="237"/>
                  </a:lnTo>
                  <a:lnTo>
                    <a:pt x="68" y="241"/>
                  </a:lnTo>
                  <a:lnTo>
                    <a:pt x="75" y="243"/>
                  </a:lnTo>
                  <a:lnTo>
                    <a:pt x="79" y="243"/>
                  </a:lnTo>
                  <a:lnTo>
                    <a:pt x="81" y="247"/>
                  </a:lnTo>
                  <a:lnTo>
                    <a:pt x="85" y="248"/>
                  </a:lnTo>
                  <a:lnTo>
                    <a:pt x="85" y="252"/>
                  </a:lnTo>
                  <a:lnTo>
                    <a:pt x="89" y="260"/>
                  </a:lnTo>
                  <a:lnTo>
                    <a:pt x="91" y="260"/>
                  </a:lnTo>
                  <a:lnTo>
                    <a:pt x="100" y="262"/>
                  </a:lnTo>
                  <a:lnTo>
                    <a:pt x="104" y="267"/>
                  </a:lnTo>
                  <a:lnTo>
                    <a:pt x="104" y="271"/>
                  </a:lnTo>
                  <a:lnTo>
                    <a:pt x="106" y="271"/>
                  </a:lnTo>
                  <a:lnTo>
                    <a:pt x="106" y="275"/>
                  </a:lnTo>
                  <a:lnTo>
                    <a:pt x="109" y="280"/>
                  </a:lnTo>
                  <a:lnTo>
                    <a:pt x="109" y="280"/>
                  </a:lnTo>
                  <a:lnTo>
                    <a:pt x="109" y="282"/>
                  </a:lnTo>
                  <a:lnTo>
                    <a:pt x="113" y="284"/>
                  </a:lnTo>
                  <a:lnTo>
                    <a:pt x="115" y="282"/>
                  </a:lnTo>
                  <a:lnTo>
                    <a:pt x="119" y="284"/>
                  </a:lnTo>
                  <a:lnTo>
                    <a:pt x="124" y="284"/>
                  </a:lnTo>
                  <a:lnTo>
                    <a:pt x="126" y="282"/>
                  </a:lnTo>
                  <a:lnTo>
                    <a:pt x="130" y="280"/>
                  </a:lnTo>
                  <a:lnTo>
                    <a:pt x="138" y="280"/>
                  </a:lnTo>
                  <a:lnTo>
                    <a:pt x="139" y="282"/>
                  </a:lnTo>
                  <a:lnTo>
                    <a:pt x="147" y="280"/>
                  </a:lnTo>
                  <a:lnTo>
                    <a:pt x="151" y="280"/>
                  </a:lnTo>
                  <a:lnTo>
                    <a:pt x="153" y="282"/>
                  </a:lnTo>
                  <a:lnTo>
                    <a:pt x="155" y="282"/>
                  </a:lnTo>
                  <a:lnTo>
                    <a:pt x="158" y="284"/>
                  </a:lnTo>
                  <a:lnTo>
                    <a:pt x="160" y="286"/>
                  </a:lnTo>
                  <a:lnTo>
                    <a:pt x="164" y="286"/>
                  </a:lnTo>
                  <a:lnTo>
                    <a:pt x="164" y="288"/>
                  </a:lnTo>
                  <a:lnTo>
                    <a:pt x="153" y="311"/>
                  </a:lnTo>
                  <a:lnTo>
                    <a:pt x="153" y="311"/>
                  </a:lnTo>
                  <a:lnTo>
                    <a:pt x="158" y="311"/>
                  </a:lnTo>
                  <a:lnTo>
                    <a:pt x="162" y="311"/>
                  </a:lnTo>
                  <a:lnTo>
                    <a:pt x="164" y="312"/>
                  </a:lnTo>
                  <a:lnTo>
                    <a:pt x="164" y="316"/>
                  </a:lnTo>
                  <a:lnTo>
                    <a:pt x="164" y="316"/>
                  </a:lnTo>
                  <a:lnTo>
                    <a:pt x="164" y="316"/>
                  </a:lnTo>
                  <a:close/>
                </a:path>
              </a:pathLst>
            </a:custGeom>
            <a:solidFill>
              <a:srgbClr val="0A9A9C"/>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45">
              <a:extLst>
                <a:ext uri="{FF2B5EF4-FFF2-40B4-BE49-F238E27FC236}">
                  <a16:creationId xmlns:a16="http://schemas.microsoft.com/office/drawing/2014/main" id="{609B9797-20C4-8040-8D4F-1CB62BB3BC0C}"/>
                </a:ext>
              </a:extLst>
            </p:cNvPr>
            <p:cNvSpPr>
              <a:spLocks noEditPoints="1"/>
            </p:cNvSpPr>
            <p:nvPr/>
          </p:nvSpPr>
          <p:spPr bwMode="auto">
            <a:xfrm>
              <a:off x="5055193" y="3314988"/>
              <a:ext cx="256001" cy="588298"/>
            </a:xfrm>
            <a:custGeom>
              <a:avLst/>
              <a:gdLst/>
              <a:ahLst/>
              <a:cxnLst>
                <a:cxn ang="0">
                  <a:pos x="83" y="4"/>
                </a:cxn>
                <a:cxn ang="0">
                  <a:pos x="100" y="4"/>
                </a:cxn>
                <a:cxn ang="0">
                  <a:pos x="157" y="28"/>
                </a:cxn>
                <a:cxn ang="0">
                  <a:pos x="217" y="62"/>
                </a:cxn>
                <a:cxn ang="0">
                  <a:pos x="209" y="104"/>
                </a:cxn>
                <a:cxn ang="0">
                  <a:pos x="256" y="109"/>
                </a:cxn>
                <a:cxn ang="0">
                  <a:pos x="283" y="75"/>
                </a:cxn>
                <a:cxn ang="0">
                  <a:pos x="300" y="98"/>
                </a:cxn>
                <a:cxn ang="0">
                  <a:pos x="273" y="115"/>
                </a:cxn>
                <a:cxn ang="0">
                  <a:pos x="249" y="141"/>
                </a:cxn>
                <a:cxn ang="0">
                  <a:pos x="230" y="171"/>
                </a:cxn>
                <a:cxn ang="0">
                  <a:pos x="226" y="211"/>
                </a:cxn>
                <a:cxn ang="0">
                  <a:pos x="224" y="247"/>
                </a:cxn>
                <a:cxn ang="0">
                  <a:pos x="256" y="279"/>
                </a:cxn>
                <a:cxn ang="0">
                  <a:pos x="266" y="303"/>
                </a:cxn>
                <a:cxn ang="0">
                  <a:pos x="256" y="337"/>
                </a:cxn>
                <a:cxn ang="0">
                  <a:pos x="196" y="356"/>
                </a:cxn>
                <a:cxn ang="0">
                  <a:pos x="173" y="358"/>
                </a:cxn>
                <a:cxn ang="0">
                  <a:pos x="173" y="379"/>
                </a:cxn>
                <a:cxn ang="0">
                  <a:pos x="173" y="403"/>
                </a:cxn>
                <a:cxn ang="0">
                  <a:pos x="130" y="401"/>
                </a:cxn>
                <a:cxn ang="0">
                  <a:pos x="136" y="435"/>
                </a:cxn>
                <a:cxn ang="0">
                  <a:pos x="143" y="435"/>
                </a:cxn>
                <a:cxn ang="0">
                  <a:pos x="160" y="446"/>
                </a:cxn>
                <a:cxn ang="0">
                  <a:pos x="136" y="448"/>
                </a:cxn>
                <a:cxn ang="0">
                  <a:pos x="136" y="465"/>
                </a:cxn>
                <a:cxn ang="0">
                  <a:pos x="136" y="492"/>
                </a:cxn>
                <a:cxn ang="0">
                  <a:pos x="125" y="507"/>
                </a:cxn>
                <a:cxn ang="0">
                  <a:pos x="100" y="529"/>
                </a:cxn>
                <a:cxn ang="0">
                  <a:pos x="134" y="557"/>
                </a:cxn>
                <a:cxn ang="0">
                  <a:pos x="140" y="574"/>
                </a:cxn>
                <a:cxn ang="0">
                  <a:pos x="130" y="593"/>
                </a:cxn>
                <a:cxn ang="0">
                  <a:pos x="119" y="616"/>
                </a:cxn>
                <a:cxn ang="0">
                  <a:pos x="104" y="633"/>
                </a:cxn>
                <a:cxn ang="0">
                  <a:pos x="104" y="671"/>
                </a:cxn>
                <a:cxn ang="0">
                  <a:pos x="123" y="691"/>
                </a:cxn>
                <a:cxn ang="0">
                  <a:pos x="64" y="684"/>
                </a:cxn>
                <a:cxn ang="0">
                  <a:pos x="32" y="657"/>
                </a:cxn>
                <a:cxn ang="0">
                  <a:pos x="30" y="580"/>
                </a:cxn>
                <a:cxn ang="0">
                  <a:pos x="30" y="524"/>
                </a:cxn>
                <a:cxn ang="0">
                  <a:pos x="27" y="501"/>
                </a:cxn>
                <a:cxn ang="0">
                  <a:pos x="17" y="465"/>
                </a:cxn>
                <a:cxn ang="0">
                  <a:pos x="6" y="411"/>
                </a:cxn>
                <a:cxn ang="0">
                  <a:pos x="10" y="330"/>
                </a:cxn>
                <a:cxn ang="0">
                  <a:pos x="13" y="271"/>
                </a:cxn>
                <a:cxn ang="0">
                  <a:pos x="6" y="209"/>
                </a:cxn>
                <a:cxn ang="0">
                  <a:pos x="6" y="147"/>
                </a:cxn>
                <a:cxn ang="0">
                  <a:pos x="29" y="96"/>
                </a:cxn>
                <a:cxn ang="0">
                  <a:pos x="25" y="62"/>
                </a:cxn>
                <a:cxn ang="0">
                  <a:pos x="200" y="757"/>
                </a:cxn>
                <a:cxn ang="0">
                  <a:pos x="200" y="757"/>
                </a:cxn>
                <a:cxn ang="0">
                  <a:pos x="123" y="716"/>
                </a:cxn>
                <a:cxn ang="0">
                  <a:pos x="132" y="723"/>
                </a:cxn>
                <a:cxn ang="0">
                  <a:pos x="173" y="752"/>
                </a:cxn>
                <a:cxn ang="0">
                  <a:pos x="173" y="765"/>
                </a:cxn>
                <a:cxn ang="0">
                  <a:pos x="132" y="755"/>
                </a:cxn>
                <a:cxn ang="0">
                  <a:pos x="123" y="719"/>
                </a:cxn>
              </a:cxnLst>
              <a:rect l="0" t="0" r="r" b="b"/>
              <a:pathLst>
                <a:path w="300" h="767">
                  <a:moveTo>
                    <a:pt x="47" y="17"/>
                  </a:moveTo>
                  <a:lnTo>
                    <a:pt x="49" y="15"/>
                  </a:lnTo>
                  <a:lnTo>
                    <a:pt x="53" y="7"/>
                  </a:lnTo>
                  <a:lnTo>
                    <a:pt x="59" y="2"/>
                  </a:lnTo>
                  <a:lnTo>
                    <a:pt x="64" y="0"/>
                  </a:lnTo>
                  <a:lnTo>
                    <a:pt x="70" y="4"/>
                  </a:lnTo>
                  <a:lnTo>
                    <a:pt x="74" y="4"/>
                  </a:lnTo>
                  <a:lnTo>
                    <a:pt x="79" y="2"/>
                  </a:lnTo>
                  <a:lnTo>
                    <a:pt x="83" y="4"/>
                  </a:lnTo>
                  <a:lnTo>
                    <a:pt x="89" y="2"/>
                  </a:lnTo>
                  <a:lnTo>
                    <a:pt x="93" y="2"/>
                  </a:lnTo>
                  <a:lnTo>
                    <a:pt x="93" y="7"/>
                  </a:lnTo>
                  <a:lnTo>
                    <a:pt x="96" y="15"/>
                  </a:lnTo>
                  <a:lnTo>
                    <a:pt x="96" y="17"/>
                  </a:lnTo>
                  <a:lnTo>
                    <a:pt x="98" y="15"/>
                  </a:lnTo>
                  <a:lnTo>
                    <a:pt x="98" y="11"/>
                  </a:lnTo>
                  <a:lnTo>
                    <a:pt x="100" y="7"/>
                  </a:lnTo>
                  <a:lnTo>
                    <a:pt x="100" y="4"/>
                  </a:lnTo>
                  <a:lnTo>
                    <a:pt x="104" y="0"/>
                  </a:lnTo>
                  <a:lnTo>
                    <a:pt x="113" y="0"/>
                  </a:lnTo>
                  <a:lnTo>
                    <a:pt x="123" y="0"/>
                  </a:lnTo>
                  <a:lnTo>
                    <a:pt x="128" y="4"/>
                  </a:lnTo>
                  <a:lnTo>
                    <a:pt x="132" y="7"/>
                  </a:lnTo>
                  <a:lnTo>
                    <a:pt x="136" y="9"/>
                  </a:lnTo>
                  <a:lnTo>
                    <a:pt x="140" y="17"/>
                  </a:lnTo>
                  <a:lnTo>
                    <a:pt x="153" y="28"/>
                  </a:lnTo>
                  <a:lnTo>
                    <a:pt x="157" y="28"/>
                  </a:lnTo>
                  <a:lnTo>
                    <a:pt x="160" y="32"/>
                  </a:lnTo>
                  <a:lnTo>
                    <a:pt x="164" y="38"/>
                  </a:lnTo>
                  <a:lnTo>
                    <a:pt x="173" y="41"/>
                  </a:lnTo>
                  <a:lnTo>
                    <a:pt x="183" y="45"/>
                  </a:lnTo>
                  <a:lnTo>
                    <a:pt x="187" y="45"/>
                  </a:lnTo>
                  <a:lnTo>
                    <a:pt x="194" y="53"/>
                  </a:lnTo>
                  <a:lnTo>
                    <a:pt x="202" y="56"/>
                  </a:lnTo>
                  <a:lnTo>
                    <a:pt x="213" y="58"/>
                  </a:lnTo>
                  <a:lnTo>
                    <a:pt x="217" y="62"/>
                  </a:lnTo>
                  <a:lnTo>
                    <a:pt x="222" y="68"/>
                  </a:lnTo>
                  <a:lnTo>
                    <a:pt x="224" y="72"/>
                  </a:lnTo>
                  <a:lnTo>
                    <a:pt x="224" y="75"/>
                  </a:lnTo>
                  <a:lnTo>
                    <a:pt x="222" y="81"/>
                  </a:lnTo>
                  <a:lnTo>
                    <a:pt x="217" y="83"/>
                  </a:lnTo>
                  <a:lnTo>
                    <a:pt x="217" y="87"/>
                  </a:lnTo>
                  <a:lnTo>
                    <a:pt x="217" y="90"/>
                  </a:lnTo>
                  <a:lnTo>
                    <a:pt x="213" y="96"/>
                  </a:lnTo>
                  <a:lnTo>
                    <a:pt x="209" y="104"/>
                  </a:lnTo>
                  <a:lnTo>
                    <a:pt x="209" y="107"/>
                  </a:lnTo>
                  <a:lnTo>
                    <a:pt x="211" y="107"/>
                  </a:lnTo>
                  <a:lnTo>
                    <a:pt x="224" y="105"/>
                  </a:lnTo>
                  <a:lnTo>
                    <a:pt x="236" y="109"/>
                  </a:lnTo>
                  <a:lnTo>
                    <a:pt x="243" y="113"/>
                  </a:lnTo>
                  <a:lnTo>
                    <a:pt x="247" y="111"/>
                  </a:lnTo>
                  <a:lnTo>
                    <a:pt x="249" y="111"/>
                  </a:lnTo>
                  <a:lnTo>
                    <a:pt x="253" y="113"/>
                  </a:lnTo>
                  <a:lnTo>
                    <a:pt x="256" y="109"/>
                  </a:lnTo>
                  <a:lnTo>
                    <a:pt x="256" y="107"/>
                  </a:lnTo>
                  <a:lnTo>
                    <a:pt x="262" y="109"/>
                  </a:lnTo>
                  <a:lnTo>
                    <a:pt x="264" y="104"/>
                  </a:lnTo>
                  <a:lnTo>
                    <a:pt x="266" y="100"/>
                  </a:lnTo>
                  <a:lnTo>
                    <a:pt x="275" y="92"/>
                  </a:lnTo>
                  <a:lnTo>
                    <a:pt x="277" y="90"/>
                  </a:lnTo>
                  <a:lnTo>
                    <a:pt x="279" y="87"/>
                  </a:lnTo>
                  <a:lnTo>
                    <a:pt x="283" y="83"/>
                  </a:lnTo>
                  <a:lnTo>
                    <a:pt x="283" y="75"/>
                  </a:lnTo>
                  <a:lnTo>
                    <a:pt x="283" y="73"/>
                  </a:lnTo>
                  <a:lnTo>
                    <a:pt x="283" y="68"/>
                  </a:lnTo>
                  <a:lnTo>
                    <a:pt x="286" y="66"/>
                  </a:lnTo>
                  <a:lnTo>
                    <a:pt x="294" y="66"/>
                  </a:lnTo>
                  <a:lnTo>
                    <a:pt x="294" y="70"/>
                  </a:lnTo>
                  <a:lnTo>
                    <a:pt x="298" y="79"/>
                  </a:lnTo>
                  <a:lnTo>
                    <a:pt x="298" y="85"/>
                  </a:lnTo>
                  <a:lnTo>
                    <a:pt x="300" y="92"/>
                  </a:lnTo>
                  <a:lnTo>
                    <a:pt x="300" y="98"/>
                  </a:lnTo>
                  <a:lnTo>
                    <a:pt x="298" y="102"/>
                  </a:lnTo>
                  <a:lnTo>
                    <a:pt x="294" y="102"/>
                  </a:lnTo>
                  <a:lnTo>
                    <a:pt x="292" y="104"/>
                  </a:lnTo>
                  <a:lnTo>
                    <a:pt x="288" y="105"/>
                  </a:lnTo>
                  <a:lnTo>
                    <a:pt x="286" y="107"/>
                  </a:lnTo>
                  <a:lnTo>
                    <a:pt x="286" y="107"/>
                  </a:lnTo>
                  <a:lnTo>
                    <a:pt x="279" y="113"/>
                  </a:lnTo>
                  <a:lnTo>
                    <a:pt x="277" y="115"/>
                  </a:lnTo>
                  <a:lnTo>
                    <a:pt x="273" y="115"/>
                  </a:lnTo>
                  <a:lnTo>
                    <a:pt x="268" y="120"/>
                  </a:lnTo>
                  <a:lnTo>
                    <a:pt x="264" y="120"/>
                  </a:lnTo>
                  <a:lnTo>
                    <a:pt x="264" y="126"/>
                  </a:lnTo>
                  <a:lnTo>
                    <a:pt x="262" y="126"/>
                  </a:lnTo>
                  <a:lnTo>
                    <a:pt x="258" y="126"/>
                  </a:lnTo>
                  <a:lnTo>
                    <a:pt x="253" y="134"/>
                  </a:lnTo>
                  <a:lnTo>
                    <a:pt x="253" y="136"/>
                  </a:lnTo>
                  <a:lnTo>
                    <a:pt x="253" y="141"/>
                  </a:lnTo>
                  <a:lnTo>
                    <a:pt x="249" y="141"/>
                  </a:lnTo>
                  <a:lnTo>
                    <a:pt x="247" y="145"/>
                  </a:lnTo>
                  <a:lnTo>
                    <a:pt x="243" y="151"/>
                  </a:lnTo>
                  <a:lnTo>
                    <a:pt x="243" y="154"/>
                  </a:lnTo>
                  <a:lnTo>
                    <a:pt x="239" y="158"/>
                  </a:lnTo>
                  <a:lnTo>
                    <a:pt x="239" y="160"/>
                  </a:lnTo>
                  <a:lnTo>
                    <a:pt x="236" y="162"/>
                  </a:lnTo>
                  <a:lnTo>
                    <a:pt x="234" y="166"/>
                  </a:lnTo>
                  <a:lnTo>
                    <a:pt x="232" y="169"/>
                  </a:lnTo>
                  <a:lnTo>
                    <a:pt x="230" y="171"/>
                  </a:lnTo>
                  <a:lnTo>
                    <a:pt x="230" y="179"/>
                  </a:lnTo>
                  <a:lnTo>
                    <a:pt x="228" y="181"/>
                  </a:lnTo>
                  <a:lnTo>
                    <a:pt x="230" y="185"/>
                  </a:lnTo>
                  <a:lnTo>
                    <a:pt x="230" y="194"/>
                  </a:lnTo>
                  <a:lnTo>
                    <a:pt x="228" y="196"/>
                  </a:lnTo>
                  <a:lnTo>
                    <a:pt x="228" y="200"/>
                  </a:lnTo>
                  <a:lnTo>
                    <a:pt x="226" y="203"/>
                  </a:lnTo>
                  <a:lnTo>
                    <a:pt x="228" y="209"/>
                  </a:lnTo>
                  <a:lnTo>
                    <a:pt x="226" y="211"/>
                  </a:lnTo>
                  <a:lnTo>
                    <a:pt x="228" y="220"/>
                  </a:lnTo>
                  <a:lnTo>
                    <a:pt x="230" y="226"/>
                  </a:lnTo>
                  <a:lnTo>
                    <a:pt x="228" y="228"/>
                  </a:lnTo>
                  <a:lnTo>
                    <a:pt x="224" y="230"/>
                  </a:lnTo>
                  <a:lnTo>
                    <a:pt x="224" y="234"/>
                  </a:lnTo>
                  <a:lnTo>
                    <a:pt x="224" y="234"/>
                  </a:lnTo>
                  <a:lnTo>
                    <a:pt x="224" y="234"/>
                  </a:lnTo>
                  <a:lnTo>
                    <a:pt x="222" y="239"/>
                  </a:lnTo>
                  <a:lnTo>
                    <a:pt x="224" y="247"/>
                  </a:lnTo>
                  <a:lnTo>
                    <a:pt x="224" y="249"/>
                  </a:lnTo>
                  <a:lnTo>
                    <a:pt x="226" y="250"/>
                  </a:lnTo>
                  <a:lnTo>
                    <a:pt x="226" y="254"/>
                  </a:lnTo>
                  <a:lnTo>
                    <a:pt x="224" y="254"/>
                  </a:lnTo>
                  <a:lnTo>
                    <a:pt x="228" y="260"/>
                  </a:lnTo>
                  <a:lnTo>
                    <a:pt x="236" y="264"/>
                  </a:lnTo>
                  <a:lnTo>
                    <a:pt x="243" y="267"/>
                  </a:lnTo>
                  <a:lnTo>
                    <a:pt x="253" y="275"/>
                  </a:lnTo>
                  <a:lnTo>
                    <a:pt x="256" y="279"/>
                  </a:lnTo>
                  <a:lnTo>
                    <a:pt x="256" y="282"/>
                  </a:lnTo>
                  <a:lnTo>
                    <a:pt x="249" y="290"/>
                  </a:lnTo>
                  <a:lnTo>
                    <a:pt x="249" y="292"/>
                  </a:lnTo>
                  <a:lnTo>
                    <a:pt x="253" y="298"/>
                  </a:lnTo>
                  <a:lnTo>
                    <a:pt x="256" y="301"/>
                  </a:lnTo>
                  <a:lnTo>
                    <a:pt x="262" y="301"/>
                  </a:lnTo>
                  <a:lnTo>
                    <a:pt x="264" y="299"/>
                  </a:lnTo>
                  <a:lnTo>
                    <a:pt x="266" y="299"/>
                  </a:lnTo>
                  <a:lnTo>
                    <a:pt x="266" y="303"/>
                  </a:lnTo>
                  <a:lnTo>
                    <a:pt x="266" y="309"/>
                  </a:lnTo>
                  <a:lnTo>
                    <a:pt x="266" y="315"/>
                  </a:lnTo>
                  <a:lnTo>
                    <a:pt x="260" y="318"/>
                  </a:lnTo>
                  <a:lnTo>
                    <a:pt x="260" y="326"/>
                  </a:lnTo>
                  <a:lnTo>
                    <a:pt x="258" y="328"/>
                  </a:lnTo>
                  <a:lnTo>
                    <a:pt x="258" y="326"/>
                  </a:lnTo>
                  <a:lnTo>
                    <a:pt x="256" y="326"/>
                  </a:lnTo>
                  <a:lnTo>
                    <a:pt x="256" y="333"/>
                  </a:lnTo>
                  <a:lnTo>
                    <a:pt x="256" y="337"/>
                  </a:lnTo>
                  <a:lnTo>
                    <a:pt x="256" y="341"/>
                  </a:lnTo>
                  <a:lnTo>
                    <a:pt x="243" y="347"/>
                  </a:lnTo>
                  <a:lnTo>
                    <a:pt x="236" y="348"/>
                  </a:lnTo>
                  <a:lnTo>
                    <a:pt x="236" y="347"/>
                  </a:lnTo>
                  <a:lnTo>
                    <a:pt x="234" y="348"/>
                  </a:lnTo>
                  <a:lnTo>
                    <a:pt x="222" y="354"/>
                  </a:lnTo>
                  <a:lnTo>
                    <a:pt x="211" y="358"/>
                  </a:lnTo>
                  <a:lnTo>
                    <a:pt x="202" y="358"/>
                  </a:lnTo>
                  <a:lnTo>
                    <a:pt x="196" y="356"/>
                  </a:lnTo>
                  <a:lnTo>
                    <a:pt x="192" y="358"/>
                  </a:lnTo>
                  <a:lnTo>
                    <a:pt x="187" y="358"/>
                  </a:lnTo>
                  <a:lnTo>
                    <a:pt x="183" y="356"/>
                  </a:lnTo>
                  <a:lnTo>
                    <a:pt x="177" y="354"/>
                  </a:lnTo>
                  <a:lnTo>
                    <a:pt x="173" y="354"/>
                  </a:lnTo>
                  <a:lnTo>
                    <a:pt x="173" y="352"/>
                  </a:lnTo>
                  <a:lnTo>
                    <a:pt x="172" y="352"/>
                  </a:lnTo>
                  <a:lnTo>
                    <a:pt x="172" y="356"/>
                  </a:lnTo>
                  <a:lnTo>
                    <a:pt x="173" y="358"/>
                  </a:lnTo>
                  <a:lnTo>
                    <a:pt x="173" y="365"/>
                  </a:lnTo>
                  <a:lnTo>
                    <a:pt x="173" y="367"/>
                  </a:lnTo>
                  <a:lnTo>
                    <a:pt x="173" y="367"/>
                  </a:lnTo>
                  <a:lnTo>
                    <a:pt x="177" y="367"/>
                  </a:lnTo>
                  <a:lnTo>
                    <a:pt x="179" y="373"/>
                  </a:lnTo>
                  <a:lnTo>
                    <a:pt x="177" y="377"/>
                  </a:lnTo>
                  <a:lnTo>
                    <a:pt x="177" y="377"/>
                  </a:lnTo>
                  <a:lnTo>
                    <a:pt x="177" y="377"/>
                  </a:lnTo>
                  <a:lnTo>
                    <a:pt x="173" y="379"/>
                  </a:lnTo>
                  <a:lnTo>
                    <a:pt x="173" y="380"/>
                  </a:lnTo>
                  <a:lnTo>
                    <a:pt x="172" y="384"/>
                  </a:lnTo>
                  <a:lnTo>
                    <a:pt x="172" y="388"/>
                  </a:lnTo>
                  <a:lnTo>
                    <a:pt x="173" y="392"/>
                  </a:lnTo>
                  <a:lnTo>
                    <a:pt x="177" y="392"/>
                  </a:lnTo>
                  <a:lnTo>
                    <a:pt x="177" y="395"/>
                  </a:lnTo>
                  <a:lnTo>
                    <a:pt x="173" y="397"/>
                  </a:lnTo>
                  <a:lnTo>
                    <a:pt x="177" y="401"/>
                  </a:lnTo>
                  <a:lnTo>
                    <a:pt x="173" y="403"/>
                  </a:lnTo>
                  <a:lnTo>
                    <a:pt x="172" y="405"/>
                  </a:lnTo>
                  <a:lnTo>
                    <a:pt x="172" y="407"/>
                  </a:lnTo>
                  <a:lnTo>
                    <a:pt x="166" y="412"/>
                  </a:lnTo>
                  <a:lnTo>
                    <a:pt x="155" y="412"/>
                  </a:lnTo>
                  <a:lnTo>
                    <a:pt x="149" y="411"/>
                  </a:lnTo>
                  <a:lnTo>
                    <a:pt x="143" y="405"/>
                  </a:lnTo>
                  <a:lnTo>
                    <a:pt x="136" y="403"/>
                  </a:lnTo>
                  <a:lnTo>
                    <a:pt x="132" y="403"/>
                  </a:lnTo>
                  <a:lnTo>
                    <a:pt x="130" y="401"/>
                  </a:lnTo>
                  <a:lnTo>
                    <a:pt x="132" y="401"/>
                  </a:lnTo>
                  <a:lnTo>
                    <a:pt x="128" y="401"/>
                  </a:lnTo>
                  <a:lnTo>
                    <a:pt x="125" y="403"/>
                  </a:lnTo>
                  <a:lnTo>
                    <a:pt x="125" y="411"/>
                  </a:lnTo>
                  <a:lnTo>
                    <a:pt x="128" y="414"/>
                  </a:lnTo>
                  <a:lnTo>
                    <a:pt x="130" y="422"/>
                  </a:lnTo>
                  <a:lnTo>
                    <a:pt x="130" y="431"/>
                  </a:lnTo>
                  <a:lnTo>
                    <a:pt x="132" y="435"/>
                  </a:lnTo>
                  <a:lnTo>
                    <a:pt x="136" y="435"/>
                  </a:lnTo>
                  <a:lnTo>
                    <a:pt x="141" y="435"/>
                  </a:lnTo>
                  <a:lnTo>
                    <a:pt x="143" y="435"/>
                  </a:lnTo>
                  <a:lnTo>
                    <a:pt x="141" y="437"/>
                  </a:lnTo>
                  <a:lnTo>
                    <a:pt x="140" y="439"/>
                  </a:lnTo>
                  <a:lnTo>
                    <a:pt x="143" y="441"/>
                  </a:lnTo>
                  <a:lnTo>
                    <a:pt x="149" y="439"/>
                  </a:lnTo>
                  <a:lnTo>
                    <a:pt x="149" y="437"/>
                  </a:lnTo>
                  <a:lnTo>
                    <a:pt x="147" y="435"/>
                  </a:lnTo>
                  <a:lnTo>
                    <a:pt x="143" y="435"/>
                  </a:lnTo>
                  <a:lnTo>
                    <a:pt x="147" y="435"/>
                  </a:lnTo>
                  <a:lnTo>
                    <a:pt x="149" y="435"/>
                  </a:lnTo>
                  <a:lnTo>
                    <a:pt x="153" y="431"/>
                  </a:lnTo>
                  <a:lnTo>
                    <a:pt x="155" y="431"/>
                  </a:lnTo>
                  <a:lnTo>
                    <a:pt x="158" y="435"/>
                  </a:lnTo>
                  <a:lnTo>
                    <a:pt x="157" y="439"/>
                  </a:lnTo>
                  <a:lnTo>
                    <a:pt x="155" y="439"/>
                  </a:lnTo>
                  <a:lnTo>
                    <a:pt x="158" y="443"/>
                  </a:lnTo>
                  <a:lnTo>
                    <a:pt x="160" y="446"/>
                  </a:lnTo>
                  <a:lnTo>
                    <a:pt x="158" y="450"/>
                  </a:lnTo>
                  <a:lnTo>
                    <a:pt x="153" y="452"/>
                  </a:lnTo>
                  <a:lnTo>
                    <a:pt x="149" y="452"/>
                  </a:lnTo>
                  <a:lnTo>
                    <a:pt x="149" y="450"/>
                  </a:lnTo>
                  <a:lnTo>
                    <a:pt x="149" y="448"/>
                  </a:lnTo>
                  <a:lnTo>
                    <a:pt x="149" y="446"/>
                  </a:lnTo>
                  <a:lnTo>
                    <a:pt x="143" y="443"/>
                  </a:lnTo>
                  <a:lnTo>
                    <a:pt x="140" y="444"/>
                  </a:lnTo>
                  <a:lnTo>
                    <a:pt x="136" y="448"/>
                  </a:lnTo>
                  <a:lnTo>
                    <a:pt x="136" y="450"/>
                  </a:lnTo>
                  <a:lnTo>
                    <a:pt x="136" y="452"/>
                  </a:lnTo>
                  <a:lnTo>
                    <a:pt x="141" y="452"/>
                  </a:lnTo>
                  <a:lnTo>
                    <a:pt x="147" y="452"/>
                  </a:lnTo>
                  <a:lnTo>
                    <a:pt x="147" y="456"/>
                  </a:lnTo>
                  <a:lnTo>
                    <a:pt x="141" y="460"/>
                  </a:lnTo>
                  <a:lnTo>
                    <a:pt x="136" y="461"/>
                  </a:lnTo>
                  <a:lnTo>
                    <a:pt x="134" y="465"/>
                  </a:lnTo>
                  <a:lnTo>
                    <a:pt x="136" y="465"/>
                  </a:lnTo>
                  <a:lnTo>
                    <a:pt x="134" y="469"/>
                  </a:lnTo>
                  <a:lnTo>
                    <a:pt x="130" y="473"/>
                  </a:lnTo>
                  <a:lnTo>
                    <a:pt x="132" y="476"/>
                  </a:lnTo>
                  <a:lnTo>
                    <a:pt x="134" y="480"/>
                  </a:lnTo>
                  <a:lnTo>
                    <a:pt x="134" y="482"/>
                  </a:lnTo>
                  <a:lnTo>
                    <a:pt x="132" y="484"/>
                  </a:lnTo>
                  <a:lnTo>
                    <a:pt x="138" y="490"/>
                  </a:lnTo>
                  <a:lnTo>
                    <a:pt x="138" y="490"/>
                  </a:lnTo>
                  <a:lnTo>
                    <a:pt x="136" y="492"/>
                  </a:lnTo>
                  <a:lnTo>
                    <a:pt x="136" y="493"/>
                  </a:lnTo>
                  <a:lnTo>
                    <a:pt x="130" y="497"/>
                  </a:lnTo>
                  <a:lnTo>
                    <a:pt x="130" y="499"/>
                  </a:lnTo>
                  <a:lnTo>
                    <a:pt x="130" y="501"/>
                  </a:lnTo>
                  <a:lnTo>
                    <a:pt x="134" y="503"/>
                  </a:lnTo>
                  <a:lnTo>
                    <a:pt x="136" y="505"/>
                  </a:lnTo>
                  <a:lnTo>
                    <a:pt x="136" y="507"/>
                  </a:lnTo>
                  <a:lnTo>
                    <a:pt x="128" y="509"/>
                  </a:lnTo>
                  <a:lnTo>
                    <a:pt x="125" y="507"/>
                  </a:lnTo>
                  <a:lnTo>
                    <a:pt x="119" y="509"/>
                  </a:lnTo>
                  <a:lnTo>
                    <a:pt x="117" y="510"/>
                  </a:lnTo>
                  <a:lnTo>
                    <a:pt x="113" y="510"/>
                  </a:lnTo>
                  <a:lnTo>
                    <a:pt x="109" y="514"/>
                  </a:lnTo>
                  <a:lnTo>
                    <a:pt x="108" y="516"/>
                  </a:lnTo>
                  <a:lnTo>
                    <a:pt x="104" y="520"/>
                  </a:lnTo>
                  <a:lnTo>
                    <a:pt x="104" y="524"/>
                  </a:lnTo>
                  <a:lnTo>
                    <a:pt x="100" y="525"/>
                  </a:lnTo>
                  <a:lnTo>
                    <a:pt x="100" y="529"/>
                  </a:lnTo>
                  <a:lnTo>
                    <a:pt x="102" y="533"/>
                  </a:lnTo>
                  <a:lnTo>
                    <a:pt x="102" y="535"/>
                  </a:lnTo>
                  <a:lnTo>
                    <a:pt x="104" y="544"/>
                  </a:lnTo>
                  <a:lnTo>
                    <a:pt x="111" y="544"/>
                  </a:lnTo>
                  <a:lnTo>
                    <a:pt x="113" y="546"/>
                  </a:lnTo>
                  <a:lnTo>
                    <a:pt x="117" y="550"/>
                  </a:lnTo>
                  <a:lnTo>
                    <a:pt x="125" y="557"/>
                  </a:lnTo>
                  <a:lnTo>
                    <a:pt x="130" y="557"/>
                  </a:lnTo>
                  <a:lnTo>
                    <a:pt x="134" y="557"/>
                  </a:lnTo>
                  <a:lnTo>
                    <a:pt x="136" y="556"/>
                  </a:lnTo>
                  <a:lnTo>
                    <a:pt x="140" y="557"/>
                  </a:lnTo>
                  <a:lnTo>
                    <a:pt x="141" y="559"/>
                  </a:lnTo>
                  <a:lnTo>
                    <a:pt x="140" y="561"/>
                  </a:lnTo>
                  <a:lnTo>
                    <a:pt x="140" y="563"/>
                  </a:lnTo>
                  <a:lnTo>
                    <a:pt x="141" y="565"/>
                  </a:lnTo>
                  <a:lnTo>
                    <a:pt x="141" y="569"/>
                  </a:lnTo>
                  <a:lnTo>
                    <a:pt x="138" y="574"/>
                  </a:lnTo>
                  <a:lnTo>
                    <a:pt x="140" y="574"/>
                  </a:lnTo>
                  <a:lnTo>
                    <a:pt x="143" y="578"/>
                  </a:lnTo>
                  <a:lnTo>
                    <a:pt x="141" y="578"/>
                  </a:lnTo>
                  <a:lnTo>
                    <a:pt x="141" y="580"/>
                  </a:lnTo>
                  <a:lnTo>
                    <a:pt x="141" y="582"/>
                  </a:lnTo>
                  <a:lnTo>
                    <a:pt x="138" y="584"/>
                  </a:lnTo>
                  <a:lnTo>
                    <a:pt x="136" y="586"/>
                  </a:lnTo>
                  <a:lnTo>
                    <a:pt x="134" y="590"/>
                  </a:lnTo>
                  <a:lnTo>
                    <a:pt x="132" y="590"/>
                  </a:lnTo>
                  <a:lnTo>
                    <a:pt x="130" y="593"/>
                  </a:lnTo>
                  <a:lnTo>
                    <a:pt x="128" y="599"/>
                  </a:lnTo>
                  <a:lnTo>
                    <a:pt x="125" y="599"/>
                  </a:lnTo>
                  <a:lnTo>
                    <a:pt x="123" y="603"/>
                  </a:lnTo>
                  <a:lnTo>
                    <a:pt x="119" y="606"/>
                  </a:lnTo>
                  <a:lnTo>
                    <a:pt x="117" y="610"/>
                  </a:lnTo>
                  <a:lnTo>
                    <a:pt x="117" y="614"/>
                  </a:lnTo>
                  <a:lnTo>
                    <a:pt x="113" y="616"/>
                  </a:lnTo>
                  <a:lnTo>
                    <a:pt x="117" y="614"/>
                  </a:lnTo>
                  <a:lnTo>
                    <a:pt x="119" y="616"/>
                  </a:lnTo>
                  <a:lnTo>
                    <a:pt x="119" y="622"/>
                  </a:lnTo>
                  <a:lnTo>
                    <a:pt x="119" y="623"/>
                  </a:lnTo>
                  <a:lnTo>
                    <a:pt x="117" y="627"/>
                  </a:lnTo>
                  <a:lnTo>
                    <a:pt x="117" y="629"/>
                  </a:lnTo>
                  <a:lnTo>
                    <a:pt x="111" y="633"/>
                  </a:lnTo>
                  <a:lnTo>
                    <a:pt x="109" y="633"/>
                  </a:lnTo>
                  <a:lnTo>
                    <a:pt x="108" y="629"/>
                  </a:lnTo>
                  <a:lnTo>
                    <a:pt x="104" y="627"/>
                  </a:lnTo>
                  <a:lnTo>
                    <a:pt x="104" y="633"/>
                  </a:lnTo>
                  <a:lnTo>
                    <a:pt x="104" y="633"/>
                  </a:lnTo>
                  <a:lnTo>
                    <a:pt x="108" y="635"/>
                  </a:lnTo>
                  <a:lnTo>
                    <a:pt x="104" y="638"/>
                  </a:lnTo>
                  <a:lnTo>
                    <a:pt x="100" y="642"/>
                  </a:lnTo>
                  <a:lnTo>
                    <a:pt x="98" y="648"/>
                  </a:lnTo>
                  <a:lnTo>
                    <a:pt x="100" y="654"/>
                  </a:lnTo>
                  <a:lnTo>
                    <a:pt x="104" y="659"/>
                  </a:lnTo>
                  <a:lnTo>
                    <a:pt x="104" y="669"/>
                  </a:lnTo>
                  <a:lnTo>
                    <a:pt x="104" y="671"/>
                  </a:lnTo>
                  <a:lnTo>
                    <a:pt x="108" y="671"/>
                  </a:lnTo>
                  <a:lnTo>
                    <a:pt x="108" y="674"/>
                  </a:lnTo>
                  <a:lnTo>
                    <a:pt x="104" y="676"/>
                  </a:lnTo>
                  <a:lnTo>
                    <a:pt x="104" y="678"/>
                  </a:lnTo>
                  <a:lnTo>
                    <a:pt x="108" y="676"/>
                  </a:lnTo>
                  <a:lnTo>
                    <a:pt x="111" y="678"/>
                  </a:lnTo>
                  <a:lnTo>
                    <a:pt x="113" y="682"/>
                  </a:lnTo>
                  <a:lnTo>
                    <a:pt x="117" y="687"/>
                  </a:lnTo>
                  <a:lnTo>
                    <a:pt x="123" y="691"/>
                  </a:lnTo>
                  <a:lnTo>
                    <a:pt x="123" y="693"/>
                  </a:lnTo>
                  <a:lnTo>
                    <a:pt x="123" y="693"/>
                  </a:lnTo>
                  <a:lnTo>
                    <a:pt x="117" y="691"/>
                  </a:lnTo>
                  <a:lnTo>
                    <a:pt x="111" y="687"/>
                  </a:lnTo>
                  <a:lnTo>
                    <a:pt x="108" y="687"/>
                  </a:lnTo>
                  <a:lnTo>
                    <a:pt x="104" y="684"/>
                  </a:lnTo>
                  <a:lnTo>
                    <a:pt x="83" y="684"/>
                  </a:lnTo>
                  <a:lnTo>
                    <a:pt x="68" y="687"/>
                  </a:lnTo>
                  <a:lnTo>
                    <a:pt x="64" y="684"/>
                  </a:lnTo>
                  <a:lnTo>
                    <a:pt x="55" y="684"/>
                  </a:lnTo>
                  <a:lnTo>
                    <a:pt x="53" y="678"/>
                  </a:lnTo>
                  <a:lnTo>
                    <a:pt x="53" y="671"/>
                  </a:lnTo>
                  <a:lnTo>
                    <a:pt x="47" y="667"/>
                  </a:lnTo>
                  <a:lnTo>
                    <a:pt x="47" y="657"/>
                  </a:lnTo>
                  <a:lnTo>
                    <a:pt x="47" y="652"/>
                  </a:lnTo>
                  <a:lnTo>
                    <a:pt x="44" y="652"/>
                  </a:lnTo>
                  <a:lnTo>
                    <a:pt x="36" y="654"/>
                  </a:lnTo>
                  <a:lnTo>
                    <a:pt x="32" y="657"/>
                  </a:lnTo>
                  <a:lnTo>
                    <a:pt x="29" y="657"/>
                  </a:lnTo>
                  <a:lnTo>
                    <a:pt x="23" y="640"/>
                  </a:lnTo>
                  <a:lnTo>
                    <a:pt x="19" y="635"/>
                  </a:lnTo>
                  <a:lnTo>
                    <a:pt x="23" y="620"/>
                  </a:lnTo>
                  <a:lnTo>
                    <a:pt x="27" y="614"/>
                  </a:lnTo>
                  <a:lnTo>
                    <a:pt x="32" y="606"/>
                  </a:lnTo>
                  <a:lnTo>
                    <a:pt x="34" y="597"/>
                  </a:lnTo>
                  <a:lnTo>
                    <a:pt x="32" y="588"/>
                  </a:lnTo>
                  <a:lnTo>
                    <a:pt x="30" y="580"/>
                  </a:lnTo>
                  <a:lnTo>
                    <a:pt x="32" y="573"/>
                  </a:lnTo>
                  <a:lnTo>
                    <a:pt x="36" y="569"/>
                  </a:lnTo>
                  <a:lnTo>
                    <a:pt x="32" y="559"/>
                  </a:lnTo>
                  <a:lnTo>
                    <a:pt x="32" y="554"/>
                  </a:lnTo>
                  <a:lnTo>
                    <a:pt x="36" y="550"/>
                  </a:lnTo>
                  <a:lnTo>
                    <a:pt x="34" y="544"/>
                  </a:lnTo>
                  <a:lnTo>
                    <a:pt x="32" y="533"/>
                  </a:lnTo>
                  <a:lnTo>
                    <a:pt x="30" y="527"/>
                  </a:lnTo>
                  <a:lnTo>
                    <a:pt x="30" y="524"/>
                  </a:lnTo>
                  <a:lnTo>
                    <a:pt x="34" y="520"/>
                  </a:lnTo>
                  <a:lnTo>
                    <a:pt x="34" y="516"/>
                  </a:lnTo>
                  <a:lnTo>
                    <a:pt x="30" y="510"/>
                  </a:lnTo>
                  <a:lnTo>
                    <a:pt x="25" y="505"/>
                  </a:lnTo>
                  <a:lnTo>
                    <a:pt x="23" y="505"/>
                  </a:lnTo>
                  <a:lnTo>
                    <a:pt x="19" y="507"/>
                  </a:lnTo>
                  <a:lnTo>
                    <a:pt x="17" y="505"/>
                  </a:lnTo>
                  <a:lnTo>
                    <a:pt x="17" y="501"/>
                  </a:lnTo>
                  <a:lnTo>
                    <a:pt x="27" y="501"/>
                  </a:lnTo>
                  <a:lnTo>
                    <a:pt x="30" y="495"/>
                  </a:lnTo>
                  <a:lnTo>
                    <a:pt x="30" y="492"/>
                  </a:lnTo>
                  <a:lnTo>
                    <a:pt x="29" y="490"/>
                  </a:lnTo>
                  <a:lnTo>
                    <a:pt x="25" y="492"/>
                  </a:lnTo>
                  <a:lnTo>
                    <a:pt x="23" y="492"/>
                  </a:lnTo>
                  <a:lnTo>
                    <a:pt x="19" y="484"/>
                  </a:lnTo>
                  <a:lnTo>
                    <a:pt x="17" y="476"/>
                  </a:lnTo>
                  <a:lnTo>
                    <a:pt x="17" y="471"/>
                  </a:lnTo>
                  <a:lnTo>
                    <a:pt x="17" y="465"/>
                  </a:lnTo>
                  <a:lnTo>
                    <a:pt x="10" y="461"/>
                  </a:lnTo>
                  <a:lnTo>
                    <a:pt x="10" y="456"/>
                  </a:lnTo>
                  <a:lnTo>
                    <a:pt x="10" y="443"/>
                  </a:lnTo>
                  <a:lnTo>
                    <a:pt x="13" y="441"/>
                  </a:lnTo>
                  <a:lnTo>
                    <a:pt x="13" y="435"/>
                  </a:lnTo>
                  <a:lnTo>
                    <a:pt x="10" y="431"/>
                  </a:lnTo>
                  <a:lnTo>
                    <a:pt x="8" y="431"/>
                  </a:lnTo>
                  <a:lnTo>
                    <a:pt x="8" y="422"/>
                  </a:lnTo>
                  <a:lnTo>
                    <a:pt x="6" y="411"/>
                  </a:lnTo>
                  <a:lnTo>
                    <a:pt x="8" y="395"/>
                  </a:lnTo>
                  <a:lnTo>
                    <a:pt x="4" y="390"/>
                  </a:lnTo>
                  <a:lnTo>
                    <a:pt x="2" y="382"/>
                  </a:lnTo>
                  <a:lnTo>
                    <a:pt x="10" y="373"/>
                  </a:lnTo>
                  <a:lnTo>
                    <a:pt x="10" y="363"/>
                  </a:lnTo>
                  <a:lnTo>
                    <a:pt x="17" y="362"/>
                  </a:lnTo>
                  <a:lnTo>
                    <a:pt x="17" y="358"/>
                  </a:lnTo>
                  <a:lnTo>
                    <a:pt x="8" y="337"/>
                  </a:lnTo>
                  <a:lnTo>
                    <a:pt x="10" y="330"/>
                  </a:lnTo>
                  <a:lnTo>
                    <a:pt x="10" y="324"/>
                  </a:lnTo>
                  <a:lnTo>
                    <a:pt x="10" y="313"/>
                  </a:lnTo>
                  <a:lnTo>
                    <a:pt x="13" y="303"/>
                  </a:lnTo>
                  <a:lnTo>
                    <a:pt x="17" y="299"/>
                  </a:lnTo>
                  <a:lnTo>
                    <a:pt x="17" y="292"/>
                  </a:lnTo>
                  <a:lnTo>
                    <a:pt x="13" y="284"/>
                  </a:lnTo>
                  <a:lnTo>
                    <a:pt x="10" y="284"/>
                  </a:lnTo>
                  <a:lnTo>
                    <a:pt x="13" y="279"/>
                  </a:lnTo>
                  <a:lnTo>
                    <a:pt x="13" y="271"/>
                  </a:lnTo>
                  <a:lnTo>
                    <a:pt x="17" y="264"/>
                  </a:lnTo>
                  <a:lnTo>
                    <a:pt x="19" y="264"/>
                  </a:lnTo>
                  <a:lnTo>
                    <a:pt x="19" y="254"/>
                  </a:lnTo>
                  <a:lnTo>
                    <a:pt x="17" y="239"/>
                  </a:lnTo>
                  <a:lnTo>
                    <a:pt x="17" y="235"/>
                  </a:lnTo>
                  <a:lnTo>
                    <a:pt x="13" y="226"/>
                  </a:lnTo>
                  <a:lnTo>
                    <a:pt x="10" y="220"/>
                  </a:lnTo>
                  <a:lnTo>
                    <a:pt x="8" y="213"/>
                  </a:lnTo>
                  <a:lnTo>
                    <a:pt x="6" y="209"/>
                  </a:lnTo>
                  <a:lnTo>
                    <a:pt x="2" y="205"/>
                  </a:lnTo>
                  <a:lnTo>
                    <a:pt x="0" y="196"/>
                  </a:lnTo>
                  <a:lnTo>
                    <a:pt x="2" y="188"/>
                  </a:lnTo>
                  <a:lnTo>
                    <a:pt x="8" y="186"/>
                  </a:lnTo>
                  <a:lnTo>
                    <a:pt x="8" y="179"/>
                  </a:lnTo>
                  <a:lnTo>
                    <a:pt x="10" y="175"/>
                  </a:lnTo>
                  <a:lnTo>
                    <a:pt x="10" y="166"/>
                  </a:lnTo>
                  <a:lnTo>
                    <a:pt x="8" y="160"/>
                  </a:lnTo>
                  <a:lnTo>
                    <a:pt x="6" y="147"/>
                  </a:lnTo>
                  <a:lnTo>
                    <a:pt x="10" y="145"/>
                  </a:lnTo>
                  <a:lnTo>
                    <a:pt x="10" y="132"/>
                  </a:lnTo>
                  <a:lnTo>
                    <a:pt x="13" y="126"/>
                  </a:lnTo>
                  <a:lnTo>
                    <a:pt x="17" y="115"/>
                  </a:lnTo>
                  <a:lnTo>
                    <a:pt x="23" y="109"/>
                  </a:lnTo>
                  <a:lnTo>
                    <a:pt x="27" y="107"/>
                  </a:lnTo>
                  <a:lnTo>
                    <a:pt x="30" y="104"/>
                  </a:lnTo>
                  <a:lnTo>
                    <a:pt x="29" y="102"/>
                  </a:lnTo>
                  <a:lnTo>
                    <a:pt x="29" y="96"/>
                  </a:lnTo>
                  <a:lnTo>
                    <a:pt x="27" y="96"/>
                  </a:lnTo>
                  <a:lnTo>
                    <a:pt x="25" y="92"/>
                  </a:lnTo>
                  <a:lnTo>
                    <a:pt x="25" y="90"/>
                  </a:lnTo>
                  <a:lnTo>
                    <a:pt x="29" y="87"/>
                  </a:lnTo>
                  <a:lnTo>
                    <a:pt x="29" y="83"/>
                  </a:lnTo>
                  <a:lnTo>
                    <a:pt x="25" y="77"/>
                  </a:lnTo>
                  <a:lnTo>
                    <a:pt x="23" y="70"/>
                  </a:lnTo>
                  <a:lnTo>
                    <a:pt x="25" y="66"/>
                  </a:lnTo>
                  <a:lnTo>
                    <a:pt x="25" y="62"/>
                  </a:lnTo>
                  <a:lnTo>
                    <a:pt x="23" y="60"/>
                  </a:lnTo>
                  <a:lnTo>
                    <a:pt x="23" y="56"/>
                  </a:lnTo>
                  <a:lnTo>
                    <a:pt x="44" y="43"/>
                  </a:lnTo>
                  <a:lnTo>
                    <a:pt x="49" y="23"/>
                  </a:lnTo>
                  <a:lnTo>
                    <a:pt x="47" y="17"/>
                  </a:lnTo>
                  <a:lnTo>
                    <a:pt x="47" y="17"/>
                  </a:lnTo>
                  <a:lnTo>
                    <a:pt x="47" y="17"/>
                  </a:lnTo>
                  <a:lnTo>
                    <a:pt x="47" y="17"/>
                  </a:lnTo>
                  <a:close/>
                  <a:moveTo>
                    <a:pt x="200" y="757"/>
                  </a:moveTo>
                  <a:lnTo>
                    <a:pt x="204" y="759"/>
                  </a:lnTo>
                  <a:lnTo>
                    <a:pt x="207" y="757"/>
                  </a:lnTo>
                  <a:lnTo>
                    <a:pt x="211" y="755"/>
                  </a:lnTo>
                  <a:lnTo>
                    <a:pt x="213" y="752"/>
                  </a:lnTo>
                  <a:lnTo>
                    <a:pt x="211" y="752"/>
                  </a:lnTo>
                  <a:lnTo>
                    <a:pt x="207" y="755"/>
                  </a:lnTo>
                  <a:lnTo>
                    <a:pt x="202" y="755"/>
                  </a:lnTo>
                  <a:lnTo>
                    <a:pt x="200" y="757"/>
                  </a:lnTo>
                  <a:lnTo>
                    <a:pt x="200" y="757"/>
                  </a:lnTo>
                  <a:lnTo>
                    <a:pt x="200" y="757"/>
                  </a:lnTo>
                  <a:lnTo>
                    <a:pt x="200" y="757"/>
                  </a:lnTo>
                  <a:close/>
                  <a:moveTo>
                    <a:pt x="117" y="697"/>
                  </a:moveTo>
                  <a:lnTo>
                    <a:pt x="117" y="697"/>
                  </a:lnTo>
                  <a:lnTo>
                    <a:pt x="119" y="701"/>
                  </a:lnTo>
                  <a:lnTo>
                    <a:pt x="126" y="708"/>
                  </a:lnTo>
                  <a:lnTo>
                    <a:pt x="128" y="716"/>
                  </a:lnTo>
                  <a:lnTo>
                    <a:pt x="126" y="716"/>
                  </a:lnTo>
                  <a:lnTo>
                    <a:pt x="123" y="716"/>
                  </a:lnTo>
                  <a:lnTo>
                    <a:pt x="123" y="718"/>
                  </a:lnTo>
                  <a:lnTo>
                    <a:pt x="117" y="697"/>
                  </a:lnTo>
                  <a:lnTo>
                    <a:pt x="117" y="697"/>
                  </a:lnTo>
                  <a:lnTo>
                    <a:pt x="117" y="697"/>
                  </a:lnTo>
                  <a:lnTo>
                    <a:pt x="117" y="697"/>
                  </a:lnTo>
                  <a:close/>
                  <a:moveTo>
                    <a:pt x="123" y="719"/>
                  </a:moveTo>
                  <a:lnTo>
                    <a:pt x="126" y="721"/>
                  </a:lnTo>
                  <a:lnTo>
                    <a:pt x="130" y="719"/>
                  </a:lnTo>
                  <a:lnTo>
                    <a:pt x="132" y="723"/>
                  </a:lnTo>
                  <a:lnTo>
                    <a:pt x="136" y="731"/>
                  </a:lnTo>
                  <a:lnTo>
                    <a:pt x="140" y="731"/>
                  </a:lnTo>
                  <a:lnTo>
                    <a:pt x="143" y="735"/>
                  </a:lnTo>
                  <a:lnTo>
                    <a:pt x="143" y="740"/>
                  </a:lnTo>
                  <a:lnTo>
                    <a:pt x="149" y="740"/>
                  </a:lnTo>
                  <a:lnTo>
                    <a:pt x="162" y="746"/>
                  </a:lnTo>
                  <a:lnTo>
                    <a:pt x="164" y="746"/>
                  </a:lnTo>
                  <a:lnTo>
                    <a:pt x="172" y="748"/>
                  </a:lnTo>
                  <a:lnTo>
                    <a:pt x="173" y="752"/>
                  </a:lnTo>
                  <a:lnTo>
                    <a:pt x="179" y="753"/>
                  </a:lnTo>
                  <a:lnTo>
                    <a:pt x="187" y="752"/>
                  </a:lnTo>
                  <a:lnTo>
                    <a:pt x="189" y="752"/>
                  </a:lnTo>
                  <a:lnTo>
                    <a:pt x="189" y="755"/>
                  </a:lnTo>
                  <a:lnTo>
                    <a:pt x="187" y="759"/>
                  </a:lnTo>
                  <a:lnTo>
                    <a:pt x="183" y="757"/>
                  </a:lnTo>
                  <a:lnTo>
                    <a:pt x="179" y="757"/>
                  </a:lnTo>
                  <a:lnTo>
                    <a:pt x="179" y="761"/>
                  </a:lnTo>
                  <a:lnTo>
                    <a:pt x="173" y="765"/>
                  </a:lnTo>
                  <a:lnTo>
                    <a:pt x="172" y="767"/>
                  </a:lnTo>
                  <a:lnTo>
                    <a:pt x="166" y="765"/>
                  </a:lnTo>
                  <a:lnTo>
                    <a:pt x="162" y="763"/>
                  </a:lnTo>
                  <a:lnTo>
                    <a:pt x="155" y="761"/>
                  </a:lnTo>
                  <a:lnTo>
                    <a:pt x="149" y="761"/>
                  </a:lnTo>
                  <a:lnTo>
                    <a:pt x="141" y="761"/>
                  </a:lnTo>
                  <a:lnTo>
                    <a:pt x="136" y="763"/>
                  </a:lnTo>
                  <a:lnTo>
                    <a:pt x="134" y="763"/>
                  </a:lnTo>
                  <a:lnTo>
                    <a:pt x="132" y="755"/>
                  </a:lnTo>
                  <a:lnTo>
                    <a:pt x="141" y="755"/>
                  </a:lnTo>
                  <a:lnTo>
                    <a:pt x="143" y="753"/>
                  </a:lnTo>
                  <a:lnTo>
                    <a:pt x="149" y="753"/>
                  </a:lnTo>
                  <a:lnTo>
                    <a:pt x="149" y="752"/>
                  </a:lnTo>
                  <a:lnTo>
                    <a:pt x="143" y="753"/>
                  </a:lnTo>
                  <a:lnTo>
                    <a:pt x="140" y="753"/>
                  </a:lnTo>
                  <a:lnTo>
                    <a:pt x="132" y="753"/>
                  </a:lnTo>
                  <a:lnTo>
                    <a:pt x="130" y="753"/>
                  </a:lnTo>
                  <a:lnTo>
                    <a:pt x="123" y="719"/>
                  </a:lnTo>
                  <a:lnTo>
                    <a:pt x="123" y="719"/>
                  </a:lnTo>
                  <a:lnTo>
                    <a:pt x="123" y="719"/>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46">
              <a:extLst>
                <a:ext uri="{FF2B5EF4-FFF2-40B4-BE49-F238E27FC236}">
                  <a16:creationId xmlns:a16="http://schemas.microsoft.com/office/drawing/2014/main" id="{7CB2072C-11A2-0344-8499-C9AD635DFA44}"/>
                </a:ext>
              </a:extLst>
            </p:cNvPr>
            <p:cNvSpPr>
              <a:spLocks noEditPoints="1"/>
            </p:cNvSpPr>
            <p:nvPr/>
          </p:nvSpPr>
          <p:spPr bwMode="auto">
            <a:xfrm>
              <a:off x="5023619" y="3245958"/>
              <a:ext cx="171521" cy="677271"/>
            </a:xfrm>
            <a:custGeom>
              <a:avLst/>
              <a:gdLst/>
              <a:ahLst/>
              <a:cxnLst>
                <a:cxn ang="0">
                  <a:pos x="131" y="845"/>
                </a:cxn>
                <a:cxn ang="0">
                  <a:pos x="139" y="866"/>
                </a:cxn>
                <a:cxn ang="0">
                  <a:pos x="156" y="838"/>
                </a:cxn>
                <a:cxn ang="0">
                  <a:pos x="133" y="798"/>
                </a:cxn>
                <a:cxn ang="0">
                  <a:pos x="103" y="776"/>
                </a:cxn>
                <a:cxn ang="0">
                  <a:pos x="73" y="634"/>
                </a:cxn>
                <a:cxn ang="0">
                  <a:pos x="49" y="533"/>
                </a:cxn>
                <a:cxn ang="0">
                  <a:pos x="52" y="361"/>
                </a:cxn>
                <a:cxn ang="0">
                  <a:pos x="67" y="194"/>
                </a:cxn>
                <a:cxn ang="0">
                  <a:pos x="56" y="48"/>
                </a:cxn>
                <a:cxn ang="0">
                  <a:pos x="20" y="30"/>
                </a:cxn>
                <a:cxn ang="0">
                  <a:pos x="26" y="160"/>
                </a:cxn>
                <a:cxn ang="0">
                  <a:pos x="15" y="261"/>
                </a:cxn>
                <a:cxn ang="0">
                  <a:pos x="18" y="357"/>
                </a:cxn>
                <a:cxn ang="0">
                  <a:pos x="2" y="421"/>
                </a:cxn>
                <a:cxn ang="0">
                  <a:pos x="9" y="506"/>
                </a:cxn>
                <a:cxn ang="0">
                  <a:pos x="37" y="534"/>
                </a:cxn>
                <a:cxn ang="0">
                  <a:pos x="49" y="589"/>
                </a:cxn>
                <a:cxn ang="0">
                  <a:pos x="26" y="629"/>
                </a:cxn>
                <a:cxn ang="0">
                  <a:pos x="13" y="649"/>
                </a:cxn>
                <a:cxn ang="0">
                  <a:pos x="30" y="663"/>
                </a:cxn>
                <a:cxn ang="0">
                  <a:pos x="39" y="689"/>
                </a:cxn>
                <a:cxn ang="0">
                  <a:pos x="45" y="725"/>
                </a:cxn>
                <a:cxn ang="0">
                  <a:pos x="64" y="768"/>
                </a:cxn>
                <a:cxn ang="0">
                  <a:pos x="82" y="772"/>
                </a:cxn>
                <a:cxn ang="0">
                  <a:pos x="79" y="783"/>
                </a:cxn>
                <a:cxn ang="0">
                  <a:pos x="88" y="800"/>
                </a:cxn>
                <a:cxn ang="0">
                  <a:pos x="94" y="802"/>
                </a:cxn>
                <a:cxn ang="0">
                  <a:pos x="116" y="802"/>
                </a:cxn>
                <a:cxn ang="0">
                  <a:pos x="118" y="832"/>
                </a:cxn>
                <a:cxn ang="0">
                  <a:pos x="156" y="783"/>
                </a:cxn>
                <a:cxn ang="0">
                  <a:pos x="13" y="555"/>
                </a:cxn>
                <a:cxn ang="0">
                  <a:pos x="28" y="534"/>
                </a:cxn>
                <a:cxn ang="0">
                  <a:pos x="32" y="574"/>
                </a:cxn>
                <a:cxn ang="0">
                  <a:pos x="18" y="580"/>
                </a:cxn>
                <a:cxn ang="0">
                  <a:pos x="26" y="593"/>
                </a:cxn>
                <a:cxn ang="0">
                  <a:pos x="18" y="591"/>
                </a:cxn>
                <a:cxn ang="0">
                  <a:pos x="26" y="617"/>
                </a:cxn>
                <a:cxn ang="0">
                  <a:pos x="32" y="593"/>
                </a:cxn>
                <a:cxn ang="0">
                  <a:pos x="20" y="604"/>
                </a:cxn>
                <a:cxn ang="0">
                  <a:pos x="30" y="687"/>
                </a:cxn>
                <a:cxn ang="0">
                  <a:pos x="26" y="691"/>
                </a:cxn>
                <a:cxn ang="0">
                  <a:pos x="20" y="710"/>
                </a:cxn>
                <a:cxn ang="0">
                  <a:pos x="35" y="723"/>
                </a:cxn>
                <a:cxn ang="0">
                  <a:pos x="39" y="728"/>
                </a:cxn>
                <a:cxn ang="0">
                  <a:pos x="35" y="744"/>
                </a:cxn>
                <a:cxn ang="0">
                  <a:pos x="39" y="742"/>
                </a:cxn>
                <a:cxn ang="0">
                  <a:pos x="50" y="762"/>
                </a:cxn>
                <a:cxn ang="0">
                  <a:pos x="49" y="776"/>
                </a:cxn>
                <a:cxn ang="0">
                  <a:pos x="52" y="793"/>
                </a:cxn>
                <a:cxn ang="0">
                  <a:pos x="62" y="783"/>
                </a:cxn>
                <a:cxn ang="0">
                  <a:pos x="64" y="798"/>
                </a:cxn>
                <a:cxn ang="0">
                  <a:pos x="82" y="817"/>
                </a:cxn>
                <a:cxn ang="0">
                  <a:pos x="94" y="840"/>
                </a:cxn>
                <a:cxn ang="0">
                  <a:pos x="103" y="828"/>
                </a:cxn>
                <a:cxn ang="0">
                  <a:pos x="126" y="840"/>
                </a:cxn>
                <a:cxn ang="0">
                  <a:pos x="137" y="832"/>
                </a:cxn>
                <a:cxn ang="0">
                  <a:pos x="124" y="862"/>
                </a:cxn>
                <a:cxn ang="0">
                  <a:pos x="158" y="858"/>
                </a:cxn>
                <a:cxn ang="0">
                  <a:pos x="171" y="864"/>
                </a:cxn>
                <a:cxn ang="0">
                  <a:pos x="150" y="868"/>
                </a:cxn>
              </a:cxnLst>
              <a:rect l="0" t="0" r="r" b="b"/>
              <a:pathLst>
                <a:path w="201" h="883">
                  <a:moveTo>
                    <a:pt x="171" y="853"/>
                  </a:moveTo>
                  <a:lnTo>
                    <a:pt x="171" y="847"/>
                  </a:lnTo>
                  <a:lnTo>
                    <a:pt x="167" y="847"/>
                  </a:lnTo>
                  <a:lnTo>
                    <a:pt x="163" y="845"/>
                  </a:lnTo>
                  <a:lnTo>
                    <a:pt x="158" y="843"/>
                  </a:lnTo>
                  <a:lnTo>
                    <a:pt x="150" y="840"/>
                  </a:lnTo>
                  <a:lnTo>
                    <a:pt x="143" y="838"/>
                  </a:lnTo>
                  <a:lnTo>
                    <a:pt x="143" y="840"/>
                  </a:lnTo>
                  <a:lnTo>
                    <a:pt x="146" y="842"/>
                  </a:lnTo>
                  <a:lnTo>
                    <a:pt x="143" y="843"/>
                  </a:lnTo>
                  <a:lnTo>
                    <a:pt x="143" y="842"/>
                  </a:lnTo>
                  <a:lnTo>
                    <a:pt x="135" y="840"/>
                  </a:lnTo>
                  <a:lnTo>
                    <a:pt x="133" y="838"/>
                  </a:lnTo>
                  <a:lnTo>
                    <a:pt x="131" y="838"/>
                  </a:lnTo>
                  <a:lnTo>
                    <a:pt x="133" y="840"/>
                  </a:lnTo>
                  <a:lnTo>
                    <a:pt x="141" y="843"/>
                  </a:lnTo>
                  <a:lnTo>
                    <a:pt x="143" y="845"/>
                  </a:lnTo>
                  <a:lnTo>
                    <a:pt x="139" y="845"/>
                  </a:lnTo>
                  <a:lnTo>
                    <a:pt x="139" y="845"/>
                  </a:lnTo>
                  <a:lnTo>
                    <a:pt x="139" y="847"/>
                  </a:lnTo>
                  <a:lnTo>
                    <a:pt x="137" y="847"/>
                  </a:lnTo>
                  <a:lnTo>
                    <a:pt x="135" y="845"/>
                  </a:lnTo>
                  <a:lnTo>
                    <a:pt x="131" y="843"/>
                  </a:lnTo>
                  <a:lnTo>
                    <a:pt x="131" y="845"/>
                  </a:lnTo>
                  <a:lnTo>
                    <a:pt x="131" y="847"/>
                  </a:lnTo>
                  <a:lnTo>
                    <a:pt x="130" y="847"/>
                  </a:lnTo>
                  <a:lnTo>
                    <a:pt x="122" y="847"/>
                  </a:lnTo>
                  <a:lnTo>
                    <a:pt x="122" y="849"/>
                  </a:lnTo>
                  <a:lnTo>
                    <a:pt x="122" y="851"/>
                  </a:lnTo>
                  <a:lnTo>
                    <a:pt x="122" y="851"/>
                  </a:lnTo>
                  <a:lnTo>
                    <a:pt x="118" y="851"/>
                  </a:lnTo>
                  <a:lnTo>
                    <a:pt x="116" y="851"/>
                  </a:lnTo>
                  <a:lnTo>
                    <a:pt x="116" y="853"/>
                  </a:lnTo>
                  <a:lnTo>
                    <a:pt x="122" y="853"/>
                  </a:lnTo>
                  <a:lnTo>
                    <a:pt x="124" y="853"/>
                  </a:lnTo>
                  <a:lnTo>
                    <a:pt x="124" y="853"/>
                  </a:lnTo>
                  <a:lnTo>
                    <a:pt x="126" y="851"/>
                  </a:lnTo>
                  <a:lnTo>
                    <a:pt x="128" y="853"/>
                  </a:lnTo>
                  <a:lnTo>
                    <a:pt x="131" y="853"/>
                  </a:lnTo>
                  <a:lnTo>
                    <a:pt x="133" y="853"/>
                  </a:lnTo>
                  <a:lnTo>
                    <a:pt x="135" y="857"/>
                  </a:lnTo>
                  <a:lnTo>
                    <a:pt x="135" y="857"/>
                  </a:lnTo>
                  <a:lnTo>
                    <a:pt x="137" y="858"/>
                  </a:lnTo>
                  <a:lnTo>
                    <a:pt x="133" y="858"/>
                  </a:lnTo>
                  <a:lnTo>
                    <a:pt x="131" y="862"/>
                  </a:lnTo>
                  <a:lnTo>
                    <a:pt x="135" y="866"/>
                  </a:lnTo>
                  <a:lnTo>
                    <a:pt x="137" y="866"/>
                  </a:lnTo>
                  <a:lnTo>
                    <a:pt x="139" y="866"/>
                  </a:lnTo>
                  <a:lnTo>
                    <a:pt x="143" y="870"/>
                  </a:lnTo>
                  <a:lnTo>
                    <a:pt x="143" y="870"/>
                  </a:lnTo>
                  <a:lnTo>
                    <a:pt x="143" y="868"/>
                  </a:lnTo>
                  <a:lnTo>
                    <a:pt x="143" y="866"/>
                  </a:lnTo>
                  <a:lnTo>
                    <a:pt x="139" y="864"/>
                  </a:lnTo>
                  <a:lnTo>
                    <a:pt x="139" y="862"/>
                  </a:lnTo>
                  <a:lnTo>
                    <a:pt x="139" y="862"/>
                  </a:lnTo>
                  <a:lnTo>
                    <a:pt x="143" y="862"/>
                  </a:lnTo>
                  <a:lnTo>
                    <a:pt x="143" y="862"/>
                  </a:lnTo>
                  <a:lnTo>
                    <a:pt x="143" y="862"/>
                  </a:lnTo>
                  <a:lnTo>
                    <a:pt x="143" y="858"/>
                  </a:lnTo>
                  <a:lnTo>
                    <a:pt x="141" y="858"/>
                  </a:lnTo>
                  <a:lnTo>
                    <a:pt x="146" y="857"/>
                  </a:lnTo>
                  <a:lnTo>
                    <a:pt x="150" y="853"/>
                  </a:lnTo>
                  <a:lnTo>
                    <a:pt x="165" y="857"/>
                  </a:lnTo>
                  <a:lnTo>
                    <a:pt x="167" y="857"/>
                  </a:lnTo>
                  <a:lnTo>
                    <a:pt x="167" y="853"/>
                  </a:lnTo>
                  <a:lnTo>
                    <a:pt x="171" y="853"/>
                  </a:lnTo>
                  <a:lnTo>
                    <a:pt x="171" y="853"/>
                  </a:lnTo>
                  <a:lnTo>
                    <a:pt x="171" y="853"/>
                  </a:lnTo>
                  <a:lnTo>
                    <a:pt x="171" y="853"/>
                  </a:lnTo>
                  <a:close/>
                  <a:moveTo>
                    <a:pt x="167" y="845"/>
                  </a:moveTo>
                  <a:lnTo>
                    <a:pt x="165" y="845"/>
                  </a:lnTo>
                  <a:lnTo>
                    <a:pt x="156" y="838"/>
                  </a:lnTo>
                  <a:lnTo>
                    <a:pt x="150" y="836"/>
                  </a:lnTo>
                  <a:lnTo>
                    <a:pt x="146" y="836"/>
                  </a:lnTo>
                  <a:lnTo>
                    <a:pt x="143" y="834"/>
                  </a:lnTo>
                  <a:lnTo>
                    <a:pt x="141" y="832"/>
                  </a:lnTo>
                  <a:lnTo>
                    <a:pt x="139" y="828"/>
                  </a:lnTo>
                  <a:lnTo>
                    <a:pt x="139" y="826"/>
                  </a:lnTo>
                  <a:lnTo>
                    <a:pt x="143" y="823"/>
                  </a:lnTo>
                  <a:lnTo>
                    <a:pt x="146" y="823"/>
                  </a:lnTo>
                  <a:lnTo>
                    <a:pt x="150" y="823"/>
                  </a:lnTo>
                  <a:lnTo>
                    <a:pt x="150" y="817"/>
                  </a:lnTo>
                  <a:lnTo>
                    <a:pt x="150" y="815"/>
                  </a:lnTo>
                  <a:lnTo>
                    <a:pt x="146" y="815"/>
                  </a:lnTo>
                  <a:lnTo>
                    <a:pt x="141" y="817"/>
                  </a:lnTo>
                  <a:lnTo>
                    <a:pt x="139" y="819"/>
                  </a:lnTo>
                  <a:lnTo>
                    <a:pt x="135" y="819"/>
                  </a:lnTo>
                  <a:lnTo>
                    <a:pt x="131" y="815"/>
                  </a:lnTo>
                  <a:lnTo>
                    <a:pt x="131" y="811"/>
                  </a:lnTo>
                  <a:lnTo>
                    <a:pt x="131" y="809"/>
                  </a:lnTo>
                  <a:lnTo>
                    <a:pt x="133" y="806"/>
                  </a:lnTo>
                  <a:lnTo>
                    <a:pt x="135" y="804"/>
                  </a:lnTo>
                  <a:lnTo>
                    <a:pt x="131" y="804"/>
                  </a:lnTo>
                  <a:lnTo>
                    <a:pt x="130" y="802"/>
                  </a:lnTo>
                  <a:lnTo>
                    <a:pt x="131" y="798"/>
                  </a:lnTo>
                  <a:lnTo>
                    <a:pt x="133" y="798"/>
                  </a:lnTo>
                  <a:lnTo>
                    <a:pt x="137" y="802"/>
                  </a:lnTo>
                  <a:lnTo>
                    <a:pt x="139" y="800"/>
                  </a:lnTo>
                  <a:lnTo>
                    <a:pt x="143" y="798"/>
                  </a:lnTo>
                  <a:lnTo>
                    <a:pt x="143" y="794"/>
                  </a:lnTo>
                  <a:lnTo>
                    <a:pt x="143" y="793"/>
                  </a:lnTo>
                  <a:lnTo>
                    <a:pt x="143" y="789"/>
                  </a:lnTo>
                  <a:lnTo>
                    <a:pt x="146" y="789"/>
                  </a:lnTo>
                  <a:lnTo>
                    <a:pt x="150" y="793"/>
                  </a:lnTo>
                  <a:lnTo>
                    <a:pt x="150" y="789"/>
                  </a:lnTo>
                  <a:lnTo>
                    <a:pt x="156" y="789"/>
                  </a:lnTo>
                  <a:lnTo>
                    <a:pt x="160" y="809"/>
                  </a:lnTo>
                  <a:lnTo>
                    <a:pt x="160" y="811"/>
                  </a:lnTo>
                  <a:lnTo>
                    <a:pt x="160" y="811"/>
                  </a:lnTo>
                  <a:lnTo>
                    <a:pt x="167" y="845"/>
                  </a:lnTo>
                  <a:lnTo>
                    <a:pt x="167" y="845"/>
                  </a:lnTo>
                  <a:lnTo>
                    <a:pt x="167" y="845"/>
                  </a:lnTo>
                  <a:lnTo>
                    <a:pt x="167" y="845"/>
                  </a:lnTo>
                  <a:close/>
                  <a:moveTo>
                    <a:pt x="156" y="783"/>
                  </a:moveTo>
                  <a:lnTo>
                    <a:pt x="150" y="777"/>
                  </a:lnTo>
                  <a:lnTo>
                    <a:pt x="146" y="777"/>
                  </a:lnTo>
                  <a:lnTo>
                    <a:pt x="143" y="776"/>
                  </a:lnTo>
                  <a:lnTo>
                    <a:pt x="122" y="776"/>
                  </a:lnTo>
                  <a:lnTo>
                    <a:pt x="107" y="777"/>
                  </a:lnTo>
                  <a:lnTo>
                    <a:pt x="103" y="776"/>
                  </a:lnTo>
                  <a:lnTo>
                    <a:pt x="94" y="776"/>
                  </a:lnTo>
                  <a:lnTo>
                    <a:pt x="94" y="768"/>
                  </a:lnTo>
                  <a:lnTo>
                    <a:pt x="92" y="762"/>
                  </a:lnTo>
                  <a:lnTo>
                    <a:pt x="86" y="759"/>
                  </a:lnTo>
                  <a:lnTo>
                    <a:pt x="86" y="747"/>
                  </a:lnTo>
                  <a:lnTo>
                    <a:pt x="86" y="742"/>
                  </a:lnTo>
                  <a:lnTo>
                    <a:pt x="82" y="742"/>
                  </a:lnTo>
                  <a:lnTo>
                    <a:pt x="75" y="745"/>
                  </a:lnTo>
                  <a:lnTo>
                    <a:pt x="73" y="749"/>
                  </a:lnTo>
                  <a:lnTo>
                    <a:pt x="69" y="749"/>
                  </a:lnTo>
                  <a:lnTo>
                    <a:pt x="62" y="730"/>
                  </a:lnTo>
                  <a:lnTo>
                    <a:pt x="60" y="725"/>
                  </a:lnTo>
                  <a:lnTo>
                    <a:pt x="62" y="710"/>
                  </a:lnTo>
                  <a:lnTo>
                    <a:pt x="67" y="704"/>
                  </a:lnTo>
                  <a:lnTo>
                    <a:pt x="73" y="698"/>
                  </a:lnTo>
                  <a:lnTo>
                    <a:pt x="73" y="687"/>
                  </a:lnTo>
                  <a:lnTo>
                    <a:pt x="73" y="678"/>
                  </a:lnTo>
                  <a:lnTo>
                    <a:pt x="69" y="670"/>
                  </a:lnTo>
                  <a:lnTo>
                    <a:pt x="73" y="663"/>
                  </a:lnTo>
                  <a:lnTo>
                    <a:pt x="75" y="659"/>
                  </a:lnTo>
                  <a:lnTo>
                    <a:pt x="73" y="649"/>
                  </a:lnTo>
                  <a:lnTo>
                    <a:pt x="73" y="644"/>
                  </a:lnTo>
                  <a:lnTo>
                    <a:pt x="75" y="640"/>
                  </a:lnTo>
                  <a:lnTo>
                    <a:pt x="73" y="634"/>
                  </a:lnTo>
                  <a:lnTo>
                    <a:pt x="73" y="623"/>
                  </a:lnTo>
                  <a:lnTo>
                    <a:pt x="69" y="617"/>
                  </a:lnTo>
                  <a:lnTo>
                    <a:pt x="69" y="614"/>
                  </a:lnTo>
                  <a:lnTo>
                    <a:pt x="73" y="610"/>
                  </a:lnTo>
                  <a:lnTo>
                    <a:pt x="73" y="606"/>
                  </a:lnTo>
                  <a:lnTo>
                    <a:pt x="69" y="600"/>
                  </a:lnTo>
                  <a:lnTo>
                    <a:pt x="64" y="595"/>
                  </a:lnTo>
                  <a:lnTo>
                    <a:pt x="62" y="595"/>
                  </a:lnTo>
                  <a:lnTo>
                    <a:pt x="60" y="597"/>
                  </a:lnTo>
                  <a:lnTo>
                    <a:pt x="58" y="595"/>
                  </a:lnTo>
                  <a:lnTo>
                    <a:pt x="58" y="591"/>
                  </a:lnTo>
                  <a:lnTo>
                    <a:pt x="67" y="591"/>
                  </a:lnTo>
                  <a:lnTo>
                    <a:pt x="69" y="585"/>
                  </a:lnTo>
                  <a:lnTo>
                    <a:pt x="69" y="582"/>
                  </a:lnTo>
                  <a:lnTo>
                    <a:pt x="69" y="580"/>
                  </a:lnTo>
                  <a:lnTo>
                    <a:pt x="64" y="582"/>
                  </a:lnTo>
                  <a:lnTo>
                    <a:pt x="62" y="582"/>
                  </a:lnTo>
                  <a:lnTo>
                    <a:pt x="60" y="574"/>
                  </a:lnTo>
                  <a:lnTo>
                    <a:pt x="56" y="566"/>
                  </a:lnTo>
                  <a:lnTo>
                    <a:pt x="56" y="561"/>
                  </a:lnTo>
                  <a:lnTo>
                    <a:pt x="56" y="553"/>
                  </a:lnTo>
                  <a:lnTo>
                    <a:pt x="50" y="551"/>
                  </a:lnTo>
                  <a:lnTo>
                    <a:pt x="49" y="546"/>
                  </a:lnTo>
                  <a:lnTo>
                    <a:pt x="49" y="533"/>
                  </a:lnTo>
                  <a:lnTo>
                    <a:pt x="52" y="531"/>
                  </a:lnTo>
                  <a:lnTo>
                    <a:pt x="54" y="525"/>
                  </a:lnTo>
                  <a:lnTo>
                    <a:pt x="50" y="521"/>
                  </a:lnTo>
                  <a:lnTo>
                    <a:pt x="49" y="519"/>
                  </a:lnTo>
                  <a:lnTo>
                    <a:pt x="49" y="510"/>
                  </a:lnTo>
                  <a:lnTo>
                    <a:pt x="45" y="499"/>
                  </a:lnTo>
                  <a:lnTo>
                    <a:pt x="49" y="484"/>
                  </a:lnTo>
                  <a:lnTo>
                    <a:pt x="43" y="480"/>
                  </a:lnTo>
                  <a:lnTo>
                    <a:pt x="43" y="472"/>
                  </a:lnTo>
                  <a:lnTo>
                    <a:pt x="49" y="463"/>
                  </a:lnTo>
                  <a:lnTo>
                    <a:pt x="50" y="452"/>
                  </a:lnTo>
                  <a:lnTo>
                    <a:pt x="56" y="450"/>
                  </a:lnTo>
                  <a:lnTo>
                    <a:pt x="58" y="446"/>
                  </a:lnTo>
                  <a:lnTo>
                    <a:pt x="49" y="425"/>
                  </a:lnTo>
                  <a:lnTo>
                    <a:pt x="49" y="418"/>
                  </a:lnTo>
                  <a:lnTo>
                    <a:pt x="49" y="412"/>
                  </a:lnTo>
                  <a:lnTo>
                    <a:pt x="49" y="401"/>
                  </a:lnTo>
                  <a:lnTo>
                    <a:pt x="52" y="391"/>
                  </a:lnTo>
                  <a:lnTo>
                    <a:pt x="56" y="388"/>
                  </a:lnTo>
                  <a:lnTo>
                    <a:pt x="56" y="382"/>
                  </a:lnTo>
                  <a:lnTo>
                    <a:pt x="52" y="372"/>
                  </a:lnTo>
                  <a:lnTo>
                    <a:pt x="49" y="372"/>
                  </a:lnTo>
                  <a:lnTo>
                    <a:pt x="54" y="367"/>
                  </a:lnTo>
                  <a:lnTo>
                    <a:pt x="52" y="361"/>
                  </a:lnTo>
                  <a:lnTo>
                    <a:pt x="56" y="352"/>
                  </a:lnTo>
                  <a:lnTo>
                    <a:pt x="60" y="352"/>
                  </a:lnTo>
                  <a:lnTo>
                    <a:pt x="60" y="342"/>
                  </a:lnTo>
                  <a:lnTo>
                    <a:pt x="58" y="327"/>
                  </a:lnTo>
                  <a:lnTo>
                    <a:pt x="56" y="324"/>
                  </a:lnTo>
                  <a:lnTo>
                    <a:pt x="54" y="314"/>
                  </a:lnTo>
                  <a:lnTo>
                    <a:pt x="50" y="308"/>
                  </a:lnTo>
                  <a:lnTo>
                    <a:pt x="49" y="301"/>
                  </a:lnTo>
                  <a:lnTo>
                    <a:pt x="45" y="297"/>
                  </a:lnTo>
                  <a:lnTo>
                    <a:pt x="43" y="291"/>
                  </a:lnTo>
                  <a:lnTo>
                    <a:pt x="39" y="284"/>
                  </a:lnTo>
                  <a:lnTo>
                    <a:pt x="43" y="276"/>
                  </a:lnTo>
                  <a:lnTo>
                    <a:pt x="49" y="275"/>
                  </a:lnTo>
                  <a:lnTo>
                    <a:pt x="49" y="265"/>
                  </a:lnTo>
                  <a:lnTo>
                    <a:pt x="49" y="261"/>
                  </a:lnTo>
                  <a:lnTo>
                    <a:pt x="50" y="254"/>
                  </a:lnTo>
                  <a:lnTo>
                    <a:pt x="49" y="248"/>
                  </a:lnTo>
                  <a:lnTo>
                    <a:pt x="45" y="235"/>
                  </a:lnTo>
                  <a:lnTo>
                    <a:pt x="49" y="233"/>
                  </a:lnTo>
                  <a:lnTo>
                    <a:pt x="50" y="218"/>
                  </a:lnTo>
                  <a:lnTo>
                    <a:pt x="54" y="214"/>
                  </a:lnTo>
                  <a:lnTo>
                    <a:pt x="58" y="201"/>
                  </a:lnTo>
                  <a:lnTo>
                    <a:pt x="64" y="197"/>
                  </a:lnTo>
                  <a:lnTo>
                    <a:pt x="67" y="194"/>
                  </a:lnTo>
                  <a:lnTo>
                    <a:pt x="69" y="190"/>
                  </a:lnTo>
                  <a:lnTo>
                    <a:pt x="69" y="190"/>
                  </a:lnTo>
                  <a:lnTo>
                    <a:pt x="69" y="184"/>
                  </a:lnTo>
                  <a:lnTo>
                    <a:pt x="67" y="182"/>
                  </a:lnTo>
                  <a:lnTo>
                    <a:pt x="64" y="180"/>
                  </a:lnTo>
                  <a:lnTo>
                    <a:pt x="64" y="177"/>
                  </a:lnTo>
                  <a:lnTo>
                    <a:pt x="69" y="173"/>
                  </a:lnTo>
                  <a:lnTo>
                    <a:pt x="69" y="169"/>
                  </a:lnTo>
                  <a:lnTo>
                    <a:pt x="64" y="163"/>
                  </a:lnTo>
                  <a:lnTo>
                    <a:pt x="64" y="158"/>
                  </a:lnTo>
                  <a:lnTo>
                    <a:pt x="64" y="154"/>
                  </a:lnTo>
                  <a:lnTo>
                    <a:pt x="64" y="150"/>
                  </a:lnTo>
                  <a:lnTo>
                    <a:pt x="62" y="146"/>
                  </a:lnTo>
                  <a:lnTo>
                    <a:pt x="62" y="143"/>
                  </a:lnTo>
                  <a:lnTo>
                    <a:pt x="84" y="129"/>
                  </a:lnTo>
                  <a:lnTo>
                    <a:pt x="88" y="109"/>
                  </a:lnTo>
                  <a:lnTo>
                    <a:pt x="86" y="103"/>
                  </a:lnTo>
                  <a:lnTo>
                    <a:pt x="84" y="105"/>
                  </a:lnTo>
                  <a:lnTo>
                    <a:pt x="82" y="107"/>
                  </a:lnTo>
                  <a:lnTo>
                    <a:pt x="77" y="107"/>
                  </a:lnTo>
                  <a:lnTo>
                    <a:pt x="64" y="69"/>
                  </a:lnTo>
                  <a:lnTo>
                    <a:pt x="54" y="64"/>
                  </a:lnTo>
                  <a:lnTo>
                    <a:pt x="52" y="58"/>
                  </a:lnTo>
                  <a:lnTo>
                    <a:pt x="56" y="48"/>
                  </a:lnTo>
                  <a:lnTo>
                    <a:pt x="54" y="45"/>
                  </a:lnTo>
                  <a:lnTo>
                    <a:pt x="58" y="39"/>
                  </a:lnTo>
                  <a:lnTo>
                    <a:pt x="56" y="35"/>
                  </a:lnTo>
                  <a:lnTo>
                    <a:pt x="49" y="30"/>
                  </a:lnTo>
                  <a:lnTo>
                    <a:pt x="45" y="26"/>
                  </a:lnTo>
                  <a:lnTo>
                    <a:pt x="43" y="18"/>
                  </a:lnTo>
                  <a:lnTo>
                    <a:pt x="43" y="16"/>
                  </a:lnTo>
                  <a:lnTo>
                    <a:pt x="43" y="13"/>
                  </a:lnTo>
                  <a:lnTo>
                    <a:pt x="43" y="9"/>
                  </a:lnTo>
                  <a:lnTo>
                    <a:pt x="43" y="9"/>
                  </a:lnTo>
                  <a:lnTo>
                    <a:pt x="39" y="5"/>
                  </a:lnTo>
                  <a:lnTo>
                    <a:pt x="39" y="0"/>
                  </a:lnTo>
                  <a:lnTo>
                    <a:pt x="35" y="0"/>
                  </a:lnTo>
                  <a:lnTo>
                    <a:pt x="34" y="1"/>
                  </a:lnTo>
                  <a:lnTo>
                    <a:pt x="32" y="5"/>
                  </a:lnTo>
                  <a:lnTo>
                    <a:pt x="35" y="9"/>
                  </a:lnTo>
                  <a:lnTo>
                    <a:pt x="34" y="11"/>
                  </a:lnTo>
                  <a:lnTo>
                    <a:pt x="30" y="15"/>
                  </a:lnTo>
                  <a:lnTo>
                    <a:pt x="28" y="13"/>
                  </a:lnTo>
                  <a:lnTo>
                    <a:pt x="22" y="16"/>
                  </a:lnTo>
                  <a:lnTo>
                    <a:pt x="18" y="18"/>
                  </a:lnTo>
                  <a:lnTo>
                    <a:pt x="20" y="20"/>
                  </a:lnTo>
                  <a:lnTo>
                    <a:pt x="20" y="26"/>
                  </a:lnTo>
                  <a:lnTo>
                    <a:pt x="20" y="30"/>
                  </a:lnTo>
                  <a:lnTo>
                    <a:pt x="20" y="35"/>
                  </a:lnTo>
                  <a:lnTo>
                    <a:pt x="24" y="48"/>
                  </a:lnTo>
                  <a:lnTo>
                    <a:pt x="24" y="54"/>
                  </a:lnTo>
                  <a:lnTo>
                    <a:pt x="22" y="58"/>
                  </a:lnTo>
                  <a:lnTo>
                    <a:pt x="20" y="60"/>
                  </a:lnTo>
                  <a:lnTo>
                    <a:pt x="22" y="65"/>
                  </a:lnTo>
                  <a:lnTo>
                    <a:pt x="24" y="73"/>
                  </a:lnTo>
                  <a:lnTo>
                    <a:pt x="26" y="79"/>
                  </a:lnTo>
                  <a:lnTo>
                    <a:pt x="26" y="90"/>
                  </a:lnTo>
                  <a:lnTo>
                    <a:pt x="26" y="90"/>
                  </a:lnTo>
                  <a:lnTo>
                    <a:pt x="24" y="94"/>
                  </a:lnTo>
                  <a:lnTo>
                    <a:pt x="26" y="107"/>
                  </a:lnTo>
                  <a:lnTo>
                    <a:pt x="26" y="109"/>
                  </a:lnTo>
                  <a:lnTo>
                    <a:pt x="22" y="111"/>
                  </a:lnTo>
                  <a:lnTo>
                    <a:pt x="20" y="113"/>
                  </a:lnTo>
                  <a:lnTo>
                    <a:pt x="20" y="120"/>
                  </a:lnTo>
                  <a:lnTo>
                    <a:pt x="22" y="122"/>
                  </a:lnTo>
                  <a:lnTo>
                    <a:pt x="24" y="120"/>
                  </a:lnTo>
                  <a:lnTo>
                    <a:pt x="26" y="122"/>
                  </a:lnTo>
                  <a:lnTo>
                    <a:pt x="24" y="124"/>
                  </a:lnTo>
                  <a:lnTo>
                    <a:pt x="24" y="143"/>
                  </a:lnTo>
                  <a:lnTo>
                    <a:pt x="26" y="152"/>
                  </a:lnTo>
                  <a:lnTo>
                    <a:pt x="28" y="158"/>
                  </a:lnTo>
                  <a:lnTo>
                    <a:pt x="26" y="160"/>
                  </a:lnTo>
                  <a:lnTo>
                    <a:pt x="22" y="165"/>
                  </a:lnTo>
                  <a:lnTo>
                    <a:pt x="22" y="171"/>
                  </a:lnTo>
                  <a:lnTo>
                    <a:pt x="26" y="178"/>
                  </a:lnTo>
                  <a:lnTo>
                    <a:pt x="26" y="182"/>
                  </a:lnTo>
                  <a:lnTo>
                    <a:pt x="26" y="190"/>
                  </a:lnTo>
                  <a:lnTo>
                    <a:pt x="24" y="194"/>
                  </a:lnTo>
                  <a:lnTo>
                    <a:pt x="24" y="199"/>
                  </a:lnTo>
                  <a:lnTo>
                    <a:pt x="24" y="201"/>
                  </a:lnTo>
                  <a:lnTo>
                    <a:pt x="24" y="205"/>
                  </a:lnTo>
                  <a:lnTo>
                    <a:pt x="20" y="209"/>
                  </a:lnTo>
                  <a:lnTo>
                    <a:pt x="20" y="214"/>
                  </a:lnTo>
                  <a:lnTo>
                    <a:pt x="18" y="218"/>
                  </a:lnTo>
                  <a:lnTo>
                    <a:pt x="20" y="224"/>
                  </a:lnTo>
                  <a:lnTo>
                    <a:pt x="18" y="224"/>
                  </a:lnTo>
                  <a:lnTo>
                    <a:pt x="18" y="231"/>
                  </a:lnTo>
                  <a:lnTo>
                    <a:pt x="18" y="235"/>
                  </a:lnTo>
                  <a:lnTo>
                    <a:pt x="20" y="241"/>
                  </a:lnTo>
                  <a:lnTo>
                    <a:pt x="20" y="246"/>
                  </a:lnTo>
                  <a:lnTo>
                    <a:pt x="22" y="248"/>
                  </a:lnTo>
                  <a:lnTo>
                    <a:pt x="20" y="252"/>
                  </a:lnTo>
                  <a:lnTo>
                    <a:pt x="18" y="254"/>
                  </a:lnTo>
                  <a:lnTo>
                    <a:pt x="20" y="258"/>
                  </a:lnTo>
                  <a:lnTo>
                    <a:pt x="18" y="261"/>
                  </a:lnTo>
                  <a:lnTo>
                    <a:pt x="15" y="261"/>
                  </a:lnTo>
                  <a:lnTo>
                    <a:pt x="15" y="267"/>
                  </a:lnTo>
                  <a:lnTo>
                    <a:pt x="18" y="273"/>
                  </a:lnTo>
                  <a:lnTo>
                    <a:pt x="18" y="276"/>
                  </a:lnTo>
                  <a:lnTo>
                    <a:pt x="20" y="288"/>
                  </a:lnTo>
                  <a:lnTo>
                    <a:pt x="20" y="291"/>
                  </a:lnTo>
                  <a:lnTo>
                    <a:pt x="18" y="295"/>
                  </a:lnTo>
                  <a:lnTo>
                    <a:pt x="18" y="297"/>
                  </a:lnTo>
                  <a:lnTo>
                    <a:pt x="24" y="305"/>
                  </a:lnTo>
                  <a:lnTo>
                    <a:pt x="24" y="310"/>
                  </a:lnTo>
                  <a:lnTo>
                    <a:pt x="22" y="316"/>
                  </a:lnTo>
                  <a:lnTo>
                    <a:pt x="22" y="318"/>
                  </a:lnTo>
                  <a:lnTo>
                    <a:pt x="24" y="322"/>
                  </a:lnTo>
                  <a:lnTo>
                    <a:pt x="22" y="322"/>
                  </a:lnTo>
                  <a:lnTo>
                    <a:pt x="22" y="325"/>
                  </a:lnTo>
                  <a:lnTo>
                    <a:pt x="24" y="327"/>
                  </a:lnTo>
                  <a:lnTo>
                    <a:pt x="28" y="333"/>
                  </a:lnTo>
                  <a:lnTo>
                    <a:pt x="28" y="337"/>
                  </a:lnTo>
                  <a:lnTo>
                    <a:pt x="26" y="340"/>
                  </a:lnTo>
                  <a:lnTo>
                    <a:pt x="22" y="342"/>
                  </a:lnTo>
                  <a:lnTo>
                    <a:pt x="20" y="348"/>
                  </a:lnTo>
                  <a:lnTo>
                    <a:pt x="20" y="348"/>
                  </a:lnTo>
                  <a:lnTo>
                    <a:pt x="22" y="352"/>
                  </a:lnTo>
                  <a:lnTo>
                    <a:pt x="20" y="354"/>
                  </a:lnTo>
                  <a:lnTo>
                    <a:pt x="18" y="357"/>
                  </a:lnTo>
                  <a:lnTo>
                    <a:pt x="18" y="361"/>
                  </a:lnTo>
                  <a:lnTo>
                    <a:pt x="18" y="367"/>
                  </a:lnTo>
                  <a:lnTo>
                    <a:pt x="18" y="369"/>
                  </a:lnTo>
                  <a:lnTo>
                    <a:pt x="18" y="372"/>
                  </a:lnTo>
                  <a:lnTo>
                    <a:pt x="15" y="372"/>
                  </a:lnTo>
                  <a:lnTo>
                    <a:pt x="15" y="378"/>
                  </a:lnTo>
                  <a:lnTo>
                    <a:pt x="15" y="382"/>
                  </a:lnTo>
                  <a:lnTo>
                    <a:pt x="15" y="382"/>
                  </a:lnTo>
                  <a:lnTo>
                    <a:pt x="15" y="386"/>
                  </a:lnTo>
                  <a:lnTo>
                    <a:pt x="13" y="388"/>
                  </a:lnTo>
                  <a:lnTo>
                    <a:pt x="13" y="393"/>
                  </a:lnTo>
                  <a:lnTo>
                    <a:pt x="13" y="397"/>
                  </a:lnTo>
                  <a:lnTo>
                    <a:pt x="11" y="399"/>
                  </a:lnTo>
                  <a:lnTo>
                    <a:pt x="11" y="403"/>
                  </a:lnTo>
                  <a:lnTo>
                    <a:pt x="9" y="405"/>
                  </a:lnTo>
                  <a:lnTo>
                    <a:pt x="9" y="408"/>
                  </a:lnTo>
                  <a:lnTo>
                    <a:pt x="11" y="410"/>
                  </a:lnTo>
                  <a:lnTo>
                    <a:pt x="11" y="412"/>
                  </a:lnTo>
                  <a:lnTo>
                    <a:pt x="7" y="416"/>
                  </a:lnTo>
                  <a:lnTo>
                    <a:pt x="5" y="416"/>
                  </a:lnTo>
                  <a:lnTo>
                    <a:pt x="3" y="416"/>
                  </a:lnTo>
                  <a:lnTo>
                    <a:pt x="0" y="416"/>
                  </a:lnTo>
                  <a:lnTo>
                    <a:pt x="0" y="418"/>
                  </a:lnTo>
                  <a:lnTo>
                    <a:pt x="2" y="421"/>
                  </a:lnTo>
                  <a:lnTo>
                    <a:pt x="2" y="427"/>
                  </a:lnTo>
                  <a:lnTo>
                    <a:pt x="3" y="433"/>
                  </a:lnTo>
                  <a:lnTo>
                    <a:pt x="7" y="435"/>
                  </a:lnTo>
                  <a:lnTo>
                    <a:pt x="9" y="440"/>
                  </a:lnTo>
                  <a:lnTo>
                    <a:pt x="7" y="442"/>
                  </a:lnTo>
                  <a:lnTo>
                    <a:pt x="15" y="455"/>
                  </a:lnTo>
                  <a:lnTo>
                    <a:pt x="15" y="455"/>
                  </a:lnTo>
                  <a:lnTo>
                    <a:pt x="15" y="459"/>
                  </a:lnTo>
                  <a:lnTo>
                    <a:pt x="15" y="465"/>
                  </a:lnTo>
                  <a:lnTo>
                    <a:pt x="15" y="474"/>
                  </a:lnTo>
                  <a:lnTo>
                    <a:pt x="15" y="474"/>
                  </a:lnTo>
                  <a:lnTo>
                    <a:pt x="15" y="476"/>
                  </a:lnTo>
                  <a:lnTo>
                    <a:pt x="15" y="480"/>
                  </a:lnTo>
                  <a:lnTo>
                    <a:pt x="13" y="480"/>
                  </a:lnTo>
                  <a:lnTo>
                    <a:pt x="11" y="480"/>
                  </a:lnTo>
                  <a:lnTo>
                    <a:pt x="9" y="482"/>
                  </a:lnTo>
                  <a:lnTo>
                    <a:pt x="11" y="485"/>
                  </a:lnTo>
                  <a:lnTo>
                    <a:pt x="13" y="487"/>
                  </a:lnTo>
                  <a:lnTo>
                    <a:pt x="11" y="495"/>
                  </a:lnTo>
                  <a:lnTo>
                    <a:pt x="11" y="499"/>
                  </a:lnTo>
                  <a:lnTo>
                    <a:pt x="9" y="501"/>
                  </a:lnTo>
                  <a:lnTo>
                    <a:pt x="11" y="502"/>
                  </a:lnTo>
                  <a:lnTo>
                    <a:pt x="11" y="506"/>
                  </a:lnTo>
                  <a:lnTo>
                    <a:pt x="9" y="506"/>
                  </a:lnTo>
                  <a:lnTo>
                    <a:pt x="11" y="506"/>
                  </a:lnTo>
                  <a:lnTo>
                    <a:pt x="15" y="516"/>
                  </a:lnTo>
                  <a:lnTo>
                    <a:pt x="18" y="518"/>
                  </a:lnTo>
                  <a:lnTo>
                    <a:pt x="18" y="521"/>
                  </a:lnTo>
                  <a:lnTo>
                    <a:pt x="24" y="523"/>
                  </a:lnTo>
                  <a:lnTo>
                    <a:pt x="30" y="523"/>
                  </a:lnTo>
                  <a:lnTo>
                    <a:pt x="30" y="518"/>
                  </a:lnTo>
                  <a:lnTo>
                    <a:pt x="32" y="516"/>
                  </a:lnTo>
                  <a:lnTo>
                    <a:pt x="35" y="516"/>
                  </a:lnTo>
                  <a:lnTo>
                    <a:pt x="37" y="519"/>
                  </a:lnTo>
                  <a:lnTo>
                    <a:pt x="39" y="519"/>
                  </a:lnTo>
                  <a:lnTo>
                    <a:pt x="39" y="518"/>
                  </a:lnTo>
                  <a:lnTo>
                    <a:pt x="39" y="521"/>
                  </a:lnTo>
                  <a:lnTo>
                    <a:pt x="35" y="525"/>
                  </a:lnTo>
                  <a:lnTo>
                    <a:pt x="35" y="527"/>
                  </a:lnTo>
                  <a:lnTo>
                    <a:pt x="39" y="529"/>
                  </a:lnTo>
                  <a:lnTo>
                    <a:pt x="39" y="527"/>
                  </a:lnTo>
                  <a:lnTo>
                    <a:pt x="39" y="531"/>
                  </a:lnTo>
                  <a:lnTo>
                    <a:pt x="39" y="536"/>
                  </a:lnTo>
                  <a:lnTo>
                    <a:pt x="43" y="540"/>
                  </a:lnTo>
                  <a:lnTo>
                    <a:pt x="43" y="540"/>
                  </a:lnTo>
                  <a:lnTo>
                    <a:pt x="39" y="536"/>
                  </a:lnTo>
                  <a:lnTo>
                    <a:pt x="39" y="534"/>
                  </a:lnTo>
                  <a:lnTo>
                    <a:pt x="37" y="534"/>
                  </a:lnTo>
                  <a:lnTo>
                    <a:pt x="35" y="536"/>
                  </a:lnTo>
                  <a:lnTo>
                    <a:pt x="35" y="536"/>
                  </a:lnTo>
                  <a:lnTo>
                    <a:pt x="39" y="540"/>
                  </a:lnTo>
                  <a:lnTo>
                    <a:pt x="39" y="540"/>
                  </a:lnTo>
                  <a:lnTo>
                    <a:pt x="37" y="542"/>
                  </a:lnTo>
                  <a:lnTo>
                    <a:pt x="35" y="544"/>
                  </a:lnTo>
                  <a:lnTo>
                    <a:pt x="37" y="550"/>
                  </a:lnTo>
                  <a:lnTo>
                    <a:pt x="39" y="551"/>
                  </a:lnTo>
                  <a:lnTo>
                    <a:pt x="37" y="555"/>
                  </a:lnTo>
                  <a:lnTo>
                    <a:pt x="37" y="557"/>
                  </a:lnTo>
                  <a:lnTo>
                    <a:pt x="37" y="559"/>
                  </a:lnTo>
                  <a:lnTo>
                    <a:pt x="34" y="561"/>
                  </a:lnTo>
                  <a:lnTo>
                    <a:pt x="35" y="565"/>
                  </a:lnTo>
                  <a:lnTo>
                    <a:pt x="39" y="566"/>
                  </a:lnTo>
                  <a:lnTo>
                    <a:pt x="37" y="570"/>
                  </a:lnTo>
                  <a:lnTo>
                    <a:pt x="37" y="574"/>
                  </a:lnTo>
                  <a:lnTo>
                    <a:pt x="35" y="576"/>
                  </a:lnTo>
                  <a:lnTo>
                    <a:pt x="35" y="580"/>
                  </a:lnTo>
                  <a:lnTo>
                    <a:pt x="37" y="580"/>
                  </a:lnTo>
                  <a:lnTo>
                    <a:pt x="39" y="582"/>
                  </a:lnTo>
                  <a:lnTo>
                    <a:pt x="43" y="583"/>
                  </a:lnTo>
                  <a:lnTo>
                    <a:pt x="43" y="585"/>
                  </a:lnTo>
                  <a:lnTo>
                    <a:pt x="45" y="587"/>
                  </a:lnTo>
                  <a:lnTo>
                    <a:pt x="49" y="589"/>
                  </a:lnTo>
                  <a:lnTo>
                    <a:pt x="49" y="595"/>
                  </a:lnTo>
                  <a:lnTo>
                    <a:pt x="43" y="600"/>
                  </a:lnTo>
                  <a:lnTo>
                    <a:pt x="39" y="600"/>
                  </a:lnTo>
                  <a:lnTo>
                    <a:pt x="37" y="600"/>
                  </a:lnTo>
                  <a:lnTo>
                    <a:pt x="37" y="604"/>
                  </a:lnTo>
                  <a:lnTo>
                    <a:pt x="39" y="608"/>
                  </a:lnTo>
                  <a:lnTo>
                    <a:pt x="37" y="610"/>
                  </a:lnTo>
                  <a:lnTo>
                    <a:pt x="37" y="614"/>
                  </a:lnTo>
                  <a:lnTo>
                    <a:pt x="39" y="614"/>
                  </a:lnTo>
                  <a:lnTo>
                    <a:pt x="37" y="617"/>
                  </a:lnTo>
                  <a:lnTo>
                    <a:pt x="34" y="623"/>
                  </a:lnTo>
                  <a:lnTo>
                    <a:pt x="34" y="629"/>
                  </a:lnTo>
                  <a:lnTo>
                    <a:pt x="35" y="629"/>
                  </a:lnTo>
                  <a:lnTo>
                    <a:pt x="35" y="631"/>
                  </a:lnTo>
                  <a:lnTo>
                    <a:pt x="35" y="636"/>
                  </a:lnTo>
                  <a:lnTo>
                    <a:pt x="32" y="638"/>
                  </a:lnTo>
                  <a:lnTo>
                    <a:pt x="32" y="644"/>
                  </a:lnTo>
                  <a:lnTo>
                    <a:pt x="30" y="640"/>
                  </a:lnTo>
                  <a:lnTo>
                    <a:pt x="32" y="638"/>
                  </a:lnTo>
                  <a:lnTo>
                    <a:pt x="34" y="634"/>
                  </a:lnTo>
                  <a:lnTo>
                    <a:pt x="32" y="631"/>
                  </a:lnTo>
                  <a:lnTo>
                    <a:pt x="34" y="629"/>
                  </a:lnTo>
                  <a:lnTo>
                    <a:pt x="32" y="629"/>
                  </a:lnTo>
                  <a:lnTo>
                    <a:pt x="26" y="629"/>
                  </a:lnTo>
                  <a:lnTo>
                    <a:pt x="22" y="631"/>
                  </a:lnTo>
                  <a:lnTo>
                    <a:pt x="20" y="631"/>
                  </a:lnTo>
                  <a:lnTo>
                    <a:pt x="20" y="631"/>
                  </a:lnTo>
                  <a:lnTo>
                    <a:pt x="24" y="629"/>
                  </a:lnTo>
                  <a:lnTo>
                    <a:pt x="26" y="627"/>
                  </a:lnTo>
                  <a:lnTo>
                    <a:pt x="26" y="621"/>
                  </a:lnTo>
                  <a:lnTo>
                    <a:pt x="24" y="621"/>
                  </a:lnTo>
                  <a:lnTo>
                    <a:pt x="20" y="623"/>
                  </a:lnTo>
                  <a:lnTo>
                    <a:pt x="15" y="623"/>
                  </a:lnTo>
                  <a:lnTo>
                    <a:pt x="13" y="621"/>
                  </a:lnTo>
                  <a:lnTo>
                    <a:pt x="11" y="623"/>
                  </a:lnTo>
                  <a:lnTo>
                    <a:pt x="11" y="625"/>
                  </a:lnTo>
                  <a:lnTo>
                    <a:pt x="13" y="629"/>
                  </a:lnTo>
                  <a:lnTo>
                    <a:pt x="15" y="629"/>
                  </a:lnTo>
                  <a:lnTo>
                    <a:pt x="15" y="631"/>
                  </a:lnTo>
                  <a:lnTo>
                    <a:pt x="13" y="631"/>
                  </a:lnTo>
                  <a:lnTo>
                    <a:pt x="11" y="634"/>
                  </a:lnTo>
                  <a:lnTo>
                    <a:pt x="9" y="636"/>
                  </a:lnTo>
                  <a:lnTo>
                    <a:pt x="7" y="640"/>
                  </a:lnTo>
                  <a:lnTo>
                    <a:pt x="2" y="644"/>
                  </a:lnTo>
                  <a:lnTo>
                    <a:pt x="2" y="646"/>
                  </a:lnTo>
                  <a:lnTo>
                    <a:pt x="7" y="651"/>
                  </a:lnTo>
                  <a:lnTo>
                    <a:pt x="11" y="651"/>
                  </a:lnTo>
                  <a:lnTo>
                    <a:pt x="13" y="649"/>
                  </a:lnTo>
                  <a:lnTo>
                    <a:pt x="11" y="647"/>
                  </a:lnTo>
                  <a:lnTo>
                    <a:pt x="7" y="646"/>
                  </a:lnTo>
                  <a:lnTo>
                    <a:pt x="7" y="644"/>
                  </a:lnTo>
                  <a:lnTo>
                    <a:pt x="9" y="640"/>
                  </a:lnTo>
                  <a:lnTo>
                    <a:pt x="15" y="640"/>
                  </a:lnTo>
                  <a:lnTo>
                    <a:pt x="15" y="638"/>
                  </a:lnTo>
                  <a:lnTo>
                    <a:pt x="15" y="644"/>
                  </a:lnTo>
                  <a:lnTo>
                    <a:pt x="18" y="646"/>
                  </a:lnTo>
                  <a:lnTo>
                    <a:pt x="22" y="646"/>
                  </a:lnTo>
                  <a:lnTo>
                    <a:pt x="24" y="644"/>
                  </a:lnTo>
                  <a:lnTo>
                    <a:pt x="26" y="646"/>
                  </a:lnTo>
                  <a:lnTo>
                    <a:pt x="28" y="647"/>
                  </a:lnTo>
                  <a:lnTo>
                    <a:pt x="34" y="649"/>
                  </a:lnTo>
                  <a:lnTo>
                    <a:pt x="35" y="651"/>
                  </a:lnTo>
                  <a:lnTo>
                    <a:pt x="34" y="653"/>
                  </a:lnTo>
                  <a:lnTo>
                    <a:pt x="32" y="655"/>
                  </a:lnTo>
                  <a:lnTo>
                    <a:pt x="34" y="655"/>
                  </a:lnTo>
                  <a:lnTo>
                    <a:pt x="32" y="659"/>
                  </a:lnTo>
                  <a:lnTo>
                    <a:pt x="30" y="661"/>
                  </a:lnTo>
                  <a:lnTo>
                    <a:pt x="32" y="663"/>
                  </a:lnTo>
                  <a:lnTo>
                    <a:pt x="35" y="664"/>
                  </a:lnTo>
                  <a:lnTo>
                    <a:pt x="34" y="664"/>
                  </a:lnTo>
                  <a:lnTo>
                    <a:pt x="32" y="664"/>
                  </a:lnTo>
                  <a:lnTo>
                    <a:pt x="30" y="663"/>
                  </a:lnTo>
                  <a:lnTo>
                    <a:pt x="28" y="664"/>
                  </a:lnTo>
                  <a:lnTo>
                    <a:pt x="28" y="664"/>
                  </a:lnTo>
                  <a:lnTo>
                    <a:pt x="30" y="668"/>
                  </a:lnTo>
                  <a:lnTo>
                    <a:pt x="32" y="670"/>
                  </a:lnTo>
                  <a:lnTo>
                    <a:pt x="37" y="670"/>
                  </a:lnTo>
                  <a:lnTo>
                    <a:pt x="39" y="668"/>
                  </a:lnTo>
                  <a:lnTo>
                    <a:pt x="43" y="670"/>
                  </a:lnTo>
                  <a:lnTo>
                    <a:pt x="45" y="670"/>
                  </a:lnTo>
                  <a:lnTo>
                    <a:pt x="49" y="668"/>
                  </a:lnTo>
                  <a:lnTo>
                    <a:pt x="49" y="674"/>
                  </a:lnTo>
                  <a:lnTo>
                    <a:pt x="49" y="674"/>
                  </a:lnTo>
                  <a:lnTo>
                    <a:pt x="45" y="674"/>
                  </a:lnTo>
                  <a:lnTo>
                    <a:pt x="43" y="674"/>
                  </a:lnTo>
                  <a:lnTo>
                    <a:pt x="43" y="676"/>
                  </a:lnTo>
                  <a:lnTo>
                    <a:pt x="39" y="674"/>
                  </a:lnTo>
                  <a:lnTo>
                    <a:pt x="34" y="674"/>
                  </a:lnTo>
                  <a:lnTo>
                    <a:pt x="34" y="678"/>
                  </a:lnTo>
                  <a:lnTo>
                    <a:pt x="34" y="680"/>
                  </a:lnTo>
                  <a:lnTo>
                    <a:pt x="37" y="681"/>
                  </a:lnTo>
                  <a:lnTo>
                    <a:pt x="37" y="685"/>
                  </a:lnTo>
                  <a:lnTo>
                    <a:pt x="39" y="685"/>
                  </a:lnTo>
                  <a:lnTo>
                    <a:pt x="43" y="685"/>
                  </a:lnTo>
                  <a:lnTo>
                    <a:pt x="43" y="687"/>
                  </a:lnTo>
                  <a:lnTo>
                    <a:pt x="39" y="689"/>
                  </a:lnTo>
                  <a:lnTo>
                    <a:pt x="39" y="691"/>
                  </a:lnTo>
                  <a:lnTo>
                    <a:pt x="39" y="693"/>
                  </a:lnTo>
                  <a:lnTo>
                    <a:pt x="39" y="695"/>
                  </a:lnTo>
                  <a:lnTo>
                    <a:pt x="39" y="695"/>
                  </a:lnTo>
                  <a:lnTo>
                    <a:pt x="37" y="698"/>
                  </a:lnTo>
                  <a:lnTo>
                    <a:pt x="39" y="706"/>
                  </a:lnTo>
                  <a:lnTo>
                    <a:pt x="43" y="708"/>
                  </a:lnTo>
                  <a:lnTo>
                    <a:pt x="43" y="713"/>
                  </a:lnTo>
                  <a:lnTo>
                    <a:pt x="43" y="717"/>
                  </a:lnTo>
                  <a:lnTo>
                    <a:pt x="49" y="717"/>
                  </a:lnTo>
                  <a:lnTo>
                    <a:pt x="49" y="712"/>
                  </a:lnTo>
                  <a:lnTo>
                    <a:pt x="49" y="704"/>
                  </a:lnTo>
                  <a:lnTo>
                    <a:pt x="50" y="704"/>
                  </a:lnTo>
                  <a:lnTo>
                    <a:pt x="52" y="704"/>
                  </a:lnTo>
                  <a:lnTo>
                    <a:pt x="50" y="704"/>
                  </a:lnTo>
                  <a:lnTo>
                    <a:pt x="49" y="712"/>
                  </a:lnTo>
                  <a:lnTo>
                    <a:pt x="49" y="715"/>
                  </a:lnTo>
                  <a:lnTo>
                    <a:pt x="50" y="717"/>
                  </a:lnTo>
                  <a:lnTo>
                    <a:pt x="52" y="717"/>
                  </a:lnTo>
                  <a:lnTo>
                    <a:pt x="52" y="717"/>
                  </a:lnTo>
                  <a:lnTo>
                    <a:pt x="49" y="719"/>
                  </a:lnTo>
                  <a:lnTo>
                    <a:pt x="45" y="721"/>
                  </a:lnTo>
                  <a:lnTo>
                    <a:pt x="45" y="723"/>
                  </a:lnTo>
                  <a:lnTo>
                    <a:pt x="45" y="725"/>
                  </a:lnTo>
                  <a:lnTo>
                    <a:pt x="45" y="728"/>
                  </a:lnTo>
                  <a:lnTo>
                    <a:pt x="43" y="730"/>
                  </a:lnTo>
                  <a:lnTo>
                    <a:pt x="43" y="734"/>
                  </a:lnTo>
                  <a:lnTo>
                    <a:pt x="43" y="738"/>
                  </a:lnTo>
                  <a:lnTo>
                    <a:pt x="49" y="740"/>
                  </a:lnTo>
                  <a:lnTo>
                    <a:pt x="54" y="742"/>
                  </a:lnTo>
                  <a:lnTo>
                    <a:pt x="56" y="744"/>
                  </a:lnTo>
                  <a:lnTo>
                    <a:pt x="56" y="745"/>
                  </a:lnTo>
                  <a:lnTo>
                    <a:pt x="54" y="745"/>
                  </a:lnTo>
                  <a:lnTo>
                    <a:pt x="56" y="749"/>
                  </a:lnTo>
                  <a:lnTo>
                    <a:pt x="56" y="751"/>
                  </a:lnTo>
                  <a:lnTo>
                    <a:pt x="60" y="747"/>
                  </a:lnTo>
                  <a:lnTo>
                    <a:pt x="60" y="751"/>
                  </a:lnTo>
                  <a:lnTo>
                    <a:pt x="60" y="753"/>
                  </a:lnTo>
                  <a:lnTo>
                    <a:pt x="56" y="755"/>
                  </a:lnTo>
                  <a:lnTo>
                    <a:pt x="54" y="757"/>
                  </a:lnTo>
                  <a:lnTo>
                    <a:pt x="56" y="759"/>
                  </a:lnTo>
                  <a:lnTo>
                    <a:pt x="58" y="759"/>
                  </a:lnTo>
                  <a:lnTo>
                    <a:pt x="58" y="759"/>
                  </a:lnTo>
                  <a:lnTo>
                    <a:pt x="62" y="762"/>
                  </a:lnTo>
                  <a:lnTo>
                    <a:pt x="64" y="762"/>
                  </a:lnTo>
                  <a:lnTo>
                    <a:pt x="64" y="762"/>
                  </a:lnTo>
                  <a:lnTo>
                    <a:pt x="64" y="764"/>
                  </a:lnTo>
                  <a:lnTo>
                    <a:pt x="64" y="768"/>
                  </a:lnTo>
                  <a:lnTo>
                    <a:pt x="64" y="768"/>
                  </a:lnTo>
                  <a:lnTo>
                    <a:pt x="62" y="768"/>
                  </a:lnTo>
                  <a:lnTo>
                    <a:pt x="60" y="768"/>
                  </a:lnTo>
                  <a:lnTo>
                    <a:pt x="60" y="770"/>
                  </a:lnTo>
                  <a:lnTo>
                    <a:pt x="64" y="774"/>
                  </a:lnTo>
                  <a:lnTo>
                    <a:pt x="64" y="774"/>
                  </a:lnTo>
                  <a:lnTo>
                    <a:pt x="64" y="777"/>
                  </a:lnTo>
                  <a:lnTo>
                    <a:pt x="67" y="779"/>
                  </a:lnTo>
                  <a:lnTo>
                    <a:pt x="69" y="783"/>
                  </a:lnTo>
                  <a:lnTo>
                    <a:pt x="73" y="783"/>
                  </a:lnTo>
                  <a:lnTo>
                    <a:pt x="69" y="777"/>
                  </a:lnTo>
                  <a:lnTo>
                    <a:pt x="73" y="776"/>
                  </a:lnTo>
                  <a:lnTo>
                    <a:pt x="69" y="772"/>
                  </a:lnTo>
                  <a:lnTo>
                    <a:pt x="73" y="776"/>
                  </a:lnTo>
                  <a:lnTo>
                    <a:pt x="73" y="777"/>
                  </a:lnTo>
                  <a:lnTo>
                    <a:pt x="77" y="781"/>
                  </a:lnTo>
                  <a:lnTo>
                    <a:pt x="77" y="777"/>
                  </a:lnTo>
                  <a:lnTo>
                    <a:pt x="81" y="776"/>
                  </a:lnTo>
                  <a:lnTo>
                    <a:pt x="81" y="772"/>
                  </a:lnTo>
                  <a:lnTo>
                    <a:pt x="77" y="772"/>
                  </a:lnTo>
                  <a:lnTo>
                    <a:pt x="73" y="770"/>
                  </a:lnTo>
                  <a:lnTo>
                    <a:pt x="73" y="770"/>
                  </a:lnTo>
                  <a:lnTo>
                    <a:pt x="75" y="770"/>
                  </a:lnTo>
                  <a:lnTo>
                    <a:pt x="82" y="772"/>
                  </a:lnTo>
                  <a:lnTo>
                    <a:pt x="82" y="772"/>
                  </a:lnTo>
                  <a:lnTo>
                    <a:pt x="86" y="772"/>
                  </a:lnTo>
                  <a:lnTo>
                    <a:pt x="86" y="770"/>
                  </a:lnTo>
                  <a:lnTo>
                    <a:pt x="82" y="768"/>
                  </a:lnTo>
                  <a:lnTo>
                    <a:pt x="75" y="768"/>
                  </a:lnTo>
                  <a:lnTo>
                    <a:pt x="75" y="764"/>
                  </a:lnTo>
                  <a:lnTo>
                    <a:pt x="77" y="764"/>
                  </a:lnTo>
                  <a:lnTo>
                    <a:pt x="82" y="768"/>
                  </a:lnTo>
                  <a:lnTo>
                    <a:pt x="88" y="770"/>
                  </a:lnTo>
                  <a:lnTo>
                    <a:pt x="88" y="776"/>
                  </a:lnTo>
                  <a:lnTo>
                    <a:pt x="88" y="777"/>
                  </a:lnTo>
                  <a:lnTo>
                    <a:pt x="88" y="781"/>
                  </a:lnTo>
                  <a:lnTo>
                    <a:pt x="88" y="785"/>
                  </a:lnTo>
                  <a:lnTo>
                    <a:pt x="88" y="789"/>
                  </a:lnTo>
                  <a:lnTo>
                    <a:pt x="86" y="789"/>
                  </a:lnTo>
                  <a:lnTo>
                    <a:pt x="88" y="787"/>
                  </a:lnTo>
                  <a:lnTo>
                    <a:pt x="86" y="779"/>
                  </a:lnTo>
                  <a:lnTo>
                    <a:pt x="82" y="777"/>
                  </a:lnTo>
                  <a:lnTo>
                    <a:pt x="81" y="779"/>
                  </a:lnTo>
                  <a:lnTo>
                    <a:pt x="81" y="783"/>
                  </a:lnTo>
                  <a:lnTo>
                    <a:pt x="82" y="785"/>
                  </a:lnTo>
                  <a:lnTo>
                    <a:pt x="81" y="789"/>
                  </a:lnTo>
                  <a:lnTo>
                    <a:pt x="81" y="787"/>
                  </a:lnTo>
                  <a:lnTo>
                    <a:pt x="79" y="783"/>
                  </a:lnTo>
                  <a:lnTo>
                    <a:pt x="77" y="783"/>
                  </a:lnTo>
                  <a:lnTo>
                    <a:pt x="73" y="785"/>
                  </a:lnTo>
                  <a:lnTo>
                    <a:pt x="69" y="785"/>
                  </a:lnTo>
                  <a:lnTo>
                    <a:pt x="67" y="787"/>
                  </a:lnTo>
                  <a:lnTo>
                    <a:pt x="69" y="789"/>
                  </a:lnTo>
                  <a:lnTo>
                    <a:pt x="69" y="793"/>
                  </a:lnTo>
                  <a:lnTo>
                    <a:pt x="73" y="798"/>
                  </a:lnTo>
                  <a:lnTo>
                    <a:pt x="73" y="798"/>
                  </a:lnTo>
                  <a:lnTo>
                    <a:pt x="73" y="800"/>
                  </a:lnTo>
                  <a:lnTo>
                    <a:pt x="73" y="802"/>
                  </a:lnTo>
                  <a:lnTo>
                    <a:pt x="73" y="802"/>
                  </a:lnTo>
                  <a:lnTo>
                    <a:pt x="75" y="798"/>
                  </a:lnTo>
                  <a:lnTo>
                    <a:pt x="77" y="800"/>
                  </a:lnTo>
                  <a:lnTo>
                    <a:pt x="81" y="800"/>
                  </a:lnTo>
                  <a:lnTo>
                    <a:pt x="81" y="802"/>
                  </a:lnTo>
                  <a:lnTo>
                    <a:pt x="77" y="804"/>
                  </a:lnTo>
                  <a:lnTo>
                    <a:pt x="75" y="806"/>
                  </a:lnTo>
                  <a:lnTo>
                    <a:pt x="75" y="808"/>
                  </a:lnTo>
                  <a:lnTo>
                    <a:pt x="81" y="808"/>
                  </a:lnTo>
                  <a:lnTo>
                    <a:pt x="86" y="811"/>
                  </a:lnTo>
                  <a:lnTo>
                    <a:pt x="88" y="809"/>
                  </a:lnTo>
                  <a:lnTo>
                    <a:pt x="88" y="808"/>
                  </a:lnTo>
                  <a:lnTo>
                    <a:pt x="88" y="804"/>
                  </a:lnTo>
                  <a:lnTo>
                    <a:pt x="88" y="800"/>
                  </a:lnTo>
                  <a:lnTo>
                    <a:pt x="88" y="798"/>
                  </a:lnTo>
                  <a:lnTo>
                    <a:pt x="86" y="798"/>
                  </a:lnTo>
                  <a:lnTo>
                    <a:pt x="82" y="798"/>
                  </a:lnTo>
                  <a:lnTo>
                    <a:pt x="84" y="798"/>
                  </a:lnTo>
                  <a:lnTo>
                    <a:pt x="86" y="798"/>
                  </a:lnTo>
                  <a:lnTo>
                    <a:pt x="86" y="793"/>
                  </a:lnTo>
                  <a:lnTo>
                    <a:pt x="88" y="793"/>
                  </a:lnTo>
                  <a:lnTo>
                    <a:pt x="92" y="794"/>
                  </a:lnTo>
                  <a:lnTo>
                    <a:pt x="94" y="793"/>
                  </a:lnTo>
                  <a:lnTo>
                    <a:pt x="94" y="794"/>
                  </a:lnTo>
                  <a:lnTo>
                    <a:pt x="98" y="798"/>
                  </a:lnTo>
                  <a:lnTo>
                    <a:pt x="98" y="794"/>
                  </a:lnTo>
                  <a:lnTo>
                    <a:pt x="99" y="793"/>
                  </a:lnTo>
                  <a:lnTo>
                    <a:pt x="103" y="794"/>
                  </a:lnTo>
                  <a:lnTo>
                    <a:pt x="107" y="794"/>
                  </a:lnTo>
                  <a:lnTo>
                    <a:pt x="111" y="794"/>
                  </a:lnTo>
                  <a:lnTo>
                    <a:pt x="111" y="794"/>
                  </a:lnTo>
                  <a:lnTo>
                    <a:pt x="109" y="798"/>
                  </a:lnTo>
                  <a:lnTo>
                    <a:pt x="107" y="798"/>
                  </a:lnTo>
                  <a:lnTo>
                    <a:pt x="105" y="798"/>
                  </a:lnTo>
                  <a:lnTo>
                    <a:pt x="101" y="798"/>
                  </a:lnTo>
                  <a:lnTo>
                    <a:pt x="99" y="798"/>
                  </a:lnTo>
                  <a:lnTo>
                    <a:pt x="94" y="802"/>
                  </a:lnTo>
                  <a:lnTo>
                    <a:pt x="94" y="802"/>
                  </a:lnTo>
                  <a:lnTo>
                    <a:pt x="92" y="802"/>
                  </a:lnTo>
                  <a:lnTo>
                    <a:pt x="88" y="804"/>
                  </a:lnTo>
                  <a:lnTo>
                    <a:pt x="88" y="808"/>
                  </a:lnTo>
                  <a:lnTo>
                    <a:pt x="88" y="809"/>
                  </a:lnTo>
                  <a:lnTo>
                    <a:pt x="88" y="811"/>
                  </a:lnTo>
                  <a:lnTo>
                    <a:pt x="88" y="813"/>
                  </a:lnTo>
                  <a:lnTo>
                    <a:pt x="88" y="813"/>
                  </a:lnTo>
                  <a:lnTo>
                    <a:pt x="88" y="815"/>
                  </a:lnTo>
                  <a:lnTo>
                    <a:pt x="88" y="817"/>
                  </a:lnTo>
                  <a:lnTo>
                    <a:pt x="94" y="819"/>
                  </a:lnTo>
                  <a:lnTo>
                    <a:pt x="98" y="823"/>
                  </a:lnTo>
                  <a:lnTo>
                    <a:pt x="98" y="823"/>
                  </a:lnTo>
                  <a:lnTo>
                    <a:pt x="98" y="819"/>
                  </a:lnTo>
                  <a:lnTo>
                    <a:pt x="98" y="817"/>
                  </a:lnTo>
                  <a:lnTo>
                    <a:pt x="99" y="815"/>
                  </a:lnTo>
                  <a:lnTo>
                    <a:pt x="103" y="815"/>
                  </a:lnTo>
                  <a:lnTo>
                    <a:pt x="103" y="813"/>
                  </a:lnTo>
                  <a:lnTo>
                    <a:pt x="99" y="809"/>
                  </a:lnTo>
                  <a:lnTo>
                    <a:pt x="105" y="808"/>
                  </a:lnTo>
                  <a:lnTo>
                    <a:pt x="109" y="806"/>
                  </a:lnTo>
                  <a:lnTo>
                    <a:pt x="111" y="800"/>
                  </a:lnTo>
                  <a:lnTo>
                    <a:pt x="114" y="800"/>
                  </a:lnTo>
                  <a:lnTo>
                    <a:pt x="114" y="800"/>
                  </a:lnTo>
                  <a:lnTo>
                    <a:pt x="116" y="802"/>
                  </a:lnTo>
                  <a:lnTo>
                    <a:pt x="118" y="802"/>
                  </a:lnTo>
                  <a:lnTo>
                    <a:pt x="118" y="802"/>
                  </a:lnTo>
                  <a:lnTo>
                    <a:pt x="116" y="804"/>
                  </a:lnTo>
                  <a:lnTo>
                    <a:pt x="114" y="808"/>
                  </a:lnTo>
                  <a:lnTo>
                    <a:pt x="114" y="809"/>
                  </a:lnTo>
                  <a:lnTo>
                    <a:pt x="111" y="813"/>
                  </a:lnTo>
                  <a:lnTo>
                    <a:pt x="111" y="817"/>
                  </a:lnTo>
                  <a:lnTo>
                    <a:pt x="113" y="819"/>
                  </a:lnTo>
                  <a:lnTo>
                    <a:pt x="111" y="819"/>
                  </a:lnTo>
                  <a:lnTo>
                    <a:pt x="107" y="823"/>
                  </a:lnTo>
                  <a:lnTo>
                    <a:pt x="107" y="819"/>
                  </a:lnTo>
                  <a:lnTo>
                    <a:pt x="109" y="819"/>
                  </a:lnTo>
                  <a:lnTo>
                    <a:pt x="109" y="815"/>
                  </a:lnTo>
                  <a:lnTo>
                    <a:pt x="107" y="815"/>
                  </a:lnTo>
                  <a:lnTo>
                    <a:pt x="105" y="815"/>
                  </a:lnTo>
                  <a:lnTo>
                    <a:pt x="105" y="819"/>
                  </a:lnTo>
                  <a:lnTo>
                    <a:pt x="103" y="817"/>
                  </a:lnTo>
                  <a:lnTo>
                    <a:pt x="101" y="819"/>
                  </a:lnTo>
                  <a:lnTo>
                    <a:pt x="99" y="819"/>
                  </a:lnTo>
                  <a:lnTo>
                    <a:pt x="103" y="823"/>
                  </a:lnTo>
                  <a:lnTo>
                    <a:pt x="109" y="828"/>
                  </a:lnTo>
                  <a:lnTo>
                    <a:pt x="114" y="828"/>
                  </a:lnTo>
                  <a:lnTo>
                    <a:pt x="118" y="832"/>
                  </a:lnTo>
                  <a:lnTo>
                    <a:pt x="118" y="832"/>
                  </a:lnTo>
                  <a:lnTo>
                    <a:pt x="122" y="832"/>
                  </a:lnTo>
                  <a:lnTo>
                    <a:pt x="122" y="832"/>
                  </a:lnTo>
                  <a:lnTo>
                    <a:pt x="126" y="826"/>
                  </a:lnTo>
                  <a:lnTo>
                    <a:pt x="124" y="819"/>
                  </a:lnTo>
                  <a:lnTo>
                    <a:pt x="124" y="819"/>
                  </a:lnTo>
                  <a:lnTo>
                    <a:pt x="124" y="815"/>
                  </a:lnTo>
                  <a:lnTo>
                    <a:pt x="124" y="811"/>
                  </a:lnTo>
                  <a:lnTo>
                    <a:pt x="124" y="806"/>
                  </a:lnTo>
                  <a:lnTo>
                    <a:pt x="124" y="800"/>
                  </a:lnTo>
                  <a:lnTo>
                    <a:pt x="124" y="798"/>
                  </a:lnTo>
                  <a:lnTo>
                    <a:pt x="130" y="794"/>
                  </a:lnTo>
                  <a:lnTo>
                    <a:pt x="133" y="793"/>
                  </a:lnTo>
                  <a:lnTo>
                    <a:pt x="135" y="789"/>
                  </a:lnTo>
                  <a:lnTo>
                    <a:pt x="141" y="789"/>
                  </a:lnTo>
                  <a:lnTo>
                    <a:pt x="141" y="789"/>
                  </a:lnTo>
                  <a:lnTo>
                    <a:pt x="141" y="785"/>
                  </a:lnTo>
                  <a:lnTo>
                    <a:pt x="143" y="781"/>
                  </a:lnTo>
                  <a:lnTo>
                    <a:pt x="146" y="781"/>
                  </a:lnTo>
                  <a:lnTo>
                    <a:pt x="150" y="783"/>
                  </a:lnTo>
                  <a:lnTo>
                    <a:pt x="156" y="783"/>
                  </a:lnTo>
                  <a:lnTo>
                    <a:pt x="156" y="783"/>
                  </a:lnTo>
                  <a:lnTo>
                    <a:pt x="156" y="783"/>
                  </a:lnTo>
                  <a:lnTo>
                    <a:pt x="156" y="783"/>
                  </a:lnTo>
                  <a:lnTo>
                    <a:pt x="156" y="783"/>
                  </a:lnTo>
                  <a:close/>
                  <a:moveTo>
                    <a:pt x="192" y="881"/>
                  </a:moveTo>
                  <a:lnTo>
                    <a:pt x="192" y="883"/>
                  </a:lnTo>
                  <a:lnTo>
                    <a:pt x="195" y="881"/>
                  </a:lnTo>
                  <a:lnTo>
                    <a:pt x="192" y="881"/>
                  </a:lnTo>
                  <a:lnTo>
                    <a:pt x="192" y="881"/>
                  </a:lnTo>
                  <a:lnTo>
                    <a:pt x="192" y="881"/>
                  </a:lnTo>
                  <a:lnTo>
                    <a:pt x="192" y="881"/>
                  </a:lnTo>
                  <a:lnTo>
                    <a:pt x="192" y="881"/>
                  </a:lnTo>
                  <a:lnTo>
                    <a:pt x="192" y="881"/>
                  </a:lnTo>
                  <a:close/>
                  <a:moveTo>
                    <a:pt x="24" y="542"/>
                  </a:moveTo>
                  <a:lnTo>
                    <a:pt x="20" y="540"/>
                  </a:lnTo>
                  <a:lnTo>
                    <a:pt x="18" y="540"/>
                  </a:lnTo>
                  <a:lnTo>
                    <a:pt x="18" y="544"/>
                  </a:lnTo>
                  <a:lnTo>
                    <a:pt x="24" y="550"/>
                  </a:lnTo>
                  <a:lnTo>
                    <a:pt x="22" y="550"/>
                  </a:lnTo>
                  <a:lnTo>
                    <a:pt x="26" y="553"/>
                  </a:lnTo>
                  <a:lnTo>
                    <a:pt x="24" y="553"/>
                  </a:lnTo>
                  <a:lnTo>
                    <a:pt x="20" y="553"/>
                  </a:lnTo>
                  <a:lnTo>
                    <a:pt x="20" y="555"/>
                  </a:lnTo>
                  <a:lnTo>
                    <a:pt x="20" y="559"/>
                  </a:lnTo>
                  <a:lnTo>
                    <a:pt x="20" y="561"/>
                  </a:lnTo>
                  <a:lnTo>
                    <a:pt x="15" y="561"/>
                  </a:lnTo>
                  <a:lnTo>
                    <a:pt x="11" y="561"/>
                  </a:lnTo>
                  <a:lnTo>
                    <a:pt x="13" y="555"/>
                  </a:lnTo>
                  <a:lnTo>
                    <a:pt x="11" y="544"/>
                  </a:lnTo>
                  <a:lnTo>
                    <a:pt x="11" y="540"/>
                  </a:lnTo>
                  <a:lnTo>
                    <a:pt x="9" y="540"/>
                  </a:lnTo>
                  <a:lnTo>
                    <a:pt x="7" y="536"/>
                  </a:lnTo>
                  <a:lnTo>
                    <a:pt x="9" y="534"/>
                  </a:lnTo>
                  <a:lnTo>
                    <a:pt x="11" y="533"/>
                  </a:lnTo>
                  <a:lnTo>
                    <a:pt x="11" y="529"/>
                  </a:lnTo>
                  <a:lnTo>
                    <a:pt x="11" y="527"/>
                  </a:lnTo>
                  <a:lnTo>
                    <a:pt x="11" y="525"/>
                  </a:lnTo>
                  <a:lnTo>
                    <a:pt x="13" y="523"/>
                  </a:lnTo>
                  <a:lnTo>
                    <a:pt x="15" y="523"/>
                  </a:lnTo>
                  <a:lnTo>
                    <a:pt x="18" y="525"/>
                  </a:lnTo>
                  <a:lnTo>
                    <a:pt x="22" y="529"/>
                  </a:lnTo>
                  <a:lnTo>
                    <a:pt x="22" y="534"/>
                  </a:lnTo>
                  <a:lnTo>
                    <a:pt x="22" y="536"/>
                  </a:lnTo>
                  <a:lnTo>
                    <a:pt x="22" y="540"/>
                  </a:lnTo>
                  <a:lnTo>
                    <a:pt x="18" y="536"/>
                  </a:lnTo>
                  <a:lnTo>
                    <a:pt x="24" y="540"/>
                  </a:lnTo>
                  <a:lnTo>
                    <a:pt x="24" y="542"/>
                  </a:lnTo>
                  <a:lnTo>
                    <a:pt x="24" y="542"/>
                  </a:lnTo>
                  <a:lnTo>
                    <a:pt x="24" y="542"/>
                  </a:lnTo>
                  <a:lnTo>
                    <a:pt x="24" y="542"/>
                  </a:lnTo>
                  <a:lnTo>
                    <a:pt x="24" y="542"/>
                  </a:lnTo>
                  <a:close/>
                  <a:moveTo>
                    <a:pt x="28" y="534"/>
                  </a:moveTo>
                  <a:lnTo>
                    <a:pt x="30" y="534"/>
                  </a:lnTo>
                  <a:lnTo>
                    <a:pt x="32" y="536"/>
                  </a:lnTo>
                  <a:lnTo>
                    <a:pt x="30" y="536"/>
                  </a:lnTo>
                  <a:lnTo>
                    <a:pt x="28" y="534"/>
                  </a:lnTo>
                  <a:lnTo>
                    <a:pt x="28" y="534"/>
                  </a:lnTo>
                  <a:lnTo>
                    <a:pt x="28" y="534"/>
                  </a:lnTo>
                  <a:lnTo>
                    <a:pt x="28" y="534"/>
                  </a:lnTo>
                  <a:close/>
                  <a:moveTo>
                    <a:pt x="5" y="570"/>
                  </a:moveTo>
                  <a:lnTo>
                    <a:pt x="7" y="568"/>
                  </a:lnTo>
                  <a:lnTo>
                    <a:pt x="11" y="568"/>
                  </a:lnTo>
                  <a:lnTo>
                    <a:pt x="13" y="570"/>
                  </a:lnTo>
                  <a:lnTo>
                    <a:pt x="9" y="570"/>
                  </a:lnTo>
                  <a:lnTo>
                    <a:pt x="5" y="570"/>
                  </a:lnTo>
                  <a:lnTo>
                    <a:pt x="5" y="570"/>
                  </a:lnTo>
                  <a:lnTo>
                    <a:pt x="5" y="570"/>
                  </a:lnTo>
                  <a:lnTo>
                    <a:pt x="5" y="570"/>
                  </a:lnTo>
                  <a:close/>
                  <a:moveTo>
                    <a:pt x="32" y="574"/>
                  </a:moveTo>
                  <a:lnTo>
                    <a:pt x="35" y="570"/>
                  </a:lnTo>
                  <a:lnTo>
                    <a:pt x="35" y="574"/>
                  </a:lnTo>
                  <a:lnTo>
                    <a:pt x="34" y="576"/>
                  </a:lnTo>
                  <a:lnTo>
                    <a:pt x="32" y="574"/>
                  </a:lnTo>
                  <a:lnTo>
                    <a:pt x="32" y="574"/>
                  </a:lnTo>
                  <a:lnTo>
                    <a:pt x="32" y="574"/>
                  </a:lnTo>
                  <a:lnTo>
                    <a:pt x="32" y="574"/>
                  </a:lnTo>
                  <a:close/>
                  <a:moveTo>
                    <a:pt x="26" y="574"/>
                  </a:moveTo>
                  <a:lnTo>
                    <a:pt x="28" y="574"/>
                  </a:lnTo>
                  <a:lnTo>
                    <a:pt x="30" y="576"/>
                  </a:lnTo>
                  <a:lnTo>
                    <a:pt x="26" y="580"/>
                  </a:lnTo>
                  <a:lnTo>
                    <a:pt x="26" y="576"/>
                  </a:lnTo>
                  <a:lnTo>
                    <a:pt x="24" y="574"/>
                  </a:lnTo>
                  <a:lnTo>
                    <a:pt x="26" y="574"/>
                  </a:lnTo>
                  <a:lnTo>
                    <a:pt x="26" y="574"/>
                  </a:lnTo>
                  <a:lnTo>
                    <a:pt x="26" y="574"/>
                  </a:lnTo>
                  <a:lnTo>
                    <a:pt x="26" y="574"/>
                  </a:lnTo>
                  <a:close/>
                  <a:moveTo>
                    <a:pt x="18" y="570"/>
                  </a:moveTo>
                  <a:lnTo>
                    <a:pt x="18" y="570"/>
                  </a:lnTo>
                  <a:lnTo>
                    <a:pt x="22" y="570"/>
                  </a:lnTo>
                  <a:lnTo>
                    <a:pt x="18" y="574"/>
                  </a:lnTo>
                  <a:lnTo>
                    <a:pt x="18" y="570"/>
                  </a:lnTo>
                  <a:lnTo>
                    <a:pt x="18" y="570"/>
                  </a:lnTo>
                  <a:lnTo>
                    <a:pt x="18" y="570"/>
                  </a:lnTo>
                  <a:lnTo>
                    <a:pt x="18" y="570"/>
                  </a:lnTo>
                  <a:close/>
                  <a:moveTo>
                    <a:pt x="18" y="580"/>
                  </a:moveTo>
                  <a:lnTo>
                    <a:pt x="18" y="580"/>
                  </a:lnTo>
                  <a:lnTo>
                    <a:pt x="20" y="580"/>
                  </a:lnTo>
                  <a:lnTo>
                    <a:pt x="20" y="582"/>
                  </a:lnTo>
                  <a:lnTo>
                    <a:pt x="18" y="580"/>
                  </a:lnTo>
                  <a:lnTo>
                    <a:pt x="18" y="580"/>
                  </a:lnTo>
                  <a:lnTo>
                    <a:pt x="18" y="580"/>
                  </a:lnTo>
                  <a:lnTo>
                    <a:pt x="18" y="580"/>
                  </a:lnTo>
                  <a:close/>
                  <a:moveTo>
                    <a:pt x="15" y="583"/>
                  </a:moveTo>
                  <a:lnTo>
                    <a:pt x="15" y="582"/>
                  </a:lnTo>
                  <a:lnTo>
                    <a:pt x="18" y="582"/>
                  </a:lnTo>
                  <a:lnTo>
                    <a:pt x="18" y="583"/>
                  </a:lnTo>
                  <a:lnTo>
                    <a:pt x="18" y="585"/>
                  </a:lnTo>
                  <a:lnTo>
                    <a:pt x="15" y="585"/>
                  </a:lnTo>
                  <a:lnTo>
                    <a:pt x="15" y="585"/>
                  </a:lnTo>
                  <a:lnTo>
                    <a:pt x="15" y="583"/>
                  </a:lnTo>
                  <a:lnTo>
                    <a:pt x="15" y="583"/>
                  </a:lnTo>
                  <a:lnTo>
                    <a:pt x="15" y="583"/>
                  </a:lnTo>
                  <a:lnTo>
                    <a:pt x="15" y="583"/>
                  </a:lnTo>
                  <a:close/>
                  <a:moveTo>
                    <a:pt x="11" y="589"/>
                  </a:moveTo>
                  <a:lnTo>
                    <a:pt x="13" y="593"/>
                  </a:lnTo>
                  <a:lnTo>
                    <a:pt x="11" y="595"/>
                  </a:lnTo>
                  <a:lnTo>
                    <a:pt x="9" y="593"/>
                  </a:lnTo>
                  <a:lnTo>
                    <a:pt x="11" y="589"/>
                  </a:lnTo>
                  <a:lnTo>
                    <a:pt x="11" y="589"/>
                  </a:lnTo>
                  <a:lnTo>
                    <a:pt x="11" y="589"/>
                  </a:lnTo>
                  <a:lnTo>
                    <a:pt x="11" y="589"/>
                  </a:lnTo>
                  <a:close/>
                  <a:moveTo>
                    <a:pt x="28" y="589"/>
                  </a:moveTo>
                  <a:lnTo>
                    <a:pt x="30" y="593"/>
                  </a:lnTo>
                  <a:lnTo>
                    <a:pt x="26" y="593"/>
                  </a:lnTo>
                  <a:lnTo>
                    <a:pt x="28" y="589"/>
                  </a:lnTo>
                  <a:lnTo>
                    <a:pt x="28" y="589"/>
                  </a:lnTo>
                  <a:lnTo>
                    <a:pt x="28" y="589"/>
                  </a:lnTo>
                  <a:lnTo>
                    <a:pt x="28" y="589"/>
                  </a:lnTo>
                  <a:close/>
                  <a:moveTo>
                    <a:pt x="22" y="587"/>
                  </a:moveTo>
                  <a:lnTo>
                    <a:pt x="26" y="585"/>
                  </a:lnTo>
                  <a:lnTo>
                    <a:pt x="26" y="591"/>
                  </a:lnTo>
                  <a:lnTo>
                    <a:pt x="22" y="587"/>
                  </a:lnTo>
                  <a:lnTo>
                    <a:pt x="22" y="587"/>
                  </a:lnTo>
                  <a:lnTo>
                    <a:pt x="22" y="587"/>
                  </a:lnTo>
                  <a:lnTo>
                    <a:pt x="22" y="587"/>
                  </a:lnTo>
                  <a:close/>
                  <a:moveTo>
                    <a:pt x="15" y="615"/>
                  </a:moveTo>
                  <a:lnTo>
                    <a:pt x="15" y="615"/>
                  </a:lnTo>
                  <a:lnTo>
                    <a:pt x="18" y="619"/>
                  </a:lnTo>
                  <a:lnTo>
                    <a:pt x="15" y="619"/>
                  </a:lnTo>
                  <a:lnTo>
                    <a:pt x="15" y="615"/>
                  </a:lnTo>
                  <a:lnTo>
                    <a:pt x="15" y="615"/>
                  </a:lnTo>
                  <a:lnTo>
                    <a:pt x="15" y="615"/>
                  </a:lnTo>
                  <a:lnTo>
                    <a:pt x="15" y="615"/>
                  </a:lnTo>
                  <a:close/>
                  <a:moveTo>
                    <a:pt x="15" y="593"/>
                  </a:moveTo>
                  <a:lnTo>
                    <a:pt x="15" y="589"/>
                  </a:lnTo>
                  <a:lnTo>
                    <a:pt x="15" y="587"/>
                  </a:lnTo>
                  <a:lnTo>
                    <a:pt x="18" y="587"/>
                  </a:lnTo>
                  <a:lnTo>
                    <a:pt x="18" y="591"/>
                  </a:lnTo>
                  <a:lnTo>
                    <a:pt x="18" y="591"/>
                  </a:lnTo>
                  <a:lnTo>
                    <a:pt x="15" y="593"/>
                  </a:lnTo>
                  <a:lnTo>
                    <a:pt x="15" y="593"/>
                  </a:lnTo>
                  <a:lnTo>
                    <a:pt x="15" y="593"/>
                  </a:lnTo>
                  <a:lnTo>
                    <a:pt x="15" y="593"/>
                  </a:lnTo>
                  <a:close/>
                  <a:moveTo>
                    <a:pt x="7" y="599"/>
                  </a:moveTo>
                  <a:lnTo>
                    <a:pt x="3" y="597"/>
                  </a:lnTo>
                  <a:lnTo>
                    <a:pt x="3" y="595"/>
                  </a:lnTo>
                  <a:lnTo>
                    <a:pt x="7" y="595"/>
                  </a:lnTo>
                  <a:lnTo>
                    <a:pt x="9" y="597"/>
                  </a:lnTo>
                  <a:lnTo>
                    <a:pt x="7" y="599"/>
                  </a:lnTo>
                  <a:lnTo>
                    <a:pt x="7" y="599"/>
                  </a:lnTo>
                  <a:lnTo>
                    <a:pt x="7" y="599"/>
                  </a:lnTo>
                  <a:lnTo>
                    <a:pt x="7" y="599"/>
                  </a:lnTo>
                  <a:close/>
                  <a:moveTo>
                    <a:pt x="20" y="610"/>
                  </a:moveTo>
                  <a:lnTo>
                    <a:pt x="22" y="610"/>
                  </a:lnTo>
                  <a:lnTo>
                    <a:pt x="22" y="614"/>
                  </a:lnTo>
                  <a:lnTo>
                    <a:pt x="20" y="610"/>
                  </a:lnTo>
                  <a:lnTo>
                    <a:pt x="20" y="610"/>
                  </a:lnTo>
                  <a:lnTo>
                    <a:pt x="20" y="610"/>
                  </a:lnTo>
                  <a:lnTo>
                    <a:pt x="20" y="610"/>
                  </a:lnTo>
                  <a:close/>
                  <a:moveTo>
                    <a:pt x="24" y="615"/>
                  </a:moveTo>
                  <a:lnTo>
                    <a:pt x="28" y="615"/>
                  </a:lnTo>
                  <a:lnTo>
                    <a:pt x="26" y="617"/>
                  </a:lnTo>
                  <a:lnTo>
                    <a:pt x="24" y="615"/>
                  </a:lnTo>
                  <a:lnTo>
                    <a:pt x="24" y="615"/>
                  </a:lnTo>
                  <a:lnTo>
                    <a:pt x="24" y="615"/>
                  </a:lnTo>
                  <a:lnTo>
                    <a:pt x="24" y="615"/>
                  </a:lnTo>
                  <a:close/>
                  <a:moveTo>
                    <a:pt x="32" y="582"/>
                  </a:moveTo>
                  <a:lnTo>
                    <a:pt x="34" y="582"/>
                  </a:lnTo>
                  <a:lnTo>
                    <a:pt x="37" y="583"/>
                  </a:lnTo>
                  <a:lnTo>
                    <a:pt x="34" y="583"/>
                  </a:lnTo>
                  <a:lnTo>
                    <a:pt x="32" y="582"/>
                  </a:lnTo>
                  <a:lnTo>
                    <a:pt x="32" y="582"/>
                  </a:lnTo>
                  <a:lnTo>
                    <a:pt x="32" y="582"/>
                  </a:lnTo>
                  <a:lnTo>
                    <a:pt x="32" y="582"/>
                  </a:lnTo>
                  <a:close/>
                  <a:moveTo>
                    <a:pt x="39" y="585"/>
                  </a:moveTo>
                  <a:lnTo>
                    <a:pt x="39" y="585"/>
                  </a:lnTo>
                  <a:lnTo>
                    <a:pt x="43" y="589"/>
                  </a:lnTo>
                  <a:lnTo>
                    <a:pt x="45" y="593"/>
                  </a:lnTo>
                  <a:lnTo>
                    <a:pt x="43" y="595"/>
                  </a:lnTo>
                  <a:lnTo>
                    <a:pt x="43" y="599"/>
                  </a:lnTo>
                  <a:lnTo>
                    <a:pt x="39" y="599"/>
                  </a:lnTo>
                  <a:lnTo>
                    <a:pt x="39" y="599"/>
                  </a:lnTo>
                  <a:lnTo>
                    <a:pt x="35" y="597"/>
                  </a:lnTo>
                  <a:lnTo>
                    <a:pt x="34" y="600"/>
                  </a:lnTo>
                  <a:lnTo>
                    <a:pt x="34" y="597"/>
                  </a:lnTo>
                  <a:lnTo>
                    <a:pt x="32" y="593"/>
                  </a:lnTo>
                  <a:lnTo>
                    <a:pt x="34" y="587"/>
                  </a:lnTo>
                  <a:lnTo>
                    <a:pt x="39" y="585"/>
                  </a:lnTo>
                  <a:lnTo>
                    <a:pt x="39" y="585"/>
                  </a:lnTo>
                  <a:lnTo>
                    <a:pt x="39" y="585"/>
                  </a:lnTo>
                  <a:lnTo>
                    <a:pt x="39" y="585"/>
                  </a:lnTo>
                  <a:close/>
                  <a:moveTo>
                    <a:pt x="18" y="597"/>
                  </a:moveTo>
                  <a:lnTo>
                    <a:pt x="18" y="595"/>
                  </a:lnTo>
                  <a:lnTo>
                    <a:pt x="26" y="595"/>
                  </a:lnTo>
                  <a:lnTo>
                    <a:pt x="24" y="597"/>
                  </a:lnTo>
                  <a:lnTo>
                    <a:pt x="18" y="597"/>
                  </a:lnTo>
                  <a:lnTo>
                    <a:pt x="18" y="599"/>
                  </a:lnTo>
                  <a:lnTo>
                    <a:pt x="18" y="599"/>
                  </a:lnTo>
                  <a:lnTo>
                    <a:pt x="18" y="597"/>
                  </a:lnTo>
                  <a:lnTo>
                    <a:pt x="18" y="597"/>
                  </a:lnTo>
                  <a:lnTo>
                    <a:pt x="18" y="597"/>
                  </a:lnTo>
                  <a:lnTo>
                    <a:pt x="18" y="597"/>
                  </a:lnTo>
                  <a:close/>
                  <a:moveTo>
                    <a:pt x="20" y="604"/>
                  </a:moveTo>
                  <a:lnTo>
                    <a:pt x="18" y="600"/>
                  </a:lnTo>
                  <a:lnTo>
                    <a:pt x="24" y="600"/>
                  </a:lnTo>
                  <a:lnTo>
                    <a:pt x="26" y="600"/>
                  </a:lnTo>
                  <a:lnTo>
                    <a:pt x="26" y="604"/>
                  </a:lnTo>
                  <a:lnTo>
                    <a:pt x="20" y="604"/>
                  </a:lnTo>
                  <a:lnTo>
                    <a:pt x="20" y="604"/>
                  </a:lnTo>
                  <a:lnTo>
                    <a:pt x="20" y="604"/>
                  </a:lnTo>
                  <a:lnTo>
                    <a:pt x="20" y="604"/>
                  </a:lnTo>
                  <a:close/>
                  <a:moveTo>
                    <a:pt x="22" y="606"/>
                  </a:moveTo>
                  <a:lnTo>
                    <a:pt x="26" y="604"/>
                  </a:lnTo>
                  <a:lnTo>
                    <a:pt x="30" y="604"/>
                  </a:lnTo>
                  <a:lnTo>
                    <a:pt x="30" y="610"/>
                  </a:lnTo>
                  <a:lnTo>
                    <a:pt x="28" y="614"/>
                  </a:lnTo>
                  <a:lnTo>
                    <a:pt x="26" y="612"/>
                  </a:lnTo>
                  <a:lnTo>
                    <a:pt x="24" y="608"/>
                  </a:lnTo>
                  <a:lnTo>
                    <a:pt x="22" y="606"/>
                  </a:lnTo>
                  <a:lnTo>
                    <a:pt x="22" y="606"/>
                  </a:lnTo>
                  <a:lnTo>
                    <a:pt x="22" y="606"/>
                  </a:lnTo>
                  <a:lnTo>
                    <a:pt x="22" y="606"/>
                  </a:lnTo>
                  <a:close/>
                  <a:moveTo>
                    <a:pt x="18" y="615"/>
                  </a:moveTo>
                  <a:lnTo>
                    <a:pt x="18" y="614"/>
                  </a:lnTo>
                  <a:lnTo>
                    <a:pt x="20" y="615"/>
                  </a:lnTo>
                  <a:lnTo>
                    <a:pt x="22" y="615"/>
                  </a:lnTo>
                  <a:lnTo>
                    <a:pt x="24" y="619"/>
                  </a:lnTo>
                  <a:lnTo>
                    <a:pt x="20" y="619"/>
                  </a:lnTo>
                  <a:lnTo>
                    <a:pt x="18" y="615"/>
                  </a:lnTo>
                  <a:lnTo>
                    <a:pt x="18" y="615"/>
                  </a:lnTo>
                  <a:lnTo>
                    <a:pt x="18" y="615"/>
                  </a:lnTo>
                  <a:lnTo>
                    <a:pt x="18" y="615"/>
                  </a:lnTo>
                  <a:close/>
                  <a:moveTo>
                    <a:pt x="28" y="689"/>
                  </a:moveTo>
                  <a:lnTo>
                    <a:pt x="30" y="687"/>
                  </a:lnTo>
                  <a:lnTo>
                    <a:pt x="28" y="685"/>
                  </a:lnTo>
                  <a:lnTo>
                    <a:pt x="26" y="687"/>
                  </a:lnTo>
                  <a:lnTo>
                    <a:pt x="22" y="680"/>
                  </a:lnTo>
                  <a:lnTo>
                    <a:pt x="18" y="676"/>
                  </a:lnTo>
                  <a:lnTo>
                    <a:pt x="20" y="674"/>
                  </a:lnTo>
                  <a:lnTo>
                    <a:pt x="24" y="674"/>
                  </a:lnTo>
                  <a:lnTo>
                    <a:pt x="26" y="674"/>
                  </a:lnTo>
                  <a:lnTo>
                    <a:pt x="28" y="678"/>
                  </a:lnTo>
                  <a:lnTo>
                    <a:pt x="32" y="680"/>
                  </a:lnTo>
                  <a:lnTo>
                    <a:pt x="32" y="683"/>
                  </a:lnTo>
                  <a:lnTo>
                    <a:pt x="34" y="687"/>
                  </a:lnTo>
                  <a:lnTo>
                    <a:pt x="35" y="693"/>
                  </a:lnTo>
                  <a:lnTo>
                    <a:pt x="32" y="693"/>
                  </a:lnTo>
                  <a:lnTo>
                    <a:pt x="28" y="693"/>
                  </a:lnTo>
                  <a:lnTo>
                    <a:pt x="28" y="689"/>
                  </a:lnTo>
                  <a:lnTo>
                    <a:pt x="28" y="689"/>
                  </a:lnTo>
                  <a:lnTo>
                    <a:pt x="28" y="689"/>
                  </a:lnTo>
                  <a:lnTo>
                    <a:pt x="28" y="689"/>
                  </a:lnTo>
                  <a:close/>
                  <a:moveTo>
                    <a:pt x="15" y="681"/>
                  </a:moveTo>
                  <a:lnTo>
                    <a:pt x="15" y="680"/>
                  </a:lnTo>
                  <a:lnTo>
                    <a:pt x="15" y="678"/>
                  </a:lnTo>
                  <a:lnTo>
                    <a:pt x="18" y="678"/>
                  </a:lnTo>
                  <a:lnTo>
                    <a:pt x="22" y="687"/>
                  </a:lnTo>
                  <a:lnTo>
                    <a:pt x="26" y="691"/>
                  </a:lnTo>
                  <a:lnTo>
                    <a:pt x="26" y="695"/>
                  </a:lnTo>
                  <a:lnTo>
                    <a:pt x="24" y="698"/>
                  </a:lnTo>
                  <a:lnTo>
                    <a:pt x="20" y="695"/>
                  </a:lnTo>
                  <a:lnTo>
                    <a:pt x="20" y="691"/>
                  </a:lnTo>
                  <a:lnTo>
                    <a:pt x="20" y="689"/>
                  </a:lnTo>
                  <a:lnTo>
                    <a:pt x="18" y="687"/>
                  </a:lnTo>
                  <a:lnTo>
                    <a:pt x="15" y="685"/>
                  </a:lnTo>
                  <a:lnTo>
                    <a:pt x="15" y="681"/>
                  </a:lnTo>
                  <a:lnTo>
                    <a:pt x="15" y="681"/>
                  </a:lnTo>
                  <a:lnTo>
                    <a:pt x="15" y="681"/>
                  </a:lnTo>
                  <a:lnTo>
                    <a:pt x="15" y="681"/>
                  </a:lnTo>
                  <a:close/>
                  <a:moveTo>
                    <a:pt x="15" y="687"/>
                  </a:moveTo>
                  <a:lnTo>
                    <a:pt x="15" y="689"/>
                  </a:lnTo>
                  <a:lnTo>
                    <a:pt x="18" y="689"/>
                  </a:lnTo>
                  <a:lnTo>
                    <a:pt x="18" y="693"/>
                  </a:lnTo>
                  <a:lnTo>
                    <a:pt x="18" y="695"/>
                  </a:lnTo>
                  <a:lnTo>
                    <a:pt x="18" y="695"/>
                  </a:lnTo>
                  <a:lnTo>
                    <a:pt x="18" y="695"/>
                  </a:lnTo>
                  <a:lnTo>
                    <a:pt x="15" y="693"/>
                  </a:lnTo>
                  <a:lnTo>
                    <a:pt x="15" y="687"/>
                  </a:lnTo>
                  <a:lnTo>
                    <a:pt x="15" y="687"/>
                  </a:lnTo>
                  <a:lnTo>
                    <a:pt x="15" y="687"/>
                  </a:lnTo>
                  <a:lnTo>
                    <a:pt x="15" y="687"/>
                  </a:lnTo>
                  <a:close/>
                  <a:moveTo>
                    <a:pt x="20" y="710"/>
                  </a:moveTo>
                  <a:lnTo>
                    <a:pt x="18" y="708"/>
                  </a:lnTo>
                  <a:lnTo>
                    <a:pt x="20" y="706"/>
                  </a:lnTo>
                  <a:lnTo>
                    <a:pt x="18" y="698"/>
                  </a:lnTo>
                  <a:lnTo>
                    <a:pt x="20" y="698"/>
                  </a:lnTo>
                  <a:lnTo>
                    <a:pt x="20" y="698"/>
                  </a:lnTo>
                  <a:lnTo>
                    <a:pt x="24" y="700"/>
                  </a:lnTo>
                  <a:lnTo>
                    <a:pt x="26" y="704"/>
                  </a:lnTo>
                  <a:lnTo>
                    <a:pt x="24" y="704"/>
                  </a:lnTo>
                  <a:lnTo>
                    <a:pt x="20" y="710"/>
                  </a:lnTo>
                  <a:lnTo>
                    <a:pt x="20" y="710"/>
                  </a:lnTo>
                  <a:lnTo>
                    <a:pt x="20" y="710"/>
                  </a:lnTo>
                  <a:lnTo>
                    <a:pt x="20" y="710"/>
                  </a:lnTo>
                  <a:close/>
                  <a:moveTo>
                    <a:pt x="26" y="725"/>
                  </a:moveTo>
                  <a:lnTo>
                    <a:pt x="24" y="725"/>
                  </a:lnTo>
                  <a:lnTo>
                    <a:pt x="22" y="723"/>
                  </a:lnTo>
                  <a:lnTo>
                    <a:pt x="22" y="721"/>
                  </a:lnTo>
                  <a:lnTo>
                    <a:pt x="20" y="719"/>
                  </a:lnTo>
                  <a:lnTo>
                    <a:pt x="24" y="717"/>
                  </a:lnTo>
                  <a:lnTo>
                    <a:pt x="26" y="721"/>
                  </a:lnTo>
                  <a:lnTo>
                    <a:pt x="26" y="725"/>
                  </a:lnTo>
                  <a:lnTo>
                    <a:pt x="26" y="725"/>
                  </a:lnTo>
                  <a:lnTo>
                    <a:pt x="26" y="725"/>
                  </a:lnTo>
                  <a:lnTo>
                    <a:pt x="26" y="725"/>
                  </a:lnTo>
                  <a:close/>
                  <a:moveTo>
                    <a:pt x="35" y="723"/>
                  </a:moveTo>
                  <a:lnTo>
                    <a:pt x="35" y="725"/>
                  </a:lnTo>
                  <a:lnTo>
                    <a:pt x="34" y="725"/>
                  </a:lnTo>
                  <a:lnTo>
                    <a:pt x="30" y="725"/>
                  </a:lnTo>
                  <a:lnTo>
                    <a:pt x="28" y="719"/>
                  </a:lnTo>
                  <a:lnTo>
                    <a:pt x="24" y="712"/>
                  </a:lnTo>
                  <a:lnTo>
                    <a:pt x="28" y="712"/>
                  </a:lnTo>
                  <a:lnTo>
                    <a:pt x="32" y="710"/>
                  </a:lnTo>
                  <a:lnTo>
                    <a:pt x="32" y="706"/>
                  </a:lnTo>
                  <a:lnTo>
                    <a:pt x="30" y="708"/>
                  </a:lnTo>
                  <a:lnTo>
                    <a:pt x="28" y="708"/>
                  </a:lnTo>
                  <a:lnTo>
                    <a:pt x="28" y="706"/>
                  </a:lnTo>
                  <a:lnTo>
                    <a:pt x="28" y="704"/>
                  </a:lnTo>
                  <a:lnTo>
                    <a:pt x="26" y="700"/>
                  </a:lnTo>
                  <a:lnTo>
                    <a:pt x="26" y="698"/>
                  </a:lnTo>
                  <a:lnTo>
                    <a:pt x="28" y="695"/>
                  </a:lnTo>
                  <a:lnTo>
                    <a:pt x="34" y="695"/>
                  </a:lnTo>
                  <a:lnTo>
                    <a:pt x="37" y="698"/>
                  </a:lnTo>
                  <a:lnTo>
                    <a:pt x="39" y="704"/>
                  </a:lnTo>
                  <a:lnTo>
                    <a:pt x="39" y="710"/>
                  </a:lnTo>
                  <a:lnTo>
                    <a:pt x="39" y="717"/>
                  </a:lnTo>
                  <a:lnTo>
                    <a:pt x="39" y="717"/>
                  </a:lnTo>
                  <a:lnTo>
                    <a:pt x="43" y="723"/>
                  </a:lnTo>
                  <a:lnTo>
                    <a:pt x="43" y="728"/>
                  </a:lnTo>
                  <a:lnTo>
                    <a:pt x="39" y="728"/>
                  </a:lnTo>
                  <a:lnTo>
                    <a:pt x="37" y="728"/>
                  </a:lnTo>
                  <a:lnTo>
                    <a:pt x="37" y="725"/>
                  </a:lnTo>
                  <a:lnTo>
                    <a:pt x="35" y="723"/>
                  </a:lnTo>
                  <a:lnTo>
                    <a:pt x="35" y="723"/>
                  </a:lnTo>
                  <a:lnTo>
                    <a:pt x="35" y="723"/>
                  </a:lnTo>
                  <a:lnTo>
                    <a:pt x="35" y="723"/>
                  </a:lnTo>
                  <a:close/>
                  <a:moveTo>
                    <a:pt x="34" y="740"/>
                  </a:moveTo>
                  <a:lnTo>
                    <a:pt x="32" y="738"/>
                  </a:lnTo>
                  <a:lnTo>
                    <a:pt x="30" y="738"/>
                  </a:lnTo>
                  <a:lnTo>
                    <a:pt x="32" y="734"/>
                  </a:lnTo>
                  <a:lnTo>
                    <a:pt x="32" y="732"/>
                  </a:lnTo>
                  <a:lnTo>
                    <a:pt x="32" y="730"/>
                  </a:lnTo>
                  <a:lnTo>
                    <a:pt x="34" y="732"/>
                  </a:lnTo>
                  <a:lnTo>
                    <a:pt x="37" y="732"/>
                  </a:lnTo>
                  <a:lnTo>
                    <a:pt x="37" y="738"/>
                  </a:lnTo>
                  <a:lnTo>
                    <a:pt x="37" y="738"/>
                  </a:lnTo>
                  <a:lnTo>
                    <a:pt x="35" y="740"/>
                  </a:lnTo>
                  <a:lnTo>
                    <a:pt x="34" y="740"/>
                  </a:lnTo>
                  <a:lnTo>
                    <a:pt x="34" y="740"/>
                  </a:lnTo>
                  <a:lnTo>
                    <a:pt x="34" y="740"/>
                  </a:lnTo>
                  <a:lnTo>
                    <a:pt x="34" y="740"/>
                  </a:lnTo>
                  <a:close/>
                  <a:moveTo>
                    <a:pt x="30" y="745"/>
                  </a:moveTo>
                  <a:lnTo>
                    <a:pt x="30" y="744"/>
                  </a:lnTo>
                  <a:lnTo>
                    <a:pt x="35" y="744"/>
                  </a:lnTo>
                  <a:lnTo>
                    <a:pt x="32" y="745"/>
                  </a:lnTo>
                  <a:lnTo>
                    <a:pt x="30" y="745"/>
                  </a:lnTo>
                  <a:lnTo>
                    <a:pt x="30" y="745"/>
                  </a:lnTo>
                  <a:lnTo>
                    <a:pt x="30" y="745"/>
                  </a:lnTo>
                  <a:lnTo>
                    <a:pt x="30" y="745"/>
                  </a:lnTo>
                  <a:close/>
                  <a:moveTo>
                    <a:pt x="37" y="744"/>
                  </a:moveTo>
                  <a:lnTo>
                    <a:pt x="39" y="745"/>
                  </a:lnTo>
                  <a:lnTo>
                    <a:pt x="39" y="749"/>
                  </a:lnTo>
                  <a:lnTo>
                    <a:pt x="39" y="751"/>
                  </a:lnTo>
                  <a:lnTo>
                    <a:pt x="37" y="747"/>
                  </a:lnTo>
                  <a:lnTo>
                    <a:pt x="37" y="744"/>
                  </a:lnTo>
                  <a:lnTo>
                    <a:pt x="37" y="744"/>
                  </a:lnTo>
                  <a:lnTo>
                    <a:pt x="37" y="744"/>
                  </a:lnTo>
                  <a:lnTo>
                    <a:pt x="37" y="744"/>
                  </a:lnTo>
                  <a:close/>
                  <a:moveTo>
                    <a:pt x="39" y="742"/>
                  </a:moveTo>
                  <a:lnTo>
                    <a:pt x="39" y="740"/>
                  </a:lnTo>
                  <a:lnTo>
                    <a:pt x="43" y="740"/>
                  </a:lnTo>
                  <a:lnTo>
                    <a:pt x="43" y="744"/>
                  </a:lnTo>
                  <a:lnTo>
                    <a:pt x="49" y="744"/>
                  </a:lnTo>
                  <a:lnTo>
                    <a:pt x="49" y="749"/>
                  </a:lnTo>
                  <a:lnTo>
                    <a:pt x="50" y="753"/>
                  </a:lnTo>
                  <a:lnTo>
                    <a:pt x="49" y="747"/>
                  </a:lnTo>
                  <a:lnTo>
                    <a:pt x="43" y="747"/>
                  </a:lnTo>
                  <a:lnTo>
                    <a:pt x="39" y="742"/>
                  </a:lnTo>
                  <a:lnTo>
                    <a:pt x="39" y="742"/>
                  </a:lnTo>
                  <a:lnTo>
                    <a:pt x="39" y="742"/>
                  </a:lnTo>
                  <a:lnTo>
                    <a:pt x="39" y="742"/>
                  </a:lnTo>
                  <a:close/>
                  <a:moveTo>
                    <a:pt x="39" y="749"/>
                  </a:moveTo>
                  <a:lnTo>
                    <a:pt x="43" y="749"/>
                  </a:lnTo>
                  <a:lnTo>
                    <a:pt x="45" y="751"/>
                  </a:lnTo>
                  <a:lnTo>
                    <a:pt x="49" y="757"/>
                  </a:lnTo>
                  <a:lnTo>
                    <a:pt x="49" y="759"/>
                  </a:lnTo>
                  <a:lnTo>
                    <a:pt x="45" y="759"/>
                  </a:lnTo>
                  <a:lnTo>
                    <a:pt x="39" y="753"/>
                  </a:lnTo>
                  <a:lnTo>
                    <a:pt x="39" y="749"/>
                  </a:lnTo>
                  <a:lnTo>
                    <a:pt x="39" y="749"/>
                  </a:lnTo>
                  <a:lnTo>
                    <a:pt x="39" y="749"/>
                  </a:lnTo>
                  <a:lnTo>
                    <a:pt x="39" y="749"/>
                  </a:lnTo>
                  <a:close/>
                  <a:moveTo>
                    <a:pt x="43" y="768"/>
                  </a:moveTo>
                  <a:lnTo>
                    <a:pt x="39" y="768"/>
                  </a:lnTo>
                  <a:lnTo>
                    <a:pt x="37" y="768"/>
                  </a:lnTo>
                  <a:lnTo>
                    <a:pt x="39" y="764"/>
                  </a:lnTo>
                  <a:lnTo>
                    <a:pt x="39" y="762"/>
                  </a:lnTo>
                  <a:lnTo>
                    <a:pt x="39" y="759"/>
                  </a:lnTo>
                  <a:lnTo>
                    <a:pt x="39" y="759"/>
                  </a:lnTo>
                  <a:lnTo>
                    <a:pt x="43" y="759"/>
                  </a:lnTo>
                  <a:lnTo>
                    <a:pt x="45" y="759"/>
                  </a:lnTo>
                  <a:lnTo>
                    <a:pt x="50" y="762"/>
                  </a:lnTo>
                  <a:lnTo>
                    <a:pt x="50" y="764"/>
                  </a:lnTo>
                  <a:lnTo>
                    <a:pt x="49" y="764"/>
                  </a:lnTo>
                  <a:lnTo>
                    <a:pt x="49" y="768"/>
                  </a:lnTo>
                  <a:lnTo>
                    <a:pt x="43" y="768"/>
                  </a:lnTo>
                  <a:lnTo>
                    <a:pt x="43" y="768"/>
                  </a:lnTo>
                  <a:lnTo>
                    <a:pt x="43" y="768"/>
                  </a:lnTo>
                  <a:lnTo>
                    <a:pt x="43" y="768"/>
                  </a:lnTo>
                  <a:close/>
                  <a:moveTo>
                    <a:pt x="49" y="783"/>
                  </a:moveTo>
                  <a:lnTo>
                    <a:pt x="45" y="783"/>
                  </a:lnTo>
                  <a:lnTo>
                    <a:pt x="43" y="781"/>
                  </a:lnTo>
                  <a:lnTo>
                    <a:pt x="43" y="777"/>
                  </a:lnTo>
                  <a:lnTo>
                    <a:pt x="43" y="776"/>
                  </a:lnTo>
                  <a:lnTo>
                    <a:pt x="45" y="776"/>
                  </a:lnTo>
                  <a:lnTo>
                    <a:pt x="45" y="774"/>
                  </a:lnTo>
                  <a:lnTo>
                    <a:pt x="43" y="772"/>
                  </a:lnTo>
                  <a:lnTo>
                    <a:pt x="49" y="772"/>
                  </a:lnTo>
                  <a:lnTo>
                    <a:pt x="49" y="774"/>
                  </a:lnTo>
                  <a:lnTo>
                    <a:pt x="49" y="777"/>
                  </a:lnTo>
                  <a:lnTo>
                    <a:pt x="45" y="779"/>
                  </a:lnTo>
                  <a:lnTo>
                    <a:pt x="49" y="783"/>
                  </a:lnTo>
                  <a:lnTo>
                    <a:pt x="49" y="783"/>
                  </a:lnTo>
                  <a:lnTo>
                    <a:pt x="49" y="783"/>
                  </a:lnTo>
                  <a:lnTo>
                    <a:pt x="49" y="783"/>
                  </a:lnTo>
                  <a:close/>
                  <a:moveTo>
                    <a:pt x="49" y="776"/>
                  </a:moveTo>
                  <a:lnTo>
                    <a:pt x="49" y="774"/>
                  </a:lnTo>
                  <a:lnTo>
                    <a:pt x="50" y="774"/>
                  </a:lnTo>
                  <a:lnTo>
                    <a:pt x="52" y="776"/>
                  </a:lnTo>
                  <a:lnTo>
                    <a:pt x="54" y="777"/>
                  </a:lnTo>
                  <a:lnTo>
                    <a:pt x="54" y="781"/>
                  </a:lnTo>
                  <a:lnTo>
                    <a:pt x="52" y="783"/>
                  </a:lnTo>
                  <a:lnTo>
                    <a:pt x="50" y="781"/>
                  </a:lnTo>
                  <a:lnTo>
                    <a:pt x="50" y="781"/>
                  </a:lnTo>
                  <a:lnTo>
                    <a:pt x="49" y="779"/>
                  </a:lnTo>
                  <a:lnTo>
                    <a:pt x="49" y="776"/>
                  </a:lnTo>
                  <a:lnTo>
                    <a:pt x="49" y="776"/>
                  </a:lnTo>
                  <a:lnTo>
                    <a:pt x="49" y="776"/>
                  </a:lnTo>
                  <a:lnTo>
                    <a:pt x="49" y="776"/>
                  </a:lnTo>
                  <a:close/>
                  <a:moveTo>
                    <a:pt x="54" y="777"/>
                  </a:moveTo>
                  <a:lnTo>
                    <a:pt x="60" y="779"/>
                  </a:lnTo>
                  <a:lnTo>
                    <a:pt x="60" y="783"/>
                  </a:lnTo>
                  <a:lnTo>
                    <a:pt x="58" y="783"/>
                  </a:lnTo>
                  <a:lnTo>
                    <a:pt x="56" y="781"/>
                  </a:lnTo>
                  <a:lnTo>
                    <a:pt x="54" y="777"/>
                  </a:lnTo>
                  <a:lnTo>
                    <a:pt x="54" y="777"/>
                  </a:lnTo>
                  <a:lnTo>
                    <a:pt x="54" y="777"/>
                  </a:lnTo>
                  <a:lnTo>
                    <a:pt x="54" y="777"/>
                  </a:lnTo>
                  <a:close/>
                  <a:moveTo>
                    <a:pt x="54" y="789"/>
                  </a:moveTo>
                  <a:lnTo>
                    <a:pt x="52" y="793"/>
                  </a:lnTo>
                  <a:lnTo>
                    <a:pt x="50" y="789"/>
                  </a:lnTo>
                  <a:lnTo>
                    <a:pt x="52" y="789"/>
                  </a:lnTo>
                  <a:lnTo>
                    <a:pt x="52" y="785"/>
                  </a:lnTo>
                  <a:lnTo>
                    <a:pt x="54" y="785"/>
                  </a:lnTo>
                  <a:lnTo>
                    <a:pt x="56" y="787"/>
                  </a:lnTo>
                  <a:lnTo>
                    <a:pt x="54" y="789"/>
                  </a:lnTo>
                  <a:lnTo>
                    <a:pt x="54" y="789"/>
                  </a:lnTo>
                  <a:lnTo>
                    <a:pt x="54" y="789"/>
                  </a:lnTo>
                  <a:lnTo>
                    <a:pt x="54" y="789"/>
                  </a:lnTo>
                  <a:close/>
                  <a:moveTo>
                    <a:pt x="64" y="781"/>
                  </a:moveTo>
                  <a:lnTo>
                    <a:pt x="60" y="779"/>
                  </a:lnTo>
                  <a:lnTo>
                    <a:pt x="58" y="776"/>
                  </a:lnTo>
                  <a:lnTo>
                    <a:pt x="58" y="770"/>
                  </a:lnTo>
                  <a:lnTo>
                    <a:pt x="60" y="770"/>
                  </a:lnTo>
                  <a:lnTo>
                    <a:pt x="62" y="776"/>
                  </a:lnTo>
                  <a:lnTo>
                    <a:pt x="64" y="779"/>
                  </a:lnTo>
                  <a:lnTo>
                    <a:pt x="64" y="781"/>
                  </a:lnTo>
                  <a:lnTo>
                    <a:pt x="64" y="781"/>
                  </a:lnTo>
                  <a:lnTo>
                    <a:pt x="64" y="781"/>
                  </a:lnTo>
                  <a:lnTo>
                    <a:pt x="64" y="781"/>
                  </a:lnTo>
                  <a:lnTo>
                    <a:pt x="64" y="781"/>
                  </a:lnTo>
                  <a:close/>
                  <a:moveTo>
                    <a:pt x="64" y="787"/>
                  </a:moveTo>
                  <a:lnTo>
                    <a:pt x="62" y="785"/>
                  </a:lnTo>
                  <a:lnTo>
                    <a:pt x="62" y="783"/>
                  </a:lnTo>
                  <a:lnTo>
                    <a:pt x="64" y="783"/>
                  </a:lnTo>
                  <a:lnTo>
                    <a:pt x="64" y="787"/>
                  </a:lnTo>
                  <a:lnTo>
                    <a:pt x="64" y="787"/>
                  </a:lnTo>
                  <a:lnTo>
                    <a:pt x="64" y="787"/>
                  </a:lnTo>
                  <a:lnTo>
                    <a:pt x="64" y="787"/>
                  </a:lnTo>
                  <a:lnTo>
                    <a:pt x="64" y="787"/>
                  </a:lnTo>
                  <a:close/>
                  <a:moveTo>
                    <a:pt x="64" y="793"/>
                  </a:moveTo>
                  <a:lnTo>
                    <a:pt x="62" y="789"/>
                  </a:lnTo>
                  <a:lnTo>
                    <a:pt x="60" y="787"/>
                  </a:lnTo>
                  <a:lnTo>
                    <a:pt x="62" y="787"/>
                  </a:lnTo>
                  <a:lnTo>
                    <a:pt x="67" y="789"/>
                  </a:lnTo>
                  <a:lnTo>
                    <a:pt x="67" y="793"/>
                  </a:lnTo>
                  <a:lnTo>
                    <a:pt x="64" y="793"/>
                  </a:lnTo>
                  <a:lnTo>
                    <a:pt x="64" y="793"/>
                  </a:lnTo>
                  <a:lnTo>
                    <a:pt x="64" y="793"/>
                  </a:lnTo>
                  <a:lnTo>
                    <a:pt x="64" y="793"/>
                  </a:lnTo>
                  <a:close/>
                  <a:moveTo>
                    <a:pt x="69" y="802"/>
                  </a:moveTo>
                  <a:lnTo>
                    <a:pt x="69" y="800"/>
                  </a:lnTo>
                  <a:lnTo>
                    <a:pt x="67" y="800"/>
                  </a:lnTo>
                  <a:lnTo>
                    <a:pt x="64" y="798"/>
                  </a:lnTo>
                  <a:lnTo>
                    <a:pt x="62" y="798"/>
                  </a:lnTo>
                  <a:lnTo>
                    <a:pt x="60" y="798"/>
                  </a:lnTo>
                  <a:lnTo>
                    <a:pt x="64" y="794"/>
                  </a:lnTo>
                  <a:lnTo>
                    <a:pt x="64" y="798"/>
                  </a:lnTo>
                  <a:lnTo>
                    <a:pt x="69" y="794"/>
                  </a:lnTo>
                  <a:lnTo>
                    <a:pt x="73" y="798"/>
                  </a:lnTo>
                  <a:lnTo>
                    <a:pt x="69" y="802"/>
                  </a:lnTo>
                  <a:lnTo>
                    <a:pt x="69" y="802"/>
                  </a:lnTo>
                  <a:lnTo>
                    <a:pt x="69" y="802"/>
                  </a:lnTo>
                  <a:lnTo>
                    <a:pt x="69" y="802"/>
                  </a:lnTo>
                  <a:close/>
                  <a:moveTo>
                    <a:pt x="81" y="819"/>
                  </a:moveTo>
                  <a:lnTo>
                    <a:pt x="75" y="819"/>
                  </a:lnTo>
                  <a:lnTo>
                    <a:pt x="73" y="819"/>
                  </a:lnTo>
                  <a:lnTo>
                    <a:pt x="73" y="819"/>
                  </a:lnTo>
                  <a:lnTo>
                    <a:pt x="69" y="817"/>
                  </a:lnTo>
                  <a:lnTo>
                    <a:pt x="64" y="815"/>
                  </a:lnTo>
                  <a:lnTo>
                    <a:pt x="62" y="815"/>
                  </a:lnTo>
                  <a:lnTo>
                    <a:pt x="58" y="809"/>
                  </a:lnTo>
                  <a:lnTo>
                    <a:pt x="58" y="806"/>
                  </a:lnTo>
                  <a:lnTo>
                    <a:pt x="58" y="804"/>
                  </a:lnTo>
                  <a:lnTo>
                    <a:pt x="60" y="806"/>
                  </a:lnTo>
                  <a:lnTo>
                    <a:pt x="64" y="811"/>
                  </a:lnTo>
                  <a:lnTo>
                    <a:pt x="67" y="813"/>
                  </a:lnTo>
                  <a:lnTo>
                    <a:pt x="69" y="813"/>
                  </a:lnTo>
                  <a:lnTo>
                    <a:pt x="73" y="813"/>
                  </a:lnTo>
                  <a:lnTo>
                    <a:pt x="75" y="815"/>
                  </a:lnTo>
                  <a:lnTo>
                    <a:pt x="81" y="815"/>
                  </a:lnTo>
                  <a:lnTo>
                    <a:pt x="82" y="817"/>
                  </a:lnTo>
                  <a:lnTo>
                    <a:pt x="86" y="819"/>
                  </a:lnTo>
                  <a:lnTo>
                    <a:pt x="88" y="819"/>
                  </a:lnTo>
                  <a:lnTo>
                    <a:pt x="88" y="823"/>
                  </a:lnTo>
                  <a:lnTo>
                    <a:pt x="88" y="823"/>
                  </a:lnTo>
                  <a:lnTo>
                    <a:pt x="84" y="823"/>
                  </a:lnTo>
                  <a:lnTo>
                    <a:pt x="81" y="819"/>
                  </a:lnTo>
                  <a:lnTo>
                    <a:pt x="81" y="819"/>
                  </a:lnTo>
                  <a:lnTo>
                    <a:pt x="81" y="819"/>
                  </a:lnTo>
                  <a:lnTo>
                    <a:pt x="81" y="819"/>
                  </a:lnTo>
                  <a:close/>
                  <a:moveTo>
                    <a:pt x="69" y="823"/>
                  </a:moveTo>
                  <a:lnTo>
                    <a:pt x="69" y="823"/>
                  </a:lnTo>
                  <a:lnTo>
                    <a:pt x="69" y="826"/>
                  </a:lnTo>
                  <a:lnTo>
                    <a:pt x="67" y="823"/>
                  </a:lnTo>
                  <a:lnTo>
                    <a:pt x="69" y="823"/>
                  </a:lnTo>
                  <a:lnTo>
                    <a:pt x="69" y="823"/>
                  </a:lnTo>
                  <a:lnTo>
                    <a:pt x="69" y="823"/>
                  </a:lnTo>
                  <a:lnTo>
                    <a:pt x="69" y="823"/>
                  </a:lnTo>
                  <a:close/>
                  <a:moveTo>
                    <a:pt x="94" y="840"/>
                  </a:moveTo>
                  <a:lnTo>
                    <a:pt x="94" y="840"/>
                  </a:lnTo>
                  <a:lnTo>
                    <a:pt x="98" y="840"/>
                  </a:lnTo>
                  <a:lnTo>
                    <a:pt x="94" y="838"/>
                  </a:lnTo>
                  <a:lnTo>
                    <a:pt x="94" y="838"/>
                  </a:lnTo>
                  <a:lnTo>
                    <a:pt x="94" y="840"/>
                  </a:lnTo>
                  <a:lnTo>
                    <a:pt x="94" y="840"/>
                  </a:lnTo>
                  <a:lnTo>
                    <a:pt x="94" y="840"/>
                  </a:lnTo>
                  <a:lnTo>
                    <a:pt x="94" y="840"/>
                  </a:lnTo>
                  <a:close/>
                  <a:moveTo>
                    <a:pt x="103" y="842"/>
                  </a:moveTo>
                  <a:lnTo>
                    <a:pt x="99" y="842"/>
                  </a:lnTo>
                  <a:lnTo>
                    <a:pt x="98" y="840"/>
                  </a:lnTo>
                  <a:lnTo>
                    <a:pt x="98" y="838"/>
                  </a:lnTo>
                  <a:lnTo>
                    <a:pt x="98" y="836"/>
                  </a:lnTo>
                  <a:lnTo>
                    <a:pt x="92" y="836"/>
                  </a:lnTo>
                  <a:lnTo>
                    <a:pt x="88" y="836"/>
                  </a:lnTo>
                  <a:lnTo>
                    <a:pt x="86" y="832"/>
                  </a:lnTo>
                  <a:lnTo>
                    <a:pt x="82" y="832"/>
                  </a:lnTo>
                  <a:lnTo>
                    <a:pt x="81" y="826"/>
                  </a:lnTo>
                  <a:lnTo>
                    <a:pt x="77" y="826"/>
                  </a:lnTo>
                  <a:lnTo>
                    <a:pt x="77" y="823"/>
                  </a:lnTo>
                  <a:lnTo>
                    <a:pt x="79" y="823"/>
                  </a:lnTo>
                  <a:lnTo>
                    <a:pt x="81" y="823"/>
                  </a:lnTo>
                  <a:lnTo>
                    <a:pt x="82" y="823"/>
                  </a:lnTo>
                  <a:lnTo>
                    <a:pt x="84" y="826"/>
                  </a:lnTo>
                  <a:lnTo>
                    <a:pt x="88" y="823"/>
                  </a:lnTo>
                  <a:lnTo>
                    <a:pt x="92" y="823"/>
                  </a:lnTo>
                  <a:lnTo>
                    <a:pt x="98" y="826"/>
                  </a:lnTo>
                  <a:lnTo>
                    <a:pt x="99" y="828"/>
                  </a:lnTo>
                  <a:lnTo>
                    <a:pt x="99" y="832"/>
                  </a:lnTo>
                  <a:lnTo>
                    <a:pt x="103" y="828"/>
                  </a:lnTo>
                  <a:lnTo>
                    <a:pt x="107" y="832"/>
                  </a:lnTo>
                  <a:lnTo>
                    <a:pt x="107" y="832"/>
                  </a:lnTo>
                  <a:lnTo>
                    <a:pt x="105" y="832"/>
                  </a:lnTo>
                  <a:lnTo>
                    <a:pt x="103" y="834"/>
                  </a:lnTo>
                  <a:lnTo>
                    <a:pt x="105" y="834"/>
                  </a:lnTo>
                  <a:lnTo>
                    <a:pt x="105" y="836"/>
                  </a:lnTo>
                  <a:lnTo>
                    <a:pt x="101" y="840"/>
                  </a:lnTo>
                  <a:lnTo>
                    <a:pt x="103" y="842"/>
                  </a:lnTo>
                  <a:lnTo>
                    <a:pt x="103" y="842"/>
                  </a:lnTo>
                  <a:lnTo>
                    <a:pt x="103" y="842"/>
                  </a:lnTo>
                  <a:lnTo>
                    <a:pt x="103" y="842"/>
                  </a:lnTo>
                  <a:close/>
                  <a:moveTo>
                    <a:pt x="107" y="840"/>
                  </a:moveTo>
                  <a:lnTo>
                    <a:pt x="105" y="843"/>
                  </a:lnTo>
                  <a:lnTo>
                    <a:pt x="105" y="845"/>
                  </a:lnTo>
                  <a:lnTo>
                    <a:pt x="109" y="843"/>
                  </a:lnTo>
                  <a:lnTo>
                    <a:pt x="109" y="842"/>
                  </a:lnTo>
                  <a:lnTo>
                    <a:pt x="111" y="840"/>
                  </a:lnTo>
                  <a:lnTo>
                    <a:pt x="109" y="840"/>
                  </a:lnTo>
                  <a:lnTo>
                    <a:pt x="107" y="840"/>
                  </a:lnTo>
                  <a:lnTo>
                    <a:pt x="107" y="840"/>
                  </a:lnTo>
                  <a:lnTo>
                    <a:pt x="107" y="840"/>
                  </a:lnTo>
                  <a:lnTo>
                    <a:pt x="107" y="840"/>
                  </a:lnTo>
                  <a:close/>
                  <a:moveTo>
                    <a:pt x="128" y="836"/>
                  </a:moveTo>
                  <a:lnTo>
                    <a:pt x="126" y="840"/>
                  </a:lnTo>
                  <a:lnTo>
                    <a:pt x="128" y="842"/>
                  </a:lnTo>
                  <a:lnTo>
                    <a:pt x="126" y="843"/>
                  </a:lnTo>
                  <a:lnTo>
                    <a:pt x="122" y="843"/>
                  </a:lnTo>
                  <a:lnTo>
                    <a:pt x="122" y="842"/>
                  </a:lnTo>
                  <a:lnTo>
                    <a:pt x="118" y="842"/>
                  </a:lnTo>
                  <a:lnTo>
                    <a:pt x="118" y="840"/>
                  </a:lnTo>
                  <a:lnTo>
                    <a:pt x="114" y="840"/>
                  </a:lnTo>
                  <a:lnTo>
                    <a:pt x="113" y="842"/>
                  </a:lnTo>
                  <a:lnTo>
                    <a:pt x="111" y="838"/>
                  </a:lnTo>
                  <a:lnTo>
                    <a:pt x="109" y="838"/>
                  </a:lnTo>
                  <a:lnTo>
                    <a:pt x="109" y="834"/>
                  </a:lnTo>
                  <a:lnTo>
                    <a:pt x="114" y="834"/>
                  </a:lnTo>
                  <a:lnTo>
                    <a:pt x="116" y="834"/>
                  </a:lnTo>
                  <a:lnTo>
                    <a:pt x="122" y="836"/>
                  </a:lnTo>
                  <a:lnTo>
                    <a:pt x="122" y="838"/>
                  </a:lnTo>
                  <a:lnTo>
                    <a:pt x="124" y="836"/>
                  </a:lnTo>
                  <a:lnTo>
                    <a:pt x="126" y="836"/>
                  </a:lnTo>
                  <a:lnTo>
                    <a:pt x="128" y="836"/>
                  </a:lnTo>
                  <a:lnTo>
                    <a:pt x="128" y="836"/>
                  </a:lnTo>
                  <a:lnTo>
                    <a:pt x="128" y="836"/>
                  </a:lnTo>
                  <a:lnTo>
                    <a:pt x="128" y="836"/>
                  </a:lnTo>
                  <a:close/>
                  <a:moveTo>
                    <a:pt x="139" y="836"/>
                  </a:moveTo>
                  <a:lnTo>
                    <a:pt x="135" y="832"/>
                  </a:lnTo>
                  <a:lnTo>
                    <a:pt x="137" y="832"/>
                  </a:lnTo>
                  <a:lnTo>
                    <a:pt x="135" y="826"/>
                  </a:lnTo>
                  <a:lnTo>
                    <a:pt x="135" y="826"/>
                  </a:lnTo>
                  <a:lnTo>
                    <a:pt x="133" y="823"/>
                  </a:lnTo>
                  <a:lnTo>
                    <a:pt x="133" y="819"/>
                  </a:lnTo>
                  <a:lnTo>
                    <a:pt x="130" y="819"/>
                  </a:lnTo>
                  <a:lnTo>
                    <a:pt x="130" y="823"/>
                  </a:lnTo>
                  <a:lnTo>
                    <a:pt x="128" y="826"/>
                  </a:lnTo>
                  <a:lnTo>
                    <a:pt x="130" y="828"/>
                  </a:lnTo>
                  <a:lnTo>
                    <a:pt x="130" y="832"/>
                  </a:lnTo>
                  <a:lnTo>
                    <a:pt x="130" y="832"/>
                  </a:lnTo>
                  <a:lnTo>
                    <a:pt x="131" y="834"/>
                  </a:lnTo>
                  <a:lnTo>
                    <a:pt x="135" y="836"/>
                  </a:lnTo>
                  <a:lnTo>
                    <a:pt x="137" y="838"/>
                  </a:lnTo>
                  <a:lnTo>
                    <a:pt x="139" y="836"/>
                  </a:lnTo>
                  <a:lnTo>
                    <a:pt x="139" y="836"/>
                  </a:lnTo>
                  <a:lnTo>
                    <a:pt x="139" y="836"/>
                  </a:lnTo>
                  <a:lnTo>
                    <a:pt x="139" y="836"/>
                  </a:lnTo>
                  <a:close/>
                  <a:moveTo>
                    <a:pt x="124" y="862"/>
                  </a:moveTo>
                  <a:lnTo>
                    <a:pt x="128" y="862"/>
                  </a:lnTo>
                  <a:lnTo>
                    <a:pt x="130" y="862"/>
                  </a:lnTo>
                  <a:lnTo>
                    <a:pt x="126" y="864"/>
                  </a:lnTo>
                  <a:lnTo>
                    <a:pt x="124" y="862"/>
                  </a:lnTo>
                  <a:lnTo>
                    <a:pt x="124" y="862"/>
                  </a:lnTo>
                  <a:lnTo>
                    <a:pt x="124" y="862"/>
                  </a:lnTo>
                  <a:lnTo>
                    <a:pt x="124" y="862"/>
                  </a:lnTo>
                  <a:close/>
                  <a:moveTo>
                    <a:pt x="126" y="858"/>
                  </a:moveTo>
                  <a:lnTo>
                    <a:pt x="124" y="858"/>
                  </a:lnTo>
                  <a:lnTo>
                    <a:pt x="126" y="857"/>
                  </a:lnTo>
                  <a:lnTo>
                    <a:pt x="128" y="857"/>
                  </a:lnTo>
                  <a:lnTo>
                    <a:pt x="128" y="858"/>
                  </a:lnTo>
                  <a:lnTo>
                    <a:pt x="126" y="858"/>
                  </a:lnTo>
                  <a:lnTo>
                    <a:pt x="126" y="858"/>
                  </a:lnTo>
                  <a:lnTo>
                    <a:pt x="126" y="858"/>
                  </a:lnTo>
                  <a:lnTo>
                    <a:pt x="126" y="858"/>
                  </a:lnTo>
                  <a:close/>
                  <a:moveTo>
                    <a:pt x="199" y="879"/>
                  </a:moveTo>
                  <a:lnTo>
                    <a:pt x="195" y="877"/>
                  </a:lnTo>
                  <a:lnTo>
                    <a:pt x="199" y="875"/>
                  </a:lnTo>
                  <a:lnTo>
                    <a:pt x="195" y="874"/>
                  </a:lnTo>
                  <a:lnTo>
                    <a:pt x="201" y="874"/>
                  </a:lnTo>
                  <a:lnTo>
                    <a:pt x="201" y="877"/>
                  </a:lnTo>
                  <a:lnTo>
                    <a:pt x="201" y="879"/>
                  </a:lnTo>
                  <a:lnTo>
                    <a:pt x="199" y="879"/>
                  </a:lnTo>
                  <a:lnTo>
                    <a:pt x="199" y="879"/>
                  </a:lnTo>
                  <a:lnTo>
                    <a:pt x="199" y="879"/>
                  </a:lnTo>
                  <a:lnTo>
                    <a:pt x="199" y="879"/>
                  </a:lnTo>
                  <a:close/>
                  <a:moveTo>
                    <a:pt x="152" y="862"/>
                  </a:moveTo>
                  <a:lnTo>
                    <a:pt x="156" y="858"/>
                  </a:lnTo>
                  <a:lnTo>
                    <a:pt x="158" y="858"/>
                  </a:lnTo>
                  <a:lnTo>
                    <a:pt x="160" y="858"/>
                  </a:lnTo>
                  <a:lnTo>
                    <a:pt x="163" y="858"/>
                  </a:lnTo>
                  <a:lnTo>
                    <a:pt x="171" y="857"/>
                  </a:lnTo>
                  <a:lnTo>
                    <a:pt x="177" y="857"/>
                  </a:lnTo>
                  <a:lnTo>
                    <a:pt x="182" y="857"/>
                  </a:lnTo>
                  <a:lnTo>
                    <a:pt x="188" y="857"/>
                  </a:lnTo>
                  <a:lnTo>
                    <a:pt x="192" y="857"/>
                  </a:lnTo>
                  <a:lnTo>
                    <a:pt x="195" y="857"/>
                  </a:lnTo>
                  <a:lnTo>
                    <a:pt x="195" y="858"/>
                  </a:lnTo>
                  <a:lnTo>
                    <a:pt x="199" y="862"/>
                  </a:lnTo>
                  <a:lnTo>
                    <a:pt x="195" y="862"/>
                  </a:lnTo>
                  <a:lnTo>
                    <a:pt x="195" y="864"/>
                  </a:lnTo>
                  <a:lnTo>
                    <a:pt x="192" y="862"/>
                  </a:lnTo>
                  <a:lnTo>
                    <a:pt x="192" y="862"/>
                  </a:lnTo>
                  <a:lnTo>
                    <a:pt x="188" y="864"/>
                  </a:lnTo>
                  <a:lnTo>
                    <a:pt x="182" y="864"/>
                  </a:lnTo>
                  <a:lnTo>
                    <a:pt x="180" y="862"/>
                  </a:lnTo>
                  <a:lnTo>
                    <a:pt x="180" y="858"/>
                  </a:lnTo>
                  <a:lnTo>
                    <a:pt x="177" y="858"/>
                  </a:lnTo>
                  <a:lnTo>
                    <a:pt x="175" y="862"/>
                  </a:lnTo>
                  <a:lnTo>
                    <a:pt x="171" y="862"/>
                  </a:lnTo>
                  <a:lnTo>
                    <a:pt x="167" y="862"/>
                  </a:lnTo>
                  <a:lnTo>
                    <a:pt x="171" y="864"/>
                  </a:lnTo>
                  <a:lnTo>
                    <a:pt x="171" y="864"/>
                  </a:lnTo>
                  <a:lnTo>
                    <a:pt x="177" y="866"/>
                  </a:lnTo>
                  <a:lnTo>
                    <a:pt x="177" y="866"/>
                  </a:lnTo>
                  <a:lnTo>
                    <a:pt x="177" y="868"/>
                  </a:lnTo>
                  <a:lnTo>
                    <a:pt x="180" y="870"/>
                  </a:lnTo>
                  <a:lnTo>
                    <a:pt x="184" y="874"/>
                  </a:lnTo>
                  <a:lnTo>
                    <a:pt x="184" y="877"/>
                  </a:lnTo>
                  <a:lnTo>
                    <a:pt x="182" y="875"/>
                  </a:lnTo>
                  <a:lnTo>
                    <a:pt x="180" y="872"/>
                  </a:lnTo>
                  <a:lnTo>
                    <a:pt x="177" y="872"/>
                  </a:lnTo>
                  <a:lnTo>
                    <a:pt x="171" y="874"/>
                  </a:lnTo>
                  <a:lnTo>
                    <a:pt x="171" y="872"/>
                  </a:lnTo>
                  <a:lnTo>
                    <a:pt x="167" y="868"/>
                  </a:lnTo>
                  <a:lnTo>
                    <a:pt x="165" y="868"/>
                  </a:lnTo>
                  <a:lnTo>
                    <a:pt x="165" y="870"/>
                  </a:lnTo>
                  <a:lnTo>
                    <a:pt x="167" y="872"/>
                  </a:lnTo>
                  <a:lnTo>
                    <a:pt x="167" y="875"/>
                  </a:lnTo>
                  <a:lnTo>
                    <a:pt x="165" y="875"/>
                  </a:lnTo>
                  <a:lnTo>
                    <a:pt x="162" y="872"/>
                  </a:lnTo>
                  <a:lnTo>
                    <a:pt x="160" y="874"/>
                  </a:lnTo>
                  <a:lnTo>
                    <a:pt x="158" y="872"/>
                  </a:lnTo>
                  <a:lnTo>
                    <a:pt x="156" y="870"/>
                  </a:lnTo>
                  <a:lnTo>
                    <a:pt x="156" y="868"/>
                  </a:lnTo>
                  <a:lnTo>
                    <a:pt x="156" y="870"/>
                  </a:lnTo>
                  <a:lnTo>
                    <a:pt x="150" y="868"/>
                  </a:lnTo>
                  <a:lnTo>
                    <a:pt x="150" y="866"/>
                  </a:lnTo>
                  <a:lnTo>
                    <a:pt x="156" y="864"/>
                  </a:lnTo>
                  <a:lnTo>
                    <a:pt x="160" y="862"/>
                  </a:lnTo>
                  <a:lnTo>
                    <a:pt x="156" y="862"/>
                  </a:lnTo>
                  <a:lnTo>
                    <a:pt x="156" y="862"/>
                  </a:lnTo>
                  <a:lnTo>
                    <a:pt x="152" y="862"/>
                  </a:lnTo>
                  <a:lnTo>
                    <a:pt x="152" y="862"/>
                  </a:lnTo>
                  <a:lnTo>
                    <a:pt x="152" y="862"/>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47">
              <a:extLst>
                <a:ext uri="{FF2B5EF4-FFF2-40B4-BE49-F238E27FC236}">
                  <a16:creationId xmlns:a16="http://schemas.microsoft.com/office/drawing/2014/main" id="{6FF2D1C6-E929-5645-BA8E-E75EEBF31C05}"/>
                </a:ext>
              </a:extLst>
            </p:cNvPr>
            <p:cNvSpPr>
              <a:spLocks/>
            </p:cNvSpPr>
            <p:nvPr/>
          </p:nvSpPr>
          <p:spPr bwMode="auto">
            <a:xfrm>
              <a:off x="7399307" y="2105412"/>
              <a:ext cx="489815" cy="207093"/>
            </a:xfrm>
            <a:custGeom>
              <a:avLst/>
              <a:gdLst/>
              <a:ahLst/>
              <a:cxnLst>
                <a:cxn ang="0">
                  <a:pos x="20" y="83"/>
                </a:cxn>
                <a:cxn ang="0">
                  <a:pos x="35" y="64"/>
                </a:cxn>
                <a:cxn ang="0">
                  <a:pos x="41" y="53"/>
                </a:cxn>
                <a:cxn ang="0">
                  <a:pos x="66" y="47"/>
                </a:cxn>
                <a:cxn ang="0">
                  <a:pos x="81" y="49"/>
                </a:cxn>
                <a:cxn ang="0">
                  <a:pos x="99" y="49"/>
                </a:cxn>
                <a:cxn ang="0">
                  <a:pos x="120" y="68"/>
                </a:cxn>
                <a:cxn ang="0">
                  <a:pos x="139" y="64"/>
                </a:cxn>
                <a:cxn ang="0">
                  <a:pos x="163" y="64"/>
                </a:cxn>
                <a:cxn ang="0">
                  <a:pos x="169" y="44"/>
                </a:cxn>
                <a:cxn ang="0">
                  <a:pos x="154" y="21"/>
                </a:cxn>
                <a:cxn ang="0">
                  <a:pos x="167" y="10"/>
                </a:cxn>
                <a:cxn ang="0">
                  <a:pos x="179" y="4"/>
                </a:cxn>
                <a:cxn ang="0">
                  <a:pos x="205" y="10"/>
                </a:cxn>
                <a:cxn ang="0">
                  <a:pos x="227" y="15"/>
                </a:cxn>
                <a:cxn ang="0">
                  <a:pos x="235" y="32"/>
                </a:cxn>
                <a:cxn ang="0">
                  <a:pos x="248" y="44"/>
                </a:cxn>
                <a:cxn ang="0">
                  <a:pos x="269" y="44"/>
                </a:cxn>
                <a:cxn ang="0">
                  <a:pos x="293" y="38"/>
                </a:cxn>
                <a:cxn ang="0">
                  <a:pos x="323" y="44"/>
                </a:cxn>
                <a:cxn ang="0">
                  <a:pos x="346" y="55"/>
                </a:cxn>
                <a:cxn ang="0">
                  <a:pos x="372" y="62"/>
                </a:cxn>
                <a:cxn ang="0">
                  <a:pos x="403" y="62"/>
                </a:cxn>
                <a:cxn ang="0">
                  <a:pos x="431" y="49"/>
                </a:cxn>
                <a:cxn ang="0">
                  <a:pos x="446" y="32"/>
                </a:cxn>
                <a:cxn ang="0">
                  <a:pos x="463" y="25"/>
                </a:cxn>
                <a:cxn ang="0">
                  <a:pos x="480" y="32"/>
                </a:cxn>
                <a:cxn ang="0">
                  <a:pos x="497" y="61"/>
                </a:cxn>
                <a:cxn ang="0">
                  <a:pos x="506" y="95"/>
                </a:cxn>
                <a:cxn ang="0">
                  <a:pos x="534" y="83"/>
                </a:cxn>
                <a:cxn ang="0">
                  <a:pos x="561" y="91"/>
                </a:cxn>
                <a:cxn ang="0">
                  <a:pos x="572" y="113"/>
                </a:cxn>
                <a:cxn ang="0">
                  <a:pos x="561" y="117"/>
                </a:cxn>
                <a:cxn ang="0">
                  <a:pos x="536" y="125"/>
                </a:cxn>
                <a:cxn ang="0">
                  <a:pos x="527" y="132"/>
                </a:cxn>
                <a:cxn ang="0">
                  <a:pos x="510" y="157"/>
                </a:cxn>
                <a:cxn ang="0">
                  <a:pos x="489" y="170"/>
                </a:cxn>
                <a:cxn ang="0">
                  <a:pos x="470" y="170"/>
                </a:cxn>
                <a:cxn ang="0">
                  <a:pos x="446" y="183"/>
                </a:cxn>
                <a:cxn ang="0">
                  <a:pos x="457" y="206"/>
                </a:cxn>
                <a:cxn ang="0">
                  <a:pos x="433" y="236"/>
                </a:cxn>
                <a:cxn ang="0">
                  <a:pos x="401" y="245"/>
                </a:cxn>
                <a:cxn ang="0">
                  <a:pos x="354" y="270"/>
                </a:cxn>
                <a:cxn ang="0">
                  <a:pos x="329" y="268"/>
                </a:cxn>
                <a:cxn ang="0">
                  <a:pos x="282" y="247"/>
                </a:cxn>
                <a:cxn ang="0">
                  <a:pos x="244" y="251"/>
                </a:cxn>
                <a:cxn ang="0">
                  <a:pos x="190" y="251"/>
                </a:cxn>
                <a:cxn ang="0">
                  <a:pos x="169" y="223"/>
                </a:cxn>
                <a:cxn ang="0">
                  <a:pos x="162" y="213"/>
                </a:cxn>
                <a:cxn ang="0">
                  <a:pos x="139" y="204"/>
                </a:cxn>
                <a:cxn ang="0">
                  <a:pos x="115" y="196"/>
                </a:cxn>
                <a:cxn ang="0">
                  <a:pos x="73" y="183"/>
                </a:cxn>
                <a:cxn ang="0">
                  <a:pos x="75" y="168"/>
                </a:cxn>
                <a:cxn ang="0">
                  <a:pos x="69" y="151"/>
                </a:cxn>
                <a:cxn ang="0">
                  <a:pos x="58" y="132"/>
                </a:cxn>
                <a:cxn ang="0">
                  <a:pos x="45" y="128"/>
                </a:cxn>
                <a:cxn ang="0">
                  <a:pos x="28" y="127"/>
                </a:cxn>
                <a:cxn ang="0">
                  <a:pos x="20" y="123"/>
                </a:cxn>
                <a:cxn ang="0">
                  <a:pos x="7" y="108"/>
                </a:cxn>
                <a:cxn ang="0">
                  <a:pos x="2" y="104"/>
                </a:cxn>
              </a:cxnLst>
              <a:rect l="0" t="0" r="r" b="b"/>
              <a:pathLst>
                <a:path w="574" h="270">
                  <a:moveTo>
                    <a:pt x="0" y="96"/>
                  </a:moveTo>
                  <a:lnTo>
                    <a:pt x="3" y="91"/>
                  </a:lnTo>
                  <a:lnTo>
                    <a:pt x="7" y="89"/>
                  </a:lnTo>
                  <a:lnTo>
                    <a:pt x="15" y="89"/>
                  </a:lnTo>
                  <a:lnTo>
                    <a:pt x="15" y="87"/>
                  </a:lnTo>
                  <a:lnTo>
                    <a:pt x="20" y="83"/>
                  </a:lnTo>
                  <a:lnTo>
                    <a:pt x="24" y="81"/>
                  </a:lnTo>
                  <a:lnTo>
                    <a:pt x="26" y="78"/>
                  </a:lnTo>
                  <a:lnTo>
                    <a:pt x="26" y="74"/>
                  </a:lnTo>
                  <a:lnTo>
                    <a:pt x="32" y="72"/>
                  </a:lnTo>
                  <a:lnTo>
                    <a:pt x="32" y="68"/>
                  </a:lnTo>
                  <a:lnTo>
                    <a:pt x="35" y="64"/>
                  </a:lnTo>
                  <a:lnTo>
                    <a:pt x="39" y="64"/>
                  </a:lnTo>
                  <a:lnTo>
                    <a:pt x="41" y="61"/>
                  </a:lnTo>
                  <a:lnTo>
                    <a:pt x="43" y="61"/>
                  </a:lnTo>
                  <a:lnTo>
                    <a:pt x="41" y="59"/>
                  </a:lnTo>
                  <a:lnTo>
                    <a:pt x="41" y="55"/>
                  </a:lnTo>
                  <a:lnTo>
                    <a:pt x="41" y="53"/>
                  </a:lnTo>
                  <a:lnTo>
                    <a:pt x="49" y="55"/>
                  </a:lnTo>
                  <a:lnTo>
                    <a:pt x="51" y="55"/>
                  </a:lnTo>
                  <a:lnTo>
                    <a:pt x="51" y="49"/>
                  </a:lnTo>
                  <a:lnTo>
                    <a:pt x="54" y="47"/>
                  </a:lnTo>
                  <a:lnTo>
                    <a:pt x="62" y="47"/>
                  </a:lnTo>
                  <a:lnTo>
                    <a:pt x="66" y="47"/>
                  </a:lnTo>
                  <a:lnTo>
                    <a:pt x="67" y="47"/>
                  </a:lnTo>
                  <a:lnTo>
                    <a:pt x="73" y="47"/>
                  </a:lnTo>
                  <a:lnTo>
                    <a:pt x="75" y="44"/>
                  </a:lnTo>
                  <a:lnTo>
                    <a:pt x="75" y="44"/>
                  </a:lnTo>
                  <a:lnTo>
                    <a:pt x="79" y="47"/>
                  </a:lnTo>
                  <a:lnTo>
                    <a:pt x="81" y="49"/>
                  </a:lnTo>
                  <a:lnTo>
                    <a:pt x="81" y="53"/>
                  </a:lnTo>
                  <a:lnTo>
                    <a:pt x="84" y="51"/>
                  </a:lnTo>
                  <a:lnTo>
                    <a:pt x="88" y="51"/>
                  </a:lnTo>
                  <a:lnTo>
                    <a:pt x="90" y="51"/>
                  </a:lnTo>
                  <a:lnTo>
                    <a:pt x="92" y="49"/>
                  </a:lnTo>
                  <a:lnTo>
                    <a:pt x="99" y="49"/>
                  </a:lnTo>
                  <a:lnTo>
                    <a:pt x="99" y="53"/>
                  </a:lnTo>
                  <a:lnTo>
                    <a:pt x="101" y="55"/>
                  </a:lnTo>
                  <a:lnTo>
                    <a:pt x="101" y="59"/>
                  </a:lnTo>
                  <a:lnTo>
                    <a:pt x="113" y="64"/>
                  </a:lnTo>
                  <a:lnTo>
                    <a:pt x="115" y="64"/>
                  </a:lnTo>
                  <a:lnTo>
                    <a:pt x="120" y="68"/>
                  </a:lnTo>
                  <a:lnTo>
                    <a:pt x="124" y="68"/>
                  </a:lnTo>
                  <a:lnTo>
                    <a:pt x="128" y="64"/>
                  </a:lnTo>
                  <a:lnTo>
                    <a:pt x="131" y="64"/>
                  </a:lnTo>
                  <a:lnTo>
                    <a:pt x="135" y="64"/>
                  </a:lnTo>
                  <a:lnTo>
                    <a:pt x="139" y="64"/>
                  </a:lnTo>
                  <a:lnTo>
                    <a:pt x="139" y="64"/>
                  </a:lnTo>
                  <a:lnTo>
                    <a:pt x="145" y="64"/>
                  </a:lnTo>
                  <a:lnTo>
                    <a:pt x="152" y="64"/>
                  </a:lnTo>
                  <a:lnTo>
                    <a:pt x="154" y="68"/>
                  </a:lnTo>
                  <a:lnTo>
                    <a:pt x="158" y="64"/>
                  </a:lnTo>
                  <a:lnTo>
                    <a:pt x="160" y="64"/>
                  </a:lnTo>
                  <a:lnTo>
                    <a:pt x="163" y="64"/>
                  </a:lnTo>
                  <a:lnTo>
                    <a:pt x="169" y="64"/>
                  </a:lnTo>
                  <a:lnTo>
                    <a:pt x="173" y="61"/>
                  </a:lnTo>
                  <a:lnTo>
                    <a:pt x="169" y="57"/>
                  </a:lnTo>
                  <a:lnTo>
                    <a:pt x="167" y="55"/>
                  </a:lnTo>
                  <a:lnTo>
                    <a:pt x="167" y="49"/>
                  </a:lnTo>
                  <a:lnTo>
                    <a:pt x="169" y="44"/>
                  </a:lnTo>
                  <a:lnTo>
                    <a:pt x="167" y="40"/>
                  </a:lnTo>
                  <a:lnTo>
                    <a:pt x="163" y="40"/>
                  </a:lnTo>
                  <a:lnTo>
                    <a:pt x="162" y="38"/>
                  </a:lnTo>
                  <a:lnTo>
                    <a:pt x="158" y="36"/>
                  </a:lnTo>
                  <a:lnTo>
                    <a:pt x="154" y="32"/>
                  </a:lnTo>
                  <a:lnTo>
                    <a:pt x="154" y="21"/>
                  </a:lnTo>
                  <a:lnTo>
                    <a:pt x="160" y="19"/>
                  </a:lnTo>
                  <a:lnTo>
                    <a:pt x="160" y="14"/>
                  </a:lnTo>
                  <a:lnTo>
                    <a:pt x="162" y="14"/>
                  </a:lnTo>
                  <a:lnTo>
                    <a:pt x="163" y="10"/>
                  </a:lnTo>
                  <a:lnTo>
                    <a:pt x="165" y="10"/>
                  </a:lnTo>
                  <a:lnTo>
                    <a:pt x="167" y="10"/>
                  </a:lnTo>
                  <a:lnTo>
                    <a:pt x="167" y="6"/>
                  </a:lnTo>
                  <a:lnTo>
                    <a:pt x="167" y="2"/>
                  </a:lnTo>
                  <a:lnTo>
                    <a:pt x="169" y="0"/>
                  </a:lnTo>
                  <a:lnTo>
                    <a:pt x="173" y="0"/>
                  </a:lnTo>
                  <a:lnTo>
                    <a:pt x="175" y="2"/>
                  </a:lnTo>
                  <a:lnTo>
                    <a:pt x="179" y="4"/>
                  </a:lnTo>
                  <a:lnTo>
                    <a:pt x="184" y="6"/>
                  </a:lnTo>
                  <a:lnTo>
                    <a:pt x="188" y="8"/>
                  </a:lnTo>
                  <a:lnTo>
                    <a:pt x="190" y="10"/>
                  </a:lnTo>
                  <a:lnTo>
                    <a:pt x="195" y="10"/>
                  </a:lnTo>
                  <a:lnTo>
                    <a:pt x="199" y="10"/>
                  </a:lnTo>
                  <a:lnTo>
                    <a:pt x="205" y="10"/>
                  </a:lnTo>
                  <a:lnTo>
                    <a:pt x="207" y="14"/>
                  </a:lnTo>
                  <a:lnTo>
                    <a:pt x="209" y="14"/>
                  </a:lnTo>
                  <a:lnTo>
                    <a:pt x="212" y="14"/>
                  </a:lnTo>
                  <a:lnTo>
                    <a:pt x="218" y="14"/>
                  </a:lnTo>
                  <a:lnTo>
                    <a:pt x="224" y="14"/>
                  </a:lnTo>
                  <a:lnTo>
                    <a:pt x="227" y="15"/>
                  </a:lnTo>
                  <a:lnTo>
                    <a:pt x="229" y="19"/>
                  </a:lnTo>
                  <a:lnTo>
                    <a:pt x="229" y="21"/>
                  </a:lnTo>
                  <a:lnTo>
                    <a:pt x="231" y="23"/>
                  </a:lnTo>
                  <a:lnTo>
                    <a:pt x="231" y="27"/>
                  </a:lnTo>
                  <a:lnTo>
                    <a:pt x="233" y="29"/>
                  </a:lnTo>
                  <a:lnTo>
                    <a:pt x="235" y="32"/>
                  </a:lnTo>
                  <a:lnTo>
                    <a:pt x="235" y="36"/>
                  </a:lnTo>
                  <a:lnTo>
                    <a:pt x="237" y="38"/>
                  </a:lnTo>
                  <a:lnTo>
                    <a:pt x="239" y="38"/>
                  </a:lnTo>
                  <a:lnTo>
                    <a:pt x="243" y="40"/>
                  </a:lnTo>
                  <a:lnTo>
                    <a:pt x="243" y="44"/>
                  </a:lnTo>
                  <a:lnTo>
                    <a:pt x="248" y="44"/>
                  </a:lnTo>
                  <a:lnTo>
                    <a:pt x="254" y="47"/>
                  </a:lnTo>
                  <a:lnTo>
                    <a:pt x="258" y="47"/>
                  </a:lnTo>
                  <a:lnTo>
                    <a:pt x="258" y="47"/>
                  </a:lnTo>
                  <a:lnTo>
                    <a:pt x="265" y="47"/>
                  </a:lnTo>
                  <a:lnTo>
                    <a:pt x="267" y="44"/>
                  </a:lnTo>
                  <a:lnTo>
                    <a:pt x="269" y="44"/>
                  </a:lnTo>
                  <a:lnTo>
                    <a:pt x="273" y="47"/>
                  </a:lnTo>
                  <a:lnTo>
                    <a:pt x="273" y="44"/>
                  </a:lnTo>
                  <a:lnTo>
                    <a:pt x="278" y="40"/>
                  </a:lnTo>
                  <a:lnTo>
                    <a:pt x="282" y="40"/>
                  </a:lnTo>
                  <a:lnTo>
                    <a:pt x="290" y="40"/>
                  </a:lnTo>
                  <a:lnTo>
                    <a:pt x="293" y="38"/>
                  </a:lnTo>
                  <a:lnTo>
                    <a:pt x="299" y="38"/>
                  </a:lnTo>
                  <a:lnTo>
                    <a:pt x="303" y="36"/>
                  </a:lnTo>
                  <a:lnTo>
                    <a:pt x="308" y="38"/>
                  </a:lnTo>
                  <a:lnTo>
                    <a:pt x="312" y="40"/>
                  </a:lnTo>
                  <a:lnTo>
                    <a:pt x="320" y="38"/>
                  </a:lnTo>
                  <a:lnTo>
                    <a:pt x="323" y="44"/>
                  </a:lnTo>
                  <a:lnTo>
                    <a:pt x="331" y="47"/>
                  </a:lnTo>
                  <a:lnTo>
                    <a:pt x="337" y="47"/>
                  </a:lnTo>
                  <a:lnTo>
                    <a:pt x="339" y="44"/>
                  </a:lnTo>
                  <a:lnTo>
                    <a:pt x="342" y="47"/>
                  </a:lnTo>
                  <a:lnTo>
                    <a:pt x="342" y="53"/>
                  </a:lnTo>
                  <a:lnTo>
                    <a:pt x="346" y="55"/>
                  </a:lnTo>
                  <a:lnTo>
                    <a:pt x="350" y="57"/>
                  </a:lnTo>
                  <a:lnTo>
                    <a:pt x="352" y="57"/>
                  </a:lnTo>
                  <a:lnTo>
                    <a:pt x="355" y="61"/>
                  </a:lnTo>
                  <a:lnTo>
                    <a:pt x="359" y="61"/>
                  </a:lnTo>
                  <a:lnTo>
                    <a:pt x="367" y="61"/>
                  </a:lnTo>
                  <a:lnTo>
                    <a:pt x="372" y="62"/>
                  </a:lnTo>
                  <a:lnTo>
                    <a:pt x="386" y="62"/>
                  </a:lnTo>
                  <a:lnTo>
                    <a:pt x="389" y="61"/>
                  </a:lnTo>
                  <a:lnTo>
                    <a:pt x="391" y="61"/>
                  </a:lnTo>
                  <a:lnTo>
                    <a:pt x="397" y="61"/>
                  </a:lnTo>
                  <a:lnTo>
                    <a:pt x="401" y="62"/>
                  </a:lnTo>
                  <a:lnTo>
                    <a:pt x="403" y="62"/>
                  </a:lnTo>
                  <a:lnTo>
                    <a:pt x="406" y="57"/>
                  </a:lnTo>
                  <a:lnTo>
                    <a:pt x="410" y="53"/>
                  </a:lnTo>
                  <a:lnTo>
                    <a:pt x="416" y="53"/>
                  </a:lnTo>
                  <a:lnTo>
                    <a:pt x="419" y="49"/>
                  </a:lnTo>
                  <a:lnTo>
                    <a:pt x="421" y="49"/>
                  </a:lnTo>
                  <a:lnTo>
                    <a:pt x="431" y="49"/>
                  </a:lnTo>
                  <a:lnTo>
                    <a:pt x="433" y="47"/>
                  </a:lnTo>
                  <a:lnTo>
                    <a:pt x="436" y="44"/>
                  </a:lnTo>
                  <a:lnTo>
                    <a:pt x="436" y="40"/>
                  </a:lnTo>
                  <a:lnTo>
                    <a:pt x="436" y="38"/>
                  </a:lnTo>
                  <a:lnTo>
                    <a:pt x="440" y="36"/>
                  </a:lnTo>
                  <a:lnTo>
                    <a:pt x="446" y="32"/>
                  </a:lnTo>
                  <a:lnTo>
                    <a:pt x="446" y="29"/>
                  </a:lnTo>
                  <a:lnTo>
                    <a:pt x="448" y="25"/>
                  </a:lnTo>
                  <a:lnTo>
                    <a:pt x="451" y="25"/>
                  </a:lnTo>
                  <a:lnTo>
                    <a:pt x="453" y="27"/>
                  </a:lnTo>
                  <a:lnTo>
                    <a:pt x="457" y="25"/>
                  </a:lnTo>
                  <a:lnTo>
                    <a:pt x="463" y="25"/>
                  </a:lnTo>
                  <a:lnTo>
                    <a:pt x="467" y="29"/>
                  </a:lnTo>
                  <a:lnTo>
                    <a:pt x="467" y="32"/>
                  </a:lnTo>
                  <a:lnTo>
                    <a:pt x="470" y="32"/>
                  </a:lnTo>
                  <a:lnTo>
                    <a:pt x="476" y="30"/>
                  </a:lnTo>
                  <a:lnTo>
                    <a:pt x="476" y="32"/>
                  </a:lnTo>
                  <a:lnTo>
                    <a:pt x="480" y="32"/>
                  </a:lnTo>
                  <a:lnTo>
                    <a:pt x="483" y="30"/>
                  </a:lnTo>
                  <a:lnTo>
                    <a:pt x="483" y="29"/>
                  </a:lnTo>
                  <a:lnTo>
                    <a:pt x="491" y="27"/>
                  </a:lnTo>
                  <a:lnTo>
                    <a:pt x="497" y="29"/>
                  </a:lnTo>
                  <a:lnTo>
                    <a:pt x="500" y="32"/>
                  </a:lnTo>
                  <a:lnTo>
                    <a:pt x="497" y="61"/>
                  </a:lnTo>
                  <a:lnTo>
                    <a:pt x="497" y="64"/>
                  </a:lnTo>
                  <a:lnTo>
                    <a:pt x="495" y="72"/>
                  </a:lnTo>
                  <a:lnTo>
                    <a:pt x="495" y="74"/>
                  </a:lnTo>
                  <a:lnTo>
                    <a:pt x="493" y="83"/>
                  </a:lnTo>
                  <a:lnTo>
                    <a:pt x="497" y="89"/>
                  </a:lnTo>
                  <a:lnTo>
                    <a:pt x="506" y="95"/>
                  </a:lnTo>
                  <a:lnTo>
                    <a:pt x="510" y="89"/>
                  </a:lnTo>
                  <a:lnTo>
                    <a:pt x="517" y="89"/>
                  </a:lnTo>
                  <a:lnTo>
                    <a:pt x="527" y="91"/>
                  </a:lnTo>
                  <a:lnTo>
                    <a:pt x="531" y="95"/>
                  </a:lnTo>
                  <a:lnTo>
                    <a:pt x="534" y="87"/>
                  </a:lnTo>
                  <a:lnTo>
                    <a:pt x="534" y="83"/>
                  </a:lnTo>
                  <a:lnTo>
                    <a:pt x="534" y="79"/>
                  </a:lnTo>
                  <a:lnTo>
                    <a:pt x="540" y="78"/>
                  </a:lnTo>
                  <a:lnTo>
                    <a:pt x="540" y="78"/>
                  </a:lnTo>
                  <a:lnTo>
                    <a:pt x="549" y="78"/>
                  </a:lnTo>
                  <a:lnTo>
                    <a:pt x="555" y="85"/>
                  </a:lnTo>
                  <a:lnTo>
                    <a:pt x="561" y="91"/>
                  </a:lnTo>
                  <a:lnTo>
                    <a:pt x="566" y="98"/>
                  </a:lnTo>
                  <a:lnTo>
                    <a:pt x="572" y="102"/>
                  </a:lnTo>
                  <a:lnTo>
                    <a:pt x="572" y="104"/>
                  </a:lnTo>
                  <a:lnTo>
                    <a:pt x="574" y="108"/>
                  </a:lnTo>
                  <a:lnTo>
                    <a:pt x="574" y="111"/>
                  </a:lnTo>
                  <a:lnTo>
                    <a:pt x="572" y="113"/>
                  </a:lnTo>
                  <a:lnTo>
                    <a:pt x="572" y="115"/>
                  </a:lnTo>
                  <a:lnTo>
                    <a:pt x="570" y="119"/>
                  </a:lnTo>
                  <a:lnTo>
                    <a:pt x="570" y="117"/>
                  </a:lnTo>
                  <a:lnTo>
                    <a:pt x="566" y="115"/>
                  </a:lnTo>
                  <a:lnTo>
                    <a:pt x="564" y="117"/>
                  </a:lnTo>
                  <a:lnTo>
                    <a:pt x="561" y="117"/>
                  </a:lnTo>
                  <a:lnTo>
                    <a:pt x="557" y="115"/>
                  </a:lnTo>
                  <a:lnTo>
                    <a:pt x="553" y="115"/>
                  </a:lnTo>
                  <a:lnTo>
                    <a:pt x="549" y="121"/>
                  </a:lnTo>
                  <a:lnTo>
                    <a:pt x="544" y="125"/>
                  </a:lnTo>
                  <a:lnTo>
                    <a:pt x="540" y="127"/>
                  </a:lnTo>
                  <a:lnTo>
                    <a:pt x="536" y="125"/>
                  </a:lnTo>
                  <a:lnTo>
                    <a:pt x="536" y="125"/>
                  </a:lnTo>
                  <a:lnTo>
                    <a:pt x="536" y="128"/>
                  </a:lnTo>
                  <a:lnTo>
                    <a:pt x="536" y="128"/>
                  </a:lnTo>
                  <a:lnTo>
                    <a:pt x="531" y="132"/>
                  </a:lnTo>
                  <a:lnTo>
                    <a:pt x="531" y="128"/>
                  </a:lnTo>
                  <a:lnTo>
                    <a:pt x="527" y="132"/>
                  </a:lnTo>
                  <a:lnTo>
                    <a:pt x="527" y="136"/>
                  </a:lnTo>
                  <a:lnTo>
                    <a:pt x="525" y="143"/>
                  </a:lnTo>
                  <a:lnTo>
                    <a:pt x="525" y="147"/>
                  </a:lnTo>
                  <a:lnTo>
                    <a:pt x="523" y="149"/>
                  </a:lnTo>
                  <a:lnTo>
                    <a:pt x="519" y="151"/>
                  </a:lnTo>
                  <a:lnTo>
                    <a:pt x="510" y="157"/>
                  </a:lnTo>
                  <a:lnTo>
                    <a:pt x="506" y="157"/>
                  </a:lnTo>
                  <a:lnTo>
                    <a:pt x="500" y="153"/>
                  </a:lnTo>
                  <a:lnTo>
                    <a:pt x="500" y="157"/>
                  </a:lnTo>
                  <a:lnTo>
                    <a:pt x="497" y="162"/>
                  </a:lnTo>
                  <a:lnTo>
                    <a:pt x="493" y="166"/>
                  </a:lnTo>
                  <a:lnTo>
                    <a:pt x="489" y="170"/>
                  </a:lnTo>
                  <a:lnTo>
                    <a:pt x="485" y="172"/>
                  </a:lnTo>
                  <a:lnTo>
                    <a:pt x="485" y="175"/>
                  </a:lnTo>
                  <a:lnTo>
                    <a:pt x="483" y="175"/>
                  </a:lnTo>
                  <a:lnTo>
                    <a:pt x="478" y="174"/>
                  </a:lnTo>
                  <a:lnTo>
                    <a:pt x="476" y="172"/>
                  </a:lnTo>
                  <a:lnTo>
                    <a:pt x="470" y="170"/>
                  </a:lnTo>
                  <a:lnTo>
                    <a:pt x="465" y="166"/>
                  </a:lnTo>
                  <a:lnTo>
                    <a:pt x="461" y="166"/>
                  </a:lnTo>
                  <a:lnTo>
                    <a:pt x="453" y="168"/>
                  </a:lnTo>
                  <a:lnTo>
                    <a:pt x="448" y="172"/>
                  </a:lnTo>
                  <a:lnTo>
                    <a:pt x="446" y="175"/>
                  </a:lnTo>
                  <a:lnTo>
                    <a:pt x="446" y="183"/>
                  </a:lnTo>
                  <a:lnTo>
                    <a:pt x="446" y="187"/>
                  </a:lnTo>
                  <a:lnTo>
                    <a:pt x="446" y="191"/>
                  </a:lnTo>
                  <a:lnTo>
                    <a:pt x="453" y="196"/>
                  </a:lnTo>
                  <a:lnTo>
                    <a:pt x="463" y="200"/>
                  </a:lnTo>
                  <a:lnTo>
                    <a:pt x="463" y="202"/>
                  </a:lnTo>
                  <a:lnTo>
                    <a:pt x="457" y="206"/>
                  </a:lnTo>
                  <a:lnTo>
                    <a:pt x="457" y="209"/>
                  </a:lnTo>
                  <a:lnTo>
                    <a:pt x="448" y="221"/>
                  </a:lnTo>
                  <a:lnTo>
                    <a:pt x="446" y="226"/>
                  </a:lnTo>
                  <a:lnTo>
                    <a:pt x="440" y="234"/>
                  </a:lnTo>
                  <a:lnTo>
                    <a:pt x="440" y="234"/>
                  </a:lnTo>
                  <a:lnTo>
                    <a:pt x="433" y="236"/>
                  </a:lnTo>
                  <a:lnTo>
                    <a:pt x="429" y="236"/>
                  </a:lnTo>
                  <a:lnTo>
                    <a:pt x="423" y="240"/>
                  </a:lnTo>
                  <a:lnTo>
                    <a:pt x="418" y="241"/>
                  </a:lnTo>
                  <a:lnTo>
                    <a:pt x="412" y="241"/>
                  </a:lnTo>
                  <a:lnTo>
                    <a:pt x="406" y="241"/>
                  </a:lnTo>
                  <a:lnTo>
                    <a:pt x="401" y="245"/>
                  </a:lnTo>
                  <a:lnTo>
                    <a:pt x="395" y="247"/>
                  </a:lnTo>
                  <a:lnTo>
                    <a:pt x="380" y="251"/>
                  </a:lnTo>
                  <a:lnTo>
                    <a:pt x="371" y="255"/>
                  </a:lnTo>
                  <a:lnTo>
                    <a:pt x="363" y="260"/>
                  </a:lnTo>
                  <a:lnTo>
                    <a:pt x="357" y="268"/>
                  </a:lnTo>
                  <a:lnTo>
                    <a:pt x="354" y="270"/>
                  </a:lnTo>
                  <a:lnTo>
                    <a:pt x="348" y="270"/>
                  </a:lnTo>
                  <a:lnTo>
                    <a:pt x="342" y="270"/>
                  </a:lnTo>
                  <a:lnTo>
                    <a:pt x="342" y="266"/>
                  </a:lnTo>
                  <a:lnTo>
                    <a:pt x="342" y="264"/>
                  </a:lnTo>
                  <a:lnTo>
                    <a:pt x="333" y="266"/>
                  </a:lnTo>
                  <a:lnTo>
                    <a:pt x="329" y="268"/>
                  </a:lnTo>
                  <a:lnTo>
                    <a:pt x="322" y="264"/>
                  </a:lnTo>
                  <a:lnTo>
                    <a:pt x="316" y="262"/>
                  </a:lnTo>
                  <a:lnTo>
                    <a:pt x="303" y="258"/>
                  </a:lnTo>
                  <a:lnTo>
                    <a:pt x="293" y="253"/>
                  </a:lnTo>
                  <a:lnTo>
                    <a:pt x="286" y="247"/>
                  </a:lnTo>
                  <a:lnTo>
                    <a:pt x="282" y="247"/>
                  </a:lnTo>
                  <a:lnTo>
                    <a:pt x="269" y="247"/>
                  </a:lnTo>
                  <a:lnTo>
                    <a:pt x="258" y="247"/>
                  </a:lnTo>
                  <a:lnTo>
                    <a:pt x="254" y="245"/>
                  </a:lnTo>
                  <a:lnTo>
                    <a:pt x="252" y="247"/>
                  </a:lnTo>
                  <a:lnTo>
                    <a:pt x="252" y="247"/>
                  </a:lnTo>
                  <a:lnTo>
                    <a:pt x="244" y="251"/>
                  </a:lnTo>
                  <a:lnTo>
                    <a:pt x="237" y="251"/>
                  </a:lnTo>
                  <a:lnTo>
                    <a:pt x="220" y="251"/>
                  </a:lnTo>
                  <a:lnTo>
                    <a:pt x="209" y="251"/>
                  </a:lnTo>
                  <a:lnTo>
                    <a:pt x="199" y="251"/>
                  </a:lnTo>
                  <a:lnTo>
                    <a:pt x="194" y="251"/>
                  </a:lnTo>
                  <a:lnTo>
                    <a:pt x="190" y="251"/>
                  </a:lnTo>
                  <a:lnTo>
                    <a:pt x="188" y="251"/>
                  </a:lnTo>
                  <a:lnTo>
                    <a:pt x="182" y="241"/>
                  </a:lnTo>
                  <a:lnTo>
                    <a:pt x="182" y="240"/>
                  </a:lnTo>
                  <a:lnTo>
                    <a:pt x="175" y="232"/>
                  </a:lnTo>
                  <a:lnTo>
                    <a:pt x="175" y="228"/>
                  </a:lnTo>
                  <a:lnTo>
                    <a:pt x="169" y="223"/>
                  </a:lnTo>
                  <a:lnTo>
                    <a:pt x="169" y="221"/>
                  </a:lnTo>
                  <a:lnTo>
                    <a:pt x="169" y="217"/>
                  </a:lnTo>
                  <a:lnTo>
                    <a:pt x="165" y="217"/>
                  </a:lnTo>
                  <a:lnTo>
                    <a:pt x="163" y="217"/>
                  </a:lnTo>
                  <a:lnTo>
                    <a:pt x="163" y="215"/>
                  </a:lnTo>
                  <a:lnTo>
                    <a:pt x="162" y="213"/>
                  </a:lnTo>
                  <a:lnTo>
                    <a:pt x="162" y="211"/>
                  </a:lnTo>
                  <a:lnTo>
                    <a:pt x="160" y="211"/>
                  </a:lnTo>
                  <a:lnTo>
                    <a:pt x="154" y="211"/>
                  </a:lnTo>
                  <a:lnTo>
                    <a:pt x="148" y="209"/>
                  </a:lnTo>
                  <a:lnTo>
                    <a:pt x="145" y="204"/>
                  </a:lnTo>
                  <a:lnTo>
                    <a:pt x="139" y="204"/>
                  </a:lnTo>
                  <a:lnTo>
                    <a:pt x="139" y="204"/>
                  </a:lnTo>
                  <a:lnTo>
                    <a:pt x="135" y="204"/>
                  </a:lnTo>
                  <a:lnTo>
                    <a:pt x="135" y="200"/>
                  </a:lnTo>
                  <a:lnTo>
                    <a:pt x="128" y="196"/>
                  </a:lnTo>
                  <a:lnTo>
                    <a:pt x="115" y="196"/>
                  </a:lnTo>
                  <a:lnTo>
                    <a:pt x="115" y="196"/>
                  </a:lnTo>
                  <a:lnTo>
                    <a:pt x="115" y="196"/>
                  </a:lnTo>
                  <a:lnTo>
                    <a:pt x="109" y="196"/>
                  </a:lnTo>
                  <a:lnTo>
                    <a:pt x="99" y="196"/>
                  </a:lnTo>
                  <a:lnTo>
                    <a:pt x="81" y="192"/>
                  </a:lnTo>
                  <a:lnTo>
                    <a:pt x="79" y="192"/>
                  </a:lnTo>
                  <a:lnTo>
                    <a:pt x="73" y="183"/>
                  </a:lnTo>
                  <a:lnTo>
                    <a:pt x="73" y="181"/>
                  </a:lnTo>
                  <a:lnTo>
                    <a:pt x="73" y="179"/>
                  </a:lnTo>
                  <a:lnTo>
                    <a:pt x="75" y="177"/>
                  </a:lnTo>
                  <a:lnTo>
                    <a:pt x="75" y="174"/>
                  </a:lnTo>
                  <a:lnTo>
                    <a:pt x="79" y="172"/>
                  </a:lnTo>
                  <a:lnTo>
                    <a:pt x="75" y="168"/>
                  </a:lnTo>
                  <a:lnTo>
                    <a:pt x="75" y="166"/>
                  </a:lnTo>
                  <a:lnTo>
                    <a:pt x="75" y="162"/>
                  </a:lnTo>
                  <a:lnTo>
                    <a:pt x="75" y="159"/>
                  </a:lnTo>
                  <a:lnTo>
                    <a:pt x="73" y="157"/>
                  </a:lnTo>
                  <a:lnTo>
                    <a:pt x="71" y="153"/>
                  </a:lnTo>
                  <a:lnTo>
                    <a:pt x="69" y="151"/>
                  </a:lnTo>
                  <a:lnTo>
                    <a:pt x="66" y="149"/>
                  </a:lnTo>
                  <a:lnTo>
                    <a:pt x="64" y="145"/>
                  </a:lnTo>
                  <a:lnTo>
                    <a:pt x="62" y="142"/>
                  </a:lnTo>
                  <a:lnTo>
                    <a:pt x="62" y="138"/>
                  </a:lnTo>
                  <a:lnTo>
                    <a:pt x="60" y="136"/>
                  </a:lnTo>
                  <a:lnTo>
                    <a:pt x="58" y="132"/>
                  </a:lnTo>
                  <a:lnTo>
                    <a:pt x="56" y="132"/>
                  </a:lnTo>
                  <a:lnTo>
                    <a:pt x="54" y="128"/>
                  </a:lnTo>
                  <a:lnTo>
                    <a:pt x="51" y="128"/>
                  </a:lnTo>
                  <a:lnTo>
                    <a:pt x="49" y="127"/>
                  </a:lnTo>
                  <a:lnTo>
                    <a:pt x="45" y="127"/>
                  </a:lnTo>
                  <a:lnTo>
                    <a:pt x="45" y="128"/>
                  </a:lnTo>
                  <a:lnTo>
                    <a:pt x="43" y="128"/>
                  </a:lnTo>
                  <a:lnTo>
                    <a:pt x="41" y="128"/>
                  </a:lnTo>
                  <a:lnTo>
                    <a:pt x="37" y="127"/>
                  </a:lnTo>
                  <a:lnTo>
                    <a:pt x="35" y="125"/>
                  </a:lnTo>
                  <a:lnTo>
                    <a:pt x="32" y="125"/>
                  </a:lnTo>
                  <a:lnTo>
                    <a:pt x="28" y="127"/>
                  </a:lnTo>
                  <a:lnTo>
                    <a:pt x="28" y="128"/>
                  </a:lnTo>
                  <a:lnTo>
                    <a:pt x="26" y="128"/>
                  </a:lnTo>
                  <a:lnTo>
                    <a:pt x="24" y="128"/>
                  </a:lnTo>
                  <a:lnTo>
                    <a:pt x="20" y="127"/>
                  </a:lnTo>
                  <a:lnTo>
                    <a:pt x="20" y="125"/>
                  </a:lnTo>
                  <a:lnTo>
                    <a:pt x="20" y="123"/>
                  </a:lnTo>
                  <a:lnTo>
                    <a:pt x="19" y="119"/>
                  </a:lnTo>
                  <a:lnTo>
                    <a:pt x="15" y="117"/>
                  </a:lnTo>
                  <a:lnTo>
                    <a:pt x="11" y="113"/>
                  </a:lnTo>
                  <a:lnTo>
                    <a:pt x="9" y="113"/>
                  </a:lnTo>
                  <a:lnTo>
                    <a:pt x="7" y="111"/>
                  </a:lnTo>
                  <a:lnTo>
                    <a:pt x="7" y="108"/>
                  </a:lnTo>
                  <a:lnTo>
                    <a:pt x="7" y="108"/>
                  </a:lnTo>
                  <a:lnTo>
                    <a:pt x="5" y="104"/>
                  </a:lnTo>
                  <a:lnTo>
                    <a:pt x="5" y="104"/>
                  </a:lnTo>
                  <a:lnTo>
                    <a:pt x="3" y="108"/>
                  </a:lnTo>
                  <a:lnTo>
                    <a:pt x="3" y="108"/>
                  </a:lnTo>
                  <a:lnTo>
                    <a:pt x="2" y="104"/>
                  </a:lnTo>
                  <a:lnTo>
                    <a:pt x="0" y="102"/>
                  </a:lnTo>
                  <a:lnTo>
                    <a:pt x="0"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48">
              <a:extLst>
                <a:ext uri="{FF2B5EF4-FFF2-40B4-BE49-F238E27FC236}">
                  <a16:creationId xmlns:a16="http://schemas.microsoft.com/office/drawing/2014/main" id="{AC1B1866-45D7-5F45-949C-F08331B511CE}"/>
                </a:ext>
              </a:extLst>
            </p:cNvPr>
            <p:cNvSpPr>
              <a:spLocks noEditPoints="1"/>
            </p:cNvSpPr>
            <p:nvPr/>
          </p:nvSpPr>
          <p:spPr bwMode="auto">
            <a:xfrm>
              <a:off x="7336161" y="2860150"/>
              <a:ext cx="35840" cy="55992"/>
            </a:xfrm>
            <a:custGeom>
              <a:avLst/>
              <a:gdLst/>
              <a:ahLst/>
              <a:cxnLst>
                <a:cxn ang="0">
                  <a:pos x="0" y="32"/>
                </a:cxn>
                <a:cxn ang="0">
                  <a:pos x="2" y="28"/>
                </a:cxn>
                <a:cxn ang="0">
                  <a:pos x="0" y="28"/>
                </a:cxn>
                <a:cxn ang="0">
                  <a:pos x="0" y="35"/>
                </a:cxn>
                <a:cxn ang="0">
                  <a:pos x="0" y="35"/>
                </a:cxn>
                <a:cxn ang="0">
                  <a:pos x="6" y="5"/>
                </a:cxn>
                <a:cxn ang="0">
                  <a:pos x="2" y="0"/>
                </a:cxn>
                <a:cxn ang="0">
                  <a:pos x="10" y="0"/>
                </a:cxn>
                <a:cxn ang="0">
                  <a:pos x="6" y="3"/>
                </a:cxn>
                <a:cxn ang="0">
                  <a:pos x="6" y="5"/>
                </a:cxn>
                <a:cxn ang="0">
                  <a:pos x="6" y="5"/>
                </a:cxn>
                <a:cxn ang="0">
                  <a:pos x="12" y="1"/>
                </a:cxn>
                <a:cxn ang="0">
                  <a:pos x="17" y="7"/>
                </a:cxn>
                <a:cxn ang="0">
                  <a:pos x="17" y="7"/>
                </a:cxn>
                <a:cxn ang="0">
                  <a:pos x="12" y="5"/>
                </a:cxn>
                <a:cxn ang="0">
                  <a:pos x="10" y="3"/>
                </a:cxn>
                <a:cxn ang="0">
                  <a:pos x="12" y="1"/>
                </a:cxn>
                <a:cxn ang="0">
                  <a:pos x="12" y="0"/>
                </a:cxn>
                <a:cxn ang="0">
                  <a:pos x="12" y="0"/>
                </a:cxn>
                <a:cxn ang="0">
                  <a:pos x="6" y="7"/>
                </a:cxn>
                <a:cxn ang="0">
                  <a:pos x="6" y="9"/>
                </a:cxn>
                <a:cxn ang="0">
                  <a:pos x="6" y="9"/>
                </a:cxn>
                <a:cxn ang="0">
                  <a:pos x="6" y="17"/>
                </a:cxn>
                <a:cxn ang="0">
                  <a:pos x="2" y="13"/>
                </a:cxn>
                <a:cxn ang="0">
                  <a:pos x="0" y="13"/>
                </a:cxn>
                <a:cxn ang="0">
                  <a:pos x="2" y="17"/>
                </a:cxn>
                <a:cxn ang="0">
                  <a:pos x="2" y="20"/>
                </a:cxn>
                <a:cxn ang="0">
                  <a:pos x="2" y="28"/>
                </a:cxn>
                <a:cxn ang="0">
                  <a:pos x="2" y="37"/>
                </a:cxn>
                <a:cxn ang="0">
                  <a:pos x="2" y="47"/>
                </a:cxn>
                <a:cxn ang="0">
                  <a:pos x="2" y="56"/>
                </a:cxn>
                <a:cxn ang="0">
                  <a:pos x="10" y="69"/>
                </a:cxn>
                <a:cxn ang="0">
                  <a:pos x="17" y="71"/>
                </a:cxn>
                <a:cxn ang="0">
                  <a:pos x="30" y="69"/>
                </a:cxn>
                <a:cxn ang="0">
                  <a:pos x="42" y="58"/>
                </a:cxn>
                <a:cxn ang="0">
                  <a:pos x="42" y="50"/>
                </a:cxn>
                <a:cxn ang="0">
                  <a:pos x="42" y="47"/>
                </a:cxn>
                <a:cxn ang="0">
                  <a:pos x="42" y="41"/>
                </a:cxn>
                <a:cxn ang="0">
                  <a:pos x="36" y="32"/>
                </a:cxn>
                <a:cxn ang="0">
                  <a:pos x="29" y="26"/>
                </a:cxn>
                <a:cxn ang="0">
                  <a:pos x="27" y="26"/>
                </a:cxn>
                <a:cxn ang="0">
                  <a:pos x="29" y="22"/>
                </a:cxn>
                <a:cxn ang="0">
                  <a:pos x="27" y="17"/>
                </a:cxn>
                <a:cxn ang="0">
                  <a:pos x="21" y="13"/>
                </a:cxn>
                <a:cxn ang="0">
                  <a:pos x="21" y="9"/>
                </a:cxn>
                <a:cxn ang="0">
                  <a:pos x="15" y="9"/>
                </a:cxn>
                <a:cxn ang="0">
                  <a:pos x="12" y="7"/>
                </a:cxn>
                <a:cxn ang="0">
                  <a:pos x="6" y="5"/>
                </a:cxn>
              </a:cxnLst>
              <a:rect l="0" t="0" r="r" b="b"/>
              <a:pathLst>
                <a:path w="42" h="73">
                  <a:moveTo>
                    <a:pt x="0" y="35"/>
                  </a:moveTo>
                  <a:lnTo>
                    <a:pt x="0" y="32"/>
                  </a:lnTo>
                  <a:lnTo>
                    <a:pt x="0" y="28"/>
                  </a:lnTo>
                  <a:lnTo>
                    <a:pt x="2" y="28"/>
                  </a:lnTo>
                  <a:lnTo>
                    <a:pt x="2" y="28"/>
                  </a:lnTo>
                  <a:lnTo>
                    <a:pt x="0" y="28"/>
                  </a:lnTo>
                  <a:lnTo>
                    <a:pt x="2" y="32"/>
                  </a:lnTo>
                  <a:lnTo>
                    <a:pt x="0" y="35"/>
                  </a:lnTo>
                  <a:lnTo>
                    <a:pt x="0" y="35"/>
                  </a:lnTo>
                  <a:lnTo>
                    <a:pt x="0" y="35"/>
                  </a:lnTo>
                  <a:lnTo>
                    <a:pt x="0" y="35"/>
                  </a:lnTo>
                  <a:close/>
                  <a:moveTo>
                    <a:pt x="6" y="5"/>
                  </a:moveTo>
                  <a:lnTo>
                    <a:pt x="2" y="1"/>
                  </a:lnTo>
                  <a:lnTo>
                    <a:pt x="2" y="0"/>
                  </a:lnTo>
                  <a:lnTo>
                    <a:pt x="6" y="0"/>
                  </a:lnTo>
                  <a:lnTo>
                    <a:pt x="10" y="0"/>
                  </a:lnTo>
                  <a:lnTo>
                    <a:pt x="6" y="3"/>
                  </a:lnTo>
                  <a:lnTo>
                    <a:pt x="6" y="3"/>
                  </a:lnTo>
                  <a:lnTo>
                    <a:pt x="6" y="5"/>
                  </a:lnTo>
                  <a:lnTo>
                    <a:pt x="6" y="5"/>
                  </a:lnTo>
                  <a:lnTo>
                    <a:pt x="6" y="5"/>
                  </a:lnTo>
                  <a:lnTo>
                    <a:pt x="6" y="5"/>
                  </a:lnTo>
                  <a:close/>
                  <a:moveTo>
                    <a:pt x="12" y="0"/>
                  </a:moveTo>
                  <a:lnTo>
                    <a:pt x="12" y="1"/>
                  </a:lnTo>
                  <a:lnTo>
                    <a:pt x="15" y="3"/>
                  </a:lnTo>
                  <a:lnTo>
                    <a:pt x="17" y="7"/>
                  </a:lnTo>
                  <a:lnTo>
                    <a:pt x="21" y="9"/>
                  </a:lnTo>
                  <a:lnTo>
                    <a:pt x="17" y="7"/>
                  </a:lnTo>
                  <a:lnTo>
                    <a:pt x="15" y="7"/>
                  </a:lnTo>
                  <a:lnTo>
                    <a:pt x="12" y="5"/>
                  </a:lnTo>
                  <a:lnTo>
                    <a:pt x="10" y="3"/>
                  </a:lnTo>
                  <a:lnTo>
                    <a:pt x="10" y="3"/>
                  </a:lnTo>
                  <a:lnTo>
                    <a:pt x="12" y="1"/>
                  </a:lnTo>
                  <a:lnTo>
                    <a:pt x="12" y="1"/>
                  </a:lnTo>
                  <a:lnTo>
                    <a:pt x="12" y="0"/>
                  </a:lnTo>
                  <a:lnTo>
                    <a:pt x="12" y="0"/>
                  </a:lnTo>
                  <a:lnTo>
                    <a:pt x="12" y="0"/>
                  </a:lnTo>
                  <a:lnTo>
                    <a:pt x="12" y="0"/>
                  </a:lnTo>
                  <a:close/>
                  <a:moveTo>
                    <a:pt x="6" y="5"/>
                  </a:moveTo>
                  <a:lnTo>
                    <a:pt x="6" y="7"/>
                  </a:lnTo>
                  <a:lnTo>
                    <a:pt x="10" y="9"/>
                  </a:lnTo>
                  <a:lnTo>
                    <a:pt x="6" y="9"/>
                  </a:lnTo>
                  <a:lnTo>
                    <a:pt x="6" y="9"/>
                  </a:lnTo>
                  <a:lnTo>
                    <a:pt x="6" y="9"/>
                  </a:lnTo>
                  <a:lnTo>
                    <a:pt x="6" y="13"/>
                  </a:lnTo>
                  <a:lnTo>
                    <a:pt x="6" y="17"/>
                  </a:lnTo>
                  <a:lnTo>
                    <a:pt x="2" y="17"/>
                  </a:lnTo>
                  <a:lnTo>
                    <a:pt x="2" y="13"/>
                  </a:lnTo>
                  <a:lnTo>
                    <a:pt x="0" y="13"/>
                  </a:lnTo>
                  <a:lnTo>
                    <a:pt x="0" y="13"/>
                  </a:lnTo>
                  <a:lnTo>
                    <a:pt x="2" y="17"/>
                  </a:lnTo>
                  <a:lnTo>
                    <a:pt x="2" y="17"/>
                  </a:lnTo>
                  <a:lnTo>
                    <a:pt x="2" y="17"/>
                  </a:lnTo>
                  <a:lnTo>
                    <a:pt x="2" y="20"/>
                  </a:lnTo>
                  <a:lnTo>
                    <a:pt x="2" y="26"/>
                  </a:lnTo>
                  <a:lnTo>
                    <a:pt x="2" y="28"/>
                  </a:lnTo>
                  <a:lnTo>
                    <a:pt x="2" y="35"/>
                  </a:lnTo>
                  <a:lnTo>
                    <a:pt x="2" y="37"/>
                  </a:lnTo>
                  <a:lnTo>
                    <a:pt x="0" y="39"/>
                  </a:lnTo>
                  <a:lnTo>
                    <a:pt x="2" y="47"/>
                  </a:lnTo>
                  <a:lnTo>
                    <a:pt x="2" y="47"/>
                  </a:lnTo>
                  <a:lnTo>
                    <a:pt x="2" y="56"/>
                  </a:lnTo>
                  <a:lnTo>
                    <a:pt x="6" y="66"/>
                  </a:lnTo>
                  <a:lnTo>
                    <a:pt x="10" y="69"/>
                  </a:lnTo>
                  <a:lnTo>
                    <a:pt x="15" y="73"/>
                  </a:lnTo>
                  <a:lnTo>
                    <a:pt x="17" y="71"/>
                  </a:lnTo>
                  <a:lnTo>
                    <a:pt x="23" y="71"/>
                  </a:lnTo>
                  <a:lnTo>
                    <a:pt x="30" y="69"/>
                  </a:lnTo>
                  <a:lnTo>
                    <a:pt x="36" y="64"/>
                  </a:lnTo>
                  <a:lnTo>
                    <a:pt x="42" y="58"/>
                  </a:lnTo>
                  <a:lnTo>
                    <a:pt x="42" y="54"/>
                  </a:lnTo>
                  <a:lnTo>
                    <a:pt x="42" y="50"/>
                  </a:lnTo>
                  <a:lnTo>
                    <a:pt x="42" y="50"/>
                  </a:lnTo>
                  <a:lnTo>
                    <a:pt x="42" y="47"/>
                  </a:lnTo>
                  <a:lnTo>
                    <a:pt x="42" y="45"/>
                  </a:lnTo>
                  <a:lnTo>
                    <a:pt x="42" y="41"/>
                  </a:lnTo>
                  <a:lnTo>
                    <a:pt x="38" y="39"/>
                  </a:lnTo>
                  <a:lnTo>
                    <a:pt x="36" y="32"/>
                  </a:lnTo>
                  <a:lnTo>
                    <a:pt x="32" y="26"/>
                  </a:lnTo>
                  <a:lnTo>
                    <a:pt x="29" y="26"/>
                  </a:lnTo>
                  <a:lnTo>
                    <a:pt x="29" y="26"/>
                  </a:lnTo>
                  <a:lnTo>
                    <a:pt x="27" y="26"/>
                  </a:lnTo>
                  <a:lnTo>
                    <a:pt x="29" y="22"/>
                  </a:lnTo>
                  <a:lnTo>
                    <a:pt x="29" y="22"/>
                  </a:lnTo>
                  <a:lnTo>
                    <a:pt x="27" y="20"/>
                  </a:lnTo>
                  <a:lnTo>
                    <a:pt x="27" y="17"/>
                  </a:lnTo>
                  <a:lnTo>
                    <a:pt x="23" y="17"/>
                  </a:lnTo>
                  <a:lnTo>
                    <a:pt x="21" y="13"/>
                  </a:lnTo>
                  <a:lnTo>
                    <a:pt x="21" y="13"/>
                  </a:lnTo>
                  <a:lnTo>
                    <a:pt x="21" y="9"/>
                  </a:lnTo>
                  <a:lnTo>
                    <a:pt x="15" y="9"/>
                  </a:lnTo>
                  <a:lnTo>
                    <a:pt x="15" y="9"/>
                  </a:lnTo>
                  <a:lnTo>
                    <a:pt x="12" y="9"/>
                  </a:lnTo>
                  <a:lnTo>
                    <a:pt x="12" y="7"/>
                  </a:lnTo>
                  <a:lnTo>
                    <a:pt x="6" y="5"/>
                  </a:lnTo>
                  <a:lnTo>
                    <a:pt x="6" y="5"/>
                  </a:lnTo>
                  <a:lnTo>
                    <a:pt x="6"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49">
              <a:extLst>
                <a:ext uri="{FF2B5EF4-FFF2-40B4-BE49-F238E27FC236}">
                  <a16:creationId xmlns:a16="http://schemas.microsoft.com/office/drawing/2014/main" id="{4FC528DC-069E-154C-BD73-E88B54F47A31}"/>
                </a:ext>
              </a:extLst>
            </p:cNvPr>
            <p:cNvSpPr>
              <a:spLocks/>
            </p:cNvSpPr>
            <p:nvPr/>
          </p:nvSpPr>
          <p:spPr bwMode="auto">
            <a:xfrm>
              <a:off x="7344695" y="2534937"/>
              <a:ext cx="131414" cy="62128"/>
            </a:xfrm>
            <a:custGeom>
              <a:avLst/>
              <a:gdLst/>
              <a:ahLst/>
              <a:cxnLst>
                <a:cxn ang="0">
                  <a:pos x="9" y="0"/>
                </a:cxn>
                <a:cxn ang="0">
                  <a:pos x="15" y="4"/>
                </a:cxn>
                <a:cxn ang="0">
                  <a:pos x="20" y="7"/>
                </a:cxn>
                <a:cxn ang="0">
                  <a:pos x="28" y="4"/>
                </a:cxn>
                <a:cxn ang="0">
                  <a:pos x="37" y="7"/>
                </a:cxn>
                <a:cxn ang="0">
                  <a:pos x="43" y="7"/>
                </a:cxn>
                <a:cxn ang="0">
                  <a:pos x="52" y="15"/>
                </a:cxn>
                <a:cxn ang="0">
                  <a:pos x="58" y="19"/>
                </a:cxn>
                <a:cxn ang="0">
                  <a:pos x="62" y="26"/>
                </a:cxn>
                <a:cxn ang="0">
                  <a:pos x="66" y="19"/>
                </a:cxn>
                <a:cxn ang="0">
                  <a:pos x="67" y="19"/>
                </a:cxn>
                <a:cxn ang="0">
                  <a:pos x="77" y="22"/>
                </a:cxn>
                <a:cxn ang="0">
                  <a:pos x="81" y="30"/>
                </a:cxn>
                <a:cxn ang="0">
                  <a:pos x="92" y="30"/>
                </a:cxn>
                <a:cxn ang="0">
                  <a:pos x="92" y="41"/>
                </a:cxn>
                <a:cxn ang="0">
                  <a:pos x="101" y="43"/>
                </a:cxn>
                <a:cxn ang="0">
                  <a:pos x="107" y="41"/>
                </a:cxn>
                <a:cxn ang="0">
                  <a:pos x="116" y="37"/>
                </a:cxn>
                <a:cxn ang="0">
                  <a:pos x="122" y="43"/>
                </a:cxn>
                <a:cxn ang="0">
                  <a:pos x="131" y="51"/>
                </a:cxn>
                <a:cxn ang="0">
                  <a:pos x="139" y="49"/>
                </a:cxn>
                <a:cxn ang="0">
                  <a:pos x="147" y="49"/>
                </a:cxn>
                <a:cxn ang="0">
                  <a:pos x="150" y="53"/>
                </a:cxn>
                <a:cxn ang="0">
                  <a:pos x="154" y="68"/>
                </a:cxn>
                <a:cxn ang="0">
                  <a:pos x="139" y="81"/>
                </a:cxn>
                <a:cxn ang="0">
                  <a:pos x="130" y="79"/>
                </a:cxn>
                <a:cxn ang="0">
                  <a:pos x="107" y="71"/>
                </a:cxn>
                <a:cxn ang="0">
                  <a:pos x="94" y="71"/>
                </a:cxn>
                <a:cxn ang="0">
                  <a:pos x="88" y="62"/>
                </a:cxn>
                <a:cxn ang="0">
                  <a:pos x="69" y="62"/>
                </a:cxn>
                <a:cxn ang="0">
                  <a:pos x="58" y="62"/>
                </a:cxn>
                <a:cxn ang="0">
                  <a:pos x="47" y="58"/>
                </a:cxn>
                <a:cxn ang="0">
                  <a:pos x="37" y="53"/>
                </a:cxn>
                <a:cxn ang="0">
                  <a:pos x="22" y="41"/>
                </a:cxn>
                <a:cxn ang="0">
                  <a:pos x="13" y="37"/>
                </a:cxn>
                <a:cxn ang="0">
                  <a:pos x="5" y="34"/>
                </a:cxn>
                <a:cxn ang="0">
                  <a:pos x="0" y="30"/>
                </a:cxn>
                <a:cxn ang="0">
                  <a:pos x="5" y="17"/>
                </a:cxn>
                <a:cxn ang="0">
                  <a:pos x="9" y="0"/>
                </a:cxn>
                <a:cxn ang="0">
                  <a:pos x="9" y="0"/>
                </a:cxn>
              </a:cxnLst>
              <a:rect l="0" t="0" r="r" b="b"/>
              <a:pathLst>
                <a:path w="154" h="81">
                  <a:moveTo>
                    <a:pt x="9" y="0"/>
                  </a:moveTo>
                  <a:lnTo>
                    <a:pt x="9" y="0"/>
                  </a:lnTo>
                  <a:lnTo>
                    <a:pt x="13" y="4"/>
                  </a:lnTo>
                  <a:lnTo>
                    <a:pt x="15" y="4"/>
                  </a:lnTo>
                  <a:lnTo>
                    <a:pt x="19" y="4"/>
                  </a:lnTo>
                  <a:lnTo>
                    <a:pt x="20" y="7"/>
                  </a:lnTo>
                  <a:lnTo>
                    <a:pt x="22" y="4"/>
                  </a:lnTo>
                  <a:lnTo>
                    <a:pt x="28" y="4"/>
                  </a:lnTo>
                  <a:lnTo>
                    <a:pt x="34" y="4"/>
                  </a:lnTo>
                  <a:lnTo>
                    <a:pt x="37" y="7"/>
                  </a:lnTo>
                  <a:lnTo>
                    <a:pt x="39" y="7"/>
                  </a:lnTo>
                  <a:lnTo>
                    <a:pt x="43" y="7"/>
                  </a:lnTo>
                  <a:lnTo>
                    <a:pt x="49" y="15"/>
                  </a:lnTo>
                  <a:lnTo>
                    <a:pt x="52" y="15"/>
                  </a:lnTo>
                  <a:lnTo>
                    <a:pt x="58" y="17"/>
                  </a:lnTo>
                  <a:lnTo>
                    <a:pt x="58" y="19"/>
                  </a:lnTo>
                  <a:lnTo>
                    <a:pt x="62" y="22"/>
                  </a:lnTo>
                  <a:lnTo>
                    <a:pt x="62" y="26"/>
                  </a:lnTo>
                  <a:lnTo>
                    <a:pt x="64" y="24"/>
                  </a:lnTo>
                  <a:lnTo>
                    <a:pt x="66" y="19"/>
                  </a:lnTo>
                  <a:lnTo>
                    <a:pt x="67" y="19"/>
                  </a:lnTo>
                  <a:lnTo>
                    <a:pt x="67" y="19"/>
                  </a:lnTo>
                  <a:lnTo>
                    <a:pt x="73" y="19"/>
                  </a:lnTo>
                  <a:lnTo>
                    <a:pt x="77" y="22"/>
                  </a:lnTo>
                  <a:lnTo>
                    <a:pt x="77" y="26"/>
                  </a:lnTo>
                  <a:lnTo>
                    <a:pt x="81" y="30"/>
                  </a:lnTo>
                  <a:lnTo>
                    <a:pt x="86" y="30"/>
                  </a:lnTo>
                  <a:lnTo>
                    <a:pt x="92" y="30"/>
                  </a:lnTo>
                  <a:lnTo>
                    <a:pt x="90" y="37"/>
                  </a:lnTo>
                  <a:lnTo>
                    <a:pt x="92" y="41"/>
                  </a:lnTo>
                  <a:lnTo>
                    <a:pt x="96" y="41"/>
                  </a:lnTo>
                  <a:lnTo>
                    <a:pt x="101" y="43"/>
                  </a:lnTo>
                  <a:lnTo>
                    <a:pt x="101" y="41"/>
                  </a:lnTo>
                  <a:lnTo>
                    <a:pt x="107" y="41"/>
                  </a:lnTo>
                  <a:lnTo>
                    <a:pt x="109" y="37"/>
                  </a:lnTo>
                  <a:lnTo>
                    <a:pt x="116" y="37"/>
                  </a:lnTo>
                  <a:lnTo>
                    <a:pt x="122" y="41"/>
                  </a:lnTo>
                  <a:lnTo>
                    <a:pt x="122" y="43"/>
                  </a:lnTo>
                  <a:lnTo>
                    <a:pt x="130" y="47"/>
                  </a:lnTo>
                  <a:lnTo>
                    <a:pt x="131" y="51"/>
                  </a:lnTo>
                  <a:lnTo>
                    <a:pt x="133" y="53"/>
                  </a:lnTo>
                  <a:lnTo>
                    <a:pt x="139" y="49"/>
                  </a:lnTo>
                  <a:lnTo>
                    <a:pt x="141" y="51"/>
                  </a:lnTo>
                  <a:lnTo>
                    <a:pt x="147" y="49"/>
                  </a:lnTo>
                  <a:lnTo>
                    <a:pt x="150" y="49"/>
                  </a:lnTo>
                  <a:lnTo>
                    <a:pt x="150" y="53"/>
                  </a:lnTo>
                  <a:lnTo>
                    <a:pt x="150" y="62"/>
                  </a:lnTo>
                  <a:lnTo>
                    <a:pt x="154" y="68"/>
                  </a:lnTo>
                  <a:lnTo>
                    <a:pt x="150" y="77"/>
                  </a:lnTo>
                  <a:lnTo>
                    <a:pt x="139" y="81"/>
                  </a:lnTo>
                  <a:lnTo>
                    <a:pt x="133" y="75"/>
                  </a:lnTo>
                  <a:lnTo>
                    <a:pt x="130" y="79"/>
                  </a:lnTo>
                  <a:lnTo>
                    <a:pt x="113" y="71"/>
                  </a:lnTo>
                  <a:lnTo>
                    <a:pt x="107" y="71"/>
                  </a:lnTo>
                  <a:lnTo>
                    <a:pt x="105" y="75"/>
                  </a:lnTo>
                  <a:lnTo>
                    <a:pt x="94" y="71"/>
                  </a:lnTo>
                  <a:lnTo>
                    <a:pt x="88" y="68"/>
                  </a:lnTo>
                  <a:lnTo>
                    <a:pt x="88" y="62"/>
                  </a:lnTo>
                  <a:lnTo>
                    <a:pt x="79" y="62"/>
                  </a:lnTo>
                  <a:lnTo>
                    <a:pt x="69" y="62"/>
                  </a:lnTo>
                  <a:lnTo>
                    <a:pt x="66" y="62"/>
                  </a:lnTo>
                  <a:lnTo>
                    <a:pt x="58" y="62"/>
                  </a:lnTo>
                  <a:lnTo>
                    <a:pt x="52" y="58"/>
                  </a:lnTo>
                  <a:lnTo>
                    <a:pt x="47" y="58"/>
                  </a:lnTo>
                  <a:lnTo>
                    <a:pt x="43" y="54"/>
                  </a:lnTo>
                  <a:lnTo>
                    <a:pt x="37" y="53"/>
                  </a:lnTo>
                  <a:lnTo>
                    <a:pt x="30" y="47"/>
                  </a:lnTo>
                  <a:lnTo>
                    <a:pt x="22" y="41"/>
                  </a:lnTo>
                  <a:lnTo>
                    <a:pt x="15" y="37"/>
                  </a:lnTo>
                  <a:lnTo>
                    <a:pt x="13" y="37"/>
                  </a:lnTo>
                  <a:lnTo>
                    <a:pt x="9" y="37"/>
                  </a:lnTo>
                  <a:lnTo>
                    <a:pt x="5" y="34"/>
                  </a:lnTo>
                  <a:lnTo>
                    <a:pt x="0" y="34"/>
                  </a:lnTo>
                  <a:lnTo>
                    <a:pt x="0" y="30"/>
                  </a:lnTo>
                  <a:lnTo>
                    <a:pt x="5" y="22"/>
                  </a:lnTo>
                  <a:lnTo>
                    <a:pt x="5" y="17"/>
                  </a:lnTo>
                  <a:lnTo>
                    <a:pt x="9" y="7"/>
                  </a:lnTo>
                  <a:lnTo>
                    <a:pt x="9" y="0"/>
                  </a:lnTo>
                  <a:lnTo>
                    <a:pt x="9" y="0"/>
                  </a:lnTo>
                  <a:lnTo>
                    <a:pt x="9"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50">
              <a:extLst>
                <a:ext uri="{FF2B5EF4-FFF2-40B4-BE49-F238E27FC236}">
                  <a16:creationId xmlns:a16="http://schemas.microsoft.com/office/drawing/2014/main" id="{12397937-FFC0-F145-A787-774C9BCC4C33}"/>
                </a:ext>
              </a:extLst>
            </p:cNvPr>
            <p:cNvSpPr>
              <a:spLocks/>
            </p:cNvSpPr>
            <p:nvPr/>
          </p:nvSpPr>
          <p:spPr bwMode="auto">
            <a:xfrm>
              <a:off x="6796853" y="2069361"/>
              <a:ext cx="597336" cy="279192"/>
            </a:xfrm>
            <a:custGeom>
              <a:avLst/>
              <a:gdLst/>
              <a:ahLst/>
              <a:cxnLst>
                <a:cxn ang="0">
                  <a:pos x="17" y="213"/>
                </a:cxn>
                <a:cxn ang="0">
                  <a:pos x="0" y="170"/>
                </a:cxn>
                <a:cxn ang="0">
                  <a:pos x="34" y="164"/>
                </a:cxn>
                <a:cxn ang="0">
                  <a:pos x="51" y="130"/>
                </a:cxn>
                <a:cxn ang="0">
                  <a:pos x="68" y="125"/>
                </a:cxn>
                <a:cxn ang="0">
                  <a:pos x="79" y="121"/>
                </a:cxn>
                <a:cxn ang="0">
                  <a:pos x="113" y="130"/>
                </a:cxn>
                <a:cxn ang="0">
                  <a:pos x="132" y="138"/>
                </a:cxn>
                <a:cxn ang="0">
                  <a:pos x="158" y="130"/>
                </a:cxn>
                <a:cxn ang="0">
                  <a:pos x="184" y="130"/>
                </a:cxn>
                <a:cxn ang="0">
                  <a:pos x="201" y="140"/>
                </a:cxn>
                <a:cxn ang="0">
                  <a:pos x="235" y="140"/>
                </a:cxn>
                <a:cxn ang="0">
                  <a:pos x="226" y="109"/>
                </a:cxn>
                <a:cxn ang="0">
                  <a:pos x="222" y="91"/>
                </a:cxn>
                <a:cxn ang="0">
                  <a:pos x="237" y="68"/>
                </a:cxn>
                <a:cxn ang="0">
                  <a:pos x="222" y="62"/>
                </a:cxn>
                <a:cxn ang="0">
                  <a:pos x="235" y="53"/>
                </a:cxn>
                <a:cxn ang="0">
                  <a:pos x="256" y="44"/>
                </a:cxn>
                <a:cxn ang="0">
                  <a:pos x="290" y="36"/>
                </a:cxn>
                <a:cxn ang="0">
                  <a:pos x="309" y="27"/>
                </a:cxn>
                <a:cxn ang="0">
                  <a:pos x="337" y="10"/>
                </a:cxn>
                <a:cxn ang="0">
                  <a:pos x="363" y="2"/>
                </a:cxn>
                <a:cxn ang="0">
                  <a:pos x="388" y="17"/>
                </a:cxn>
                <a:cxn ang="0">
                  <a:pos x="395" y="32"/>
                </a:cxn>
                <a:cxn ang="0">
                  <a:pos x="408" y="28"/>
                </a:cxn>
                <a:cxn ang="0">
                  <a:pos x="429" y="36"/>
                </a:cxn>
                <a:cxn ang="0">
                  <a:pos x="442" y="44"/>
                </a:cxn>
                <a:cxn ang="0">
                  <a:pos x="467" y="32"/>
                </a:cxn>
                <a:cxn ang="0">
                  <a:pos x="485" y="27"/>
                </a:cxn>
                <a:cxn ang="0">
                  <a:pos x="570" y="100"/>
                </a:cxn>
                <a:cxn ang="0">
                  <a:pos x="595" y="108"/>
                </a:cxn>
                <a:cxn ang="0">
                  <a:pos x="623" y="102"/>
                </a:cxn>
                <a:cxn ang="0">
                  <a:pos x="653" y="121"/>
                </a:cxn>
                <a:cxn ang="0">
                  <a:pos x="662" y="138"/>
                </a:cxn>
                <a:cxn ang="0">
                  <a:pos x="687" y="136"/>
                </a:cxn>
                <a:cxn ang="0">
                  <a:pos x="689" y="158"/>
                </a:cxn>
                <a:cxn ang="0">
                  <a:pos x="681" y="198"/>
                </a:cxn>
                <a:cxn ang="0">
                  <a:pos x="645" y="200"/>
                </a:cxn>
                <a:cxn ang="0">
                  <a:pos x="634" y="241"/>
                </a:cxn>
                <a:cxn ang="0">
                  <a:pos x="621" y="251"/>
                </a:cxn>
                <a:cxn ang="0">
                  <a:pos x="604" y="262"/>
                </a:cxn>
                <a:cxn ang="0">
                  <a:pos x="613" y="290"/>
                </a:cxn>
                <a:cxn ang="0">
                  <a:pos x="613" y="319"/>
                </a:cxn>
                <a:cxn ang="0">
                  <a:pos x="549" y="309"/>
                </a:cxn>
                <a:cxn ang="0">
                  <a:pos x="502" y="309"/>
                </a:cxn>
                <a:cxn ang="0">
                  <a:pos x="463" y="320"/>
                </a:cxn>
                <a:cxn ang="0">
                  <a:pos x="442" y="336"/>
                </a:cxn>
                <a:cxn ang="0">
                  <a:pos x="395" y="360"/>
                </a:cxn>
                <a:cxn ang="0">
                  <a:pos x="310" y="298"/>
                </a:cxn>
                <a:cxn ang="0">
                  <a:pos x="171" y="352"/>
                </a:cxn>
                <a:cxn ang="0">
                  <a:pos x="128" y="336"/>
                </a:cxn>
                <a:cxn ang="0">
                  <a:pos x="109" y="326"/>
                </a:cxn>
                <a:cxn ang="0">
                  <a:pos x="94" y="309"/>
                </a:cxn>
                <a:cxn ang="0">
                  <a:pos x="79" y="290"/>
                </a:cxn>
                <a:cxn ang="0">
                  <a:pos x="101" y="290"/>
                </a:cxn>
                <a:cxn ang="0">
                  <a:pos x="92" y="275"/>
                </a:cxn>
                <a:cxn ang="0">
                  <a:pos x="117" y="270"/>
                </a:cxn>
                <a:cxn ang="0">
                  <a:pos x="122" y="258"/>
                </a:cxn>
                <a:cxn ang="0">
                  <a:pos x="120" y="238"/>
                </a:cxn>
                <a:cxn ang="0">
                  <a:pos x="103" y="236"/>
                </a:cxn>
                <a:cxn ang="0">
                  <a:pos x="92" y="232"/>
                </a:cxn>
                <a:cxn ang="0">
                  <a:pos x="75" y="236"/>
                </a:cxn>
                <a:cxn ang="0">
                  <a:pos x="58" y="247"/>
                </a:cxn>
              </a:cxnLst>
              <a:rect l="0" t="0" r="r" b="b"/>
              <a:pathLst>
                <a:path w="700" h="364">
                  <a:moveTo>
                    <a:pt x="54" y="247"/>
                  </a:moveTo>
                  <a:lnTo>
                    <a:pt x="49" y="241"/>
                  </a:lnTo>
                  <a:lnTo>
                    <a:pt x="43" y="243"/>
                  </a:lnTo>
                  <a:lnTo>
                    <a:pt x="37" y="238"/>
                  </a:lnTo>
                  <a:lnTo>
                    <a:pt x="37" y="238"/>
                  </a:lnTo>
                  <a:lnTo>
                    <a:pt x="45" y="238"/>
                  </a:lnTo>
                  <a:lnTo>
                    <a:pt x="37" y="222"/>
                  </a:lnTo>
                  <a:lnTo>
                    <a:pt x="30" y="217"/>
                  </a:lnTo>
                  <a:lnTo>
                    <a:pt x="17" y="213"/>
                  </a:lnTo>
                  <a:lnTo>
                    <a:pt x="15" y="217"/>
                  </a:lnTo>
                  <a:lnTo>
                    <a:pt x="9" y="211"/>
                  </a:lnTo>
                  <a:lnTo>
                    <a:pt x="9" y="207"/>
                  </a:lnTo>
                  <a:lnTo>
                    <a:pt x="9" y="202"/>
                  </a:lnTo>
                  <a:lnTo>
                    <a:pt x="0" y="200"/>
                  </a:lnTo>
                  <a:lnTo>
                    <a:pt x="4" y="194"/>
                  </a:lnTo>
                  <a:lnTo>
                    <a:pt x="4" y="181"/>
                  </a:lnTo>
                  <a:lnTo>
                    <a:pt x="0" y="179"/>
                  </a:lnTo>
                  <a:lnTo>
                    <a:pt x="0" y="170"/>
                  </a:lnTo>
                  <a:lnTo>
                    <a:pt x="4" y="170"/>
                  </a:lnTo>
                  <a:lnTo>
                    <a:pt x="9" y="162"/>
                  </a:lnTo>
                  <a:lnTo>
                    <a:pt x="9" y="158"/>
                  </a:lnTo>
                  <a:lnTo>
                    <a:pt x="11" y="155"/>
                  </a:lnTo>
                  <a:lnTo>
                    <a:pt x="21" y="164"/>
                  </a:lnTo>
                  <a:lnTo>
                    <a:pt x="21" y="168"/>
                  </a:lnTo>
                  <a:lnTo>
                    <a:pt x="28" y="170"/>
                  </a:lnTo>
                  <a:lnTo>
                    <a:pt x="34" y="170"/>
                  </a:lnTo>
                  <a:lnTo>
                    <a:pt x="34" y="164"/>
                  </a:lnTo>
                  <a:lnTo>
                    <a:pt x="36" y="162"/>
                  </a:lnTo>
                  <a:lnTo>
                    <a:pt x="30" y="149"/>
                  </a:lnTo>
                  <a:lnTo>
                    <a:pt x="36" y="145"/>
                  </a:lnTo>
                  <a:lnTo>
                    <a:pt x="43" y="145"/>
                  </a:lnTo>
                  <a:lnTo>
                    <a:pt x="43" y="143"/>
                  </a:lnTo>
                  <a:lnTo>
                    <a:pt x="39" y="140"/>
                  </a:lnTo>
                  <a:lnTo>
                    <a:pt x="41" y="136"/>
                  </a:lnTo>
                  <a:lnTo>
                    <a:pt x="47" y="132"/>
                  </a:lnTo>
                  <a:lnTo>
                    <a:pt x="51" y="130"/>
                  </a:lnTo>
                  <a:lnTo>
                    <a:pt x="53" y="126"/>
                  </a:lnTo>
                  <a:lnTo>
                    <a:pt x="54" y="125"/>
                  </a:lnTo>
                  <a:lnTo>
                    <a:pt x="58" y="125"/>
                  </a:lnTo>
                  <a:lnTo>
                    <a:pt x="58" y="121"/>
                  </a:lnTo>
                  <a:lnTo>
                    <a:pt x="58" y="119"/>
                  </a:lnTo>
                  <a:lnTo>
                    <a:pt x="58" y="117"/>
                  </a:lnTo>
                  <a:lnTo>
                    <a:pt x="64" y="121"/>
                  </a:lnTo>
                  <a:lnTo>
                    <a:pt x="68" y="121"/>
                  </a:lnTo>
                  <a:lnTo>
                    <a:pt x="68" y="125"/>
                  </a:lnTo>
                  <a:lnTo>
                    <a:pt x="64" y="126"/>
                  </a:lnTo>
                  <a:lnTo>
                    <a:pt x="68" y="128"/>
                  </a:lnTo>
                  <a:lnTo>
                    <a:pt x="69" y="126"/>
                  </a:lnTo>
                  <a:lnTo>
                    <a:pt x="71" y="125"/>
                  </a:lnTo>
                  <a:lnTo>
                    <a:pt x="73" y="121"/>
                  </a:lnTo>
                  <a:lnTo>
                    <a:pt x="75" y="125"/>
                  </a:lnTo>
                  <a:lnTo>
                    <a:pt x="77" y="125"/>
                  </a:lnTo>
                  <a:lnTo>
                    <a:pt x="77" y="121"/>
                  </a:lnTo>
                  <a:lnTo>
                    <a:pt x="79" y="121"/>
                  </a:lnTo>
                  <a:lnTo>
                    <a:pt x="83" y="119"/>
                  </a:lnTo>
                  <a:lnTo>
                    <a:pt x="88" y="119"/>
                  </a:lnTo>
                  <a:lnTo>
                    <a:pt x="88" y="121"/>
                  </a:lnTo>
                  <a:lnTo>
                    <a:pt x="94" y="125"/>
                  </a:lnTo>
                  <a:lnTo>
                    <a:pt x="101" y="125"/>
                  </a:lnTo>
                  <a:lnTo>
                    <a:pt x="103" y="125"/>
                  </a:lnTo>
                  <a:lnTo>
                    <a:pt x="105" y="125"/>
                  </a:lnTo>
                  <a:lnTo>
                    <a:pt x="109" y="126"/>
                  </a:lnTo>
                  <a:lnTo>
                    <a:pt x="113" y="130"/>
                  </a:lnTo>
                  <a:lnTo>
                    <a:pt x="115" y="130"/>
                  </a:lnTo>
                  <a:lnTo>
                    <a:pt x="118" y="134"/>
                  </a:lnTo>
                  <a:lnTo>
                    <a:pt x="122" y="140"/>
                  </a:lnTo>
                  <a:lnTo>
                    <a:pt x="126" y="140"/>
                  </a:lnTo>
                  <a:lnTo>
                    <a:pt x="128" y="142"/>
                  </a:lnTo>
                  <a:lnTo>
                    <a:pt x="128" y="145"/>
                  </a:lnTo>
                  <a:lnTo>
                    <a:pt x="130" y="145"/>
                  </a:lnTo>
                  <a:lnTo>
                    <a:pt x="133" y="143"/>
                  </a:lnTo>
                  <a:lnTo>
                    <a:pt x="132" y="138"/>
                  </a:lnTo>
                  <a:lnTo>
                    <a:pt x="133" y="136"/>
                  </a:lnTo>
                  <a:lnTo>
                    <a:pt x="137" y="140"/>
                  </a:lnTo>
                  <a:lnTo>
                    <a:pt x="147" y="142"/>
                  </a:lnTo>
                  <a:lnTo>
                    <a:pt x="147" y="145"/>
                  </a:lnTo>
                  <a:lnTo>
                    <a:pt x="150" y="145"/>
                  </a:lnTo>
                  <a:lnTo>
                    <a:pt x="154" y="142"/>
                  </a:lnTo>
                  <a:lnTo>
                    <a:pt x="156" y="136"/>
                  </a:lnTo>
                  <a:lnTo>
                    <a:pt x="158" y="134"/>
                  </a:lnTo>
                  <a:lnTo>
                    <a:pt x="158" y="130"/>
                  </a:lnTo>
                  <a:lnTo>
                    <a:pt x="164" y="130"/>
                  </a:lnTo>
                  <a:lnTo>
                    <a:pt x="165" y="132"/>
                  </a:lnTo>
                  <a:lnTo>
                    <a:pt x="167" y="130"/>
                  </a:lnTo>
                  <a:lnTo>
                    <a:pt x="171" y="128"/>
                  </a:lnTo>
                  <a:lnTo>
                    <a:pt x="175" y="134"/>
                  </a:lnTo>
                  <a:lnTo>
                    <a:pt x="177" y="136"/>
                  </a:lnTo>
                  <a:lnTo>
                    <a:pt x="182" y="136"/>
                  </a:lnTo>
                  <a:lnTo>
                    <a:pt x="181" y="130"/>
                  </a:lnTo>
                  <a:lnTo>
                    <a:pt x="184" y="130"/>
                  </a:lnTo>
                  <a:lnTo>
                    <a:pt x="188" y="130"/>
                  </a:lnTo>
                  <a:lnTo>
                    <a:pt x="190" y="128"/>
                  </a:lnTo>
                  <a:lnTo>
                    <a:pt x="196" y="130"/>
                  </a:lnTo>
                  <a:lnTo>
                    <a:pt x="196" y="132"/>
                  </a:lnTo>
                  <a:lnTo>
                    <a:pt x="196" y="134"/>
                  </a:lnTo>
                  <a:lnTo>
                    <a:pt x="192" y="136"/>
                  </a:lnTo>
                  <a:lnTo>
                    <a:pt x="196" y="140"/>
                  </a:lnTo>
                  <a:lnTo>
                    <a:pt x="199" y="142"/>
                  </a:lnTo>
                  <a:lnTo>
                    <a:pt x="201" y="140"/>
                  </a:lnTo>
                  <a:lnTo>
                    <a:pt x="203" y="142"/>
                  </a:lnTo>
                  <a:lnTo>
                    <a:pt x="211" y="142"/>
                  </a:lnTo>
                  <a:lnTo>
                    <a:pt x="216" y="145"/>
                  </a:lnTo>
                  <a:lnTo>
                    <a:pt x="220" y="145"/>
                  </a:lnTo>
                  <a:lnTo>
                    <a:pt x="222" y="140"/>
                  </a:lnTo>
                  <a:lnTo>
                    <a:pt x="222" y="136"/>
                  </a:lnTo>
                  <a:lnTo>
                    <a:pt x="226" y="134"/>
                  </a:lnTo>
                  <a:lnTo>
                    <a:pt x="229" y="138"/>
                  </a:lnTo>
                  <a:lnTo>
                    <a:pt x="235" y="140"/>
                  </a:lnTo>
                  <a:lnTo>
                    <a:pt x="243" y="138"/>
                  </a:lnTo>
                  <a:lnTo>
                    <a:pt x="245" y="134"/>
                  </a:lnTo>
                  <a:lnTo>
                    <a:pt x="243" y="121"/>
                  </a:lnTo>
                  <a:lnTo>
                    <a:pt x="241" y="119"/>
                  </a:lnTo>
                  <a:lnTo>
                    <a:pt x="235" y="119"/>
                  </a:lnTo>
                  <a:lnTo>
                    <a:pt x="231" y="115"/>
                  </a:lnTo>
                  <a:lnTo>
                    <a:pt x="231" y="113"/>
                  </a:lnTo>
                  <a:lnTo>
                    <a:pt x="226" y="111"/>
                  </a:lnTo>
                  <a:lnTo>
                    <a:pt x="226" y="109"/>
                  </a:lnTo>
                  <a:lnTo>
                    <a:pt x="220" y="109"/>
                  </a:lnTo>
                  <a:lnTo>
                    <a:pt x="220" y="108"/>
                  </a:lnTo>
                  <a:lnTo>
                    <a:pt x="220" y="104"/>
                  </a:lnTo>
                  <a:lnTo>
                    <a:pt x="220" y="102"/>
                  </a:lnTo>
                  <a:lnTo>
                    <a:pt x="222" y="102"/>
                  </a:lnTo>
                  <a:lnTo>
                    <a:pt x="222" y="100"/>
                  </a:lnTo>
                  <a:lnTo>
                    <a:pt x="226" y="96"/>
                  </a:lnTo>
                  <a:lnTo>
                    <a:pt x="226" y="93"/>
                  </a:lnTo>
                  <a:lnTo>
                    <a:pt x="222" y="91"/>
                  </a:lnTo>
                  <a:lnTo>
                    <a:pt x="220" y="87"/>
                  </a:lnTo>
                  <a:lnTo>
                    <a:pt x="226" y="81"/>
                  </a:lnTo>
                  <a:lnTo>
                    <a:pt x="229" y="77"/>
                  </a:lnTo>
                  <a:lnTo>
                    <a:pt x="239" y="76"/>
                  </a:lnTo>
                  <a:lnTo>
                    <a:pt x="241" y="77"/>
                  </a:lnTo>
                  <a:lnTo>
                    <a:pt x="245" y="76"/>
                  </a:lnTo>
                  <a:lnTo>
                    <a:pt x="245" y="72"/>
                  </a:lnTo>
                  <a:lnTo>
                    <a:pt x="241" y="72"/>
                  </a:lnTo>
                  <a:lnTo>
                    <a:pt x="237" y="68"/>
                  </a:lnTo>
                  <a:lnTo>
                    <a:pt x="233" y="68"/>
                  </a:lnTo>
                  <a:lnTo>
                    <a:pt x="231" y="72"/>
                  </a:lnTo>
                  <a:lnTo>
                    <a:pt x="228" y="68"/>
                  </a:lnTo>
                  <a:lnTo>
                    <a:pt x="222" y="68"/>
                  </a:lnTo>
                  <a:lnTo>
                    <a:pt x="222" y="66"/>
                  </a:lnTo>
                  <a:lnTo>
                    <a:pt x="226" y="64"/>
                  </a:lnTo>
                  <a:lnTo>
                    <a:pt x="229" y="64"/>
                  </a:lnTo>
                  <a:lnTo>
                    <a:pt x="228" y="61"/>
                  </a:lnTo>
                  <a:lnTo>
                    <a:pt x="222" y="62"/>
                  </a:lnTo>
                  <a:lnTo>
                    <a:pt x="220" y="61"/>
                  </a:lnTo>
                  <a:lnTo>
                    <a:pt x="220" y="59"/>
                  </a:lnTo>
                  <a:lnTo>
                    <a:pt x="220" y="53"/>
                  </a:lnTo>
                  <a:lnTo>
                    <a:pt x="220" y="53"/>
                  </a:lnTo>
                  <a:lnTo>
                    <a:pt x="226" y="53"/>
                  </a:lnTo>
                  <a:lnTo>
                    <a:pt x="226" y="51"/>
                  </a:lnTo>
                  <a:lnTo>
                    <a:pt x="229" y="51"/>
                  </a:lnTo>
                  <a:lnTo>
                    <a:pt x="229" y="53"/>
                  </a:lnTo>
                  <a:lnTo>
                    <a:pt x="235" y="53"/>
                  </a:lnTo>
                  <a:lnTo>
                    <a:pt x="239" y="57"/>
                  </a:lnTo>
                  <a:lnTo>
                    <a:pt x="241" y="53"/>
                  </a:lnTo>
                  <a:lnTo>
                    <a:pt x="241" y="51"/>
                  </a:lnTo>
                  <a:lnTo>
                    <a:pt x="243" y="47"/>
                  </a:lnTo>
                  <a:lnTo>
                    <a:pt x="246" y="47"/>
                  </a:lnTo>
                  <a:lnTo>
                    <a:pt x="246" y="53"/>
                  </a:lnTo>
                  <a:lnTo>
                    <a:pt x="250" y="51"/>
                  </a:lnTo>
                  <a:lnTo>
                    <a:pt x="250" y="47"/>
                  </a:lnTo>
                  <a:lnTo>
                    <a:pt x="256" y="44"/>
                  </a:lnTo>
                  <a:lnTo>
                    <a:pt x="261" y="44"/>
                  </a:lnTo>
                  <a:lnTo>
                    <a:pt x="265" y="44"/>
                  </a:lnTo>
                  <a:lnTo>
                    <a:pt x="271" y="42"/>
                  </a:lnTo>
                  <a:lnTo>
                    <a:pt x="271" y="40"/>
                  </a:lnTo>
                  <a:lnTo>
                    <a:pt x="275" y="38"/>
                  </a:lnTo>
                  <a:lnTo>
                    <a:pt x="280" y="38"/>
                  </a:lnTo>
                  <a:lnTo>
                    <a:pt x="284" y="36"/>
                  </a:lnTo>
                  <a:lnTo>
                    <a:pt x="286" y="34"/>
                  </a:lnTo>
                  <a:lnTo>
                    <a:pt x="290" y="36"/>
                  </a:lnTo>
                  <a:lnTo>
                    <a:pt x="290" y="34"/>
                  </a:lnTo>
                  <a:lnTo>
                    <a:pt x="290" y="32"/>
                  </a:lnTo>
                  <a:lnTo>
                    <a:pt x="293" y="28"/>
                  </a:lnTo>
                  <a:lnTo>
                    <a:pt x="295" y="28"/>
                  </a:lnTo>
                  <a:lnTo>
                    <a:pt x="295" y="28"/>
                  </a:lnTo>
                  <a:lnTo>
                    <a:pt x="299" y="25"/>
                  </a:lnTo>
                  <a:lnTo>
                    <a:pt x="301" y="28"/>
                  </a:lnTo>
                  <a:lnTo>
                    <a:pt x="305" y="28"/>
                  </a:lnTo>
                  <a:lnTo>
                    <a:pt x="309" y="27"/>
                  </a:lnTo>
                  <a:lnTo>
                    <a:pt x="310" y="25"/>
                  </a:lnTo>
                  <a:lnTo>
                    <a:pt x="320" y="19"/>
                  </a:lnTo>
                  <a:lnTo>
                    <a:pt x="322" y="19"/>
                  </a:lnTo>
                  <a:lnTo>
                    <a:pt x="324" y="17"/>
                  </a:lnTo>
                  <a:lnTo>
                    <a:pt x="327" y="17"/>
                  </a:lnTo>
                  <a:lnTo>
                    <a:pt x="329" y="13"/>
                  </a:lnTo>
                  <a:lnTo>
                    <a:pt x="333" y="13"/>
                  </a:lnTo>
                  <a:lnTo>
                    <a:pt x="337" y="13"/>
                  </a:lnTo>
                  <a:lnTo>
                    <a:pt x="337" y="10"/>
                  </a:lnTo>
                  <a:lnTo>
                    <a:pt x="335" y="8"/>
                  </a:lnTo>
                  <a:lnTo>
                    <a:pt x="337" y="8"/>
                  </a:lnTo>
                  <a:lnTo>
                    <a:pt x="342" y="8"/>
                  </a:lnTo>
                  <a:lnTo>
                    <a:pt x="342" y="4"/>
                  </a:lnTo>
                  <a:lnTo>
                    <a:pt x="346" y="2"/>
                  </a:lnTo>
                  <a:lnTo>
                    <a:pt x="350" y="2"/>
                  </a:lnTo>
                  <a:lnTo>
                    <a:pt x="352" y="0"/>
                  </a:lnTo>
                  <a:lnTo>
                    <a:pt x="357" y="4"/>
                  </a:lnTo>
                  <a:lnTo>
                    <a:pt x="363" y="2"/>
                  </a:lnTo>
                  <a:lnTo>
                    <a:pt x="365" y="4"/>
                  </a:lnTo>
                  <a:lnTo>
                    <a:pt x="371" y="4"/>
                  </a:lnTo>
                  <a:lnTo>
                    <a:pt x="374" y="4"/>
                  </a:lnTo>
                  <a:lnTo>
                    <a:pt x="378" y="4"/>
                  </a:lnTo>
                  <a:lnTo>
                    <a:pt x="380" y="8"/>
                  </a:lnTo>
                  <a:lnTo>
                    <a:pt x="382" y="8"/>
                  </a:lnTo>
                  <a:lnTo>
                    <a:pt x="382" y="12"/>
                  </a:lnTo>
                  <a:lnTo>
                    <a:pt x="384" y="15"/>
                  </a:lnTo>
                  <a:lnTo>
                    <a:pt x="388" y="17"/>
                  </a:lnTo>
                  <a:lnTo>
                    <a:pt x="388" y="19"/>
                  </a:lnTo>
                  <a:lnTo>
                    <a:pt x="388" y="23"/>
                  </a:lnTo>
                  <a:lnTo>
                    <a:pt x="388" y="27"/>
                  </a:lnTo>
                  <a:lnTo>
                    <a:pt x="388" y="28"/>
                  </a:lnTo>
                  <a:lnTo>
                    <a:pt x="384" y="28"/>
                  </a:lnTo>
                  <a:lnTo>
                    <a:pt x="388" y="32"/>
                  </a:lnTo>
                  <a:lnTo>
                    <a:pt x="388" y="32"/>
                  </a:lnTo>
                  <a:lnTo>
                    <a:pt x="391" y="32"/>
                  </a:lnTo>
                  <a:lnTo>
                    <a:pt x="395" y="32"/>
                  </a:lnTo>
                  <a:lnTo>
                    <a:pt x="397" y="32"/>
                  </a:lnTo>
                  <a:lnTo>
                    <a:pt x="397" y="28"/>
                  </a:lnTo>
                  <a:lnTo>
                    <a:pt x="401" y="28"/>
                  </a:lnTo>
                  <a:lnTo>
                    <a:pt x="401" y="32"/>
                  </a:lnTo>
                  <a:lnTo>
                    <a:pt x="405" y="32"/>
                  </a:lnTo>
                  <a:lnTo>
                    <a:pt x="405" y="28"/>
                  </a:lnTo>
                  <a:lnTo>
                    <a:pt x="403" y="25"/>
                  </a:lnTo>
                  <a:lnTo>
                    <a:pt x="405" y="25"/>
                  </a:lnTo>
                  <a:lnTo>
                    <a:pt x="408" y="28"/>
                  </a:lnTo>
                  <a:lnTo>
                    <a:pt x="412" y="34"/>
                  </a:lnTo>
                  <a:lnTo>
                    <a:pt x="412" y="40"/>
                  </a:lnTo>
                  <a:lnTo>
                    <a:pt x="414" y="38"/>
                  </a:lnTo>
                  <a:lnTo>
                    <a:pt x="418" y="36"/>
                  </a:lnTo>
                  <a:lnTo>
                    <a:pt x="416" y="34"/>
                  </a:lnTo>
                  <a:lnTo>
                    <a:pt x="414" y="32"/>
                  </a:lnTo>
                  <a:lnTo>
                    <a:pt x="418" y="32"/>
                  </a:lnTo>
                  <a:lnTo>
                    <a:pt x="425" y="36"/>
                  </a:lnTo>
                  <a:lnTo>
                    <a:pt x="429" y="36"/>
                  </a:lnTo>
                  <a:lnTo>
                    <a:pt x="431" y="32"/>
                  </a:lnTo>
                  <a:lnTo>
                    <a:pt x="433" y="34"/>
                  </a:lnTo>
                  <a:lnTo>
                    <a:pt x="433" y="38"/>
                  </a:lnTo>
                  <a:lnTo>
                    <a:pt x="429" y="40"/>
                  </a:lnTo>
                  <a:lnTo>
                    <a:pt x="429" y="44"/>
                  </a:lnTo>
                  <a:lnTo>
                    <a:pt x="433" y="47"/>
                  </a:lnTo>
                  <a:lnTo>
                    <a:pt x="433" y="47"/>
                  </a:lnTo>
                  <a:lnTo>
                    <a:pt x="437" y="44"/>
                  </a:lnTo>
                  <a:lnTo>
                    <a:pt x="442" y="44"/>
                  </a:lnTo>
                  <a:lnTo>
                    <a:pt x="448" y="44"/>
                  </a:lnTo>
                  <a:lnTo>
                    <a:pt x="450" y="47"/>
                  </a:lnTo>
                  <a:lnTo>
                    <a:pt x="452" y="44"/>
                  </a:lnTo>
                  <a:lnTo>
                    <a:pt x="452" y="42"/>
                  </a:lnTo>
                  <a:lnTo>
                    <a:pt x="455" y="40"/>
                  </a:lnTo>
                  <a:lnTo>
                    <a:pt x="461" y="40"/>
                  </a:lnTo>
                  <a:lnTo>
                    <a:pt x="463" y="36"/>
                  </a:lnTo>
                  <a:lnTo>
                    <a:pt x="467" y="34"/>
                  </a:lnTo>
                  <a:lnTo>
                    <a:pt x="467" y="32"/>
                  </a:lnTo>
                  <a:lnTo>
                    <a:pt x="467" y="28"/>
                  </a:lnTo>
                  <a:lnTo>
                    <a:pt x="472" y="25"/>
                  </a:lnTo>
                  <a:lnTo>
                    <a:pt x="474" y="25"/>
                  </a:lnTo>
                  <a:lnTo>
                    <a:pt x="478" y="19"/>
                  </a:lnTo>
                  <a:lnTo>
                    <a:pt x="482" y="19"/>
                  </a:lnTo>
                  <a:lnTo>
                    <a:pt x="487" y="19"/>
                  </a:lnTo>
                  <a:lnTo>
                    <a:pt x="487" y="19"/>
                  </a:lnTo>
                  <a:lnTo>
                    <a:pt x="487" y="23"/>
                  </a:lnTo>
                  <a:lnTo>
                    <a:pt x="485" y="27"/>
                  </a:lnTo>
                  <a:lnTo>
                    <a:pt x="484" y="28"/>
                  </a:lnTo>
                  <a:lnTo>
                    <a:pt x="484" y="28"/>
                  </a:lnTo>
                  <a:lnTo>
                    <a:pt x="516" y="53"/>
                  </a:lnTo>
                  <a:lnTo>
                    <a:pt x="563" y="109"/>
                  </a:lnTo>
                  <a:lnTo>
                    <a:pt x="568" y="109"/>
                  </a:lnTo>
                  <a:lnTo>
                    <a:pt x="570" y="108"/>
                  </a:lnTo>
                  <a:lnTo>
                    <a:pt x="570" y="106"/>
                  </a:lnTo>
                  <a:lnTo>
                    <a:pt x="570" y="104"/>
                  </a:lnTo>
                  <a:lnTo>
                    <a:pt x="570" y="100"/>
                  </a:lnTo>
                  <a:lnTo>
                    <a:pt x="574" y="100"/>
                  </a:lnTo>
                  <a:lnTo>
                    <a:pt x="580" y="102"/>
                  </a:lnTo>
                  <a:lnTo>
                    <a:pt x="576" y="104"/>
                  </a:lnTo>
                  <a:lnTo>
                    <a:pt x="580" y="106"/>
                  </a:lnTo>
                  <a:lnTo>
                    <a:pt x="583" y="108"/>
                  </a:lnTo>
                  <a:lnTo>
                    <a:pt x="585" y="111"/>
                  </a:lnTo>
                  <a:lnTo>
                    <a:pt x="587" y="111"/>
                  </a:lnTo>
                  <a:lnTo>
                    <a:pt x="591" y="109"/>
                  </a:lnTo>
                  <a:lnTo>
                    <a:pt x="595" y="108"/>
                  </a:lnTo>
                  <a:lnTo>
                    <a:pt x="598" y="111"/>
                  </a:lnTo>
                  <a:lnTo>
                    <a:pt x="604" y="109"/>
                  </a:lnTo>
                  <a:lnTo>
                    <a:pt x="604" y="109"/>
                  </a:lnTo>
                  <a:lnTo>
                    <a:pt x="608" y="108"/>
                  </a:lnTo>
                  <a:lnTo>
                    <a:pt x="610" y="108"/>
                  </a:lnTo>
                  <a:lnTo>
                    <a:pt x="608" y="104"/>
                  </a:lnTo>
                  <a:lnTo>
                    <a:pt x="610" y="102"/>
                  </a:lnTo>
                  <a:lnTo>
                    <a:pt x="615" y="102"/>
                  </a:lnTo>
                  <a:lnTo>
                    <a:pt x="623" y="102"/>
                  </a:lnTo>
                  <a:lnTo>
                    <a:pt x="629" y="104"/>
                  </a:lnTo>
                  <a:lnTo>
                    <a:pt x="632" y="108"/>
                  </a:lnTo>
                  <a:lnTo>
                    <a:pt x="638" y="113"/>
                  </a:lnTo>
                  <a:lnTo>
                    <a:pt x="638" y="117"/>
                  </a:lnTo>
                  <a:lnTo>
                    <a:pt x="640" y="117"/>
                  </a:lnTo>
                  <a:lnTo>
                    <a:pt x="644" y="119"/>
                  </a:lnTo>
                  <a:lnTo>
                    <a:pt x="647" y="121"/>
                  </a:lnTo>
                  <a:lnTo>
                    <a:pt x="649" y="121"/>
                  </a:lnTo>
                  <a:lnTo>
                    <a:pt x="653" y="121"/>
                  </a:lnTo>
                  <a:lnTo>
                    <a:pt x="653" y="125"/>
                  </a:lnTo>
                  <a:lnTo>
                    <a:pt x="649" y="126"/>
                  </a:lnTo>
                  <a:lnTo>
                    <a:pt x="653" y="128"/>
                  </a:lnTo>
                  <a:lnTo>
                    <a:pt x="653" y="132"/>
                  </a:lnTo>
                  <a:lnTo>
                    <a:pt x="653" y="134"/>
                  </a:lnTo>
                  <a:lnTo>
                    <a:pt x="657" y="134"/>
                  </a:lnTo>
                  <a:lnTo>
                    <a:pt x="659" y="134"/>
                  </a:lnTo>
                  <a:lnTo>
                    <a:pt x="662" y="136"/>
                  </a:lnTo>
                  <a:lnTo>
                    <a:pt x="662" y="138"/>
                  </a:lnTo>
                  <a:lnTo>
                    <a:pt x="664" y="136"/>
                  </a:lnTo>
                  <a:lnTo>
                    <a:pt x="666" y="134"/>
                  </a:lnTo>
                  <a:lnTo>
                    <a:pt x="676" y="134"/>
                  </a:lnTo>
                  <a:lnTo>
                    <a:pt x="681" y="132"/>
                  </a:lnTo>
                  <a:lnTo>
                    <a:pt x="683" y="128"/>
                  </a:lnTo>
                  <a:lnTo>
                    <a:pt x="687" y="126"/>
                  </a:lnTo>
                  <a:lnTo>
                    <a:pt x="687" y="126"/>
                  </a:lnTo>
                  <a:lnTo>
                    <a:pt x="687" y="132"/>
                  </a:lnTo>
                  <a:lnTo>
                    <a:pt x="687" y="136"/>
                  </a:lnTo>
                  <a:lnTo>
                    <a:pt x="689" y="136"/>
                  </a:lnTo>
                  <a:lnTo>
                    <a:pt x="693" y="140"/>
                  </a:lnTo>
                  <a:lnTo>
                    <a:pt x="698" y="142"/>
                  </a:lnTo>
                  <a:lnTo>
                    <a:pt x="700" y="143"/>
                  </a:lnTo>
                  <a:lnTo>
                    <a:pt x="696" y="145"/>
                  </a:lnTo>
                  <a:lnTo>
                    <a:pt x="694" y="149"/>
                  </a:lnTo>
                  <a:lnTo>
                    <a:pt x="689" y="153"/>
                  </a:lnTo>
                  <a:lnTo>
                    <a:pt x="689" y="157"/>
                  </a:lnTo>
                  <a:lnTo>
                    <a:pt x="689" y="158"/>
                  </a:lnTo>
                  <a:lnTo>
                    <a:pt x="687" y="162"/>
                  </a:lnTo>
                  <a:lnTo>
                    <a:pt x="683" y="164"/>
                  </a:lnTo>
                  <a:lnTo>
                    <a:pt x="679" y="168"/>
                  </a:lnTo>
                  <a:lnTo>
                    <a:pt x="679" y="170"/>
                  </a:lnTo>
                  <a:lnTo>
                    <a:pt x="679" y="177"/>
                  </a:lnTo>
                  <a:lnTo>
                    <a:pt x="683" y="187"/>
                  </a:lnTo>
                  <a:lnTo>
                    <a:pt x="687" y="190"/>
                  </a:lnTo>
                  <a:lnTo>
                    <a:pt x="687" y="194"/>
                  </a:lnTo>
                  <a:lnTo>
                    <a:pt x="681" y="198"/>
                  </a:lnTo>
                  <a:lnTo>
                    <a:pt x="677" y="198"/>
                  </a:lnTo>
                  <a:lnTo>
                    <a:pt x="674" y="204"/>
                  </a:lnTo>
                  <a:lnTo>
                    <a:pt x="670" y="204"/>
                  </a:lnTo>
                  <a:lnTo>
                    <a:pt x="668" y="204"/>
                  </a:lnTo>
                  <a:lnTo>
                    <a:pt x="668" y="200"/>
                  </a:lnTo>
                  <a:lnTo>
                    <a:pt x="664" y="200"/>
                  </a:lnTo>
                  <a:lnTo>
                    <a:pt x="659" y="202"/>
                  </a:lnTo>
                  <a:lnTo>
                    <a:pt x="653" y="202"/>
                  </a:lnTo>
                  <a:lnTo>
                    <a:pt x="645" y="200"/>
                  </a:lnTo>
                  <a:lnTo>
                    <a:pt x="642" y="198"/>
                  </a:lnTo>
                  <a:lnTo>
                    <a:pt x="640" y="200"/>
                  </a:lnTo>
                  <a:lnTo>
                    <a:pt x="638" y="207"/>
                  </a:lnTo>
                  <a:lnTo>
                    <a:pt x="638" y="213"/>
                  </a:lnTo>
                  <a:lnTo>
                    <a:pt x="638" y="219"/>
                  </a:lnTo>
                  <a:lnTo>
                    <a:pt x="634" y="228"/>
                  </a:lnTo>
                  <a:lnTo>
                    <a:pt x="634" y="236"/>
                  </a:lnTo>
                  <a:lnTo>
                    <a:pt x="632" y="238"/>
                  </a:lnTo>
                  <a:lnTo>
                    <a:pt x="634" y="241"/>
                  </a:lnTo>
                  <a:lnTo>
                    <a:pt x="640" y="241"/>
                  </a:lnTo>
                  <a:lnTo>
                    <a:pt x="638" y="247"/>
                  </a:lnTo>
                  <a:lnTo>
                    <a:pt x="638" y="249"/>
                  </a:lnTo>
                  <a:lnTo>
                    <a:pt x="634" y="249"/>
                  </a:lnTo>
                  <a:lnTo>
                    <a:pt x="632" y="249"/>
                  </a:lnTo>
                  <a:lnTo>
                    <a:pt x="629" y="249"/>
                  </a:lnTo>
                  <a:lnTo>
                    <a:pt x="629" y="247"/>
                  </a:lnTo>
                  <a:lnTo>
                    <a:pt x="625" y="249"/>
                  </a:lnTo>
                  <a:lnTo>
                    <a:pt x="621" y="251"/>
                  </a:lnTo>
                  <a:lnTo>
                    <a:pt x="613" y="253"/>
                  </a:lnTo>
                  <a:lnTo>
                    <a:pt x="608" y="255"/>
                  </a:lnTo>
                  <a:lnTo>
                    <a:pt x="604" y="255"/>
                  </a:lnTo>
                  <a:lnTo>
                    <a:pt x="604" y="253"/>
                  </a:lnTo>
                  <a:lnTo>
                    <a:pt x="600" y="255"/>
                  </a:lnTo>
                  <a:lnTo>
                    <a:pt x="597" y="258"/>
                  </a:lnTo>
                  <a:lnTo>
                    <a:pt x="597" y="260"/>
                  </a:lnTo>
                  <a:lnTo>
                    <a:pt x="600" y="262"/>
                  </a:lnTo>
                  <a:lnTo>
                    <a:pt x="604" y="262"/>
                  </a:lnTo>
                  <a:lnTo>
                    <a:pt x="608" y="262"/>
                  </a:lnTo>
                  <a:lnTo>
                    <a:pt x="608" y="266"/>
                  </a:lnTo>
                  <a:lnTo>
                    <a:pt x="608" y="266"/>
                  </a:lnTo>
                  <a:lnTo>
                    <a:pt x="608" y="271"/>
                  </a:lnTo>
                  <a:lnTo>
                    <a:pt x="608" y="275"/>
                  </a:lnTo>
                  <a:lnTo>
                    <a:pt x="610" y="277"/>
                  </a:lnTo>
                  <a:lnTo>
                    <a:pt x="610" y="281"/>
                  </a:lnTo>
                  <a:lnTo>
                    <a:pt x="613" y="287"/>
                  </a:lnTo>
                  <a:lnTo>
                    <a:pt x="613" y="290"/>
                  </a:lnTo>
                  <a:lnTo>
                    <a:pt x="619" y="292"/>
                  </a:lnTo>
                  <a:lnTo>
                    <a:pt x="619" y="300"/>
                  </a:lnTo>
                  <a:lnTo>
                    <a:pt x="617" y="302"/>
                  </a:lnTo>
                  <a:lnTo>
                    <a:pt x="615" y="305"/>
                  </a:lnTo>
                  <a:lnTo>
                    <a:pt x="619" y="309"/>
                  </a:lnTo>
                  <a:lnTo>
                    <a:pt x="617" y="311"/>
                  </a:lnTo>
                  <a:lnTo>
                    <a:pt x="617" y="311"/>
                  </a:lnTo>
                  <a:lnTo>
                    <a:pt x="613" y="315"/>
                  </a:lnTo>
                  <a:lnTo>
                    <a:pt x="613" y="319"/>
                  </a:lnTo>
                  <a:lnTo>
                    <a:pt x="610" y="320"/>
                  </a:lnTo>
                  <a:lnTo>
                    <a:pt x="604" y="319"/>
                  </a:lnTo>
                  <a:lnTo>
                    <a:pt x="595" y="311"/>
                  </a:lnTo>
                  <a:lnTo>
                    <a:pt x="591" y="311"/>
                  </a:lnTo>
                  <a:lnTo>
                    <a:pt x="583" y="307"/>
                  </a:lnTo>
                  <a:lnTo>
                    <a:pt x="570" y="307"/>
                  </a:lnTo>
                  <a:lnTo>
                    <a:pt x="566" y="309"/>
                  </a:lnTo>
                  <a:lnTo>
                    <a:pt x="557" y="307"/>
                  </a:lnTo>
                  <a:lnTo>
                    <a:pt x="549" y="309"/>
                  </a:lnTo>
                  <a:lnTo>
                    <a:pt x="544" y="309"/>
                  </a:lnTo>
                  <a:lnTo>
                    <a:pt x="540" y="309"/>
                  </a:lnTo>
                  <a:lnTo>
                    <a:pt x="536" y="311"/>
                  </a:lnTo>
                  <a:lnTo>
                    <a:pt x="533" y="311"/>
                  </a:lnTo>
                  <a:lnTo>
                    <a:pt x="521" y="311"/>
                  </a:lnTo>
                  <a:lnTo>
                    <a:pt x="516" y="309"/>
                  </a:lnTo>
                  <a:lnTo>
                    <a:pt x="512" y="307"/>
                  </a:lnTo>
                  <a:lnTo>
                    <a:pt x="506" y="307"/>
                  </a:lnTo>
                  <a:lnTo>
                    <a:pt x="502" y="309"/>
                  </a:lnTo>
                  <a:lnTo>
                    <a:pt x="501" y="307"/>
                  </a:lnTo>
                  <a:lnTo>
                    <a:pt x="495" y="307"/>
                  </a:lnTo>
                  <a:lnTo>
                    <a:pt x="495" y="309"/>
                  </a:lnTo>
                  <a:lnTo>
                    <a:pt x="495" y="311"/>
                  </a:lnTo>
                  <a:lnTo>
                    <a:pt x="495" y="315"/>
                  </a:lnTo>
                  <a:lnTo>
                    <a:pt x="495" y="320"/>
                  </a:lnTo>
                  <a:lnTo>
                    <a:pt x="487" y="322"/>
                  </a:lnTo>
                  <a:lnTo>
                    <a:pt x="478" y="322"/>
                  </a:lnTo>
                  <a:lnTo>
                    <a:pt x="463" y="320"/>
                  </a:lnTo>
                  <a:lnTo>
                    <a:pt x="461" y="319"/>
                  </a:lnTo>
                  <a:lnTo>
                    <a:pt x="455" y="317"/>
                  </a:lnTo>
                  <a:lnTo>
                    <a:pt x="452" y="322"/>
                  </a:lnTo>
                  <a:lnTo>
                    <a:pt x="453" y="324"/>
                  </a:lnTo>
                  <a:lnTo>
                    <a:pt x="448" y="326"/>
                  </a:lnTo>
                  <a:lnTo>
                    <a:pt x="448" y="328"/>
                  </a:lnTo>
                  <a:lnTo>
                    <a:pt x="446" y="328"/>
                  </a:lnTo>
                  <a:lnTo>
                    <a:pt x="442" y="334"/>
                  </a:lnTo>
                  <a:lnTo>
                    <a:pt x="442" y="336"/>
                  </a:lnTo>
                  <a:lnTo>
                    <a:pt x="433" y="343"/>
                  </a:lnTo>
                  <a:lnTo>
                    <a:pt x="431" y="347"/>
                  </a:lnTo>
                  <a:lnTo>
                    <a:pt x="429" y="351"/>
                  </a:lnTo>
                  <a:lnTo>
                    <a:pt x="425" y="358"/>
                  </a:lnTo>
                  <a:lnTo>
                    <a:pt x="418" y="364"/>
                  </a:lnTo>
                  <a:lnTo>
                    <a:pt x="414" y="364"/>
                  </a:lnTo>
                  <a:lnTo>
                    <a:pt x="408" y="360"/>
                  </a:lnTo>
                  <a:lnTo>
                    <a:pt x="401" y="358"/>
                  </a:lnTo>
                  <a:lnTo>
                    <a:pt x="395" y="360"/>
                  </a:lnTo>
                  <a:lnTo>
                    <a:pt x="388" y="364"/>
                  </a:lnTo>
                  <a:lnTo>
                    <a:pt x="384" y="364"/>
                  </a:lnTo>
                  <a:lnTo>
                    <a:pt x="376" y="341"/>
                  </a:lnTo>
                  <a:lnTo>
                    <a:pt x="363" y="339"/>
                  </a:lnTo>
                  <a:lnTo>
                    <a:pt x="363" y="315"/>
                  </a:lnTo>
                  <a:lnTo>
                    <a:pt x="354" y="315"/>
                  </a:lnTo>
                  <a:lnTo>
                    <a:pt x="352" y="305"/>
                  </a:lnTo>
                  <a:lnTo>
                    <a:pt x="341" y="298"/>
                  </a:lnTo>
                  <a:lnTo>
                    <a:pt x="310" y="298"/>
                  </a:lnTo>
                  <a:lnTo>
                    <a:pt x="284" y="302"/>
                  </a:lnTo>
                  <a:lnTo>
                    <a:pt x="269" y="290"/>
                  </a:lnTo>
                  <a:lnTo>
                    <a:pt x="256" y="287"/>
                  </a:lnTo>
                  <a:lnTo>
                    <a:pt x="228" y="266"/>
                  </a:lnTo>
                  <a:lnTo>
                    <a:pt x="179" y="275"/>
                  </a:lnTo>
                  <a:lnTo>
                    <a:pt x="196" y="364"/>
                  </a:lnTo>
                  <a:lnTo>
                    <a:pt x="192" y="364"/>
                  </a:lnTo>
                  <a:lnTo>
                    <a:pt x="184" y="364"/>
                  </a:lnTo>
                  <a:lnTo>
                    <a:pt x="171" y="352"/>
                  </a:lnTo>
                  <a:lnTo>
                    <a:pt x="158" y="343"/>
                  </a:lnTo>
                  <a:lnTo>
                    <a:pt x="147" y="341"/>
                  </a:lnTo>
                  <a:lnTo>
                    <a:pt x="137" y="345"/>
                  </a:lnTo>
                  <a:lnTo>
                    <a:pt x="126" y="356"/>
                  </a:lnTo>
                  <a:lnTo>
                    <a:pt x="126" y="351"/>
                  </a:lnTo>
                  <a:lnTo>
                    <a:pt x="126" y="347"/>
                  </a:lnTo>
                  <a:lnTo>
                    <a:pt x="128" y="341"/>
                  </a:lnTo>
                  <a:lnTo>
                    <a:pt x="128" y="336"/>
                  </a:lnTo>
                  <a:lnTo>
                    <a:pt x="128" y="336"/>
                  </a:lnTo>
                  <a:lnTo>
                    <a:pt x="128" y="334"/>
                  </a:lnTo>
                  <a:lnTo>
                    <a:pt x="128" y="334"/>
                  </a:lnTo>
                  <a:lnTo>
                    <a:pt x="122" y="334"/>
                  </a:lnTo>
                  <a:lnTo>
                    <a:pt x="120" y="332"/>
                  </a:lnTo>
                  <a:lnTo>
                    <a:pt x="117" y="332"/>
                  </a:lnTo>
                  <a:lnTo>
                    <a:pt x="113" y="332"/>
                  </a:lnTo>
                  <a:lnTo>
                    <a:pt x="113" y="332"/>
                  </a:lnTo>
                  <a:lnTo>
                    <a:pt x="109" y="328"/>
                  </a:lnTo>
                  <a:lnTo>
                    <a:pt x="109" y="326"/>
                  </a:lnTo>
                  <a:lnTo>
                    <a:pt x="109" y="324"/>
                  </a:lnTo>
                  <a:lnTo>
                    <a:pt x="107" y="322"/>
                  </a:lnTo>
                  <a:lnTo>
                    <a:pt x="105" y="322"/>
                  </a:lnTo>
                  <a:lnTo>
                    <a:pt x="101" y="324"/>
                  </a:lnTo>
                  <a:lnTo>
                    <a:pt x="100" y="324"/>
                  </a:lnTo>
                  <a:lnTo>
                    <a:pt x="100" y="319"/>
                  </a:lnTo>
                  <a:lnTo>
                    <a:pt x="100" y="315"/>
                  </a:lnTo>
                  <a:lnTo>
                    <a:pt x="94" y="311"/>
                  </a:lnTo>
                  <a:lnTo>
                    <a:pt x="94" y="309"/>
                  </a:lnTo>
                  <a:lnTo>
                    <a:pt x="92" y="307"/>
                  </a:lnTo>
                  <a:lnTo>
                    <a:pt x="90" y="303"/>
                  </a:lnTo>
                  <a:lnTo>
                    <a:pt x="88" y="302"/>
                  </a:lnTo>
                  <a:lnTo>
                    <a:pt x="88" y="300"/>
                  </a:lnTo>
                  <a:lnTo>
                    <a:pt x="83" y="298"/>
                  </a:lnTo>
                  <a:lnTo>
                    <a:pt x="83" y="298"/>
                  </a:lnTo>
                  <a:lnTo>
                    <a:pt x="79" y="294"/>
                  </a:lnTo>
                  <a:lnTo>
                    <a:pt x="79" y="292"/>
                  </a:lnTo>
                  <a:lnTo>
                    <a:pt x="79" y="290"/>
                  </a:lnTo>
                  <a:lnTo>
                    <a:pt x="83" y="292"/>
                  </a:lnTo>
                  <a:lnTo>
                    <a:pt x="88" y="290"/>
                  </a:lnTo>
                  <a:lnTo>
                    <a:pt x="88" y="292"/>
                  </a:lnTo>
                  <a:lnTo>
                    <a:pt x="92" y="292"/>
                  </a:lnTo>
                  <a:lnTo>
                    <a:pt x="94" y="292"/>
                  </a:lnTo>
                  <a:lnTo>
                    <a:pt x="96" y="290"/>
                  </a:lnTo>
                  <a:lnTo>
                    <a:pt x="98" y="290"/>
                  </a:lnTo>
                  <a:lnTo>
                    <a:pt x="100" y="292"/>
                  </a:lnTo>
                  <a:lnTo>
                    <a:pt x="101" y="290"/>
                  </a:lnTo>
                  <a:lnTo>
                    <a:pt x="100" y="290"/>
                  </a:lnTo>
                  <a:lnTo>
                    <a:pt x="96" y="290"/>
                  </a:lnTo>
                  <a:lnTo>
                    <a:pt x="96" y="290"/>
                  </a:lnTo>
                  <a:lnTo>
                    <a:pt x="96" y="287"/>
                  </a:lnTo>
                  <a:lnTo>
                    <a:pt x="92" y="283"/>
                  </a:lnTo>
                  <a:lnTo>
                    <a:pt x="92" y="281"/>
                  </a:lnTo>
                  <a:lnTo>
                    <a:pt x="94" y="279"/>
                  </a:lnTo>
                  <a:lnTo>
                    <a:pt x="94" y="275"/>
                  </a:lnTo>
                  <a:lnTo>
                    <a:pt x="92" y="275"/>
                  </a:lnTo>
                  <a:lnTo>
                    <a:pt x="94" y="271"/>
                  </a:lnTo>
                  <a:lnTo>
                    <a:pt x="100" y="271"/>
                  </a:lnTo>
                  <a:lnTo>
                    <a:pt x="103" y="270"/>
                  </a:lnTo>
                  <a:lnTo>
                    <a:pt x="105" y="271"/>
                  </a:lnTo>
                  <a:lnTo>
                    <a:pt x="109" y="270"/>
                  </a:lnTo>
                  <a:lnTo>
                    <a:pt x="113" y="270"/>
                  </a:lnTo>
                  <a:lnTo>
                    <a:pt x="113" y="271"/>
                  </a:lnTo>
                  <a:lnTo>
                    <a:pt x="115" y="270"/>
                  </a:lnTo>
                  <a:lnTo>
                    <a:pt x="117" y="270"/>
                  </a:lnTo>
                  <a:lnTo>
                    <a:pt x="120" y="273"/>
                  </a:lnTo>
                  <a:lnTo>
                    <a:pt x="124" y="273"/>
                  </a:lnTo>
                  <a:lnTo>
                    <a:pt x="128" y="271"/>
                  </a:lnTo>
                  <a:lnTo>
                    <a:pt x="128" y="270"/>
                  </a:lnTo>
                  <a:lnTo>
                    <a:pt x="126" y="268"/>
                  </a:lnTo>
                  <a:lnTo>
                    <a:pt x="122" y="268"/>
                  </a:lnTo>
                  <a:lnTo>
                    <a:pt x="118" y="262"/>
                  </a:lnTo>
                  <a:lnTo>
                    <a:pt x="120" y="260"/>
                  </a:lnTo>
                  <a:lnTo>
                    <a:pt x="122" y="258"/>
                  </a:lnTo>
                  <a:lnTo>
                    <a:pt x="124" y="256"/>
                  </a:lnTo>
                  <a:lnTo>
                    <a:pt x="122" y="256"/>
                  </a:lnTo>
                  <a:lnTo>
                    <a:pt x="120" y="255"/>
                  </a:lnTo>
                  <a:lnTo>
                    <a:pt x="120" y="253"/>
                  </a:lnTo>
                  <a:lnTo>
                    <a:pt x="122" y="249"/>
                  </a:lnTo>
                  <a:lnTo>
                    <a:pt x="122" y="247"/>
                  </a:lnTo>
                  <a:lnTo>
                    <a:pt x="120" y="241"/>
                  </a:lnTo>
                  <a:lnTo>
                    <a:pt x="118" y="241"/>
                  </a:lnTo>
                  <a:lnTo>
                    <a:pt x="120" y="238"/>
                  </a:lnTo>
                  <a:lnTo>
                    <a:pt x="120" y="238"/>
                  </a:lnTo>
                  <a:lnTo>
                    <a:pt x="118" y="238"/>
                  </a:lnTo>
                  <a:lnTo>
                    <a:pt x="117" y="236"/>
                  </a:lnTo>
                  <a:lnTo>
                    <a:pt x="117" y="234"/>
                  </a:lnTo>
                  <a:lnTo>
                    <a:pt x="109" y="232"/>
                  </a:lnTo>
                  <a:lnTo>
                    <a:pt x="109" y="232"/>
                  </a:lnTo>
                  <a:lnTo>
                    <a:pt x="105" y="234"/>
                  </a:lnTo>
                  <a:lnTo>
                    <a:pt x="105" y="234"/>
                  </a:lnTo>
                  <a:lnTo>
                    <a:pt x="103" y="236"/>
                  </a:lnTo>
                  <a:lnTo>
                    <a:pt x="103" y="238"/>
                  </a:lnTo>
                  <a:lnTo>
                    <a:pt x="101" y="238"/>
                  </a:lnTo>
                  <a:lnTo>
                    <a:pt x="98" y="238"/>
                  </a:lnTo>
                  <a:lnTo>
                    <a:pt x="98" y="236"/>
                  </a:lnTo>
                  <a:lnTo>
                    <a:pt x="96" y="236"/>
                  </a:lnTo>
                  <a:lnTo>
                    <a:pt x="94" y="238"/>
                  </a:lnTo>
                  <a:lnTo>
                    <a:pt x="92" y="236"/>
                  </a:lnTo>
                  <a:lnTo>
                    <a:pt x="92" y="232"/>
                  </a:lnTo>
                  <a:lnTo>
                    <a:pt x="92" y="232"/>
                  </a:lnTo>
                  <a:lnTo>
                    <a:pt x="90" y="232"/>
                  </a:lnTo>
                  <a:lnTo>
                    <a:pt x="88" y="232"/>
                  </a:lnTo>
                  <a:lnTo>
                    <a:pt x="88" y="232"/>
                  </a:lnTo>
                  <a:lnTo>
                    <a:pt x="83" y="232"/>
                  </a:lnTo>
                  <a:lnTo>
                    <a:pt x="79" y="234"/>
                  </a:lnTo>
                  <a:lnTo>
                    <a:pt x="79" y="238"/>
                  </a:lnTo>
                  <a:lnTo>
                    <a:pt x="79" y="238"/>
                  </a:lnTo>
                  <a:lnTo>
                    <a:pt x="77" y="236"/>
                  </a:lnTo>
                  <a:lnTo>
                    <a:pt x="75" y="236"/>
                  </a:lnTo>
                  <a:lnTo>
                    <a:pt x="73" y="238"/>
                  </a:lnTo>
                  <a:lnTo>
                    <a:pt x="71" y="238"/>
                  </a:lnTo>
                  <a:lnTo>
                    <a:pt x="69" y="241"/>
                  </a:lnTo>
                  <a:lnTo>
                    <a:pt x="66" y="243"/>
                  </a:lnTo>
                  <a:lnTo>
                    <a:pt x="64" y="241"/>
                  </a:lnTo>
                  <a:lnTo>
                    <a:pt x="64" y="247"/>
                  </a:lnTo>
                  <a:lnTo>
                    <a:pt x="62" y="247"/>
                  </a:lnTo>
                  <a:lnTo>
                    <a:pt x="60" y="247"/>
                  </a:lnTo>
                  <a:lnTo>
                    <a:pt x="58" y="247"/>
                  </a:lnTo>
                  <a:lnTo>
                    <a:pt x="58" y="247"/>
                  </a:lnTo>
                  <a:lnTo>
                    <a:pt x="54" y="247"/>
                  </a:lnTo>
                  <a:lnTo>
                    <a:pt x="54" y="247"/>
                  </a:lnTo>
                  <a:lnTo>
                    <a:pt x="54" y="247"/>
                  </a:lnTo>
                  <a:lnTo>
                    <a:pt x="54" y="247"/>
                  </a:lnTo>
                  <a:lnTo>
                    <a:pt x="54" y="2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51">
              <a:extLst>
                <a:ext uri="{FF2B5EF4-FFF2-40B4-BE49-F238E27FC236}">
                  <a16:creationId xmlns:a16="http://schemas.microsoft.com/office/drawing/2014/main" id="{2A114739-FA41-A548-9391-1DF6C57941AB}"/>
                </a:ext>
              </a:extLst>
            </p:cNvPr>
            <p:cNvSpPr>
              <a:spLocks/>
            </p:cNvSpPr>
            <p:nvPr/>
          </p:nvSpPr>
          <p:spPr bwMode="auto">
            <a:xfrm>
              <a:off x="6949599" y="2276454"/>
              <a:ext cx="256855" cy="141130"/>
            </a:xfrm>
            <a:custGeom>
              <a:avLst/>
              <a:gdLst/>
              <a:ahLst/>
              <a:cxnLst>
                <a:cxn ang="0">
                  <a:pos x="237" y="171"/>
                </a:cxn>
                <a:cxn ang="0">
                  <a:pos x="244" y="162"/>
                </a:cxn>
                <a:cxn ang="0">
                  <a:pos x="241" y="154"/>
                </a:cxn>
                <a:cxn ang="0">
                  <a:pos x="241" y="145"/>
                </a:cxn>
                <a:cxn ang="0">
                  <a:pos x="233" y="141"/>
                </a:cxn>
                <a:cxn ang="0">
                  <a:pos x="226" y="137"/>
                </a:cxn>
                <a:cxn ang="0">
                  <a:pos x="229" y="128"/>
                </a:cxn>
                <a:cxn ang="0">
                  <a:pos x="241" y="128"/>
                </a:cxn>
                <a:cxn ang="0">
                  <a:pos x="250" y="120"/>
                </a:cxn>
                <a:cxn ang="0">
                  <a:pos x="244" y="116"/>
                </a:cxn>
                <a:cxn ang="0">
                  <a:pos x="259" y="113"/>
                </a:cxn>
                <a:cxn ang="0">
                  <a:pos x="254" y="107"/>
                </a:cxn>
                <a:cxn ang="0">
                  <a:pos x="259" y="99"/>
                </a:cxn>
                <a:cxn ang="0">
                  <a:pos x="269" y="96"/>
                </a:cxn>
                <a:cxn ang="0">
                  <a:pos x="276" y="94"/>
                </a:cxn>
                <a:cxn ang="0">
                  <a:pos x="288" y="96"/>
                </a:cxn>
                <a:cxn ang="0">
                  <a:pos x="301" y="92"/>
                </a:cxn>
                <a:cxn ang="0">
                  <a:pos x="290" y="81"/>
                </a:cxn>
                <a:cxn ang="0">
                  <a:pos x="288" y="82"/>
                </a:cxn>
                <a:cxn ang="0">
                  <a:pos x="280" y="86"/>
                </a:cxn>
                <a:cxn ang="0">
                  <a:pos x="269" y="82"/>
                </a:cxn>
                <a:cxn ang="0">
                  <a:pos x="269" y="75"/>
                </a:cxn>
                <a:cxn ang="0">
                  <a:pos x="274" y="62"/>
                </a:cxn>
                <a:cxn ang="0">
                  <a:pos x="267" y="66"/>
                </a:cxn>
                <a:cxn ang="0">
                  <a:pos x="256" y="77"/>
                </a:cxn>
                <a:cxn ang="0">
                  <a:pos x="252" y="82"/>
                </a:cxn>
                <a:cxn ang="0">
                  <a:pos x="241" y="98"/>
                </a:cxn>
                <a:cxn ang="0">
                  <a:pos x="231" y="92"/>
                </a:cxn>
                <a:cxn ang="0">
                  <a:pos x="218" y="92"/>
                </a:cxn>
                <a:cxn ang="0">
                  <a:pos x="207" y="96"/>
                </a:cxn>
                <a:cxn ang="0">
                  <a:pos x="186" y="73"/>
                </a:cxn>
                <a:cxn ang="0">
                  <a:pos x="177" y="49"/>
                </a:cxn>
                <a:cxn ang="0">
                  <a:pos x="163" y="30"/>
                </a:cxn>
                <a:cxn ang="0">
                  <a:pos x="107" y="33"/>
                </a:cxn>
                <a:cxn ang="0">
                  <a:pos x="79" y="20"/>
                </a:cxn>
                <a:cxn ang="0">
                  <a:pos x="0" y="9"/>
                </a:cxn>
                <a:cxn ang="0">
                  <a:pos x="22" y="96"/>
                </a:cxn>
                <a:cxn ang="0">
                  <a:pos x="34" y="92"/>
                </a:cxn>
                <a:cxn ang="0">
                  <a:pos x="28" y="82"/>
                </a:cxn>
                <a:cxn ang="0">
                  <a:pos x="39" y="75"/>
                </a:cxn>
                <a:cxn ang="0">
                  <a:pos x="47" y="67"/>
                </a:cxn>
                <a:cxn ang="0">
                  <a:pos x="52" y="67"/>
                </a:cxn>
                <a:cxn ang="0">
                  <a:pos x="58" y="64"/>
                </a:cxn>
                <a:cxn ang="0">
                  <a:pos x="82" y="77"/>
                </a:cxn>
                <a:cxn ang="0">
                  <a:pos x="96" y="88"/>
                </a:cxn>
                <a:cxn ang="0">
                  <a:pos x="111" y="92"/>
                </a:cxn>
                <a:cxn ang="0">
                  <a:pos x="122" y="99"/>
                </a:cxn>
                <a:cxn ang="0">
                  <a:pos x="130" y="113"/>
                </a:cxn>
                <a:cxn ang="0">
                  <a:pos x="135" y="124"/>
                </a:cxn>
                <a:cxn ang="0">
                  <a:pos x="152" y="137"/>
                </a:cxn>
                <a:cxn ang="0">
                  <a:pos x="180" y="150"/>
                </a:cxn>
                <a:cxn ang="0">
                  <a:pos x="203" y="162"/>
                </a:cxn>
                <a:cxn ang="0">
                  <a:pos x="207" y="162"/>
                </a:cxn>
                <a:cxn ang="0">
                  <a:pos x="216" y="171"/>
                </a:cxn>
                <a:cxn ang="0">
                  <a:pos x="220" y="179"/>
                </a:cxn>
                <a:cxn ang="0">
                  <a:pos x="227" y="184"/>
                </a:cxn>
                <a:cxn ang="0">
                  <a:pos x="233" y="182"/>
                </a:cxn>
                <a:cxn ang="0">
                  <a:pos x="237" y="184"/>
                </a:cxn>
                <a:cxn ang="0">
                  <a:pos x="237" y="184"/>
                </a:cxn>
              </a:cxnLst>
              <a:rect l="0" t="0" r="r" b="b"/>
              <a:pathLst>
                <a:path w="301" h="184">
                  <a:moveTo>
                    <a:pt x="237" y="184"/>
                  </a:moveTo>
                  <a:lnTo>
                    <a:pt x="237" y="171"/>
                  </a:lnTo>
                  <a:lnTo>
                    <a:pt x="244" y="162"/>
                  </a:lnTo>
                  <a:lnTo>
                    <a:pt x="244" y="162"/>
                  </a:lnTo>
                  <a:lnTo>
                    <a:pt x="244" y="156"/>
                  </a:lnTo>
                  <a:lnTo>
                    <a:pt x="241" y="154"/>
                  </a:lnTo>
                  <a:lnTo>
                    <a:pt x="237" y="148"/>
                  </a:lnTo>
                  <a:lnTo>
                    <a:pt x="241" y="145"/>
                  </a:lnTo>
                  <a:lnTo>
                    <a:pt x="237" y="141"/>
                  </a:lnTo>
                  <a:lnTo>
                    <a:pt x="233" y="141"/>
                  </a:lnTo>
                  <a:lnTo>
                    <a:pt x="231" y="143"/>
                  </a:lnTo>
                  <a:lnTo>
                    <a:pt x="226" y="137"/>
                  </a:lnTo>
                  <a:lnTo>
                    <a:pt x="226" y="131"/>
                  </a:lnTo>
                  <a:lnTo>
                    <a:pt x="229" y="128"/>
                  </a:lnTo>
                  <a:lnTo>
                    <a:pt x="237" y="130"/>
                  </a:lnTo>
                  <a:lnTo>
                    <a:pt x="241" y="128"/>
                  </a:lnTo>
                  <a:lnTo>
                    <a:pt x="241" y="124"/>
                  </a:lnTo>
                  <a:lnTo>
                    <a:pt x="250" y="120"/>
                  </a:lnTo>
                  <a:lnTo>
                    <a:pt x="246" y="118"/>
                  </a:lnTo>
                  <a:lnTo>
                    <a:pt x="244" y="116"/>
                  </a:lnTo>
                  <a:lnTo>
                    <a:pt x="254" y="116"/>
                  </a:lnTo>
                  <a:lnTo>
                    <a:pt x="259" y="113"/>
                  </a:lnTo>
                  <a:lnTo>
                    <a:pt x="259" y="107"/>
                  </a:lnTo>
                  <a:lnTo>
                    <a:pt x="254" y="107"/>
                  </a:lnTo>
                  <a:lnTo>
                    <a:pt x="254" y="101"/>
                  </a:lnTo>
                  <a:lnTo>
                    <a:pt x="259" y="99"/>
                  </a:lnTo>
                  <a:lnTo>
                    <a:pt x="265" y="96"/>
                  </a:lnTo>
                  <a:lnTo>
                    <a:pt x="269" y="96"/>
                  </a:lnTo>
                  <a:lnTo>
                    <a:pt x="274" y="92"/>
                  </a:lnTo>
                  <a:lnTo>
                    <a:pt x="276" y="94"/>
                  </a:lnTo>
                  <a:lnTo>
                    <a:pt x="280" y="98"/>
                  </a:lnTo>
                  <a:lnTo>
                    <a:pt x="288" y="96"/>
                  </a:lnTo>
                  <a:lnTo>
                    <a:pt x="295" y="96"/>
                  </a:lnTo>
                  <a:lnTo>
                    <a:pt x="301" y="92"/>
                  </a:lnTo>
                  <a:lnTo>
                    <a:pt x="299" y="86"/>
                  </a:lnTo>
                  <a:lnTo>
                    <a:pt x="290" y="81"/>
                  </a:lnTo>
                  <a:lnTo>
                    <a:pt x="288" y="79"/>
                  </a:lnTo>
                  <a:lnTo>
                    <a:pt x="288" y="82"/>
                  </a:lnTo>
                  <a:lnTo>
                    <a:pt x="284" y="86"/>
                  </a:lnTo>
                  <a:lnTo>
                    <a:pt x="280" y="86"/>
                  </a:lnTo>
                  <a:lnTo>
                    <a:pt x="276" y="82"/>
                  </a:lnTo>
                  <a:lnTo>
                    <a:pt x="269" y="82"/>
                  </a:lnTo>
                  <a:lnTo>
                    <a:pt x="265" y="79"/>
                  </a:lnTo>
                  <a:lnTo>
                    <a:pt x="269" y="75"/>
                  </a:lnTo>
                  <a:lnTo>
                    <a:pt x="274" y="66"/>
                  </a:lnTo>
                  <a:lnTo>
                    <a:pt x="274" y="62"/>
                  </a:lnTo>
                  <a:lnTo>
                    <a:pt x="271" y="62"/>
                  </a:lnTo>
                  <a:lnTo>
                    <a:pt x="267" y="66"/>
                  </a:lnTo>
                  <a:lnTo>
                    <a:pt x="265" y="67"/>
                  </a:lnTo>
                  <a:lnTo>
                    <a:pt x="256" y="77"/>
                  </a:lnTo>
                  <a:lnTo>
                    <a:pt x="254" y="81"/>
                  </a:lnTo>
                  <a:lnTo>
                    <a:pt x="252" y="82"/>
                  </a:lnTo>
                  <a:lnTo>
                    <a:pt x="250" y="92"/>
                  </a:lnTo>
                  <a:lnTo>
                    <a:pt x="241" y="98"/>
                  </a:lnTo>
                  <a:lnTo>
                    <a:pt x="237" y="96"/>
                  </a:lnTo>
                  <a:lnTo>
                    <a:pt x="231" y="92"/>
                  </a:lnTo>
                  <a:lnTo>
                    <a:pt x="224" y="92"/>
                  </a:lnTo>
                  <a:lnTo>
                    <a:pt x="218" y="92"/>
                  </a:lnTo>
                  <a:lnTo>
                    <a:pt x="210" y="96"/>
                  </a:lnTo>
                  <a:lnTo>
                    <a:pt x="207" y="96"/>
                  </a:lnTo>
                  <a:lnTo>
                    <a:pt x="199" y="75"/>
                  </a:lnTo>
                  <a:lnTo>
                    <a:pt x="186" y="73"/>
                  </a:lnTo>
                  <a:lnTo>
                    <a:pt x="186" y="47"/>
                  </a:lnTo>
                  <a:lnTo>
                    <a:pt x="177" y="49"/>
                  </a:lnTo>
                  <a:lnTo>
                    <a:pt x="175" y="37"/>
                  </a:lnTo>
                  <a:lnTo>
                    <a:pt x="163" y="30"/>
                  </a:lnTo>
                  <a:lnTo>
                    <a:pt x="133" y="30"/>
                  </a:lnTo>
                  <a:lnTo>
                    <a:pt x="107" y="33"/>
                  </a:lnTo>
                  <a:lnTo>
                    <a:pt x="92" y="24"/>
                  </a:lnTo>
                  <a:lnTo>
                    <a:pt x="79" y="20"/>
                  </a:lnTo>
                  <a:lnTo>
                    <a:pt x="49" y="0"/>
                  </a:lnTo>
                  <a:lnTo>
                    <a:pt x="0" y="9"/>
                  </a:lnTo>
                  <a:lnTo>
                    <a:pt x="17" y="96"/>
                  </a:lnTo>
                  <a:lnTo>
                    <a:pt x="22" y="96"/>
                  </a:lnTo>
                  <a:lnTo>
                    <a:pt x="32" y="98"/>
                  </a:lnTo>
                  <a:lnTo>
                    <a:pt x="34" y="92"/>
                  </a:lnTo>
                  <a:lnTo>
                    <a:pt x="30" y="88"/>
                  </a:lnTo>
                  <a:lnTo>
                    <a:pt x="28" y="82"/>
                  </a:lnTo>
                  <a:lnTo>
                    <a:pt x="34" y="75"/>
                  </a:lnTo>
                  <a:lnTo>
                    <a:pt x="39" y="75"/>
                  </a:lnTo>
                  <a:lnTo>
                    <a:pt x="41" y="69"/>
                  </a:lnTo>
                  <a:lnTo>
                    <a:pt x="47" y="67"/>
                  </a:lnTo>
                  <a:lnTo>
                    <a:pt x="49" y="69"/>
                  </a:lnTo>
                  <a:lnTo>
                    <a:pt x="52" y="67"/>
                  </a:lnTo>
                  <a:lnTo>
                    <a:pt x="49" y="64"/>
                  </a:lnTo>
                  <a:lnTo>
                    <a:pt x="58" y="64"/>
                  </a:lnTo>
                  <a:lnTo>
                    <a:pt x="71" y="71"/>
                  </a:lnTo>
                  <a:lnTo>
                    <a:pt x="82" y="77"/>
                  </a:lnTo>
                  <a:lnTo>
                    <a:pt x="82" y="82"/>
                  </a:lnTo>
                  <a:lnTo>
                    <a:pt x="96" y="88"/>
                  </a:lnTo>
                  <a:lnTo>
                    <a:pt x="109" y="94"/>
                  </a:lnTo>
                  <a:lnTo>
                    <a:pt x="111" y="92"/>
                  </a:lnTo>
                  <a:lnTo>
                    <a:pt x="113" y="94"/>
                  </a:lnTo>
                  <a:lnTo>
                    <a:pt x="122" y="99"/>
                  </a:lnTo>
                  <a:lnTo>
                    <a:pt x="126" y="111"/>
                  </a:lnTo>
                  <a:lnTo>
                    <a:pt x="130" y="113"/>
                  </a:lnTo>
                  <a:lnTo>
                    <a:pt x="130" y="116"/>
                  </a:lnTo>
                  <a:lnTo>
                    <a:pt x="135" y="124"/>
                  </a:lnTo>
                  <a:lnTo>
                    <a:pt x="141" y="128"/>
                  </a:lnTo>
                  <a:lnTo>
                    <a:pt x="152" y="137"/>
                  </a:lnTo>
                  <a:lnTo>
                    <a:pt x="165" y="145"/>
                  </a:lnTo>
                  <a:lnTo>
                    <a:pt x="180" y="150"/>
                  </a:lnTo>
                  <a:lnTo>
                    <a:pt x="192" y="160"/>
                  </a:lnTo>
                  <a:lnTo>
                    <a:pt x="203" y="162"/>
                  </a:lnTo>
                  <a:lnTo>
                    <a:pt x="205" y="162"/>
                  </a:lnTo>
                  <a:lnTo>
                    <a:pt x="207" y="162"/>
                  </a:lnTo>
                  <a:lnTo>
                    <a:pt x="216" y="167"/>
                  </a:lnTo>
                  <a:lnTo>
                    <a:pt x="216" y="171"/>
                  </a:lnTo>
                  <a:lnTo>
                    <a:pt x="216" y="180"/>
                  </a:lnTo>
                  <a:lnTo>
                    <a:pt x="220" y="179"/>
                  </a:lnTo>
                  <a:lnTo>
                    <a:pt x="224" y="180"/>
                  </a:lnTo>
                  <a:lnTo>
                    <a:pt x="227" y="184"/>
                  </a:lnTo>
                  <a:lnTo>
                    <a:pt x="229" y="184"/>
                  </a:lnTo>
                  <a:lnTo>
                    <a:pt x="233" y="182"/>
                  </a:lnTo>
                  <a:lnTo>
                    <a:pt x="237" y="182"/>
                  </a:lnTo>
                  <a:lnTo>
                    <a:pt x="237" y="184"/>
                  </a:lnTo>
                  <a:lnTo>
                    <a:pt x="237" y="184"/>
                  </a:lnTo>
                  <a:lnTo>
                    <a:pt x="237" y="18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52">
              <a:extLst>
                <a:ext uri="{FF2B5EF4-FFF2-40B4-BE49-F238E27FC236}">
                  <a16:creationId xmlns:a16="http://schemas.microsoft.com/office/drawing/2014/main" id="{CA657877-16C1-9740-909F-C0AB91AA6EAB}"/>
                </a:ext>
              </a:extLst>
            </p:cNvPr>
            <p:cNvSpPr>
              <a:spLocks/>
            </p:cNvSpPr>
            <p:nvPr/>
          </p:nvSpPr>
          <p:spPr bwMode="auto">
            <a:xfrm>
              <a:off x="6904373" y="2324010"/>
              <a:ext cx="229547" cy="129625"/>
            </a:xfrm>
            <a:custGeom>
              <a:avLst/>
              <a:gdLst/>
              <a:ahLst/>
              <a:cxnLst>
                <a:cxn ang="0">
                  <a:pos x="269" y="105"/>
                </a:cxn>
                <a:cxn ang="0">
                  <a:pos x="256" y="100"/>
                </a:cxn>
                <a:cxn ang="0">
                  <a:pos x="218" y="83"/>
                </a:cxn>
                <a:cxn ang="0">
                  <a:pos x="188" y="60"/>
                </a:cxn>
                <a:cxn ang="0">
                  <a:pos x="179" y="49"/>
                </a:cxn>
                <a:cxn ang="0">
                  <a:pos x="164" y="30"/>
                </a:cxn>
                <a:cxn ang="0">
                  <a:pos x="135" y="19"/>
                </a:cxn>
                <a:cxn ang="0">
                  <a:pos x="111" y="0"/>
                </a:cxn>
                <a:cxn ang="0">
                  <a:pos x="102" y="5"/>
                </a:cxn>
                <a:cxn ang="0">
                  <a:pos x="92" y="11"/>
                </a:cxn>
                <a:cxn ang="0">
                  <a:pos x="83" y="26"/>
                </a:cxn>
                <a:cxn ang="0">
                  <a:pos x="75" y="34"/>
                </a:cxn>
                <a:cxn ang="0">
                  <a:pos x="45" y="22"/>
                </a:cxn>
                <a:cxn ang="0">
                  <a:pos x="11" y="15"/>
                </a:cxn>
                <a:cxn ang="0">
                  <a:pos x="2" y="30"/>
                </a:cxn>
                <a:cxn ang="0">
                  <a:pos x="7" y="39"/>
                </a:cxn>
                <a:cxn ang="0">
                  <a:pos x="11" y="54"/>
                </a:cxn>
                <a:cxn ang="0">
                  <a:pos x="13" y="69"/>
                </a:cxn>
                <a:cxn ang="0">
                  <a:pos x="17" y="69"/>
                </a:cxn>
                <a:cxn ang="0">
                  <a:pos x="26" y="69"/>
                </a:cxn>
                <a:cxn ang="0">
                  <a:pos x="28" y="79"/>
                </a:cxn>
                <a:cxn ang="0">
                  <a:pos x="32" y="81"/>
                </a:cxn>
                <a:cxn ang="0">
                  <a:pos x="24" y="79"/>
                </a:cxn>
                <a:cxn ang="0">
                  <a:pos x="24" y="88"/>
                </a:cxn>
                <a:cxn ang="0">
                  <a:pos x="26" y="85"/>
                </a:cxn>
                <a:cxn ang="0">
                  <a:pos x="36" y="92"/>
                </a:cxn>
                <a:cxn ang="0">
                  <a:pos x="39" y="103"/>
                </a:cxn>
                <a:cxn ang="0">
                  <a:pos x="45" y="130"/>
                </a:cxn>
                <a:cxn ang="0">
                  <a:pos x="58" y="120"/>
                </a:cxn>
                <a:cxn ang="0">
                  <a:pos x="71" y="113"/>
                </a:cxn>
                <a:cxn ang="0">
                  <a:pos x="87" y="105"/>
                </a:cxn>
                <a:cxn ang="0">
                  <a:pos x="100" y="109"/>
                </a:cxn>
                <a:cxn ang="0">
                  <a:pos x="122" y="120"/>
                </a:cxn>
                <a:cxn ang="0">
                  <a:pos x="135" y="122"/>
                </a:cxn>
                <a:cxn ang="0">
                  <a:pos x="141" y="130"/>
                </a:cxn>
                <a:cxn ang="0">
                  <a:pos x="162" y="139"/>
                </a:cxn>
                <a:cxn ang="0">
                  <a:pos x="177" y="149"/>
                </a:cxn>
                <a:cxn ang="0">
                  <a:pos x="177" y="160"/>
                </a:cxn>
                <a:cxn ang="0">
                  <a:pos x="184" y="162"/>
                </a:cxn>
                <a:cxn ang="0">
                  <a:pos x="194" y="162"/>
                </a:cxn>
                <a:cxn ang="0">
                  <a:pos x="201" y="169"/>
                </a:cxn>
                <a:cxn ang="0">
                  <a:pos x="209" y="167"/>
                </a:cxn>
                <a:cxn ang="0">
                  <a:pos x="215" y="160"/>
                </a:cxn>
                <a:cxn ang="0">
                  <a:pos x="228" y="152"/>
                </a:cxn>
                <a:cxn ang="0">
                  <a:pos x="235" y="147"/>
                </a:cxn>
                <a:cxn ang="0">
                  <a:pos x="239" y="133"/>
                </a:cxn>
                <a:cxn ang="0">
                  <a:pos x="239" y="126"/>
                </a:cxn>
                <a:cxn ang="0">
                  <a:pos x="247" y="122"/>
                </a:cxn>
                <a:cxn ang="0">
                  <a:pos x="260" y="117"/>
                </a:cxn>
                <a:cxn ang="0">
                  <a:pos x="269" y="118"/>
                </a:cxn>
                <a:cxn ang="0">
                  <a:pos x="269" y="118"/>
                </a:cxn>
              </a:cxnLst>
              <a:rect l="0" t="0" r="r" b="b"/>
              <a:pathLst>
                <a:path w="269" h="169">
                  <a:moveTo>
                    <a:pt x="269" y="118"/>
                  </a:moveTo>
                  <a:lnTo>
                    <a:pt x="269" y="109"/>
                  </a:lnTo>
                  <a:lnTo>
                    <a:pt x="269" y="105"/>
                  </a:lnTo>
                  <a:lnTo>
                    <a:pt x="262" y="100"/>
                  </a:lnTo>
                  <a:lnTo>
                    <a:pt x="258" y="100"/>
                  </a:lnTo>
                  <a:lnTo>
                    <a:pt x="256" y="100"/>
                  </a:lnTo>
                  <a:lnTo>
                    <a:pt x="245" y="98"/>
                  </a:lnTo>
                  <a:lnTo>
                    <a:pt x="233" y="88"/>
                  </a:lnTo>
                  <a:lnTo>
                    <a:pt x="218" y="83"/>
                  </a:lnTo>
                  <a:lnTo>
                    <a:pt x="205" y="73"/>
                  </a:lnTo>
                  <a:lnTo>
                    <a:pt x="194" y="66"/>
                  </a:lnTo>
                  <a:lnTo>
                    <a:pt x="188" y="60"/>
                  </a:lnTo>
                  <a:lnTo>
                    <a:pt x="184" y="54"/>
                  </a:lnTo>
                  <a:lnTo>
                    <a:pt x="184" y="49"/>
                  </a:lnTo>
                  <a:lnTo>
                    <a:pt x="179" y="49"/>
                  </a:lnTo>
                  <a:lnTo>
                    <a:pt x="175" y="36"/>
                  </a:lnTo>
                  <a:lnTo>
                    <a:pt x="166" y="30"/>
                  </a:lnTo>
                  <a:lnTo>
                    <a:pt x="164" y="30"/>
                  </a:lnTo>
                  <a:lnTo>
                    <a:pt x="162" y="30"/>
                  </a:lnTo>
                  <a:lnTo>
                    <a:pt x="149" y="26"/>
                  </a:lnTo>
                  <a:lnTo>
                    <a:pt x="135" y="19"/>
                  </a:lnTo>
                  <a:lnTo>
                    <a:pt x="135" y="13"/>
                  </a:lnTo>
                  <a:lnTo>
                    <a:pt x="124" y="9"/>
                  </a:lnTo>
                  <a:lnTo>
                    <a:pt x="111" y="0"/>
                  </a:lnTo>
                  <a:lnTo>
                    <a:pt x="102" y="0"/>
                  </a:lnTo>
                  <a:lnTo>
                    <a:pt x="105" y="5"/>
                  </a:lnTo>
                  <a:lnTo>
                    <a:pt x="102" y="5"/>
                  </a:lnTo>
                  <a:lnTo>
                    <a:pt x="100" y="5"/>
                  </a:lnTo>
                  <a:lnTo>
                    <a:pt x="94" y="5"/>
                  </a:lnTo>
                  <a:lnTo>
                    <a:pt x="92" y="11"/>
                  </a:lnTo>
                  <a:lnTo>
                    <a:pt x="87" y="11"/>
                  </a:lnTo>
                  <a:lnTo>
                    <a:pt x="81" y="20"/>
                  </a:lnTo>
                  <a:lnTo>
                    <a:pt x="83" y="26"/>
                  </a:lnTo>
                  <a:lnTo>
                    <a:pt x="87" y="30"/>
                  </a:lnTo>
                  <a:lnTo>
                    <a:pt x="85" y="36"/>
                  </a:lnTo>
                  <a:lnTo>
                    <a:pt x="75" y="34"/>
                  </a:lnTo>
                  <a:lnTo>
                    <a:pt x="66" y="34"/>
                  </a:lnTo>
                  <a:lnTo>
                    <a:pt x="58" y="36"/>
                  </a:lnTo>
                  <a:lnTo>
                    <a:pt x="45" y="22"/>
                  </a:lnTo>
                  <a:lnTo>
                    <a:pt x="32" y="13"/>
                  </a:lnTo>
                  <a:lnTo>
                    <a:pt x="21" y="11"/>
                  </a:lnTo>
                  <a:lnTo>
                    <a:pt x="11" y="15"/>
                  </a:lnTo>
                  <a:lnTo>
                    <a:pt x="0" y="26"/>
                  </a:lnTo>
                  <a:lnTo>
                    <a:pt x="0" y="28"/>
                  </a:lnTo>
                  <a:lnTo>
                    <a:pt x="2" y="30"/>
                  </a:lnTo>
                  <a:lnTo>
                    <a:pt x="6" y="34"/>
                  </a:lnTo>
                  <a:lnTo>
                    <a:pt x="6" y="36"/>
                  </a:lnTo>
                  <a:lnTo>
                    <a:pt x="7" y="39"/>
                  </a:lnTo>
                  <a:lnTo>
                    <a:pt x="11" y="45"/>
                  </a:lnTo>
                  <a:lnTo>
                    <a:pt x="11" y="51"/>
                  </a:lnTo>
                  <a:lnTo>
                    <a:pt x="11" y="54"/>
                  </a:lnTo>
                  <a:lnTo>
                    <a:pt x="11" y="64"/>
                  </a:lnTo>
                  <a:lnTo>
                    <a:pt x="11" y="68"/>
                  </a:lnTo>
                  <a:lnTo>
                    <a:pt x="13" y="69"/>
                  </a:lnTo>
                  <a:lnTo>
                    <a:pt x="19" y="75"/>
                  </a:lnTo>
                  <a:lnTo>
                    <a:pt x="19" y="73"/>
                  </a:lnTo>
                  <a:lnTo>
                    <a:pt x="17" y="69"/>
                  </a:lnTo>
                  <a:lnTo>
                    <a:pt x="19" y="69"/>
                  </a:lnTo>
                  <a:lnTo>
                    <a:pt x="24" y="69"/>
                  </a:lnTo>
                  <a:lnTo>
                    <a:pt x="26" y="69"/>
                  </a:lnTo>
                  <a:lnTo>
                    <a:pt x="28" y="69"/>
                  </a:lnTo>
                  <a:lnTo>
                    <a:pt x="26" y="73"/>
                  </a:lnTo>
                  <a:lnTo>
                    <a:pt x="28" y="79"/>
                  </a:lnTo>
                  <a:lnTo>
                    <a:pt x="30" y="75"/>
                  </a:lnTo>
                  <a:lnTo>
                    <a:pt x="32" y="79"/>
                  </a:lnTo>
                  <a:lnTo>
                    <a:pt x="32" y="81"/>
                  </a:lnTo>
                  <a:lnTo>
                    <a:pt x="28" y="81"/>
                  </a:lnTo>
                  <a:lnTo>
                    <a:pt x="26" y="81"/>
                  </a:lnTo>
                  <a:lnTo>
                    <a:pt x="24" y="79"/>
                  </a:lnTo>
                  <a:lnTo>
                    <a:pt x="21" y="83"/>
                  </a:lnTo>
                  <a:lnTo>
                    <a:pt x="21" y="85"/>
                  </a:lnTo>
                  <a:lnTo>
                    <a:pt x="24" y="88"/>
                  </a:lnTo>
                  <a:lnTo>
                    <a:pt x="23" y="85"/>
                  </a:lnTo>
                  <a:lnTo>
                    <a:pt x="26" y="83"/>
                  </a:lnTo>
                  <a:lnTo>
                    <a:pt x="26" y="85"/>
                  </a:lnTo>
                  <a:lnTo>
                    <a:pt x="30" y="85"/>
                  </a:lnTo>
                  <a:lnTo>
                    <a:pt x="32" y="88"/>
                  </a:lnTo>
                  <a:lnTo>
                    <a:pt x="36" y="92"/>
                  </a:lnTo>
                  <a:lnTo>
                    <a:pt x="39" y="96"/>
                  </a:lnTo>
                  <a:lnTo>
                    <a:pt x="39" y="100"/>
                  </a:lnTo>
                  <a:lnTo>
                    <a:pt x="39" y="103"/>
                  </a:lnTo>
                  <a:lnTo>
                    <a:pt x="39" y="113"/>
                  </a:lnTo>
                  <a:lnTo>
                    <a:pt x="41" y="120"/>
                  </a:lnTo>
                  <a:lnTo>
                    <a:pt x="45" y="130"/>
                  </a:lnTo>
                  <a:lnTo>
                    <a:pt x="47" y="128"/>
                  </a:lnTo>
                  <a:lnTo>
                    <a:pt x="56" y="126"/>
                  </a:lnTo>
                  <a:lnTo>
                    <a:pt x="58" y="120"/>
                  </a:lnTo>
                  <a:lnTo>
                    <a:pt x="60" y="118"/>
                  </a:lnTo>
                  <a:lnTo>
                    <a:pt x="64" y="118"/>
                  </a:lnTo>
                  <a:lnTo>
                    <a:pt x="71" y="113"/>
                  </a:lnTo>
                  <a:lnTo>
                    <a:pt x="79" y="109"/>
                  </a:lnTo>
                  <a:lnTo>
                    <a:pt x="87" y="113"/>
                  </a:lnTo>
                  <a:lnTo>
                    <a:pt x="87" y="105"/>
                  </a:lnTo>
                  <a:lnTo>
                    <a:pt x="90" y="105"/>
                  </a:lnTo>
                  <a:lnTo>
                    <a:pt x="96" y="109"/>
                  </a:lnTo>
                  <a:lnTo>
                    <a:pt x="100" y="109"/>
                  </a:lnTo>
                  <a:lnTo>
                    <a:pt x="105" y="113"/>
                  </a:lnTo>
                  <a:lnTo>
                    <a:pt x="111" y="115"/>
                  </a:lnTo>
                  <a:lnTo>
                    <a:pt x="122" y="120"/>
                  </a:lnTo>
                  <a:lnTo>
                    <a:pt x="126" y="120"/>
                  </a:lnTo>
                  <a:lnTo>
                    <a:pt x="128" y="118"/>
                  </a:lnTo>
                  <a:lnTo>
                    <a:pt x="135" y="122"/>
                  </a:lnTo>
                  <a:lnTo>
                    <a:pt x="141" y="122"/>
                  </a:lnTo>
                  <a:lnTo>
                    <a:pt x="141" y="128"/>
                  </a:lnTo>
                  <a:lnTo>
                    <a:pt x="141" y="130"/>
                  </a:lnTo>
                  <a:lnTo>
                    <a:pt x="145" y="130"/>
                  </a:lnTo>
                  <a:lnTo>
                    <a:pt x="152" y="130"/>
                  </a:lnTo>
                  <a:lnTo>
                    <a:pt x="162" y="139"/>
                  </a:lnTo>
                  <a:lnTo>
                    <a:pt x="169" y="143"/>
                  </a:lnTo>
                  <a:lnTo>
                    <a:pt x="175" y="143"/>
                  </a:lnTo>
                  <a:lnTo>
                    <a:pt x="177" y="149"/>
                  </a:lnTo>
                  <a:lnTo>
                    <a:pt x="175" y="150"/>
                  </a:lnTo>
                  <a:lnTo>
                    <a:pt x="177" y="156"/>
                  </a:lnTo>
                  <a:lnTo>
                    <a:pt x="177" y="160"/>
                  </a:lnTo>
                  <a:lnTo>
                    <a:pt x="177" y="162"/>
                  </a:lnTo>
                  <a:lnTo>
                    <a:pt x="179" y="162"/>
                  </a:lnTo>
                  <a:lnTo>
                    <a:pt x="184" y="162"/>
                  </a:lnTo>
                  <a:lnTo>
                    <a:pt x="186" y="164"/>
                  </a:lnTo>
                  <a:lnTo>
                    <a:pt x="190" y="164"/>
                  </a:lnTo>
                  <a:lnTo>
                    <a:pt x="194" y="162"/>
                  </a:lnTo>
                  <a:lnTo>
                    <a:pt x="196" y="162"/>
                  </a:lnTo>
                  <a:lnTo>
                    <a:pt x="201" y="164"/>
                  </a:lnTo>
                  <a:lnTo>
                    <a:pt x="201" y="169"/>
                  </a:lnTo>
                  <a:lnTo>
                    <a:pt x="203" y="169"/>
                  </a:lnTo>
                  <a:lnTo>
                    <a:pt x="205" y="167"/>
                  </a:lnTo>
                  <a:lnTo>
                    <a:pt x="209" y="167"/>
                  </a:lnTo>
                  <a:lnTo>
                    <a:pt x="215" y="164"/>
                  </a:lnTo>
                  <a:lnTo>
                    <a:pt x="215" y="162"/>
                  </a:lnTo>
                  <a:lnTo>
                    <a:pt x="215" y="160"/>
                  </a:lnTo>
                  <a:lnTo>
                    <a:pt x="215" y="156"/>
                  </a:lnTo>
                  <a:lnTo>
                    <a:pt x="220" y="152"/>
                  </a:lnTo>
                  <a:lnTo>
                    <a:pt x="228" y="152"/>
                  </a:lnTo>
                  <a:lnTo>
                    <a:pt x="230" y="150"/>
                  </a:lnTo>
                  <a:lnTo>
                    <a:pt x="231" y="147"/>
                  </a:lnTo>
                  <a:lnTo>
                    <a:pt x="235" y="147"/>
                  </a:lnTo>
                  <a:lnTo>
                    <a:pt x="235" y="143"/>
                  </a:lnTo>
                  <a:lnTo>
                    <a:pt x="235" y="139"/>
                  </a:lnTo>
                  <a:lnTo>
                    <a:pt x="239" y="133"/>
                  </a:lnTo>
                  <a:lnTo>
                    <a:pt x="239" y="130"/>
                  </a:lnTo>
                  <a:lnTo>
                    <a:pt x="239" y="128"/>
                  </a:lnTo>
                  <a:lnTo>
                    <a:pt x="239" y="126"/>
                  </a:lnTo>
                  <a:lnTo>
                    <a:pt x="239" y="124"/>
                  </a:lnTo>
                  <a:lnTo>
                    <a:pt x="241" y="122"/>
                  </a:lnTo>
                  <a:lnTo>
                    <a:pt x="247" y="122"/>
                  </a:lnTo>
                  <a:lnTo>
                    <a:pt x="248" y="122"/>
                  </a:lnTo>
                  <a:lnTo>
                    <a:pt x="254" y="117"/>
                  </a:lnTo>
                  <a:lnTo>
                    <a:pt x="260" y="117"/>
                  </a:lnTo>
                  <a:lnTo>
                    <a:pt x="263" y="118"/>
                  </a:lnTo>
                  <a:lnTo>
                    <a:pt x="265" y="117"/>
                  </a:lnTo>
                  <a:lnTo>
                    <a:pt x="269" y="118"/>
                  </a:lnTo>
                  <a:lnTo>
                    <a:pt x="269" y="118"/>
                  </a:lnTo>
                  <a:lnTo>
                    <a:pt x="269" y="118"/>
                  </a:lnTo>
                  <a:lnTo>
                    <a:pt x="269" y="1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53">
              <a:extLst>
                <a:ext uri="{FF2B5EF4-FFF2-40B4-BE49-F238E27FC236}">
                  <a16:creationId xmlns:a16="http://schemas.microsoft.com/office/drawing/2014/main" id="{7BE60FE4-ACDC-2E4B-A8BD-1BE62846F629}"/>
                </a:ext>
              </a:extLst>
            </p:cNvPr>
            <p:cNvSpPr>
              <a:spLocks/>
            </p:cNvSpPr>
            <p:nvPr/>
          </p:nvSpPr>
          <p:spPr bwMode="auto">
            <a:xfrm>
              <a:off x="7066507" y="2422188"/>
              <a:ext cx="215041" cy="217831"/>
            </a:xfrm>
            <a:custGeom>
              <a:avLst/>
              <a:gdLst/>
              <a:ahLst/>
              <a:cxnLst>
                <a:cxn ang="0">
                  <a:pos x="153" y="275"/>
                </a:cxn>
                <a:cxn ang="0">
                  <a:pos x="171" y="269"/>
                </a:cxn>
                <a:cxn ang="0">
                  <a:pos x="185" y="267"/>
                </a:cxn>
                <a:cxn ang="0">
                  <a:pos x="192" y="264"/>
                </a:cxn>
                <a:cxn ang="0">
                  <a:pos x="185" y="241"/>
                </a:cxn>
                <a:cxn ang="0">
                  <a:pos x="171" y="230"/>
                </a:cxn>
                <a:cxn ang="0">
                  <a:pos x="164" y="220"/>
                </a:cxn>
                <a:cxn ang="0">
                  <a:pos x="160" y="207"/>
                </a:cxn>
                <a:cxn ang="0">
                  <a:pos x="171" y="192"/>
                </a:cxn>
                <a:cxn ang="0">
                  <a:pos x="181" y="198"/>
                </a:cxn>
                <a:cxn ang="0">
                  <a:pos x="207" y="175"/>
                </a:cxn>
                <a:cxn ang="0">
                  <a:pos x="224" y="152"/>
                </a:cxn>
                <a:cxn ang="0">
                  <a:pos x="228" y="141"/>
                </a:cxn>
                <a:cxn ang="0">
                  <a:pos x="237" y="119"/>
                </a:cxn>
                <a:cxn ang="0">
                  <a:pos x="243" y="103"/>
                </a:cxn>
                <a:cxn ang="0">
                  <a:pos x="252" y="92"/>
                </a:cxn>
                <a:cxn ang="0">
                  <a:pos x="235" y="86"/>
                </a:cxn>
                <a:cxn ang="0">
                  <a:pos x="217" y="71"/>
                </a:cxn>
                <a:cxn ang="0">
                  <a:pos x="213" y="47"/>
                </a:cxn>
                <a:cxn ang="0">
                  <a:pos x="213" y="34"/>
                </a:cxn>
                <a:cxn ang="0">
                  <a:pos x="198" y="19"/>
                </a:cxn>
                <a:cxn ang="0">
                  <a:pos x="188" y="11"/>
                </a:cxn>
                <a:cxn ang="0">
                  <a:pos x="186" y="0"/>
                </a:cxn>
                <a:cxn ang="0">
                  <a:pos x="168" y="11"/>
                </a:cxn>
                <a:cxn ang="0">
                  <a:pos x="164" y="47"/>
                </a:cxn>
                <a:cxn ang="0">
                  <a:pos x="156" y="62"/>
                </a:cxn>
                <a:cxn ang="0">
                  <a:pos x="153" y="70"/>
                </a:cxn>
                <a:cxn ang="0">
                  <a:pos x="145" y="83"/>
                </a:cxn>
                <a:cxn ang="0">
                  <a:pos x="141" y="98"/>
                </a:cxn>
                <a:cxn ang="0">
                  <a:pos x="136" y="109"/>
                </a:cxn>
                <a:cxn ang="0">
                  <a:pos x="126" y="111"/>
                </a:cxn>
                <a:cxn ang="0">
                  <a:pos x="117" y="119"/>
                </a:cxn>
                <a:cxn ang="0">
                  <a:pos x="102" y="126"/>
                </a:cxn>
                <a:cxn ang="0">
                  <a:pos x="92" y="134"/>
                </a:cxn>
                <a:cxn ang="0">
                  <a:pos x="96" y="152"/>
                </a:cxn>
                <a:cxn ang="0">
                  <a:pos x="75" y="160"/>
                </a:cxn>
                <a:cxn ang="0">
                  <a:pos x="51" y="164"/>
                </a:cxn>
                <a:cxn ang="0">
                  <a:pos x="0" y="158"/>
                </a:cxn>
                <a:cxn ang="0">
                  <a:pos x="21" y="183"/>
                </a:cxn>
                <a:cxn ang="0">
                  <a:pos x="32" y="188"/>
                </a:cxn>
                <a:cxn ang="0">
                  <a:pos x="40" y="207"/>
                </a:cxn>
                <a:cxn ang="0">
                  <a:pos x="49" y="220"/>
                </a:cxn>
                <a:cxn ang="0">
                  <a:pos x="32" y="224"/>
                </a:cxn>
                <a:cxn ang="0">
                  <a:pos x="21" y="237"/>
                </a:cxn>
                <a:cxn ang="0">
                  <a:pos x="25" y="250"/>
                </a:cxn>
                <a:cxn ang="0">
                  <a:pos x="36" y="250"/>
                </a:cxn>
                <a:cxn ang="0">
                  <a:pos x="45" y="250"/>
                </a:cxn>
                <a:cxn ang="0">
                  <a:pos x="53" y="250"/>
                </a:cxn>
                <a:cxn ang="0">
                  <a:pos x="62" y="250"/>
                </a:cxn>
                <a:cxn ang="0">
                  <a:pos x="68" y="250"/>
                </a:cxn>
                <a:cxn ang="0">
                  <a:pos x="83" y="247"/>
                </a:cxn>
                <a:cxn ang="0">
                  <a:pos x="92" y="247"/>
                </a:cxn>
                <a:cxn ang="0">
                  <a:pos x="109" y="247"/>
                </a:cxn>
                <a:cxn ang="0">
                  <a:pos x="113" y="256"/>
                </a:cxn>
                <a:cxn ang="0">
                  <a:pos x="121" y="256"/>
                </a:cxn>
                <a:cxn ang="0">
                  <a:pos x="126" y="271"/>
                </a:cxn>
                <a:cxn ang="0">
                  <a:pos x="128" y="277"/>
                </a:cxn>
                <a:cxn ang="0">
                  <a:pos x="143" y="282"/>
                </a:cxn>
                <a:cxn ang="0">
                  <a:pos x="147" y="282"/>
                </a:cxn>
              </a:cxnLst>
              <a:rect l="0" t="0" r="r" b="b"/>
              <a:pathLst>
                <a:path w="252" h="284">
                  <a:moveTo>
                    <a:pt x="147" y="282"/>
                  </a:moveTo>
                  <a:lnTo>
                    <a:pt x="147" y="277"/>
                  </a:lnTo>
                  <a:lnTo>
                    <a:pt x="151" y="277"/>
                  </a:lnTo>
                  <a:lnTo>
                    <a:pt x="153" y="275"/>
                  </a:lnTo>
                  <a:lnTo>
                    <a:pt x="154" y="271"/>
                  </a:lnTo>
                  <a:lnTo>
                    <a:pt x="156" y="271"/>
                  </a:lnTo>
                  <a:lnTo>
                    <a:pt x="160" y="269"/>
                  </a:lnTo>
                  <a:lnTo>
                    <a:pt x="171" y="269"/>
                  </a:lnTo>
                  <a:lnTo>
                    <a:pt x="181" y="267"/>
                  </a:lnTo>
                  <a:lnTo>
                    <a:pt x="181" y="265"/>
                  </a:lnTo>
                  <a:lnTo>
                    <a:pt x="185" y="264"/>
                  </a:lnTo>
                  <a:lnTo>
                    <a:pt x="185" y="267"/>
                  </a:lnTo>
                  <a:lnTo>
                    <a:pt x="185" y="269"/>
                  </a:lnTo>
                  <a:lnTo>
                    <a:pt x="190" y="267"/>
                  </a:lnTo>
                  <a:lnTo>
                    <a:pt x="194" y="265"/>
                  </a:lnTo>
                  <a:lnTo>
                    <a:pt x="192" y="264"/>
                  </a:lnTo>
                  <a:lnTo>
                    <a:pt x="192" y="260"/>
                  </a:lnTo>
                  <a:lnTo>
                    <a:pt x="188" y="250"/>
                  </a:lnTo>
                  <a:lnTo>
                    <a:pt x="185" y="245"/>
                  </a:lnTo>
                  <a:lnTo>
                    <a:pt x="185" y="241"/>
                  </a:lnTo>
                  <a:lnTo>
                    <a:pt x="185" y="239"/>
                  </a:lnTo>
                  <a:lnTo>
                    <a:pt x="181" y="241"/>
                  </a:lnTo>
                  <a:lnTo>
                    <a:pt x="171" y="235"/>
                  </a:lnTo>
                  <a:lnTo>
                    <a:pt x="171" y="230"/>
                  </a:lnTo>
                  <a:lnTo>
                    <a:pt x="171" y="224"/>
                  </a:lnTo>
                  <a:lnTo>
                    <a:pt x="171" y="220"/>
                  </a:lnTo>
                  <a:lnTo>
                    <a:pt x="168" y="220"/>
                  </a:lnTo>
                  <a:lnTo>
                    <a:pt x="164" y="220"/>
                  </a:lnTo>
                  <a:lnTo>
                    <a:pt x="160" y="216"/>
                  </a:lnTo>
                  <a:lnTo>
                    <a:pt x="156" y="220"/>
                  </a:lnTo>
                  <a:lnTo>
                    <a:pt x="156" y="213"/>
                  </a:lnTo>
                  <a:lnTo>
                    <a:pt x="160" y="207"/>
                  </a:lnTo>
                  <a:lnTo>
                    <a:pt x="162" y="205"/>
                  </a:lnTo>
                  <a:lnTo>
                    <a:pt x="168" y="198"/>
                  </a:lnTo>
                  <a:lnTo>
                    <a:pt x="169" y="194"/>
                  </a:lnTo>
                  <a:lnTo>
                    <a:pt x="171" y="192"/>
                  </a:lnTo>
                  <a:lnTo>
                    <a:pt x="175" y="190"/>
                  </a:lnTo>
                  <a:lnTo>
                    <a:pt x="179" y="192"/>
                  </a:lnTo>
                  <a:lnTo>
                    <a:pt x="181" y="196"/>
                  </a:lnTo>
                  <a:lnTo>
                    <a:pt x="181" y="198"/>
                  </a:lnTo>
                  <a:lnTo>
                    <a:pt x="188" y="194"/>
                  </a:lnTo>
                  <a:lnTo>
                    <a:pt x="200" y="192"/>
                  </a:lnTo>
                  <a:lnTo>
                    <a:pt x="203" y="186"/>
                  </a:lnTo>
                  <a:lnTo>
                    <a:pt x="207" y="175"/>
                  </a:lnTo>
                  <a:lnTo>
                    <a:pt x="217" y="169"/>
                  </a:lnTo>
                  <a:lnTo>
                    <a:pt x="218" y="166"/>
                  </a:lnTo>
                  <a:lnTo>
                    <a:pt x="218" y="158"/>
                  </a:lnTo>
                  <a:lnTo>
                    <a:pt x="224" y="152"/>
                  </a:lnTo>
                  <a:lnTo>
                    <a:pt x="228" y="151"/>
                  </a:lnTo>
                  <a:lnTo>
                    <a:pt x="230" y="147"/>
                  </a:lnTo>
                  <a:lnTo>
                    <a:pt x="230" y="143"/>
                  </a:lnTo>
                  <a:lnTo>
                    <a:pt x="228" y="141"/>
                  </a:lnTo>
                  <a:lnTo>
                    <a:pt x="233" y="135"/>
                  </a:lnTo>
                  <a:lnTo>
                    <a:pt x="237" y="132"/>
                  </a:lnTo>
                  <a:lnTo>
                    <a:pt x="237" y="128"/>
                  </a:lnTo>
                  <a:lnTo>
                    <a:pt x="237" y="119"/>
                  </a:lnTo>
                  <a:lnTo>
                    <a:pt x="235" y="113"/>
                  </a:lnTo>
                  <a:lnTo>
                    <a:pt x="235" y="111"/>
                  </a:lnTo>
                  <a:lnTo>
                    <a:pt x="239" y="105"/>
                  </a:lnTo>
                  <a:lnTo>
                    <a:pt x="243" y="103"/>
                  </a:lnTo>
                  <a:lnTo>
                    <a:pt x="249" y="102"/>
                  </a:lnTo>
                  <a:lnTo>
                    <a:pt x="249" y="102"/>
                  </a:lnTo>
                  <a:lnTo>
                    <a:pt x="252" y="98"/>
                  </a:lnTo>
                  <a:lnTo>
                    <a:pt x="252" y="92"/>
                  </a:lnTo>
                  <a:lnTo>
                    <a:pt x="249" y="92"/>
                  </a:lnTo>
                  <a:lnTo>
                    <a:pt x="243" y="94"/>
                  </a:lnTo>
                  <a:lnTo>
                    <a:pt x="239" y="92"/>
                  </a:lnTo>
                  <a:lnTo>
                    <a:pt x="235" y="86"/>
                  </a:lnTo>
                  <a:lnTo>
                    <a:pt x="230" y="86"/>
                  </a:lnTo>
                  <a:lnTo>
                    <a:pt x="224" y="83"/>
                  </a:lnTo>
                  <a:lnTo>
                    <a:pt x="217" y="77"/>
                  </a:lnTo>
                  <a:lnTo>
                    <a:pt x="217" y="71"/>
                  </a:lnTo>
                  <a:lnTo>
                    <a:pt x="213" y="58"/>
                  </a:lnTo>
                  <a:lnTo>
                    <a:pt x="209" y="53"/>
                  </a:lnTo>
                  <a:lnTo>
                    <a:pt x="209" y="49"/>
                  </a:lnTo>
                  <a:lnTo>
                    <a:pt x="213" y="47"/>
                  </a:lnTo>
                  <a:lnTo>
                    <a:pt x="213" y="43"/>
                  </a:lnTo>
                  <a:lnTo>
                    <a:pt x="218" y="39"/>
                  </a:lnTo>
                  <a:lnTo>
                    <a:pt x="218" y="36"/>
                  </a:lnTo>
                  <a:lnTo>
                    <a:pt x="213" y="34"/>
                  </a:lnTo>
                  <a:lnTo>
                    <a:pt x="211" y="32"/>
                  </a:lnTo>
                  <a:lnTo>
                    <a:pt x="205" y="26"/>
                  </a:lnTo>
                  <a:lnTo>
                    <a:pt x="203" y="22"/>
                  </a:lnTo>
                  <a:lnTo>
                    <a:pt x="198" y="19"/>
                  </a:lnTo>
                  <a:lnTo>
                    <a:pt x="194" y="19"/>
                  </a:lnTo>
                  <a:lnTo>
                    <a:pt x="192" y="19"/>
                  </a:lnTo>
                  <a:lnTo>
                    <a:pt x="188" y="19"/>
                  </a:lnTo>
                  <a:lnTo>
                    <a:pt x="188" y="11"/>
                  </a:lnTo>
                  <a:lnTo>
                    <a:pt x="198" y="4"/>
                  </a:lnTo>
                  <a:lnTo>
                    <a:pt x="196" y="0"/>
                  </a:lnTo>
                  <a:lnTo>
                    <a:pt x="190" y="2"/>
                  </a:lnTo>
                  <a:lnTo>
                    <a:pt x="186" y="0"/>
                  </a:lnTo>
                  <a:lnTo>
                    <a:pt x="181" y="4"/>
                  </a:lnTo>
                  <a:lnTo>
                    <a:pt x="177" y="7"/>
                  </a:lnTo>
                  <a:lnTo>
                    <a:pt x="171" y="7"/>
                  </a:lnTo>
                  <a:lnTo>
                    <a:pt x="168" y="11"/>
                  </a:lnTo>
                  <a:lnTo>
                    <a:pt x="164" y="13"/>
                  </a:lnTo>
                  <a:lnTo>
                    <a:pt x="171" y="26"/>
                  </a:lnTo>
                  <a:lnTo>
                    <a:pt x="171" y="34"/>
                  </a:lnTo>
                  <a:lnTo>
                    <a:pt x="164" y="47"/>
                  </a:lnTo>
                  <a:lnTo>
                    <a:pt x="169" y="51"/>
                  </a:lnTo>
                  <a:lnTo>
                    <a:pt x="169" y="56"/>
                  </a:lnTo>
                  <a:lnTo>
                    <a:pt x="164" y="62"/>
                  </a:lnTo>
                  <a:lnTo>
                    <a:pt x="156" y="62"/>
                  </a:lnTo>
                  <a:lnTo>
                    <a:pt x="151" y="62"/>
                  </a:lnTo>
                  <a:lnTo>
                    <a:pt x="147" y="64"/>
                  </a:lnTo>
                  <a:lnTo>
                    <a:pt x="149" y="68"/>
                  </a:lnTo>
                  <a:lnTo>
                    <a:pt x="153" y="70"/>
                  </a:lnTo>
                  <a:lnTo>
                    <a:pt x="154" y="75"/>
                  </a:lnTo>
                  <a:lnTo>
                    <a:pt x="154" y="79"/>
                  </a:lnTo>
                  <a:lnTo>
                    <a:pt x="149" y="81"/>
                  </a:lnTo>
                  <a:lnTo>
                    <a:pt x="145" y="83"/>
                  </a:lnTo>
                  <a:lnTo>
                    <a:pt x="143" y="83"/>
                  </a:lnTo>
                  <a:lnTo>
                    <a:pt x="143" y="92"/>
                  </a:lnTo>
                  <a:lnTo>
                    <a:pt x="141" y="94"/>
                  </a:lnTo>
                  <a:lnTo>
                    <a:pt x="141" y="98"/>
                  </a:lnTo>
                  <a:lnTo>
                    <a:pt x="139" y="100"/>
                  </a:lnTo>
                  <a:lnTo>
                    <a:pt x="141" y="107"/>
                  </a:lnTo>
                  <a:lnTo>
                    <a:pt x="137" y="113"/>
                  </a:lnTo>
                  <a:lnTo>
                    <a:pt x="136" y="109"/>
                  </a:lnTo>
                  <a:lnTo>
                    <a:pt x="132" y="109"/>
                  </a:lnTo>
                  <a:lnTo>
                    <a:pt x="132" y="111"/>
                  </a:lnTo>
                  <a:lnTo>
                    <a:pt x="128" y="111"/>
                  </a:lnTo>
                  <a:lnTo>
                    <a:pt x="126" y="111"/>
                  </a:lnTo>
                  <a:lnTo>
                    <a:pt x="121" y="111"/>
                  </a:lnTo>
                  <a:lnTo>
                    <a:pt x="121" y="113"/>
                  </a:lnTo>
                  <a:lnTo>
                    <a:pt x="113" y="117"/>
                  </a:lnTo>
                  <a:lnTo>
                    <a:pt x="117" y="119"/>
                  </a:lnTo>
                  <a:lnTo>
                    <a:pt x="113" y="122"/>
                  </a:lnTo>
                  <a:lnTo>
                    <a:pt x="107" y="126"/>
                  </a:lnTo>
                  <a:lnTo>
                    <a:pt x="105" y="122"/>
                  </a:lnTo>
                  <a:lnTo>
                    <a:pt x="102" y="126"/>
                  </a:lnTo>
                  <a:lnTo>
                    <a:pt x="100" y="126"/>
                  </a:lnTo>
                  <a:lnTo>
                    <a:pt x="98" y="130"/>
                  </a:lnTo>
                  <a:lnTo>
                    <a:pt x="94" y="132"/>
                  </a:lnTo>
                  <a:lnTo>
                    <a:pt x="92" y="134"/>
                  </a:lnTo>
                  <a:lnTo>
                    <a:pt x="92" y="139"/>
                  </a:lnTo>
                  <a:lnTo>
                    <a:pt x="94" y="145"/>
                  </a:lnTo>
                  <a:lnTo>
                    <a:pt x="94" y="151"/>
                  </a:lnTo>
                  <a:lnTo>
                    <a:pt x="96" y="152"/>
                  </a:lnTo>
                  <a:lnTo>
                    <a:pt x="94" y="156"/>
                  </a:lnTo>
                  <a:lnTo>
                    <a:pt x="89" y="158"/>
                  </a:lnTo>
                  <a:lnTo>
                    <a:pt x="81" y="158"/>
                  </a:lnTo>
                  <a:lnTo>
                    <a:pt x="75" y="160"/>
                  </a:lnTo>
                  <a:lnTo>
                    <a:pt x="68" y="160"/>
                  </a:lnTo>
                  <a:lnTo>
                    <a:pt x="60" y="162"/>
                  </a:lnTo>
                  <a:lnTo>
                    <a:pt x="58" y="164"/>
                  </a:lnTo>
                  <a:lnTo>
                    <a:pt x="51" y="164"/>
                  </a:lnTo>
                  <a:lnTo>
                    <a:pt x="45" y="166"/>
                  </a:lnTo>
                  <a:lnTo>
                    <a:pt x="25" y="166"/>
                  </a:lnTo>
                  <a:lnTo>
                    <a:pt x="0" y="158"/>
                  </a:lnTo>
                  <a:lnTo>
                    <a:pt x="0" y="158"/>
                  </a:lnTo>
                  <a:lnTo>
                    <a:pt x="9" y="171"/>
                  </a:lnTo>
                  <a:lnTo>
                    <a:pt x="11" y="177"/>
                  </a:lnTo>
                  <a:lnTo>
                    <a:pt x="17" y="181"/>
                  </a:lnTo>
                  <a:lnTo>
                    <a:pt x="21" y="183"/>
                  </a:lnTo>
                  <a:lnTo>
                    <a:pt x="21" y="186"/>
                  </a:lnTo>
                  <a:lnTo>
                    <a:pt x="28" y="186"/>
                  </a:lnTo>
                  <a:lnTo>
                    <a:pt x="32" y="186"/>
                  </a:lnTo>
                  <a:lnTo>
                    <a:pt x="32" y="188"/>
                  </a:lnTo>
                  <a:lnTo>
                    <a:pt x="38" y="190"/>
                  </a:lnTo>
                  <a:lnTo>
                    <a:pt x="38" y="196"/>
                  </a:lnTo>
                  <a:lnTo>
                    <a:pt x="40" y="201"/>
                  </a:lnTo>
                  <a:lnTo>
                    <a:pt x="40" y="207"/>
                  </a:lnTo>
                  <a:lnTo>
                    <a:pt x="40" y="207"/>
                  </a:lnTo>
                  <a:lnTo>
                    <a:pt x="45" y="207"/>
                  </a:lnTo>
                  <a:lnTo>
                    <a:pt x="49" y="211"/>
                  </a:lnTo>
                  <a:lnTo>
                    <a:pt x="49" y="220"/>
                  </a:lnTo>
                  <a:lnTo>
                    <a:pt x="45" y="222"/>
                  </a:lnTo>
                  <a:lnTo>
                    <a:pt x="43" y="220"/>
                  </a:lnTo>
                  <a:lnTo>
                    <a:pt x="34" y="222"/>
                  </a:lnTo>
                  <a:lnTo>
                    <a:pt x="32" y="224"/>
                  </a:lnTo>
                  <a:lnTo>
                    <a:pt x="25" y="226"/>
                  </a:lnTo>
                  <a:lnTo>
                    <a:pt x="25" y="230"/>
                  </a:lnTo>
                  <a:lnTo>
                    <a:pt x="25" y="233"/>
                  </a:lnTo>
                  <a:lnTo>
                    <a:pt x="21" y="237"/>
                  </a:lnTo>
                  <a:lnTo>
                    <a:pt x="25" y="241"/>
                  </a:lnTo>
                  <a:lnTo>
                    <a:pt x="25" y="250"/>
                  </a:lnTo>
                  <a:lnTo>
                    <a:pt x="25" y="250"/>
                  </a:lnTo>
                  <a:lnTo>
                    <a:pt x="25" y="250"/>
                  </a:lnTo>
                  <a:lnTo>
                    <a:pt x="25" y="254"/>
                  </a:lnTo>
                  <a:lnTo>
                    <a:pt x="26" y="254"/>
                  </a:lnTo>
                  <a:lnTo>
                    <a:pt x="32" y="250"/>
                  </a:lnTo>
                  <a:lnTo>
                    <a:pt x="36" y="250"/>
                  </a:lnTo>
                  <a:lnTo>
                    <a:pt x="38" y="252"/>
                  </a:lnTo>
                  <a:lnTo>
                    <a:pt x="38" y="252"/>
                  </a:lnTo>
                  <a:lnTo>
                    <a:pt x="41" y="250"/>
                  </a:lnTo>
                  <a:lnTo>
                    <a:pt x="45" y="250"/>
                  </a:lnTo>
                  <a:lnTo>
                    <a:pt x="45" y="250"/>
                  </a:lnTo>
                  <a:lnTo>
                    <a:pt x="49" y="250"/>
                  </a:lnTo>
                  <a:lnTo>
                    <a:pt x="51" y="250"/>
                  </a:lnTo>
                  <a:lnTo>
                    <a:pt x="53" y="250"/>
                  </a:lnTo>
                  <a:lnTo>
                    <a:pt x="55" y="250"/>
                  </a:lnTo>
                  <a:lnTo>
                    <a:pt x="57" y="247"/>
                  </a:lnTo>
                  <a:lnTo>
                    <a:pt x="60" y="250"/>
                  </a:lnTo>
                  <a:lnTo>
                    <a:pt x="62" y="250"/>
                  </a:lnTo>
                  <a:lnTo>
                    <a:pt x="62" y="247"/>
                  </a:lnTo>
                  <a:lnTo>
                    <a:pt x="64" y="247"/>
                  </a:lnTo>
                  <a:lnTo>
                    <a:pt x="64" y="250"/>
                  </a:lnTo>
                  <a:lnTo>
                    <a:pt x="68" y="250"/>
                  </a:lnTo>
                  <a:lnTo>
                    <a:pt x="70" y="252"/>
                  </a:lnTo>
                  <a:lnTo>
                    <a:pt x="73" y="252"/>
                  </a:lnTo>
                  <a:lnTo>
                    <a:pt x="77" y="247"/>
                  </a:lnTo>
                  <a:lnTo>
                    <a:pt x="83" y="247"/>
                  </a:lnTo>
                  <a:lnTo>
                    <a:pt x="87" y="250"/>
                  </a:lnTo>
                  <a:lnTo>
                    <a:pt x="89" y="247"/>
                  </a:lnTo>
                  <a:lnTo>
                    <a:pt x="92" y="247"/>
                  </a:lnTo>
                  <a:lnTo>
                    <a:pt x="92" y="247"/>
                  </a:lnTo>
                  <a:lnTo>
                    <a:pt x="92" y="247"/>
                  </a:lnTo>
                  <a:lnTo>
                    <a:pt x="98" y="247"/>
                  </a:lnTo>
                  <a:lnTo>
                    <a:pt x="102" y="247"/>
                  </a:lnTo>
                  <a:lnTo>
                    <a:pt x="109" y="247"/>
                  </a:lnTo>
                  <a:lnTo>
                    <a:pt x="113" y="250"/>
                  </a:lnTo>
                  <a:lnTo>
                    <a:pt x="113" y="252"/>
                  </a:lnTo>
                  <a:lnTo>
                    <a:pt x="113" y="256"/>
                  </a:lnTo>
                  <a:lnTo>
                    <a:pt x="113" y="256"/>
                  </a:lnTo>
                  <a:lnTo>
                    <a:pt x="113" y="256"/>
                  </a:lnTo>
                  <a:lnTo>
                    <a:pt x="113" y="258"/>
                  </a:lnTo>
                  <a:lnTo>
                    <a:pt x="117" y="258"/>
                  </a:lnTo>
                  <a:lnTo>
                    <a:pt x="121" y="256"/>
                  </a:lnTo>
                  <a:lnTo>
                    <a:pt x="121" y="260"/>
                  </a:lnTo>
                  <a:lnTo>
                    <a:pt x="124" y="264"/>
                  </a:lnTo>
                  <a:lnTo>
                    <a:pt x="126" y="271"/>
                  </a:lnTo>
                  <a:lnTo>
                    <a:pt x="126" y="271"/>
                  </a:lnTo>
                  <a:lnTo>
                    <a:pt x="126" y="275"/>
                  </a:lnTo>
                  <a:lnTo>
                    <a:pt x="124" y="277"/>
                  </a:lnTo>
                  <a:lnTo>
                    <a:pt x="126" y="277"/>
                  </a:lnTo>
                  <a:lnTo>
                    <a:pt x="128" y="277"/>
                  </a:lnTo>
                  <a:lnTo>
                    <a:pt x="130" y="281"/>
                  </a:lnTo>
                  <a:lnTo>
                    <a:pt x="132" y="281"/>
                  </a:lnTo>
                  <a:lnTo>
                    <a:pt x="136" y="281"/>
                  </a:lnTo>
                  <a:lnTo>
                    <a:pt x="143" y="282"/>
                  </a:lnTo>
                  <a:lnTo>
                    <a:pt x="143" y="284"/>
                  </a:lnTo>
                  <a:lnTo>
                    <a:pt x="147" y="282"/>
                  </a:lnTo>
                  <a:lnTo>
                    <a:pt x="147" y="282"/>
                  </a:lnTo>
                  <a:lnTo>
                    <a:pt x="147" y="28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54">
              <a:extLst>
                <a:ext uri="{FF2B5EF4-FFF2-40B4-BE49-F238E27FC236}">
                  <a16:creationId xmlns:a16="http://schemas.microsoft.com/office/drawing/2014/main" id="{4BB4B13B-6186-304B-B261-CBE1EDE27E62}"/>
                </a:ext>
              </a:extLst>
            </p:cNvPr>
            <p:cNvSpPr>
              <a:spLocks/>
            </p:cNvSpPr>
            <p:nvPr/>
          </p:nvSpPr>
          <p:spPr bwMode="auto">
            <a:xfrm>
              <a:off x="7048587" y="2393041"/>
              <a:ext cx="210774" cy="158771"/>
            </a:xfrm>
            <a:custGeom>
              <a:avLst/>
              <a:gdLst/>
              <a:ahLst/>
              <a:cxnLst>
                <a:cxn ang="0">
                  <a:pos x="228" y="17"/>
                </a:cxn>
                <a:cxn ang="0">
                  <a:pos x="238" y="17"/>
                </a:cxn>
                <a:cxn ang="0">
                  <a:pos x="241" y="27"/>
                </a:cxn>
                <a:cxn ang="0">
                  <a:pos x="234" y="38"/>
                </a:cxn>
                <a:cxn ang="0">
                  <a:pos x="204" y="43"/>
                </a:cxn>
                <a:cxn ang="0">
                  <a:pos x="190" y="51"/>
                </a:cxn>
                <a:cxn ang="0">
                  <a:pos x="194" y="74"/>
                </a:cxn>
                <a:cxn ang="0">
                  <a:pos x="192" y="96"/>
                </a:cxn>
                <a:cxn ang="0">
                  <a:pos x="174" y="102"/>
                </a:cxn>
                <a:cxn ang="0">
                  <a:pos x="174" y="109"/>
                </a:cxn>
                <a:cxn ang="0">
                  <a:pos x="170" y="121"/>
                </a:cxn>
                <a:cxn ang="0">
                  <a:pos x="164" y="132"/>
                </a:cxn>
                <a:cxn ang="0">
                  <a:pos x="162" y="141"/>
                </a:cxn>
                <a:cxn ang="0">
                  <a:pos x="157" y="149"/>
                </a:cxn>
                <a:cxn ang="0">
                  <a:pos x="149" y="151"/>
                </a:cxn>
                <a:cxn ang="0">
                  <a:pos x="143" y="153"/>
                </a:cxn>
                <a:cxn ang="0">
                  <a:pos x="134" y="162"/>
                </a:cxn>
                <a:cxn ang="0">
                  <a:pos x="123" y="166"/>
                </a:cxn>
                <a:cxn ang="0">
                  <a:pos x="115" y="172"/>
                </a:cxn>
                <a:cxn ang="0">
                  <a:pos x="115" y="185"/>
                </a:cxn>
                <a:cxn ang="0">
                  <a:pos x="115" y="198"/>
                </a:cxn>
                <a:cxn ang="0">
                  <a:pos x="94" y="202"/>
                </a:cxn>
                <a:cxn ang="0">
                  <a:pos x="78" y="204"/>
                </a:cxn>
                <a:cxn ang="0">
                  <a:pos x="44" y="207"/>
                </a:cxn>
                <a:cxn ang="0">
                  <a:pos x="34" y="177"/>
                </a:cxn>
                <a:cxn ang="0">
                  <a:pos x="30" y="158"/>
                </a:cxn>
                <a:cxn ang="0">
                  <a:pos x="10" y="149"/>
                </a:cxn>
                <a:cxn ang="0">
                  <a:pos x="4" y="128"/>
                </a:cxn>
                <a:cxn ang="0">
                  <a:pos x="8" y="115"/>
                </a:cxn>
                <a:cxn ang="0">
                  <a:pos x="0" y="104"/>
                </a:cxn>
                <a:cxn ang="0">
                  <a:pos x="0" y="96"/>
                </a:cxn>
                <a:cxn ang="0">
                  <a:pos x="8" y="87"/>
                </a:cxn>
                <a:cxn ang="0">
                  <a:pos x="6" y="81"/>
                </a:cxn>
                <a:cxn ang="0">
                  <a:pos x="8" y="70"/>
                </a:cxn>
                <a:cxn ang="0">
                  <a:pos x="14" y="70"/>
                </a:cxn>
                <a:cxn ang="0">
                  <a:pos x="23" y="70"/>
                </a:cxn>
                <a:cxn ang="0">
                  <a:pos x="30" y="77"/>
                </a:cxn>
                <a:cxn ang="0">
                  <a:pos x="38" y="76"/>
                </a:cxn>
                <a:cxn ang="0">
                  <a:pos x="44" y="68"/>
                </a:cxn>
                <a:cxn ang="0">
                  <a:pos x="57" y="60"/>
                </a:cxn>
                <a:cxn ang="0">
                  <a:pos x="64" y="57"/>
                </a:cxn>
                <a:cxn ang="0">
                  <a:pos x="70" y="42"/>
                </a:cxn>
                <a:cxn ang="0">
                  <a:pos x="68" y="34"/>
                </a:cxn>
                <a:cxn ang="0">
                  <a:pos x="76" y="30"/>
                </a:cxn>
                <a:cxn ang="0">
                  <a:pos x="89" y="27"/>
                </a:cxn>
                <a:cxn ang="0">
                  <a:pos x="98" y="27"/>
                </a:cxn>
                <a:cxn ang="0">
                  <a:pos x="110" y="30"/>
                </a:cxn>
                <a:cxn ang="0">
                  <a:pos x="119" y="28"/>
                </a:cxn>
                <a:cxn ang="0">
                  <a:pos x="132" y="34"/>
                </a:cxn>
                <a:cxn ang="0">
                  <a:pos x="140" y="28"/>
                </a:cxn>
                <a:cxn ang="0">
                  <a:pos x="145" y="30"/>
                </a:cxn>
                <a:cxn ang="0">
                  <a:pos x="151" y="27"/>
                </a:cxn>
                <a:cxn ang="0">
                  <a:pos x="157" y="21"/>
                </a:cxn>
                <a:cxn ang="0">
                  <a:pos x="162" y="21"/>
                </a:cxn>
                <a:cxn ang="0">
                  <a:pos x="164" y="11"/>
                </a:cxn>
                <a:cxn ang="0">
                  <a:pos x="170" y="0"/>
                </a:cxn>
                <a:cxn ang="0">
                  <a:pos x="181" y="4"/>
                </a:cxn>
                <a:cxn ang="0">
                  <a:pos x="181" y="13"/>
                </a:cxn>
                <a:cxn ang="0">
                  <a:pos x="187" y="21"/>
                </a:cxn>
                <a:cxn ang="0">
                  <a:pos x="190" y="38"/>
                </a:cxn>
                <a:cxn ang="0">
                  <a:pos x="198" y="42"/>
                </a:cxn>
                <a:cxn ang="0">
                  <a:pos x="207" y="34"/>
                </a:cxn>
                <a:cxn ang="0">
                  <a:pos x="215" y="27"/>
                </a:cxn>
              </a:cxnLst>
              <a:rect l="0" t="0" r="r" b="b"/>
              <a:pathLst>
                <a:path w="247" h="207">
                  <a:moveTo>
                    <a:pt x="215" y="27"/>
                  </a:moveTo>
                  <a:lnTo>
                    <a:pt x="222" y="21"/>
                  </a:lnTo>
                  <a:lnTo>
                    <a:pt x="228" y="17"/>
                  </a:lnTo>
                  <a:lnTo>
                    <a:pt x="228" y="23"/>
                  </a:lnTo>
                  <a:lnTo>
                    <a:pt x="238" y="21"/>
                  </a:lnTo>
                  <a:lnTo>
                    <a:pt x="238" y="17"/>
                  </a:lnTo>
                  <a:lnTo>
                    <a:pt x="247" y="17"/>
                  </a:lnTo>
                  <a:lnTo>
                    <a:pt x="247" y="21"/>
                  </a:lnTo>
                  <a:lnTo>
                    <a:pt x="241" y="27"/>
                  </a:lnTo>
                  <a:lnTo>
                    <a:pt x="247" y="27"/>
                  </a:lnTo>
                  <a:lnTo>
                    <a:pt x="239" y="34"/>
                  </a:lnTo>
                  <a:lnTo>
                    <a:pt x="234" y="38"/>
                  </a:lnTo>
                  <a:lnTo>
                    <a:pt x="213" y="42"/>
                  </a:lnTo>
                  <a:lnTo>
                    <a:pt x="209" y="40"/>
                  </a:lnTo>
                  <a:lnTo>
                    <a:pt x="204" y="43"/>
                  </a:lnTo>
                  <a:lnTo>
                    <a:pt x="198" y="47"/>
                  </a:lnTo>
                  <a:lnTo>
                    <a:pt x="194" y="47"/>
                  </a:lnTo>
                  <a:lnTo>
                    <a:pt x="190" y="51"/>
                  </a:lnTo>
                  <a:lnTo>
                    <a:pt x="187" y="53"/>
                  </a:lnTo>
                  <a:lnTo>
                    <a:pt x="194" y="66"/>
                  </a:lnTo>
                  <a:lnTo>
                    <a:pt x="194" y="74"/>
                  </a:lnTo>
                  <a:lnTo>
                    <a:pt x="187" y="87"/>
                  </a:lnTo>
                  <a:lnTo>
                    <a:pt x="192" y="91"/>
                  </a:lnTo>
                  <a:lnTo>
                    <a:pt x="192" y="96"/>
                  </a:lnTo>
                  <a:lnTo>
                    <a:pt x="187" y="102"/>
                  </a:lnTo>
                  <a:lnTo>
                    <a:pt x="179" y="102"/>
                  </a:lnTo>
                  <a:lnTo>
                    <a:pt x="174" y="102"/>
                  </a:lnTo>
                  <a:lnTo>
                    <a:pt x="168" y="104"/>
                  </a:lnTo>
                  <a:lnTo>
                    <a:pt x="170" y="108"/>
                  </a:lnTo>
                  <a:lnTo>
                    <a:pt x="174" y="109"/>
                  </a:lnTo>
                  <a:lnTo>
                    <a:pt x="177" y="115"/>
                  </a:lnTo>
                  <a:lnTo>
                    <a:pt x="177" y="119"/>
                  </a:lnTo>
                  <a:lnTo>
                    <a:pt x="170" y="121"/>
                  </a:lnTo>
                  <a:lnTo>
                    <a:pt x="168" y="123"/>
                  </a:lnTo>
                  <a:lnTo>
                    <a:pt x="164" y="123"/>
                  </a:lnTo>
                  <a:lnTo>
                    <a:pt x="164" y="132"/>
                  </a:lnTo>
                  <a:lnTo>
                    <a:pt x="164" y="134"/>
                  </a:lnTo>
                  <a:lnTo>
                    <a:pt x="164" y="138"/>
                  </a:lnTo>
                  <a:lnTo>
                    <a:pt x="162" y="141"/>
                  </a:lnTo>
                  <a:lnTo>
                    <a:pt x="164" y="147"/>
                  </a:lnTo>
                  <a:lnTo>
                    <a:pt x="160" y="155"/>
                  </a:lnTo>
                  <a:lnTo>
                    <a:pt x="157" y="149"/>
                  </a:lnTo>
                  <a:lnTo>
                    <a:pt x="155" y="149"/>
                  </a:lnTo>
                  <a:lnTo>
                    <a:pt x="155" y="151"/>
                  </a:lnTo>
                  <a:lnTo>
                    <a:pt x="149" y="151"/>
                  </a:lnTo>
                  <a:lnTo>
                    <a:pt x="147" y="151"/>
                  </a:lnTo>
                  <a:lnTo>
                    <a:pt x="143" y="151"/>
                  </a:lnTo>
                  <a:lnTo>
                    <a:pt x="143" y="153"/>
                  </a:lnTo>
                  <a:lnTo>
                    <a:pt x="134" y="158"/>
                  </a:lnTo>
                  <a:lnTo>
                    <a:pt x="138" y="158"/>
                  </a:lnTo>
                  <a:lnTo>
                    <a:pt x="134" y="162"/>
                  </a:lnTo>
                  <a:lnTo>
                    <a:pt x="128" y="166"/>
                  </a:lnTo>
                  <a:lnTo>
                    <a:pt x="126" y="164"/>
                  </a:lnTo>
                  <a:lnTo>
                    <a:pt x="123" y="166"/>
                  </a:lnTo>
                  <a:lnTo>
                    <a:pt x="121" y="168"/>
                  </a:lnTo>
                  <a:lnTo>
                    <a:pt x="119" y="172"/>
                  </a:lnTo>
                  <a:lnTo>
                    <a:pt x="115" y="172"/>
                  </a:lnTo>
                  <a:lnTo>
                    <a:pt x="113" y="173"/>
                  </a:lnTo>
                  <a:lnTo>
                    <a:pt x="113" y="179"/>
                  </a:lnTo>
                  <a:lnTo>
                    <a:pt x="115" y="185"/>
                  </a:lnTo>
                  <a:lnTo>
                    <a:pt x="115" y="190"/>
                  </a:lnTo>
                  <a:lnTo>
                    <a:pt x="117" y="194"/>
                  </a:lnTo>
                  <a:lnTo>
                    <a:pt x="115" y="198"/>
                  </a:lnTo>
                  <a:lnTo>
                    <a:pt x="108" y="198"/>
                  </a:lnTo>
                  <a:lnTo>
                    <a:pt x="100" y="198"/>
                  </a:lnTo>
                  <a:lnTo>
                    <a:pt x="94" y="202"/>
                  </a:lnTo>
                  <a:lnTo>
                    <a:pt x="87" y="202"/>
                  </a:lnTo>
                  <a:lnTo>
                    <a:pt x="79" y="204"/>
                  </a:lnTo>
                  <a:lnTo>
                    <a:pt x="78" y="204"/>
                  </a:lnTo>
                  <a:lnTo>
                    <a:pt x="70" y="204"/>
                  </a:lnTo>
                  <a:lnTo>
                    <a:pt x="64" y="207"/>
                  </a:lnTo>
                  <a:lnTo>
                    <a:pt x="44" y="207"/>
                  </a:lnTo>
                  <a:lnTo>
                    <a:pt x="17" y="198"/>
                  </a:lnTo>
                  <a:lnTo>
                    <a:pt x="32" y="179"/>
                  </a:lnTo>
                  <a:lnTo>
                    <a:pt x="34" y="177"/>
                  </a:lnTo>
                  <a:lnTo>
                    <a:pt x="32" y="172"/>
                  </a:lnTo>
                  <a:lnTo>
                    <a:pt x="32" y="166"/>
                  </a:lnTo>
                  <a:lnTo>
                    <a:pt x="30" y="158"/>
                  </a:lnTo>
                  <a:lnTo>
                    <a:pt x="14" y="158"/>
                  </a:lnTo>
                  <a:lnTo>
                    <a:pt x="14" y="153"/>
                  </a:lnTo>
                  <a:lnTo>
                    <a:pt x="10" y="149"/>
                  </a:lnTo>
                  <a:lnTo>
                    <a:pt x="14" y="145"/>
                  </a:lnTo>
                  <a:lnTo>
                    <a:pt x="8" y="136"/>
                  </a:lnTo>
                  <a:lnTo>
                    <a:pt x="4" y="128"/>
                  </a:lnTo>
                  <a:lnTo>
                    <a:pt x="4" y="123"/>
                  </a:lnTo>
                  <a:lnTo>
                    <a:pt x="10" y="115"/>
                  </a:lnTo>
                  <a:lnTo>
                    <a:pt x="8" y="115"/>
                  </a:lnTo>
                  <a:lnTo>
                    <a:pt x="4" y="113"/>
                  </a:lnTo>
                  <a:lnTo>
                    <a:pt x="4" y="109"/>
                  </a:lnTo>
                  <a:lnTo>
                    <a:pt x="0" y="104"/>
                  </a:lnTo>
                  <a:lnTo>
                    <a:pt x="0" y="102"/>
                  </a:lnTo>
                  <a:lnTo>
                    <a:pt x="4" y="96"/>
                  </a:lnTo>
                  <a:lnTo>
                    <a:pt x="0" y="96"/>
                  </a:lnTo>
                  <a:lnTo>
                    <a:pt x="0" y="92"/>
                  </a:lnTo>
                  <a:lnTo>
                    <a:pt x="4" y="92"/>
                  </a:lnTo>
                  <a:lnTo>
                    <a:pt x="8" y="87"/>
                  </a:lnTo>
                  <a:lnTo>
                    <a:pt x="8" y="87"/>
                  </a:lnTo>
                  <a:lnTo>
                    <a:pt x="8" y="83"/>
                  </a:lnTo>
                  <a:lnTo>
                    <a:pt x="6" y="81"/>
                  </a:lnTo>
                  <a:lnTo>
                    <a:pt x="8" y="79"/>
                  </a:lnTo>
                  <a:lnTo>
                    <a:pt x="6" y="76"/>
                  </a:lnTo>
                  <a:lnTo>
                    <a:pt x="8" y="70"/>
                  </a:lnTo>
                  <a:lnTo>
                    <a:pt x="6" y="70"/>
                  </a:lnTo>
                  <a:lnTo>
                    <a:pt x="8" y="70"/>
                  </a:lnTo>
                  <a:lnTo>
                    <a:pt x="14" y="70"/>
                  </a:lnTo>
                  <a:lnTo>
                    <a:pt x="15" y="74"/>
                  </a:lnTo>
                  <a:lnTo>
                    <a:pt x="19" y="74"/>
                  </a:lnTo>
                  <a:lnTo>
                    <a:pt x="23" y="70"/>
                  </a:lnTo>
                  <a:lnTo>
                    <a:pt x="25" y="70"/>
                  </a:lnTo>
                  <a:lnTo>
                    <a:pt x="30" y="74"/>
                  </a:lnTo>
                  <a:lnTo>
                    <a:pt x="30" y="77"/>
                  </a:lnTo>
                  <a:lnTo>
                    <a:pt x="32" y="79"/>
                  </a:lnTo>
                  <a:lnTo>
                    <a:pt x="34" y="76"/>
                  </a:lnTo>
                  <a:lnTo>
                    <a:pt x="38" y="76"/>
                  </a:lnTo>
                  <a:lnTo>
                    <a:pt x="44" y="72"/>
                  </a:lnTo>
                  <a:lnTo>
                    <a:pt x="44" y="70"/>
                  </a:lnTo>
                  <a:lnTo>
                    <a:pt x="44" y="68"/>
                  </a:lnTo>
                  <a:lnTo>
                    <a:pt x="44" y="64"/>
                  </a:lnTo>
                  <a:lnTo>
                    <a:pt x="49" y="60"/>
                  </a:lnTo>
                  <a:lnTo>
                    <a:pt x="57" y="60"/>
                  </a:lnTo>
                  <a:lnTo>
                    <a:pt x="59" y="59"/>
                  </a:lnTo>
                  <a:lnTo>
                    <a:pt x="61" y="57"/>
                  </a:lnTo>
                  <a:lnTo>
                    <a:pt x="64" y="57"/>
                  </a:lnTo>
                  <a:lnTo>
                    <a:pt x="64" y="51"/>
                  </a:lnTo>
                  <a:lnTo>
                    <a:pt x="64" y="47"/>
                  </a:lnTo>
                  <a:lnTo>
                    <a:pt x="70" y="42"/>
                  </a:lnTo>
                  <a:lnTo>
                    <a:pt x="70" y="38"/>
                  </a:lnTo>
                  <a:lnTo>
                    <a:pt x="68" y="36"/>
                  </a:lnTo>
                  <a:lnTo>
                    <a:pt x="68" y="34"/>
                  </a:lnTo>
                  <a:lnTo>
                    <a:pt x="70" y="32"/>
                  </a:lnTo>
                  <a:lnTo>
                    <a:pt x="70" y="30"/>
                  </a:lnTo>
                  <a:lnTo>
                    <a:pt x="76" y="30"/>
                  </a:lnTo>
                  <a:lnTo>
                    <a:pt x="78" y="30"/>
                  </a:lnTo>
                  <a:lnTo>
                    <a:pt x="83" y="27"/>
                  </a:lnTo>
                  <a:lnTo>
                    <a:pt x="89" y="27"/>
                  </a:lnTo>
                  <a:lnTo>
                    <a:pt x="93" y="27"/>
                  </a:lnTo>
                  <a:lnTo>
                    <a:pt x="94" y="27"/>
                  </a:lnTo>
                  <a:lnTo>
                    <a:pt x="98" y="27"/>
                  </a:lnTo>
                  <a:lnTo>
                    <a:pt x="104" y="27"/>
                  </a:lnTo>
                  <a:lnTo>
                    <a:pt x="108" y="27"/>
                  </a:lnTo>
                  <a:lnTo>
                    <a:pt x="110" y="30"/>
                  </a:lnTo>
                  <a:lnTo>
                    <a:pt x="111" y="30"/>
                  </a:lnTo>
                  <a:lnTo>
                    <a:pt x="115" y="28"/>
                  </a:lnTo>
                  <a:lnTo>
                    <a:pt x="119" y="28"/>
                  </a:lnTo>
                  <a:lnTo>
                    <a:pt x="123" y="34"/>
                  </a:lnTo>
                  <a:lnTo>
                    <a:pt x="126" y="34"/>
                  </a:lnTo>
                  <a:lnTo>
                    <a:pt x="132" y="34"/>
                  </a:lnTo>
                  <a:lnTo>
                    <a:pt x="134" y="30"/>
                  </a:lnTo>
                  <a:lnTo>
                    <a:pt x="138" y="28"/>
                  </a:lnTo>
                  <a:lnTo>
                    <a:pt x="140" y="28"/>
                  </a:lnTo>
                  <a:lnTo>
                    <a:pt x="143" y="27"/>
                  </a:lnTo>
                  <a:lnTo>
                    <a:pt x="143" y="27"/>
                  </a:lnTo>
                  <a:lnTo>
                    <a:pt x="145" y="30"/>
                  </a:lnTo>
                  <a:lnTo>
                    <a:pt x="153" y="30"/>
                  </a:lnTo>
                  <a:lnTo>
                    <a:pt x="153" y="27"/>
                  </a:lnTo>
                  <a:lnTo>
                    <a:pt x="151" y="27"/>
                  </a:lnTo>
                  <a:lnTo>
                    <a:pt x="151" y="23"/>
                  </a:lnTo>
                  <a:lnTo>
                    <a:pt x="155" y="21"/>
                  </a:lnTo>
                  <a:lnTo>
                    <a:pt x="157" y="21"/>
                  </a:lnTo>
                  <a:lnTo>
                    <a:pt x="158" y="21"/>
                  </a:lnTo>
                  <a:lnTo>
                    <a:pt x="158" y="21"/>
                  </a:lnTo>
                  <a:lnTo>
                    <a:pt x="162" y="21"/>
                  </a:lnTo>
                  <a:lnTo>
                    <a:pt x="164" y="17"/>
                  </a:lnTo>
                  <a:lnTo>
                    <a:pt x="164" y="11"/>
                  </a:lnTo>
                  <a:lnTo>
                    <a:pt x="164" y="11"/>
                  </a:lnTo>
                  <a:lnTo>
                    <a:pt x="168" y="8"/>
                  </a:lnTo>
                  <a:lnTo>
                    <a:pt x="168" y="2"/>
                  </a:lnTo>
                  <a:lnTo>
                    <a:pt x="170" y="0"/>
                  </a:lnTo>
                  <a:lnTo>
                    <a:pt x="174" y="0"/>
                  </a:lnTo>
                  <a:lnTo>
                    <a:pt x="177" y="2"/>
                  </a:lnTo>
                  <a:lnTo>
                    <a:pt x="181" y="4"/>
                  </a:lnTo>
                  <a:lnTo>
                    <a:pt x="181" y="6"/>
                  </a:lnTo>
                  <a:lnTo>
                    <a:pt x="181" y="11"/>
                  </a:lnTo>
                  <a:lnTo>
                    <a:pt x="181" y="13"/>
                  </a:lnTo>
                  <a:lnTo>
                    <a:pt x="185" y="13"/>
                  </a:lnTo>
                  <a:lnTo>
                    <a:pt x="187" y="17"/>
                  </a:lnTo>
                  <a:lnTo>
                    <a:pt x="187" y="21"/>
                  </a:lnTo>
                  <a:lnTo>
                    <a:pt x="187" y="27"/>
                  </a:lnTo>
                  <a:lnTo>
                    <a:pt x="187" y="34"/>
                  </a:lnTo>
                  <a:lnTo>
                    <a:pt x="190" y="38"/>
                  </a:lnTo>
                  <a:lnTo>
                    <a:pt x="190" y="40"/>
                  </a:lnTo>
                  <a:lnTo>
                    <a:pt x="194" y="42"/>
                  </a:lnTo>
                  <a:lnTo>
                    <a:pt x="198" y="42"/>
                  </a:lnTo>
                  <a:lnTo>
                    <a:pt x="202" y="38"/>
                  </a:lnTo>
                  <a:lnTo>
                    <a:pt x="202" y="36"/>
                  </a:lnTo>
                  <a:lnTo>
                    <a:pt x="207" y="34"/>
                  </a:lnTo>
                  <a:lnTo>
                    <a:pt x="211" y="30"/>
                  </a:lnTo>
                  <a:lnTo>
                    <a:pt x="211" y="27"/>
                  </a:lnTo>
                  <a:lnTo>
                    <a:pt x="215" y="27"/>
                  </a:lnTo>
                  <a:lnTo>
                    <a:pt x="215" y="27"/>
                  </a:lnTo>
                  <a:lnTo>
                    <a:pt x="215" y="2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55">
              <a:extLst>
                <a:ext uri="{FF2B5EF4-FFF2-40B4-BE49-F238E27FC236}">
                  <a16:creationId xmlns:a16="http://schemas.microsoft.com/office/drawing/2014/main" id="{8449CC40-7A4C-0E46-87F9-E1B07F0F1521}"/>
                </a:ext>
              </a:extLst>
            </p:cNvPr>
            <p:cNvSpPr>
              <a:spLocks noEditPoints="1"/>
            </p:cNvSpPr>
            <p:nvPr/>
          </p:nvSpPr>
          <p:spPr bwMode="auto">
            <a:xfrm>
              <a:off x="6791734" y="2343951"/>
              <a:ext cx="85334" cy="65196"/>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56">
              <a:extLst>
                <a:ext uri="{FF2B5EF4-FFF2-40B4-BE49-F238E27FC236}">
                  <a16:creationId xmlns:a16="http://schemas.microsoft.com/office/drawing/2014/main" id="{0FB58AC5-75D8-9940-990C-E8530FFA695D}"/>
                </a:ext>
              </a:extLst>
            </p:cNvPr>
            <p:cNvSpPr>
              <a:spLocks noEditPoints="1"/>
            </p:cNvSpPr>
            <p:nvPr/>
          </p:nvSpPr>
          <p:spPr bwMode="auto">
            <a:xfrm>
              <a:off x="6791734" y="2343951"/>
              <a:ext cx="85334" cy="65196"/>
            </a:xfrm>
            <a:custGeom>
              <a:avLst/>
              <a:gdLst/>
              <a:ahLst/>
              <a:cxnLst>
                <a:cxn ang="0">
                  <a:pos x="2" y="15"/>
                </a:cxn>
                <a:cxn ang="0">
                  <a:pos x="19" y="19"/>
                </a:cxn>
                <a:cxn ang="0">
                  <a:pos x="30" y="23"/>
                </a:cxn>
                <a:cxn ang="0">
                  <a:pos x="30" y="11"/>
                </a:cxn>
                <a:cxn ang="0">
                  <a:pos x="27" y="0"/>
                </a:cxn>
                <a:cxn ang="0">
                  <a:pos x="40" y="10"/>
                </a:cxn>
                <a:cxn ang="0">
                  <a:pos x="51" y="13"/>
                </a:cxn>
                <a:cxn ang="0">
                  <a:pos x="59" y="10"/>
                </a:cxn>
                <a:cxn ang="0">
                  <a:pos x="68" y="4"/>
                </a:cxn>
                <a:cxn ang="0">
                  <a:pos x="74" y="13"/>
                </a:cxn>
                <a:cxn ang="0">
                  <a:pos x="83" y="25"/>
                </a:cxn>
                <a:cxn ang="0">
                  <a:pos x="87" y="30"/>
                </a:cxn>
                <a:cxn ang="0">
                  <a:pos x="96" y="32"/>
                </a:cxn>
                <a:cxn ang="0">
                  <a:pos x="96" y="36"/>
                </a:cxn>
                <a:cxn ang="0">
                  <a:pos x="89" y="36"/>
                </a:cxn>
                <a:cxn ang="0">
                  <a:pos x="83" y="49"/>
                </a:cxn>
                <a:cxn ang="0">
                  <a:pos x="83" y="55"/>
                </a:cxn>
                <a:cxn ang="0">
                  <a:pos x="83" y="59"/>
                </a:cxn>
                <a:cxn ang="0">
                  <a:pos x="83" y="64"/>
                </a:cxn>
                <a:cxn ang="0">
                  <a:pos x="81" y="74"/>
                </a:cxn>
                <a:cxn ang="0">
                  <a:pos x="81" y="66"/>
                </a:cxn>
                <a:cxn ang="0">
                  <a:pos x="77" y="66"/>
                </a:cxn>
                <a:cxn ang="0">
                  <a:pos x="77" y="74"/>
                </a:cxn>
                <a:cxn ang="0">
                  <a:pos x="77" y="75"/>
                </a:cxn>
                <a:cxn ang="0">
                  <a:pos x="75" y="85"/>
                </a:cxn>
                <a:cxn ang="0">
                  <a:pos x="72" y="81"/>
                </a:cxn>
                <a:cxn ang="0">
                  <a:pos x="64" y="75"/>
                </a:cxn>
                <a:cxn ang="0">
                  <a:pos x="64" y="68"/>
                </a:cxn>
                <a:cxn ang="0">
                  <a:pos x="68" y="64"/>
                </a:cxn>
                <a:cxn ang="0">
                  <a:pos x="62" y="59"/>
                </a:cxn>
                <a:cxn ang="0">
                  <a:pos x="60" y="57"/>
                </a:cxn>
                <a:cxn ang="0">
                  <a:pos x="55" y="59"/>
                </a:cxn>
                <a:cxn ang="0">
                  <a:pos x="49" y="64"/>
                </a:cxn>
                <a:cxn ang="0">
                  <a:pos x="45" y="70"/>
                </a:cxn>
                <a:cxn ang="0">
                  <a:pos x="40" y="72"/>
                </a:cxn>
                <a:cxn ang="0">
                  <a:pos x="38" y="75"/>
                </a:cxn>
                <a:cxn ang="0">
                  <a:pos x="36" y="74"/>
                </a:cxn>
                <a:cxn ang="0">
                  <a:pos x="38" y="68"/>
                </a:cxn>
                <a:cxn ang="0">
                  <a:pos x="40" y="62"/>
                </a:cxn>
                <a:cxn ang="0">
                  <a:pos x="28" y="57"/>
                </a:cxn>
                <a:cxn ang="0">
                  <a:pos x="19" y="45"/>
                </a:cxn>
                <a:cxn ang="0">
                  <a:pos x="21" y="42"/>
                </a:cxn>
                <a:cxn ang="0">
                  <a:pos x="13" y="30"/>
                </a:cxn>
                <a:cxn ang="0">
                  <a:pos x="11" y="23"/>
                </a:cxn>
                <a:cxn ang="0">
                  <a:pos x="2" y="19"/>
                </a:cxn>
                <a:cxn ang="0">
                  <a:pos x="2" y="19"/>
                </a:cxn>
                <a:cxn ang="0">
                  <a:pos x="30" y="75"/>
                </a:cxn>
                <a:cxn ang="0">
                  <a:pos x="19" y="60"/>
                </a:cxn>
                <a:cxn ang="0">
                  <a:pos x="13" y="55"/>
                </a:cxn>
                <a:cxn ang="0">
                  <a:pos x="6" y="51"/>
                </a:cxn>
                <a:cxn ang="0">
                  <a:pos x="0" y="55"/>
                </a:cxn>
                <a:cxn ang="0">
                  <a:pos x="2" y="55"/>
                </a:cxn>
                <a:cxn ang="0">
                  <a:pos x="6" y="57"/>
                </a:cxn>
                <a:cxn ang="0">
                  <a:pos x="6" y="64"/>
                </a:cxn>
                <a:cxn ang="0">
                  <a:pos x="15" y="72"/>
                </a:cxn>
                <a:cxn ang="0">
                  <a:pos x="25" y="75"/>
                </a:cxn>
                <a:cxn ang="0">
                  <a:pos x="30" y="75"/>
                </a:cxn>
                <a:cxn ang="0">
                  <a:pos x="30" y="75"/>
                </a:cxn>
              </a:cxnLst>
              <a:rect l="0" t="0" r="r" b="b"/>
              <a:pathLst>
                <a:path w="100" h="85">
                  <a:moveTo>
                    <a:pt x="2" y="19"/>
                  </a:moveTo>
                  <a:lnTo>
                    <a:pt x="2" y="15"/>
                  </a:lnTo>
                  <a:lnTo>
                    <a:pt x="10" y="11"/>
                  </a:lnTo>
                  <a:lnTo>
                    <a:pt x="19" y="19"/>
                  </a:lnTo>
                  <a:lnTo>
                    <a:pt x="25" y="19"/>
                  </a:lnTo>
                  <a:lnTo>
                    <a:pt x="30" y="23"/>
                  </a:lnTo>
                  <a:lnTo>
                    <a:pt x="32" y="15"/>
                  </a:lnTo>
                  <a:lnTo>
                    <a:pt x="30" y="11"/>
                  </a:lnTo>
                  <a:lnTo>
                    <a:pt x="25" y="10"/>
                  </a:lnTo>
                  <a:lnTo>
                    <a:pt x="27" y="0"/>
                  </a:lnTo>
                  <a:lnTo>
                    <a:pt x="32" y="4"/>
                  </a:lnTo>
                  <a:lnTo>
                    <a:pt x="40" y="10"/>
                  </a:lnTo>
                  <a:lnTo>
                    <a:pt x="43" y="13"/>
                  </a:lnTo>
                  <a:lnTo>
                    <a:pt x="51" y="13"/>
                  </a:lnTo>
                  <a:lnTo>
                    <a:pt x="53" y="11"/>
                  </a:lnTo>
                  <a:lnTo>
                    <a:pt x="59" y="10"/>
                  </a:lnTo>
                  <a:lnTo>
                    <a:pt x="64" y="0"/>
                  </a:lnTo>
                  <a:lnTo>
                    <a:pt x="68" y="4"/>
                  </a:lnTo>
                  <a:lnTo>
                    <a:pt x="74" y="10"/>
                  </a:lnTo>
                  <a:lnTo>
                    <a:pt x="74" y="13"/>
                  </a:lnTo>
                  <a:lnTo>
                    <a:pt x="77" y="19"/>
                  </a:lnTo>
                  <a:lnTo>
                    <a:pt x="83" y="25"/>
                  </a:lnTo>
                  <a:lnTo>
                    <a:pt x="83" y="28"/>
                  </a:lnTo>
                  <a:lnTo>
                    <a:pt x="87" y="30"/>
                  </a:lnTo>
                  <a:lnTo>
                    <a:pt x="91" y="30"/>
                  </a:lnTo>
                  <a:lnTo>
                    <a:pt x="96" y="32"/>
                  </a:lnTo>
                  <a:lnTo>
                    <a:pt x="100" y="36"/>
                  </a:lnTo>
                  <a:lnTo>
                    <a:pt x="96" y="36"/>
                  </a:lnTo>
                  <a:lnTo>
                    <a:pt x="94" y="36"/>
                  </a:lnTo>
                  <a:lnTo>
                    <a:pt x="89" y="36"/>
                  </a:lnTo>
                  <a:lnTo>
                    <a:pt x="83" y="43"/>
                  </a:lnTo>
                  <a:lnTo>
                    <a:pt x="83" y="49"/>
                  </a:lnTo>
                  <a:lnTo>
                    <a:pt x="83" y="51"/>
                  </a:lnTo>
                  <a:lnTo>
                    <a:pt x="83" y="55"/>
                  </a:lnTo>
                  <a:lnTo>
                    <a:pt x="83" y="57"/>
                  </a:lnTo>
                  <a:lnTo>
                    <a:pt x="83" y="59"/>
                  </a:lnTo>
                  <a:lnTo>
                    <a:pt x="83" y="62"/>
                  </a:lnTo>
                  <a:lnTo>
                    <a:pt x="83" y="64"/>
                  </a:lnTo>
                  <a:lnTo>
                    <a:pt x="83" y="70"/>
                  </a:lnTo>
                  <a:lnTo>
                    <a:pt x="81" y="74"/>
                  </a:lnTo>
                  <a:lnTo>
                    <a:pt x="81" y="72"/>
                  </a:lnTo>
                  <a:lnTo>
                    <a:pt x="81" y="66"/>
                  </a:lnTo>
                  <a:lnTo>
                    <a:pt x="79" y="64"/>
                  </a:lnTo>
                  <a:lnTo>
                    <a:pt x="77" y="66"/>
                  </a:lnTo>
                  <a:lnTo>
                    <a:pt x="75" y="68"/>
                  </a:lnTo>
                  <a:lnTo>
                    <a:pt x="77" y="74"/>
                  </a:lnTo>
                  <a:lnTo>
                    <a:pt x="77" y="75"/>
                  </a:lnTo>
                  <a:lnTo>
                    <a:pt x="77" y="75"/>
                  </a:lnTo>
                  <a:lnTo>
                    <a:pt x="77" y="85"/>
                  </a:lnTo>
                  <a:lnTo>
                    <a:pt x="75" y="85"/>
                  </a:lnTo>
                  <a:lnTo>
                    <a:pt x="74" y="85"/>
                  </a:lnTo>
                  <a:lnTo>
                    <a:pt x="72" y="81"/>
                  </a:lnTo>
                  <a:lnTo>
                    <a:pt x="68" y="81"/>
                  </a:lnTo>
                  <a:lnTo>
                    <a:pt x="64" y="75"/>
                  </a:lnTo>
                  <a:lnTo>
                    <a:pt x="68" y="70"/>
                  </a:lnTo>
                  <a:lnTo>
                    <a:pt x="64" y="68"/>
                  </a:lnTo>
                  <a:lnTo>
                    <a:pt x="64" y="66"/>
                  </a:lnTo>
                  <a:lnTo>
                    <a:pt x="68" y="64"/>
                  </a:lnTo>
                  <a:lnTo>
                    <a:pt x="64" y="60"/>
                  </a:lnTo>
                  <a:lnTo>
                    <a:pt x="62" y="59"/>
                  </a:lnTo>
                  <a:lnTo>
                    <a:pt x="60" y="59"/>
                  </a:lnTo>
                  <a:lnTo>
                    <a:pt x="60" y="57"/>
                  </a:lnTo>
                  <a:lnTo>
                    <a:pt x="59" y="57"/>
                  </a:lnTo>
                  <a:lnTo>
                    <a:pt x="55" y="59"/>
                  </a:lnTo>
                  <a:lnTo>
                    <a:pt x="51" y="60"/>
                  </a:lnTo>
                  <a:lnTo>
                    <a:pt x="49" y="64"/>
                  </a:lnTo>
                  <a:lnTo>
                    <a:pt x="49" y="64"/>
                  </a:lnTo>
                  <a:lnTo>
                    <a:pt x="45" y="70"/>
                  </a:lnTo>
                  <a:lnTo>
                    <a:pt x="43" y="70"/>
                  </a:lnTo>
                  <a:lnTo>
                    <a:pt x="40" y="72"/>
                  </a:lnTo>
                  <a:lnTo>
                    <a:pt x="40" y="74"/>
                  </a:lnTo>
                  <a:lnTo>
                    <a:pt x="38" y="75"/>
                  </a:lnTo>
                  <a:lnTo>
                    <a:pt x="36" y="74"/>
                  </a:lnTo>
                  <a:lnTo>
                    <a:pt x="36" y="74"/>
                  </a:lnTo>
                  <a:lnTo>
                    <a:pt x="36" y="70"/>
                  </a:lnTo>
                  <a:lnTo>
                    <a:pt x="38" y="68"/>
                  </a:lnTo>
                  <a:lnTo>
                    <a:pt x="34" y="62"/>
                  </a:lnTo>
                  <a:lnTo>
                    <a:pt x="40" y="62"/>
                  </a:lnTo>
                  <a:lnTo>
                    <a:pt x="34" y="57"/>
                  </a:lnTo>
                  <a:lnTo>
                    <a:pt x="28" y="57"/>
                  </a:lnTo>
                  <a:lnTo>
                    <a:pt x="21" y="55"/>
                  </a:lnTo>
                  <a:lnTo>
                    <a:pt x="19" y="45"/>
                  </a:lnTo>
                  <a:lnTo>
                    <a:pt x="21" y="45"/>
                  </a:lnTo>
                  <a:lnTo>
                    <a:pt x="21" y="42"/>
                  </a:lnTo>
                  <a:lnTo>
                    <a:pt x="13" y="34"/>
                  </a:lnTo>
                  <a:lnTo>
                    <a:pt x="13" y="30"/>
                  </a:lnTo>
                  <a:lnTo>
                    <a:pt x="15" y="26"/>
                  </a:lnTo>
                  <a:lnTo>
                    <a:pt x="11" y="23"/>
                  </a:lnTo>
                  <a:lnTo>
                    <a:pt x="6" y="21"/>
                  </a:lnTo>
                  <a:lnTo>
                    <a:pt x="2" y="19"/>
                  </a:lnTo>
                  <a:lnTo>
                    <a:pt x="2" y="19"/>
                  </a:lnTo>
                  <a:lnTo>
                    <a:pt x="2" y="19"/>
                  </a:lnTo>
                  <a:lnTo>
                    <a:pt x="2" y="19"/>
                  </a:lnTo>
                  <a:close/>
                  <a:moveTo>
                    <a:pt x="30" y="75"/>
                  </a:moveTo>
                  <a:lnTo>
                    <a:pt x="25" y="60"/>
                  </a:lnTo>
                  <a:lnTo>
                    <a:pt x="19" y="60"/>
                  </a:lnTo>
                  <a:lnTo>
                    <a:pt x="15" y="55"/>
                  </a:lnTo>
                  <a:lnTo>
                    <a:pt x="13" y="55"/>
                  </a:lnTo>
                  <a:lnTo>
                    <a:pt x="10" y="55"/>
                  </a:lnTo>
                  <a:lnTo>
                    <a:pt x="6" y="51"/>
                  </a:lnTo>
                  <a:lnTo>
                    <a:pt x="2" y="55"/>
                  </a:lnTo>
                  <a:lnTo>
                    <a:pt x="0" y="55"/>
                  </a:lnTo>
                  <a:lnTo>
                    <a:pt x="2" y="55"/>
                  </a:lnTo>
                  <a:lnTo>
                    <a:pt x="2" y="55"/>
                  </a:lnTo>
                  <a:lnTo>
                    <a:pt x="6" y="57"/>
                  </a:lnTo>
                  <a:lnTo>
                    <a:pt x="6" y="57"/>
                  </a:lnTo>
                  <a:lnTo>
                    <a:pt x="10" y="60"/>
                  </a:lnTo>
                  <a:lnTo>
                    <a:pt x="6" y="64"/>
                  </a:lnTo>
                  <a:lnTo>
                    <a:pt x="15" y="68"/>
                  </a:lnTo>
                  <a:lnTo>
                    <a:pt x="15" y="72"/>
                  </a:lnTo>
                  <a:lnTo>
                    <a:pt x="21" y="74"/>
                  </a:lnTo>
                  <a:lnTo>
                    <a:pt x="25" y="75"/>
                  </a:lnTo>
                  <a:lnTo>
                    <a:pt x="30" y="75"/>
                  </a:lnTo>
                  <a:lnTo>
                    <a:pt x="30" y="75"/>
                  </a:lnTo>
                  <a:lnTo>
                    <a:pt x="30" y="75"/>
                  </a:lnTo>
                  <a:lnTo>
                    <a:pt x="30"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57">
              <a:extLst>
                <a:ext uri="{FF2B5EF4-FFF2-40B4-BE49-F238E27FC236}">
                  <a16:creationId xmlns:a16="http://schemas.microsoft.com/office/drawing/2014/main" id="{98FF38B1-7F03-404F-B968-1CDDFB19ED96}"/>
                </a:ext>
              </a:extLst>
            </p:cNvPr>
            <p:cNvSpPr>
              <a:spLocks/>
            </p:cNvSpPr>
            <p:nvPr/>
          </p:nvSpPr>
          <p:spPr bwMode="auto">
            <a:xfrm>
              <a:off x="6782346" y="2386137"/>
              <a:ext cx="324268" cy="230870"/>
            </a:xfrm>
            <a:custGeom>
              <a:avLst/>
              <a:gdLst/>
              <a:ahLst/>
              <a:cxnLst>
                <a:cxn ang="0">
                  <a:pos x="19" y="4"/>
                </a:cxn>
                <a:cxn ang="0">
                  <a:pos x="36" y="19"/>
                </a:cxn>
                <a:cxn ang="0">
                  <a:pos x="49" y="19"/>
                </a:cxn>
                <a:cxn ang="0">
                  <a:pos x="58" y="7"/>
                </a:cxn>
                <a:cxn ang="0">
                  <a:pos x="71" y="0"/>
                </a:cxn>
                <a:cxn ang="0">
                  <a:pos x="75" y="9"/>
                </a:cxn>
                <a:cxn ang="0">
                  <a:pos x="85" y="24"/>
                </a:cxn>
                <a:cxn ang="0">
                  <a:pos x="92" y="32"/>
                </a:cxn>
                <a:cxn ang="0">
                  <a:pos x="100" y="49"/>
                </a:cxn>
                <a:cxn ang="0">
                  <a:pos x="118" y="49"/>
                </a:cxn>
                <a:cxn ang="0">
                  <a:pos x="147" y="64"/>
                </a:cxn>
                <a:cxn ang="0">
                  <a:pos x="188" y="62"/>
                </a:cxn>
                <a:cxn ang="0">
                  <a:pos x="198" y="43"/>
                </a:cxn>
                <a:cxn ang="0">
                  <a:pos x="222" y="28"/>
                </a:cxn>
                <a:cxn ang="0">
                  <a:pos x="241" y="28"/>
                </a:cxn>
                <a:cxn ang="0">
                  <a:pos x="269" y="37"/>
                </a:cxn>
                <a:cxn ang="0">
                  <a:pos x="286" y="49"/>
                </a:cxn>
                <a:cxn ang="0">
                  <a:pos x="318" y="68"/>
                </a:cxn>
                <a:cxn ang="0">
                  <a:pos x="318" y="85"/>
                </a:cxn>
                <a:cxn ang="0">
                  <a:pos x="320" y="98"/>
                </a:cxn>
                <a:cxn ang="0">
                  <a:pos x="312" y="111"/>
                </a:cxn>
                <a:cxn ang="0">
                  <a:pos x="322" y="124"/>
                </a:cxn>
                <a:cxn ang="0">
                  <a:pos x="322" y="156"/>
                </a:cxn>
                <a:cxn ang="0">
                  <a:pos x="344" y="179"/>
                </a:cxn>
                <a:cxn ang="0">
                  <a:pos x="341" y="224"/>
                </a:cxn>
                <a:cxn ang="0">
                  <a:pos x="361" y="233"/>
                </a:cxn>
                <a:cxn ang="0">
                  <a:pos x="369" y="252"/>
                </a:cxn>
                <a:cxn ang="0">
                  <a:pos x="376" y="267"/>
                </a:cxn>
                <a:cxn ang="0">
                  <a:pos x="354" y="277"/>
                </a:cxn>
                <a:cxn ang="0">
                  <a:pos x="354" y="297"/>
                </a:cxn>
                <a:cxn ang="0">
                  <a:pos x="337" y="297"/>
                </a:cxn>
                <a:cxn ang="0">
                  <a:pos x="329" y="295"/>
                </a:cxn>
                <a:cxn ang="0">
                  <a:pos x="301" y="292"/>
                </a:cxn>
                <a:cxn ang="0">
                  <a:pos x="282" y="288"/>
                </a:cxn>
                <a:cxn ang="0">
                  <a:pos x="265" y="273"/>
                </a:cxn>
                <a:cxn ang="0">
                  <a:pos x="258" y="260"/>
                </a:cxn>
                <a:cxn ang="0">
                  <a:pos x="239" y="262"/>
                </a:cxn>
                <a:cxn ang="0">
                  <a:pos x="211" y="267"/>
                </a:cxn>
                <a:cxn ang="0">
                  <a:pos x="194" y="262"/>
                </a:cxn>
                <a:cxn ang="0">
                  <a:pos x="181" y="252"/>
                </a:cxn>
                <a:cxn ang="0">
                  <a:pos x="162" y="247"/>
                </a:cxn>
                <a:cxn ang="0">
                  <a:pos x="145" y="228"/>
                </a:cxn>
                <a:cxn ang="0">
                  <a:pos x="143" y="224"/>
                </a:cxn>
                <a:cxn ang="0">
                  <a:pos x="130" y="199"/>
                </a:cxn>
                <a:cxn ang="0">
                  <a:pos x="117" y="199"/>
                </a:cxn>
                <a:cxn ang="0">
                  <a:pos x="113" y="196"/>
                </a:cxn>
                <a:cxn ang="0">
                  <a:pos x="109" y="203"/>
                </a:cxn>
                <a:cxn ang="0">
                  <a:pos x="98" y="198"/>
                </a:cxn>
                <a:cxn ang="0">
                  <a:pos x="88" y="173"/>
                </a:cxn>
                <a:cxn ang="0">
                  <a:pos x="75" y="150"/>
                </a:cxn>
                <a:cxn ang="0">
                  <a:pos x="51" y="141"/>
                </a:cxn>
                <a:cxn ang="0">
                  <a:pos x="49" y="130"/>
                </a:cxn>
                <a:cxn ang="0">
                  <a:pos x="41" y="120"/>
                </a:cxn>
                <a:cxn ang="0">
                  <a:pos x="45" y="101"/>
                </a:cxn>
                <a:cxn ang="0">
                  <a:pos x="49" y="88"/>
                </a:cxn>
                <a:cxn ang="0">
                  <a:pos x="51" y="83"/>
                </a:cxn>
                <a:cxn ang="0">
                  <a:pos x="30" y="77"/>
                </a:cxn>
                <a:cxn ang="0">
                  <a:pos x="24" y="62"/>
                </a:cxn>
                <a:cxn ang="0">
                  <a:pos x="17" y="52"/>
                </a:cxn>
                <a:cxn ang="0">
                  <a:pos x="11" y="28"/>
                </a:cxn>
                <a:cxn ang="0">
                  <a:pos x="4" y="11"/>
                </a:cxn>
                <a:cxn ang="0">
                  <a:pos x="11" y="0"/>
                </a:cxn>
              </a:cxnLst>
              <a:rect l="0" t="0" r="r" b="b"/>
              <a:pathLst>
                <a:path w="380" h="301">
                  <a:moveTo>
                    <a:pt x="11" y="0"/>
                  </a:moveTo>
                  <a:lnTo>
                    <a:pt x="11" y="0"/>
                  </a:lnTo>
                  <a:lnTo>
                    <a:pt x="15" y="0"/>
                  </a:lnTo>
                  <a:lnTo>
                    <a:pt x="17" y="0"/>
                  </a:lnTo>
                  <a:lnTo>
                    <a:pt x="19" y="4"/>
                  </a:lnTo>
                  <a:lnTo>
                    <a:pt x="17" y="7"/>
                  </a:lnTo>
                  <a:lnTo>
                    <a:pt x="24" y="11"/>
                  </a:lnTo>
                  <a:lnTo>
                    <a:pt x="24" y="15"/>
                  </a:lnTo>
                  <a:lnTo>
                    <a:pt x="30" y="17"/>
                  </a:lnTo>
                  <a:lnTo>
                    <a:pt x="36" y="19"/>
                  </a:lnTo>
                  <a:lnTo>
                    <a:pt x="41" y="19"/>
                  </a:lnTo>
                  <a:lnTo>
                    <a:pt x="41" y="19"/>
                  </a:lnTo>
                  <a:lnTo>
                    <a:pt x="41" y="19"/>
                  </a:lnTo>
                  <a:lnTo>
                    <a:pt x="47" y="17"/>
                  </a:lnTo>
                  <a:lnTo>
                    <a:pt x="49" y="19"/>
                  </a:lnTo>
                  <a:lnTo>
                    <a:pt x="51" y="17"/>
                  </a:lnTo>
                  <a:lnTo>
                    <a:pt x="51" y="15"/>
                  </a:lnTo>
                  <a:lnTo>
                    <a:pt x="54" y="13"/>
                  </a:lnTo>
                  <a:lnTo>
                    <a:pt x="54" y="13"/>
                  </a:lnTo>
                  <a:lnTo>
                    <a:pt x="58" y="7"/>
                  </a:lnTo>
                  <a:lnTo>
                    <a:pt x="60" y="7"/>
                  </a:lnTo>
                  <a:lnTo>
                    <a:pt x="62" y="4"/>
                  </a:lnTo>
                  <a:lnTo>
                    <a:pt x="66" y="4"/>
                  </a:lnTo>
                  <a:lnTo>
                    <a:pt x="70" y="0"/>
                  </a:lnTo>
                  <a:lnTo>
                    <a:pt x="71" y="0"/>
                  </a:lnTo>
                  <a:lnTo>
                    <a:pt x="71" y="4"/>
                  </a:lnTo>
                  <a:lnTo>
                    <a:pt x="73" y="4"/>
                  </a:lnTo>
                  <a:lnTo>
                    <a:pt x="75" y="4"/>
                  </a:lnTo>
                  <a:lnTo>
                    <a:pt x="79" y="7"/>
                  </a:lnTo>
                  <a:lnTo>
                    <a:pt x="75" y="9"/>
                  </a:lnTo>
                  <a:lnTo>
                    <a:pt x="75" y="11"/>
                  </a:lnTo>
                  <a:lnTo>
                    <a:pt x="79" y="13"/>
                  </a:lnTo>
                  <a:lnTo>
                    <a:pt x="75" y="19"/>
                  </a:lnTo>
                  <a:lnTo>
                    <a:pt x="79" y="24"/>
                  </a:lnTo>
                  <a:lnTo>
                    <a:pt x="85" y="24"/>
                  </a:lnTo>
                  <a:lnTo>
                    <a:pt x="85" y="28"/>
                  </a:lnTo>
                  <a:lnTo>
                    <a:pt x="88" y="28"/>
                  </a:lnTo>
                  <a:lnTo>
                    <a:pt x="88" y="28"/>
                  </a:lnTo>
                  <a:lnTo>
                    <a:pt x="88" y="28"/>
                  </a:lnTo>
                  <a:lnTo>
                    <a:pt x="92" y="32"/>
                  </a:lnTo>
                  <a:lnTo>
                    <a:pt x="92" y="37"/>
                  </a:lnTo>
                  <a:lnTo>
                    <a:pt x="92" y="41"/>
                  </a:lnTo>
                  <a:lnTo>
                    <a:pt x="92" y="43"/>
                  </a:lnTo>
                  <a:lnTo>
                    <a:pt x="96" y="43"/>
                  </a:lnTo>
                  <a:lnTo>
                    <a:pt x="100" y="49"/>
                  </a:lnTo>
                  <a:lnTo>
                    <a:pt x="103" y="49"/>
                  </a:lnTo>
                  <a:lnTo>
                    <a:pt x="105" y="49"/>
                  </a:lnTo>
                  <a:lnTo>
                    <a:pt x="113" y="47"/>
                  </a:lnTo>
                  <a:lnTo>
                    <a:pt x="115" y="49"/>
                  </a:lnTo>
                  <a:lnTo>
                    <a:pt x="118" y="49"/>
                  </a:lnTo>
                  <a:lnTo>
                    <a:pt x="118" y="52"/>
                  </a:lnTo>
                  <a:lnTo>
                    <a:pt x="122" y="56"/>
                  </a:lnTo>
                  <a:lnTo>
                    <a:pt x="130" y="60"/>
                  </a:lnTo>
                  <a:lnTo>
                    <a:pt x="134" y="60"/>
                  </a:lnTo>
                  <a:lnTo>
                    <a:pt x="147" y="64"/>
                  </a:lnTo>
                  <a:lnTo>
                    <a:pt x="152" y="64"/>
                  </a:lnTo>
                  <a:lnTo>
                    <a:pt x="164" y="60"/>
                  </a:lnTo>
                  <a:lnTo>
                    <a:pt x="173" y="60"/>
                  </a:lnTo>
                  <a:lnTo>
                    <a:pt x="184" y="60"/>
                  </a:lnTo>
                  <a:lnTo>
                    <a:pt x="188" y="62"/>
                  </a:lnTo>
                  <a:lnTo>
                    <a:pt x="188" y="56"/>
                  </a:lnTo>
                  <a:lnTo>
                    <a:pt x="188" y="52"/>
                  </a:lnTo>
                  <a:lnTo>
                    <a:pt x="186" y="49"/>
                  </a:lnTo>
                  <a:lnTo>
                    <a:pt x="188" y="47"/>
                  </a:lnTo>
                  <a:lnTo>
                    <a:pt x="198" y="43"/>
                  </a:lnTo>
                  <a:lnTo>
                    <a:pt x="199" y="39"/>
                  </a:lnTo>
                  <a:lnTo>
                    <a:pt x="201" y="37"/>
                  </a:lnTo>
                  <a:lnTo>
                    <a:pt x="205" y="37"/>
                  </a:lnTo>
                  <a:lnTo>
                    <a:pt x="213" y="32"/>
                  </a:lnTo>
                  <a:lnTo>
                    <a:pt x="222" y="28"/>
                  </a:lnTo>
                  <a:lnTo>
                    <a:pt x="228" y="32"/>
                  </a:lnTo>
                  <a:lnTo>
                    <a:pt x="228" y="24"/>
                  </a:lnTo>
                  <a:lnTo>
                    <a:pt x="231" y="24"/>
                  </a:lnTo>
                  <a:lnTo>
                    <a:pt x="237" y="28"/>
                  </a:lnTo>
                  <a:lnTo>
                    <a:pt x="241" y="28"/>
                  </a:lnTo>
                  <a:lnTo>
                    <a:pt x="248" y="32"/>
                  </a:lnTo>
                  <a:lnTo>
                    <a:pt x="252" y="34"/>
                  </a:lnTo>
                  <a:lnTo>
                    <a:pt x="263" y="39"/>
                  </a:lnTo>
                  <a:lnTo>
                    <a:pt x="267" y="39"/>
                  </a:lnTo>
                  <a:lnTo>
                    <a:pt x="269" y="37"/>
                  </a:lnTo>
                  <a:lnTo>
                    <a:pt x="277" y="41"/>
                  </a:lnTo>
                  <a:lnTo>
                    <a:pt x="282" y="41"/>
                  </a:lnTo>
                  <a:lnTo>
                    <a:pt x="282" y="47"/>
                  </a:lnTo>
                  <a:lnTo>
                    <a:pt x="282" y="49"/>
                  </a:lnTo>
                  <a:lnTo>
                    <a:pt x="286" y="49"/>
                  </a:lnTo>
                  <a:lnTo>
                    <a:pt x="294" y="49"/>
                  </a:lnTo>
                  <a:lnTo>
                    <a:pt x="303" y="58"/>
                  </a:lnTo>
                  <a:lnTo>
                    <a:pt x="310" y="60"/>
                  </a:lnTo>
                  <a:lnTo>
                    <a:pt x="314" y="62"/>
                  </a:lnTo>
                  <a:lnTo>
                    <a:pt x="318" y="68"/>
                  </a:lnTo>
                  <a:lnTo>
                    <a:pt x="316" y="68"/>
                  </a:lnTo>
                  <a:lnTo>
                    <a:pt x="318" y="73"/>
                  </a:lnTo>
                  <a:lnTo>
                    <a:pt x="318" y="77"/>
                  </a:lnTo>
                  <a:lnTo>
                    <a:pt x="320" y="81"/>
                  </a:lnTo>
                  <a:lnTo>
                    <a:pt x="318" y="85"/>
                  </a:lnTo>
                  <a:lnTo>
                    <a:pt x="320" y="88"/>
                  </a:lnTo>
                  <a:lnTo>
                    <a:pt x="318" y="90"/>
                  </a:lnTo>
                  <a:lnTo>
                    <a:pt x="320" y="92"/>
                  </a:lnTo>
                  <a:lnTo>
                    <a:pt x="320" y="96"/>
                  </a:lnTo>
                  <a:lnTo>
                    <a:pt x="320" y="98"/>
                  </a:lnTo>
                  <a:lnTo>
                    <a:pt x="314" y="101"/>
                  </a:lnTo>
                  <a:lnTo>
                    <a:pt x="310" y="101"/>
                  </a:lnTo>
                  <a:lnTo>
                    <a:pt x="312" y="105"/>
                  </a:lnTo>
                  <a:lnTo>
                    <a:pt x="316" y="105"/>
                  </a:lnTo>
                  <a:lnTo>
                    <a:pt x="312" y="111"/>
                  </a:lnTo>
                  <a:lnTo>
                    <a:pt x="312" y="113"/>
                  </a:lnTo>
                  <a:lnTo>
                    <a:pt x="314" y="117"/>
                  </a:lnTo>
                  <a:lnTo>
                    <a:pt x="314" y="122"/>
                  </a:lnTo>
                  <a:lnTo>
                    <a:pt x="320" y="124"/>
                  </a:lnTo>
                  <a:lnTo>
                    <a:pt x="322" y="124"/>
                  </a:lnTo>
                  <a:lnTo>
                    <a:pt x="316" y="130"/>
                  </a:lnTo>
                  <a:lnTo>
                    <a:pt x="314" y="135"/>
                  </a:lnTo>
                  <a:lnTo>
                    <a:pt x="320" y="145"/>
                  </a:lnTo>
                  <a:lnTo>
                    <a:pt x="324" y="154"/>
                  </a:lnTo>
                  <a:lnTo>
                    <a:pt x="322" y="156"/>
                  </a:lnTo>
                  <a:lnTo>
                    <a:pt x="324" y="160"/>
                  </a:lnTo>
                  <a:lnTo>
                    <a:pt x="324" y="166"/>
                  </a:lnTo>
                  <a:lnTo>
                    <a:pt x="341" y="166"/>
                  </a:lnTo>
                  <a:lnTo>
                    <a:pt x="344" y="173"/>
                  </a:lnTo>
                  <a:lnTo>
                    <a:pt x="344" y="179"/>
                  </a:lnTo>
                  <a:lnTo>
                    <a:pt x="344" y="184"/>
                  </a:lnTo>
                  <a:lnTo>
                    <a:pt x="344" y="186"/>
                  </a:lnTo>
                  <a:lnTo>
                    <a:pt x="329" y="205"/>
                  </a:lnTo>
                  <a:lnTo>
                    <a:pt x="341" y="218"/>
                  </a:lnTo>
                  <a:lnTo>
                    <a:pt x="341" y="224"/>
                  </a:lnTo>
                  <a:lnTo>
                    <a:pt x="346" y="228"/>
                  </a:lnTo>
                  <a:lnTo>
                    <a:pt x="350" y="230"/>
                  </a:lnTo>
                  <a:lnTo>
                    <a:pt x="352" y="231"/>
                  </a:lnTo>
                  <a:lnTo>
                    <a:pt x="359" y="233"/>
                  </a:lnTo>
                  <a:lnTo>
                    <a:pt x="361" y="233"/>
                  </a:lnTo>
                  <a:lnTo>
                    <a:pt x="361" y="235"/>
                  </a:lnTo>
                  <a:lnTo>
                    <a:pt x="369" y="237"/>
                  </a:lnTo>
                  <a:lnTo>
                    <a:pt x="369" y="243"/>
                  </a:lnTo>
                  <a:lnTo>
                    <a:pt x="369" y="248"/>
                  </a:lnTo>
                  <a:lnTo>
                    <a:pt x="369" y="252"/>
                  </a:lnTo>
                  <a:lnTo>
                    <a:pt x="369" y="254"/>
                  </a:lnTo>
                  <a:lnTo>
                    <a:pt x="374" y="254"/>
                  </a:lnTo>
                  <a:lnTo>
                    <a:pt x="380" y="258"/>
                  </a:lnTo>
                  <a:lnTo>
                    <a:pt x="380" y="265"/>
                  </a:lnTo>
                  <a:lnTo>
                    <a:pt x="376" y="267"/>
                  </a:lnTo>
                  <a:lnTo>
                    <a:pt x="374" y="267"/>
                  </a:lnTo>
                  <a:lnTo>
                    <a:pt x="365" y="267"/>
                  </a:lnTo>
                  <a:lnTo>
                    <a:pt x="361" y="271"/>
                  </a:lnTo>
                  <a:lnTo>
                    <a:pt x="356" y="273"/>
                  </a:lnTo>
                  <a:lnTo>
                    <a:pt x="354" y="277"/>
                  </a:lnTo>
                  <a:lnTo>
                    <a:pt x="356" y="279"/>
                  </a:lnTo>
                  <a:lnTo>
                    <a:pt x="352" y="282"/>
                  </a:lnTo>
                  <a:lnTo>
                    <a:pt x="354" y="288"/>
                  </a:lnTo>
                  <a:lnTo>
                    <a:pt x="354" y="295"/>
                  </a:lnTo>
                  <a:lnTo>
                    <a:pt x="354" y="297"/>
                  </a:lnTo>
                  <a:lnTo>
                    <a:pt x="352" y="297"/>
                  </a:lnTo>
                  <a:lnTo>
                    <a:pt x="352" y="297"/>
                  </a:lnTo>
                  <a:lnTo>
                    <a:pt x="348" y="301"/>
                  </a:lnTo>
                  <a:lnTo>
                    <a:pt x="344" y="297"/>
                  </a:lnTo>
                  <a:lnTo>
                    <a:pt x="337" y="297"/>
                  </a:lnTo>
                  <a:lnTo>
                    <a:pt x="337" y="292"/>
                  </a:lnTo>
                  <a:lnTo>
                    <a:pt x="335" y="292"/>
                  </a:lnTo>
                  <a:lnTo>
                    <a:pt x="331" y="297"/>
                  </a:lnTo>
                  <a:lnTo>
                    <a:pt x="331" y="297"/>
                  </a:lnTo>
                  <a:lnTo>
                    <a:pt x="329" y="295"/>
                  </a:lnTo>
                  <a:lnTo>
                    <a:pt x="327" y="295"/>
                  </a:lnTo>
                  <a:lnTo>
                    <a:pt x="324" y="295"/>
                  </a:lnTo>
                  <a:lnTo>
                    <a:pt x="316" y="295"/>
                  </a:lnTo>
                  <a:lnTo>
                    <a:pt x="310" y="292"/>
                  </a:lnTo>
                  <a:lnTo>
                    <a:pt x="301" y="292"/>
                  </a:lnTo>
                  <a:lnTo>
                    <a:pt x="295" y="288"/>
                  </a:lnTo>
                  <a:lnTo>
                    <a:pt x="294" y="288"/>
                  </a:lnTo>
                  <a:lnTo>
                    <a:pt x="290" y="292"/>
                  </a:lnTo>
                  <a:lnTo>
                    <a:pt x="286" y="288"/>
                  </a:lnTo>
                  <a:lnTo>
                    <a:pt x="282" y="288"/>
                  </a:lnTo>
                  <a:lnTo>
                    <a:pt x="273" y="290"/>
                  </a:lnTo>
                  <a:lnTo>
                    <a:pt x="271" y="286"/>
                  </a:lnTo>
                  <a:lnTo>
                    <a:pt x="269" y="286"/>
                  </a:lnTo>
                  <a:lnTo>
                    <a:pt x="269" y="280"/>
                  </a:lnTo>
                  <a:lnTo>
                    <a:pt x="265" y="273"/>
                  </a:lnTo>
                  <a:lnTo>
                    <a:pt x="263" y="267"/>
                  </a:lnTo>
                  <a:lnTo>
                    <a:pt x="260" y="262"/>
                  </a:lnTo>
                  <a:lnTo>
                    <a:pt x="260" y="260"/>
                  </a:lnTo>
                  <a:lnTo>
                    <a:pt x="258" y="260"/>
                  </a:lnTo>
                  <a:lnTo>
                    <a:pt x="258" y="260"/>
                  </a:lnTo>
                  <a:lnTo>
                    <a:pt x="252" y="258"/>
                  </a:lnTo>
                  <a:lnTo>
                    <a:pt x="248" y="260"/>
                  </a:lnTo>
                  <a:lnTo>
                    <a:pt x="243" y="263"/>
                  </a:lnTo>
                  <a:lnTo>
                    <a:pt x="239" y="263"/>
                  </a:lnTo>
                  <a:lnTo>
                    <a:pt x="239" y="262"/>
                  </a:lnTo>
                  <a:lnTo>
                    <a:pt x="239" y="263"/>
                  </a:lnTo>
                  <a:lnTo>
                    <a:pt x="231" y="267"/>
                  </a:lnTo>
                  <a:lnTo>
                    <a:pt x="224" y="273"/>
                  </a:lnTo>
                  <a:lnTo>
                    <a:pt x="218" y="267"/>
                  </a:lnTo>
                  <a:lnTo>
                    <a:pt x="211" y="267"/>
                  </a:lnTo>
                  <a:lnTo>
                    <a:pt x="207" y="267"/>
                  </a:lnTo>
                  <a:lnTo>
                    <a:pt x="205" y="267"/>
                  </a:lnTo>
                  <a:lnTo>
                    <a:pt x="198" y="263"/>
                  </a:lnTo>
                  <a:lnTo>
                    <a:pt x="194" y="263"/>
                  </a:lnTo>
                  <a:lnTo>
                    <a:pt x="194" y="262"/>
                  </a:lnTo>
                  <a:lnTo>
                    <a:pt x="188" y="260"/>
                  </a:lnTo>
                  <a:lnTo>
                    <a:pt x="182" y="254"/>
                  </a:lnTo>
                  <a:lnTo>
                    <a:pt x="184" y="252"/>
                  </a:lnTo>
                  <a:lnTo>
                    <a:pt x="184" y="252"/>
                  </a:lnTo>
                  <a:lnTo>
                    <a:pt x="181" y="252"/>
                  </a:lnTo>
                  <a:lnTo>
                    <a:pt x="181" y="248"/>
                  </a:lnTo>
                  <a:lnTo>
                    <a:pt x="173" y="248"/>
                  </a:lnTo>
                  <a:lnTo>
                    <a:pt x="173" y="248"/>
                  </a:lnTo>
                  <a:lnTo>
                    <a:pt x="167" y="247"/>
                  </a:lnTo>
                  <a:lnTo>
                    <a:pt x="162" y="247"/>
                  </a:lnTo>
                  <a:lnTo>
                    <a:pt x="158" y="245"/>
                  </a:lnTo>
                  <a:lnTo>
                    <a:pt x="150" y="231"/>
                  </a:lnTo>
                  <a:lnTo>
                    <a:pt x="150" y="228"/>
                  </a:lnTo>
                  <a:lnTo>
                    <a:pt x="149" y="228"/>
                  </a:lnTo>
                  <a:lnTo>
                    <a:pt x="145" y="228"/>
                  </a:lnTo>
                  <a:lnTo>
                    <a:pt x="147" y="224"/>
                  </a:lnTo>
                  <a:lnTo>
                    <a:pt x="147" y="228"/>
                  </a:lnTo>
                  <a:lnTo>
                    <a:pt x="149" y="228"/>
                  </a:lnTo>
                  <a:lnTo>
                    <a:pt x="147" y="224"/>
                  </a:lnTo>
                  <a:lnTo>
                    <a:pt x="143" y="224"/>
                  </a:lnTo>
                  <a:lnTo>
                    <a:pt x="143" y="222"/>
                  </a:lnTo>
                  <a:lnTo>
                    <a:pt x="143" y="216"/>
                  </a:lnTo>
                  <a:lnTo>
                    <a:pt x="134" y="209"/>
                  </a:lnTo>
                  <a:lnTo>
                    <a:pt x="134" y="205"/>
                  </a:lnTo>
                  <a:lnTo>
                    <a:pt x="130" y="199"/>
                  </a:lnTo>
                  <a:lnTo>
                    <a:pt x="130" y="199"/>
                  </a:lnTo>
                  <a:lnTo>
                    <a:pt x="122" y="203"/>
                  </a:lnTo>
                  <a:lnTo>
                    <a:pt x="120" y="203"/>
                  </a:lnTo>
                  <a:lnTo>
                    <a:pt x="118" y="199"/>
                  </a:lnTo>
                  <a:lnTo>
                    <a:pt x="117" y="199"/>
                  </a:lnTo>
                  <a:lnTo>
                    <a:pt x="113" y="199"/>
                  </a:lnTo>
                  <a:lnTo>
                    <a:pt x="113" y="198"/>
                  </a:lnTo>
                  <a:lnTo>
                    <a:pt x="115" y="196"/>
                  </a:lnTo>
                  <a:lnTo>
                    <a:pt x="113" y="196"/>
                  </a:lnTo>
                  <a:lnTo>
                    <a:pt x="113" y="196"/>
                  </a:lnTo>
                  <a:lnTo>
                    <a:pt x="109" y="196"/>
                  </a:lnTo>
                  <a:lnTo>
                    <a:pt x="113" y="198"/>
                  </a:lnTo>
                  <a:lnTo>
                    <a:pt x="113" y="199"/>
                  </a:lnTo>
                  <a:lnTo>
                    <a:pt x="109" y="203"/>
                  </a:lnTo>
                  <a:lnTo>
                    <a:pt x="109" y="203"/>
                  </a:lnTo>
                  <a:lnTo>
                    <a:pt x="105" y="199"/>
                  </a:lnTo>
                  <a:lnTo>
                    <a:pt x="105" y="199"/>
                  </a:lnTo>
                  <a:lnTo>
                    <a:pt x="103" y="199"/>
                  </a:lnTo>
                  <a:lnTo>
                    <a:pt x="102" y="199"/>
                  </a:lnTo>
                  <a:lnTo>
                    <a:pt x="98" y="198"/>
                  </a:lnTo>
                  <a:lnTo>
                    <a:pt x="94" y="194"/>
                  </a:lnTo>
                  <a:lnTo>
                    <a:pt x="94" y="182"/>
                  </a:lnTo>
                  <a:lnTo>
                    <a:pt x="88" y="182"/>
                  </a:lnTo>
                  <a:lnTo>
                    <a:pt x="85" y="179"/>
                  </a:lnTo>
                  <a:lnTo>
                    <a:pt x="88" y="173"/>
                  </a:lnTo>
                  <a:lnTo>
                    <a:pt x="90" y="169"/>
                  </a:lnTo>
                  <a:lnTo>
                    <a:pt x="88" y="160"/>
                  </a:lnTo>
                  <a:lnTo>
                    <a:pt x="85" y="158"/>
                  </a:lnTo>
                  <a:lnTo>
                    <a:pt x="79" y="154"/>
                  </a:lnTo>
                  <a:lnTo>
                    <a:pt x="75" y="150"/>
                  </a:lnTo>
                  <a:lnTo>
                    <a:pt x="75" y="150"/>
                  </a:lnTo>
                  <a:lnTo>
                    <a:pt x="62" y="141"/>
                  </a:lnTo>
                  <a:lnTo>
                    <a:pt x="58" y="141"/>
                  </a:lnTo>
                  <a:lnTo>
                    <a:pt x="56" y="145"/>
                  </a:lnTo>
                  <a:lnTo>
                    <a:pt x="51" y="141"/>
                  </a:lnTo>
                  <a:lnTo>
                    <a:pt x="54" y="139"/>
                  </a:lnTo>
                  <a:lnTo>
                    <a:pt x="51" y="137"/>
                  </a:lnTo>
                  <a:lnTo>
                    <a:pt x="54" y="133"/>
                  </a:lnTo>
                  <a:lnTo>
                    <a:pt x="51" y="130"/>
                  </a:lnTo>
                  <a:lnTo>
                    <a:pt x="49" y="130"/>
                  </a:lnTo>
                  <a:lnTo>
                    <a:pt x="45" y="126"/>
                  </a:lnTo>
                  <a:lnTo>
                    <a:pt x="43" y="126"/>
                  </a:lnTo>
                  <a:lnTo>
                    <a:pt x="41" y="126"/>
                  </a:lnTo>
                  <a:lnTo>
                    <a:pt x="41" y="122"/>
                  </a:lnTo>
                  <a:lnTo>
                    <a:pt x="41" y="120"/>
                  </a:lnTo>
                  <a:lnTo>
                    <a:pt x="41" y="117"/>
                  </a:lnTo>
                  <a:lnTo>
                    <a:pt x="41" y="117"/>
                  </a:lnTo>
                  <a:lnTo>
                    <a:pt x="41" y="109"/>
                  </a:lnTo>
                  <a:lnTo>
                    <a:pt x="45" y="107"/>
                  </a:lnTo>
                  <a:lnTo>
                    <a:pt x="45" y="101"/>
                  </a:lnTo>
                  <a:lnTo>
                    <a:pt x="47" y="101"/>
                  </a:lnTo>
                  <a:lnTo>
                    <a:pt x="51" y="101"/>
                  </a:lnTo>
                  <a:lnTo>
                    <a:pt x="51" y="92"/>
                  </a:lnTo>
                  <a:lnTo>
                    <a:pt x="49" y="92"/>
                  </a:lnTo>
                  <a:lnTo>
                    <a:pt x="49" y="88"/>
                  </a:lnTo>
                  <a:lnTo>
                    <a:pt x="51" y="88"/>
                  </a:lnTo>
                  <a:lnTo>
                    <a:pt x="54" y="86"/>
                  </a:lnTo>
                  <a:lnTo>
                    <a:pt x="54" y="86"/>
                  </a:lnTo>
                  <a:lnTo>
                    <a:pt x="54" y="85"/>
                  </a:lnTo>
                  <a:lnTo>
                    <a:pt x="51" y="83"/>
                  </a:lnTo>
                  <a:lnTo>
                    <a:pt x="47" y="85"/>
                  </a:lnTo>
                  <a:lnTo>
                    <a:pt x="43" y="83"/>
                  </a:lnTo>
                  <a:lnTo>
                    <a:pt x="38" y="81"/>
                  </a:lnTo>
                  <a:lnTo>
                    <a:pt x="34" y="81"/>
                  </a:lnTo>
                  <a:lnTo>
                    <a:pt x="30" y="77"/>
                  </a:lnTo>
                  <a:lnTo>
                    <a:pt x="30" y="73"/>
                  </a:lnTo>
                  <a:lnTo>
                    <a:pt x="26" y="71"/>
                  </a:lnTo>
                  <a:lnTo>
                    <a:pt x="24" y="68"/>
                  </a:lnTo>
                  <a:lnTo>
                    <a:pt x="24" y="66"/>
                  </a:lnTo>
                  <a:lnTo>
                    <a:pt x="24" y="62"/>
                  </a:lnTo>
                  <a:lnTo>
                    <a:pt x="21" y="58"/>
                  </a:lnTo>
                  <a:lnTo>
                    <a:pt x="19" y="58"/>
                  </a:lnTo>
                  <a:lnTo>
                    <a:pt x="19" y="58"/>
                  </a:lnTo>
                  <a:lnTo>
                    <a:pt x="19" y="56"/>
                  </a:lnTo>
                  <a:lnTo>
                    <a:pt x="17" y="52"/>
                  </a:lnTo>
                  <a:lnTo>
                    <a:pt x="13" y="43"/>
                  </a:lnTo>
                  <a:lnTo>
                    <a:pt x="7" y="41"/>
                  </a:lnTo>
                  <a:lnTo>
                    <a:pt x="7" y="39"/>
                  </a:lnTo>
                  <a:lnTo>
                    <a:pt x="7" y="34"/>
                  </a:lnTo>
                  <a:lnTo>
                    <a:pt x="11" y="28"/>
                  </a:lnTo>
                  <a:lnTo>
                    <a:pt x="9" y="28"/>
                  </a:lnTo>
                  <a:lnTo>
                    <a:pt x="4" y="24"/>
                  </a:lnTo>
                  <a:lnTo>
                    <a:pt x="4" y="22"/>
                  </a:lnTo>
                  <a:lnTo>
                    <a:pt x="6" y="19"/>
                  </a:lnTo>
                  <a:lnTo>
                    <a:pt x="4" y="11"/>
                  </a:lnTo>
                  <a:lnTo>
                    <a:pt x="2" y="7"/>
                  </a:lnTo>
                  <a:lnTo>
                    <a:pt x="0" y="5"/>
                  </a:lnTo>
                  <a:lnTo>
                    <a:pt x="6" y="4"/>
                  </a:lnTo>
                  <a:lnTo>
                    <a:pt x="7" y="0"/>
                  </a:lnTo>
                  <a:lnTo>
                    <a:pt x="11" y="0"/>
                  </a:lnTo>
                  <a:lnTo>
                    <a:pt x="11" y="0"/>
                  </a:lnTo>
                  <a:lnTo>
                    <a:pt x="11" y="0"/>
                  </a:lnTo>
                  <a:lnTo>
                    <a:pt x="1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58">
              <a:extLst>
                <a:ext uri="{FF2B5EF4-FFF2-40B4-BE49-F238E27FC236}">
                  <a16:creationId xmlns:a16="http://schemas.microsoft.com/office/drawing/2014/main" id="{6196A54C-5656-0D47-B670-4DCB3C36205B}"/>
                </a:ext>
              </a:extLst>
            </p:cNvPr>
            <p:cNvSpPr>
              <a:spLocks/>
            </p:cNvSpPr>
            <p:nvPr/>
          </p:nvSpPr>
          <p:spPr bwMode="auto">
            <a:xfrm>
              <a:off x="6769545" y="2356992"/>
              <a:ext cx="58027" cy="44487"/>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Freeform 59">
              <a:extLst>
                <a:ext uri="{FF2B5EF4-FFF2-40B4-BE49-F238E27FC236}">
                  <a16:creationId xmlns:a16="http://schemas.microsoft.com/office/drawing/2014/main" id="{CE1F27F1-396C-7442-BA51-1DAC4E71C97A}"/>
                </a:ext>
              </a:extLst>
            </p:cNvPr>
            <p:cNvSpPr>
              <a:spLocks/>
            </p:cNvSpPr>
            <p:nvPr/>
          </p:nvSpPr>
          <p:spPr bwMode="auto">
            <a:xfrm>
              <a:off x="6769545" y="2356992"/>
              <a:ext cx="58027" cy="44487"/>
            </a:xfrm>
            <a:custGeom>
              <a:avLst/>
              <a:gdLst/>
              <a:ahLst/>
              <a:cxnLst>
                <a:cxn ang="0">
                  <a:pos x="0" y="2"/>
                </a:cxn>
                <a:cxn ang="0">
                  <a:pos x="5" y="2"/>
                </a:cxn>
                <a:cxn ang="0">
                  <a:pos x="15" y="0"/>
                </a:cxn>
                <a:cxn ang="0">
                  <a:pos x="17" y="0"/>
                </a:cxn>
                <a:cxn ang="0">
                  <a:pos x="28" y="0"/>
                </a:cxn>
                <a:cxn ang="0">
                  <a:pos x="32" y="2"/>
                </a:cxn>
                <a:cxn ang="0">
                  <a:pos x="39" y="6"/>
                </a:cxn>
                <a:cxn ang="0">
                  <a:pos x="43" y="8"/>
                </a:cxn>
                <a:cxn ang="0">
                  <a:pos x="41" y="11"/>
                </a:cxn>
                <a:cxn ang="0">
                  <a:pos x="41" y="17"/>
                </a:cxn>
                <a:cxn ang="0">
                  <a:pos x="49" y="23"/>
                </a:cxn>
                <a:cxn ang="0">
                  <a:pos x="49" y="26"/>
                </a:cxn>
                <a:cxn ang="0">
                  <a:pos x="47" y="28"/>
                </a:cxn>
                <a:cxn ang="0">
                  <a:pos x="49" y="36"/>
                </a:cxn>
                <a:cxn ang="0">
                  <a:pos x="58" y="40"/>
                </a:cxn>
                <a:cxn ang="0">
                  <a:pos x="64" y="40"/>
                </a:cxn>
                <a:cxn ang="0">
                  <a:pos x="68" y="45"/>
                </a:cxn>
                <a:cxn ang="0">
                  <a:pos x="64" y="45"/>
                </a:cxn>
                <a:cxn ang="0">
                  <a:pos x="68" y="51"/>
                </a:cxn>
                <a:cxn ang="0">
                  <a:pos x="64" y="53"/>
                </a:cxn>
                <a:cxn ang="0">
                  <a:pos x="64" y="57"/>
                </a:cxn>
                <a:cxn ang="0">
                  <a:pos x="58" y="58"/>
                </a:cxn>
                <a:cxn ang="0">
                  <a:pos x="53" y="43"/>
                </a:cxn>
                <a:cxn ang="0">
                  <a:pos x="47" y="43"/>
                </a:cxn>
                <a:cxn ang="0">
                  <a:pos x="43" y="36"/>
                </a:cxn>
                <a:cxn ang="0">
                  <a:pos x="41" y="36"/>
                </a:cxn>
                <a:cxn ang="0">
                  <a:pos x="37" y="38"/>
                </a:cxn>
                <a:cxn ang="0">
                  <a:pos x="34" y="34"/>
                </a:cxn>
                <a:cxn ang="0">
                  <a:pos x="30" y="36"/>
                </a:cxn>
                <a:cxn ang="0">
                  <a:pos x="28" y="36"/>
                </a:cxn>
                <a:cxn ang="0">
                  <a:pos x="24" y="34"/>
                </a:cxn>
                <a:cxn ang="0">
                  <a:pos x="24" y="30"/>
                </a:cxn>
                <a:cxn ang="0">
                  <a:pos x="19" y="30"/>
                </a:cxn>
                <a:cxn ang="0">
                  <a:pos x="13" y="30"/>
                </a:cxn>
                <a:cxn ang="0">
                  <a:pos x="7" y="26"/>
                </a:cxn>
                <a:cxn ang="0">
                  <a:pos x="7" y="19"/>
                </a:cxn>
                <a:cxn ang="0">
                  <a:pos x="9" y="13"/>
                </a:cxn>
                <a:cxn ang="0">
                  <a:pos x="7" y="8"/>
                </a:cxn>
                <a:cxn ang="0">
                  <a:pos x="4" y="8"/>
                </a:cxn>
                <a:cxn ang="0">
                  <a:pos x="4" y="6"/>
                </a:cxn>
                <a:cxn ang="0">
                  <a:pos x="0" y="2"/>
                </a:cxn>
                <a:cxn ang="0">
                  <a:pos x="0" y="2"/>
                </a:cxn>
                <a:cxn ang="0">
                  <a:pos x="0" y="2"/>
                </a:cxn>
              </a:cxnLst>
              <a:rect l="0" t="0" r="r" b="b"/>
              <a:pathLst>
                <a:path w="68" h="58">
                  <a:moveTo>
                    <a:pt x="0" y="2"/>
                  </a:moveTo>
                  <a:lnTo>
                    <a:pt x="5" y="2"/>
                  </a:lnTo>
                  <a:lnTo>
                    <a:pt x="15" y="0"/>
                  </a:lnTo>
                  <a:lnTo>
                    <a:pt x="17" y="0"/>
                  </a:lnTo>
                  <a:lnTo>
                    <a:pt x="28" y="0"/>
                  </a:lnTo>
                  <a:lnTo>
                    <a:pt x="32" y="2"/>
                  </a:lnTo>
                  <a:lnTo>
                    <a:pt x="39" y="6"/>
                  </a:lnTo>
                  <a:lnTo>
                    <a:pt x="43" y="8"/>
                  </a:lnTo>
                  <a:lnTo>
                    <a:pt x="41" y="11"/>
                  </a:lnTo>
                  <a:lnTo>
                    <a:pt x="41" y="17"/>
                  </a:lnTo>
                  <a:lnTo>
                    <a:pt x="49" y="23"/>
                  </a:lnTo>
                  <a:lnTo>
                    <a:pt x="49" y="26"/>
                  </a:lnTo>
                  <a:lnTo>
                    <a:pt x="47" y="28"/>
                  </a:lnTo>
                  <a:lnTo>
                    <a:pt x="49" y="36"/>
                  </a:lnTo>
                  <a:lnTo>
                    <a:pt x="58" y="40"/>
                  </a:lnTo>
                  <a:lnTo>
                    <a:pt x="64" y="40"/>
                  </a:lnTo>
                  <a:lnTo>
                    <a:pt x="68" y="45"/>
                  </a:lnTo>
                  <a:lnTo>
                    <a:pt x="64" y="45"/>
                  </a:lnTo>
                  <a:lnTo>
                    <a:pt x="68" y="51"/>
                  </a:lnTo>
                  <a:lnTo>
                    <a:pt x="64" y="53"/>
                  </a:lnTo>
                  <a:lnTo>
                    <a:pt x="64" y="57"/>
                  </a:lnTo>
                  <a:lnTo>
                    <a:pt x="58" y="58"/>
                  </a:lnTo>
                  <a:lnTo>
                    <a:pt x="53" y="43"/>
                  </a:lnTo>
                  <a:lnTo>
                    <a:pt x="47" y="43"/>
                  </a:lnTo>
                  <a:lnTo>
                    <a:pt x="43" y="36"/>
                  </a:lnTo>
                  <a:lnTo>
                    <a:pt x="41" y="36"/>
                  </a:lnTo>
                  <a:lnTo>
                    <a:pt x="37" y="38"/>
                  </a:lnTo>
                  <a:lnTo>
                    <a:pt x="34" y="34"/>
                  </a:lnTo>
                  <a:lnTo>
                    <a:pt x="30" y="36"/>
                  </a:lnTo>
                  <a:lnTo>
                    <a:pt x="28" y="36"/>
                  </a:lnTo>
                  <a:lnTo>
                    <a:pt x="24" y="34"/>
                  </a:lnTo>
                  <a:lnTo>
                    <a:pt x="24" y="30"/>
                  </a:lnTo>
                  <a:lnTo>
                    <a:pt x="19" y="30"/>
                  </a:lnTo>
                  <a:lnTo>
                    <a:pt x="13" y="30"/>
                  </a:lnTo>
                  <a:lnTo>
                    <a:pt x="7" y="26"/>
                  </a:lnTo>
                  <a:lnTo>
                    <a:pt x="7" y="19"/>
                  </a:lnTo>
                  <a:lnTo>
                    <a:pt x="9" y="13"/>
                  </a:lnTo>
                  <a:lnTo>
                    <a:pt x="7" y="8"/>
                  </a:lnTo>
                  <a:lnTo>
                    <a:pt x="4" y="8"/>
                  </a:lnTo>
                  <a:lnTo>
                    <a:pt x="4" y="6"/>
                  </a:lnTo>
                  <a:lnTo>
                    <a:pt x="0" y="2"/>
                  </a:lnTo>
                  <a:lnTo>
                    <a:pt x="0" y="2"/>
                  </a:lnTo>
                  <a:lnTo>
                    <a:pt x="0"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Freeform 60">
              <a:extLst>
                <a:ext uri="{FF2B5EF4-FFF2-40B4-BE49-F238E27FC236}">
                  <a16:creationId xmlns:a16="http://schemas.microsoft.com/office/drawing/2014/main" id="{B75FDBAF-8AD3-7A4E-9C17-19936F0D551A}"/>
                </a:ext>
              </a:extLst>
            </p:cNvPr>
            <p:cNvSpPr>
              <a:spLocks noEditPoints="1"/>
            </p:cNvSpPr>
            <p:nvPr/>
          </p:nvSpPr>
          <p:spPr bwMode="auto">
            <a:xfrm>
              <a:off x="6507570" y="2343951"/>
              <a:ext cx="293547" cy="105848"/>
            </a:xfrm>
            <a:custGeom>
              <a:avLst/>
              <a:gdLst/>
              <a:ahLst/>
              <a:cxnLst>
                <a:cxn ang="0">
                  <a:pos x="17" y="15"/>
                </a:cxn>
                <a:cxn ang="0">
                  <a:pos x="26" y="2"/>
                </a:cxn>
                <a:cxn ang="0">
                  <a:pos x="49" y="17"/>
                </a:cxn>
                <a:cxn ang="0">
                  <a:pos x="47" y="26"/>
                </a:cxn>
                <a:cxn ang="0">
                  <a:pos x="19" y="40"/>
                </a:cxn>
                <a:cxn ang="0">
                  <a:pos x="15" y="36"/>
                </a:cxn>
                <a:cxn ang="0">
                  <a:pos x="6" y="30"/>
                </a:cxn>
                <a:cxn ang="0">
                  <a:pos x="269" y="17"/>
                </a:cxn>
                <a:cxn ang="0">
                  <a:pos x="243" y="21"/>
                </a:cxn>
                <a:cxn ang="0">
                  <a:pos x="216" y="26"/>
                </a:cxn>
                <a:cxn ang="0">
                  <a:pos x="188" y="15"/>
                </a:cxn>
                <a:cxn ang="0">
                  <a:pos x="177" y="6"/>
                </a:cxn>
                <a:cxn ang="0">
                  <a:pos x="160" y="0"/>
                </a:cxn>
                <a:cxn ang="0">
                  <a:pos x="130" y="4"/>
                </a:cxn>
                <a:cxn ang="0">
                  <a:pos x="104" y="17"/>
                </a:cxn>
                <a:cxn ang="0">
                  <a:pos x="81" y="21"/>
                </a:cxn>
                <a:cxn ang="0">
                  <a:pos x="60" y="23"/>
                </a:cxn>
                <a:cxn ang="0">
                  <a:pos x="64" y="34"/>
                </a:cxn>
                <a:cxn ang="0">
                  <a:pos x="56" y="43"/>
                </a:cxn>
                <a:cxn ang="0">
                  <a:pos x="32" y="45"/>
                </a:cxn>
                <a:cxn ang="0">
                  <a:pos x="9" y="53"/>
                </a:cxn>
                <a:cxn ang="0">
                  <a:pos x="19" y="62"/>
                </a:cxn>
                <a:cxn ang="0">
                  <a:pos x="24" y="72"/>
                </a:cxn>
                <a:cxn ang="0">
                  <a:pos x="23" y="81"/>
                </a:cxn>
                <a:cxn ang="0">
                  <a:pos x="17" y="81"/>
                </a:cxn>
                <a:cxn ang="0">
                  <a:pos x="19" y="94"/>
                </a:cxn>
                <a:cxn ang="0">
                  <a:pos x="30" y="106"/>
                </a:cxn>
                <a:cxn ang="0">
                  <a:pos x="32" y="117"/>
                </a:cxn>
                <a:cxn ang="0">
                  <a:pos x="45" y="123"/>
                </a:cxn>
                <a:cxn ang="0">
                  <a:pos x="43" y="124"/>
                </a:cxn>
                <a:cxn ang="0">
                  <a:pos x="55" y="123"/>
                </a:cxn>
                <a:cxn ang="0">
                  <a:pos x="66" y="126"/>
                </a:cxn>
                <a:cxn ang="0">
                  <a:pos x="75" y="136"/>
                </a:cxn>
                <a:cxn ang="0">
                  <a:pos x="94" y="130"/>
                </a:cxn>
                <a:cxn ang="0">
                  <a:pos x="119" y="126"/>
                </a:cxn>
                <a:cxn ang="0">
                  <a:pos x="154" y="134"/>
                </a:cxn>
                <a:cxn ang="0">
                  <a:pos x="175" y="123"/>
                </a:cxn>
                <a:cxn ang="0">
                  <a:pos x="194" y="123"/>
                </a:cxn>
                <a:cxn ang="0">
                  <a:pos x="194" y="138"/>
                </a:cxn>
                <a:cxn ang="0">
                  <a:pos x="205" y="121"/>
                </a:cxn>
                <a:cxn ang="0">
                  <a:pos x="237" y="117"/>
                </a:cxn>
                <a:cxn ang="0">
                  <a:pos x="262" y="117"/>
                </a:cxn>
                <a:cxn ang="0">
                  <a:pos x="296" y="109"/>
                </a:cxn>
                <a:cxn ang="0">
                  <a:pos x="322" y="106"/>
                </a:cxn>
                <a:cxn ang="0">
                  <a:pos x="344" y="111"/>
                </a:cxn>
                <a:cxn ang="0">
                  <a:pos x="331" y="87"/>
                </a:cxn>
                <a:cxn ang="0">
                  <a:pos x="329" y="64"/>
                </a:cxn>
                <a:cxn ang="0">
                  <a:pos x="331" y="47"/>
                </a:cxn>
                <a:cxn ang="0">
                  <a:pos x="316" y="28"/>
                </a:cxn>
                <a:cxn ang="0">
                  <a:pos x="297" y="11"/>
                </a:cxn>
                <a:cxn ang="0">
                  <a:pos x="280" y="11"/>
                </a:cxn>
                <a:cxn ang="0">
                  <a:pos x="41" y="126"/>
                </a:cxn>
                <a:cxn ang="0">
                  <a:pos x="41" y="126"/>
                </a:cxn>
                <a:cxn ang="0">
                  <a:pos x="8" y="43"/>
                </a:cxn>
                <a:cxn ang="0">
                  <a:pos x="0" y="45"/>
                </a:cxn>
              </a:cxnLst>
              <a:rect l="0" t="0" r="r" b="b"/>
              <a:pathLst>
                <a:path w="344" h="138">
                  <a:moveTo>
                    <a:pt x="6" y="30"/>
                  </a:moveTo>
                  <a:lnTo>
                    <a:pt x="9" y="30"/>
                  </a:lnTo>
                  <a:lnTo>
                    <a:pt x="11" y="26"/>
                  </a:lnTo>
                  <a:lnTo>
                    <a:pt x="11" y="21"/>
                  </a:lnTo>
                  <a:lnTo>
                    <a:pt x="17" y="17"/>
                  </a:lnTo>
                  <a:lnTo>
                    <a:pt x="17" y="15"/>
                  </a:lnTo>
                  <a:lnTo>
                    <a:pt x="13" y="13"/>
                  </a:lnTo>
                  <a:lnTo>
                    <a:pt x="13" y="8"/>
                  </a:lnTo>
                  <a:lnTo>
                    <a:pt x="17" y="4"/>
                  </a:lnTo>
                  <a:lnTo>
                    <a:pt x="21" y="4"/>
                  </a:lnTo>
                  <a:lnTo>
                    <a:pt x="23" y="2"/>
                  </a:lnTo>
                  <a:lnTo>
                    <a:pt x="26" y="2"/>
                  </a:lnTo>
                  <a:lnTo>
                    <a:pt x="32" y="6"/>
                  </a:lnTo>
                  <a:lnTo>
                    <a:pt x="34" y="4"/>
                  </a:lnTo>
                  <a:lnTo>
                    <a:pt x="38" y="4"/>
                  </a:lnTo>
                  <a:lnTo>
                    <a:pt x="40" y="11"/>
                  </a:lnTo>
                  <a:lnTo>
                    <a:pt x="45" y="17"/>
                  </a:lnTo>
                  <a:lnTo>
                    <a:pt x="49" y="17"/>
                  </a:lnTo>
                  <a:lnTo>
                    <a:pt x="55" y="21"/>
                  </a:lnTo>
                  <a:lnTo>
                    <a:pt x="56" y="23"/>
                  </a:lnTo>
                  <a:lnTo>
                    <a:pt x="56" y="26"/>
                  </a:lnTo>
                  <a:lnTo>
                    <a:pt x="55" y="28"/>
                  </a:lnTo>
                  <a:lnTo>
                    <a:pt x="49" y="28"/>
                  </a:lnTo>
                  <a:lnTo>
                    <a:pt x="47" y="26"/>
                  </a:lnTo>
                  <a:lnTo>
                    <a:pt x="43" y="26"/>
                  </a:lnTo>
                  <a:lnTo>
                    <a:pt x="41" y="28"/>
                  </a:lnTo>
                  <a:lnTo>
                    <a:pt x="34" y="28"/>
                  </a:lnTo>
                  <a:lnTo>
                    <a:pt x="30" y="30"/>
                  </a:lnTo>
                  <a:lnTo>
                    <a:pt x="30" y="34"/>
                  </a:lnTo>
                  <a:lnTo>
                    <a:pt x="19" y="40"/>
                  </a:lnTo>
                  <a:lnTo>
                    <a:pt x="11" y="47"/>
                  </a:lnTo>
                  <a:lnTo>
                    <a:pt x="11" y="43"/>
                  </a:lnTo>
                  <a:lnTo>
                    <a:pt x="13" y="38"/>
                  </a:lnTo>
                  <a:lnTo>
                    <a:pt x="15" y="38"/>
                  </a:lnTo>
                  <a:lnTo>
                    <a:pt x="19" y="36"/>
                  </a:lnTo>
                  <a:lnTo>
                    <a:pt x="15" y="36"/>
                  </a:lnTo>
                  <a:lnTo>
                    <a:pt x="13" y="36"/>
                  </a:lnTo>
                  <a:lnTo>
                    <a:pt x="11" y="36"/>
                  </a:lnTo>
                  <a:lnTo>
                    <a:pt x="8" y="34"/>
                  </a:lnTo>
                  <a:lnTo>
                    <a:pt x="6" y="30"/>
                  </a:lnTo>
                  <a:lnTo>
                    <a:pt x="6" y="30"/>
                  </a:lnTo>
                  <a:lnTo>
                    <a:pt x="6" y="30"/>
                  </a:lnTo>
                  <a:lnTo>
                    <a:pt x="6" y="30"/>
                  </a:lnTo>
                  <a:lnTo>
                    <a:pt x="6" y="30"/>
                  </a:lnTo>
                  <a:close/>
                  <a:moveTo>
                    <a:pt x="277" y="8"/>
                  </a:moveTo>
                  <a:lnTo>
                    <a:pt x="277" y="10"/>
                  </a:lnTo>
                  <a:lnTo>
                    <a:pt x="275" y="15"/>
                  </a:lnTo>
                  <a:lnTo>
                    <a:pt x="269" y="17"/>
                  </a:lnTo>
                  <a:lnTo>
                    <a:pt x="264" y="21"/>
                  </a:lnTo>
                  <a:lnTo>
                    <a:pt x="262" y="23"/>
                  </a:lnTo>
                  <a:lnTo>
                    <a:pt x="256" y="23"/>
                  </a:lnTo>
                  <a:lnTo>
                    <a:pt x="252" y="26"/>
                  </a:lnTo>
                  <a:lnTo>
                    <a:pt x="247" y="23"/>
                  </a:lnTo>
                  <a:lnTo>
                    <a:pt x="243" y="21"/>
                  </a:lnTo>
                  <a:lnTo>
                    <a:pt x="241" y="21"/>
                  </a:lnTo>
                  <a:lnTo>
                    <a:pt x="241" y="21"/>
                  </a:lnTo>
                  <a:lnTo>
                    <a:pt x="237" y="21"/>
                  </a:lnTo>
                  <a:lnTo>
                    <a:pt x="232" y="23"/>
                  </a:lnTo>
                  <a:lnTo>
                    <a:pt x="222" y="26"/>
                  </a:lnTo>
                  <a:lnTo>
                    <a:pt x="216" y="26"/>
                  </a:lnTo>
                  <a:lnTo>
                    <a:pt x="213" y="21"/>
                  </a:lnTo>
                  <a:lnTo>
                    <a:pt x="209" y="23"/>
                  </a:lnTo>
                  <a:lnTo>
                    <a:pt x="201" y="21"/>
                  </a:lnTo>
                  <a:lnTo>
                    <a:pt x="198" y="21"/>
                  </a:lnTo>
                  <a:lnTo>
                    <a:pt x="194" y="15"/>
                  </a:lnTo>
                  <a:lnTo>
                    <a:pt x="188" y="15"/>
                  </a:lnTo>
                  <a:lnTo>
                    <a:pt x="188" y="17"/>
                  </a:lnTo>
                  <a:lnTo>
                    <a:pt x="186" y="17"/>
                  </a:lnTo>
                  <a:lnTo>
                    <a:pt x="183" y="13"/>
                  </a:lnTo>
                  <a:lnTo>
                    <a:pt x="181" y="8"/>
                  </a:lnTo>
                  <a:lnTo>
                    <a:pt x="179" y="6"/>
                  </a:lnTo>
                  <a:lnTo>
                    <a:pt x="177" y="6"/>
                  </a:lnTo>
                  <a:lnTo>
                    <a:pt x="173" y="11"/>
                  </a:lnTo>
                  <a:lnTo>
                    <a:pt x="169" y="10"/>
                  </a:lnTo>
                  <a:lnTo>
                    <a:pt x="168" y="11"/>
                  </a:lnTo>
                  <a:lnTo>
                    <a:pt x="162" y="4"/>
                  </a:lnTo>
                  <a:lnTo>
                    <a:pt x="162" y="0"/>
                  </a:lnTo>
                  <a:lnTo>
                    <a:pt x="160" y="0"/>
                  </a:lnTo>
                  <a:lnTo>
                    <a:pt x="156" y="2"/>
                  </a:lnTo>
                  <a:lnTo>
                    <a:pt x="151" y="2"/>
                  </a:lnTo>
                  <a:lnTo>
                    <a:pt x="147" y="2"/>
                  </a:lnTo>
                  <a:lnTo>
                    <a:pt x="143" y="2"/>
                  </a:lnTo>
                  <a:lnTo>
                    <a:pt x="136" y="2"/>
                  </a:lnTo>
                  <a:lnTo>
                    <a:pt x="130" y="4"/>
                  </a:lnTo>
                  <a:lnTo>
                    <a:pt x="120" y="8"/>
                  </a:lnTo>
                  <a:lnTo>
                    <a:pt x="119" y="8"/>
                  </a:lnTo>
                  <a:lnTo>
                    <a:pt x="109" y="10"/>
                  </a:lnTo>
                  <a:lnTo>
                    <a:pt x="109" y="11"/>
                  </a:lnTo>
                  <a:lnTo>
                    <a:pt x="105" y="13"/>
                  </a:lnTo>
                  <a:lnTo>
                    <a:pt x="104" y="17"/>
                  </a:lnTo>
                  <a:lnTo>
                    <a:pt x="102" y="17"/>
                  </a:lnTo>
                  <a:lnTo>
                    <a:pt x="100" y="21"/>
                  </a:lnTo>
                  <a:lnTo>
                    <a:pt x="98" y="21"/>
                  </a:lnTo>
                  <a:lnTo>
                    <a:pt x="98" y="23"/>
                  </a:lnTo>
                  <a:lnTo>
                    <a:pt x="90" y="26"/>
                  </a:lnTo>
                  <a:lnTo>
                    <a:pt x="81" y="21"/>
                  </a:lnTo>
                  <a:lnTo>
                    <a:pt x="79" y="21"/>
                  </a:lnTo>
                  <a:lnTo>
                    <a:pt x="75" y="21"/>
                  </a:lnTo>
                  <a:lnTo>
                    <a:pt x="72" y="21"/>
                  </a:lnTo>
                  <a:lnTo>
                    <a:pt x="66" y="23"/>
                  </a:lnTo>
                  <a:lnTo>
                    <a:pt x="64" y="21"/>
                  </a:lnTo>
                  <a:lnTo>
                    <a:pt x="60" y="23"/>
                  </a:lnTo>
                  <a:lnTo>
                    <a:pt x="60" y="26"/>
                  </a:lnTo>
                  <a:lnTo>
                    <a:pt x="60" y="32"/>
                  </a:lnTo>
                  <a:lnTo>
                    <a:pt x="66" y="32"/>
                  </a:lnTo>
                  <a:lnTo>
                    <a:pt x="72" y="32"/>
                  </a:lnTo>
                  <a:lnTo>
                    <a:pt x="70" y="34"/>
                  </a:lnTo>
                  <a:lnTo>
                    <a:pt x="64" y="34"/>
                  </a:lnTo>
                  <a:lnTo>
                    <a:pt x="55" y="36"/>
                  </a:lnTo>
                  <a:lnTo>
                    <a:pt x="55" y="40"/>
                  </a:lnTo>
                  <a:lnTo>
                    <a:pt x="55" y="42"/>
                  </a:lnTo>
                  <a:lnTo>
                    <a:pt x="60" y="40"/>
                  </a:lnTo>
                  <a:lnTo>
                    <a:pt x="60" y="43"/>
                  </a:lnTo>
                  <a:lnTo>
                    <a:pt x="56" y="43"/>
                  </a:lnTo>
                  <a:lnTo>
                    <a:pt x="49" y="43"/>
                  </a:lnTo>
                  <a:lnTo>
                    <a:pt x="45" y="42"/>
                  </a:lnTo>
                  <a:lnTo>
                    <a:pt x="41" y="43"/>
                  </a:lnTo>
                  <a:lnTo>
                    <a:pt x="38" y="42"/>
                  </a:lnTo>
                  <a:lnTo>
                    <a:pt x="36" y="42"/>
                  </a:lnTo>
                  <a:lnTo>
                    <a:pt x="32" y="45"/>
                  </a:lnTo>
                  <a:lnTo>
                    <a:pt x="30" y="45"/>
                  </a:lnTo>
                  <a:lnTo>
                    <a:pt x="26" y="42"/>
                  </a:lnTo>
                  <a:lnTo>
                    <a:pt x="23" y="42"/>
                  </a:lnTo>
                  <a:lnTo>
                    <a:pt x="13" y="47"/>
                  </a:lnTo>
                  <a:lnTo>
                    <a:pt x="11" y="51"/>
                  </a:lnTo>
                  <a:lnTo>
                    <a:pt x="9" y="53"/>
                  </a:lnTo>
                  <a:lnTo>
                    <a:pt x="11" y="55"/>
                  </a:lnTo>
                  <a:lnTo>
                    <a:pt x="11" y="59"/>
                  </a:lnTo>
                  <a:lnTo>
                    <a:pt x="9" y="60"/>
                  </a:lnTo>
                  <a:lnTo>
                    <a:pt x="11" y="64"/>
                  </a:lnTo>
                  <a:lnTo>
                    <a:pt x="17" y="62"/>
                  </a:lnTo>
                  <a:lnTo>
                    <a:pt x="19" y="62"/>
                  </a:lnTo>
                  <a:lnTo>
                    <a:pt x="23" y="60"/>
                  </a:lnTo>
                  <a:lnTo>
                    <a:pt x="26" y="62"/>
                  </a:lnTo>
                  <a:lnTo>
                    <a:pt x="23" y="66"/>
                  </a:lnTo>
                  <a:lnTo>
                    <a:pt x="23" y="68"/>
                  </a:lnTo>
                  <a:lnTo>
                    <a:pt x="24" y="72"/>
                  </a:lnTo>
                  <a:lnTo>
                    <a:pt x="24" y="72"/>
                  </a:lnTo>
                  <a:lnTo>
                    <a:pt x="24" y="75"/>
                  </a:lnTo>
                  <a:lnTo>
                    <a:pt x="24" y="75"/>
                  </a:lnTo>
                  <a:lnTo>
                    <a:pt x="26" y="75"/>
                  </a:lnTo>
                  <a:lnTo>
                    <a:pt x="30" y="75"/>
                  </a:lnTo>
                  <a:lnTo>
                    <a:pt x="26" y="77"/>
                  </a:lnTo>
                  <a:lnTo>
                    <a:pt x="23" y="81"/>
                  </a:lnTo>
                  <a:lnTo>
                    <a:pt x="24" y="81"/>
                  </a:lnTo>
                  <a:lnTo>
                    <a:pt x="26" y="81"/>
                  </a:lnTo>
                  <a:lnTo>
                    <a:pt x="24" y="85"/>
                  </a:lnTo>
                  <a:lnTo>
                    <a:pt x="23" y="87"/>
                  </a:lnTo>
                  <a:lnTo>
                    <a:pt x="21" y="87"/>
                  </a:lnTo>
                  <a:lnTo>
                    <a:pt x="17" y="81"/>
                  </a:lnTo>
                  <a:lnTo>
                    <a:pt x="17" y="81"/>
                  </a:lnTo>
                  <a:lnTo>
                    <a:pt x="15" y="85"/>
                  </a:lnTo>
                  <a:lnTo>
                    <a:pt x="17" y="89"/>
                  </a:lnTo>
                  <a:lnTo>
                    <a:pt x="15" y="91"/>
                  </a:lnTo>
                  <a:lnTo>
                    <a:pt x="15" y="92"/>
                  </a:lnTo>
                  <a:lnTo>
                    <a:pt x="19" y="94"/>
                  </a:lnTo>
                  <a:lnTo>
                    <a:pt x="21" y="92"/>
                  </a:lnTo>
                  <a:lnTo>
                    <a:pt x="24" y="96"/>
                  </a:lnTo>
                  <a:lnTo>
                    <a:pt x="26" y="96"/>
                  </a:lnTo>
                  <a:lnTo>
                    <a:pt x="30" y="96"/>
                  </a:lnTo>
                  <a:lnTo>
                    <a:pt x="30" y="102"/>
                  </a:lnTo>
                  <a:lnTo>
                    <a:pt x="30" y="106"/>
                  </a:lnTo>
                  <a:lnTo>
                    <a:pt x="30" y="109"/>
                  </a:lnTo>
                  <a:lnTo>
                    <a:pt x="30" y="109"/>
                  </a:lnTo>
                  <a:lnTo>
                    <a:pt x="32" y="109"/>
                  </a:lnTo>
                  <a:lnTo>
                    <a:pt x="38" y="113"/>
                  </a:lnTo>
                  <a:lnTo>
                    <a:pt x="36" y="117"/>
                  </a:lnTo>
                  <a:lnTo>
                    <a:pt x="32" y="117"/>
                  </a:lnTo>
                  <a:lnTo>
                    <a:pt x="32" y="119"/>
                  </a:lnTo>
                  <a:lnTo>
                    <a:pt x="34" y="119"/>
                  </a:lnTo>
                  <a:lnTo>
                    <a:pt x="40" y="119"/>
                  </a:lnTo>
                  <a:lnTo>
                    <a:pt x="49" y="119"/>
                  </a:lnTo>
                  <a:lnTo>
                    <a:pt x="49" y="119"/>
                  </a:lnTo>
                  <a:lnTo>
                    <a:pt x="45" y="123"/>
                  </a:lnTo>
                  <a:lnTo>
                    <a:pt x="41" y="124"/>
                  </a:lnTo>
                  <a:lnTo>
                    <a:pt x="36" y="123"/>
                  </a:lnTo>
                  <a:lnTo>
                    <a:pt x="34" y="126"/>
                  </a:lnTo>
                  <a:lnTo>
                    <a:pt x="36" y="126"/>
                  </a:lnTo>
                  <a:lnTo>
                    <a:pt x="40" y="124"/>
                  </a:lnTo>
                  <a:lnTo>
                    <a:pt x="43" y="124"/>
                  </a:lnTo>
                  <a:lnTo>
                    <a:pt x="45" y="124"/>
                  </a:lnTo>
                  <a:lnTo>
                    <a:pt x="45" y="126"/>
                  </a:lnTo>
                  <a:lnTo>
                    <a:pt x="47" y="126"/>
                  </a:lnTo>
                  <a:lnTo>
                    <a:pt x="49" y="124"/>
                  </a:lnTo>
                  <a:lnTo>
                    <a:pt x="51" y="123"/>
                  </a:lnTo>
                  <a:lnTo>
                    <a:pt x="55" y="123"/>
                  </a:lnTo>
                  <a:lnTo>
                    <a:pt x="55" y="124"/>
                  </a:lnTo>
                  <a:lnTo>
                    <a:pt x="60" y="124"/>
                  </a:lnTo>
                  <a:lnTo>
                    <a:pt x="64" y="126"/>
                  </a:lnTo>
                  <a:lnTo>
                    <a:pt x="64" y="124"/>
                  </a:lnTo>
                  <a:lnTo>
                    <a:pt x="66" y="124"/>
                  </a:lnTo>
                  <a:lnTo>
                    <a:pt x="66" y="126"/>
                  </a:lnTo>
                  <a:lnTo>
                    <a:pt x="64" y="126"/>
                  </a:lnTo>
                  <a:lnTo>
                    <a:pt x="66" y="130"/>
                  </a:lnTo>
                  <a:lnTo>
                    <a:pt x="66" y="130"/>
                  </a:lnTo>
                  <a:lnTo>
                    <a:pt x="70" y="134"/>
                  </a:lnTo>
                  <a:lnTo>
                    <a:pt x="72" y="134"/>
                  </a:lnTo>
                  <a:lnTo>
                    <a:pt x="75" y="136"/>
                  </a:lnTo>
                  <a:lnTo>
                    <a:pt x="81" y="134"/>
                  </a:lnTo>
                  <a:lnTo>
                    <a:pt x="81" y="134"/>
                  </a:lnTo>
                  <a:lnTo>
                    <a:pt x="85" y="134"/>
                  </a:lnTo>
                  <a:lnTo>
                    <a:pt x="88" y="130"/>
                  </a:lnTo>
                  <a:lnTo>
                    <a:pt x="90" y="134"/>
                  </a:lnTo>
                  <a:lnTo>
                    <a:pt x="94" y="130"/>
                  </a:lnTo>
                  <a:lnTo>
                    <a:pt x="92" y="126"/>
                  </a:lnTo>
                  <a:lnTo>
                    <a:pt x="94" y="126"/>
                  </a:lnTo>
                  <a:lnTo>
                    <a:pt x="92" y="121"/>
                  </a:lnTo>
                  <a:lnTo>
                    <a:pt x="102" y="121"/>
                  </a:lnTo>
                  <a:lnTo>
                    <a:pt x="109" y="121"/>
                  </a:lnTo>
                  <a:lnTo>
                    <a:pt x="119" y="126"/>
                  </a:lnTo>
                  <a:lnTo>
                    <a:pt x="120" y="126"/>
                  </a:lnTo>
                  <a:lnTo>
                    <a:pt x="126" y="134"/>
                  </a:lnTo>
                  <a:lnTo>
                    <a:pt x="130" y="136"/>
                  </a:lnTo>
                  <a:lnTo>
                    <a:pt x="147" y="134"/>
                  </a:lnTo>
                  <a:lnTo>
                    <a:pt x="152" y="134"/>
                  </a:lnTo>
                  <a:lnTo>
                    <a:pt x="154" y="134"/>
                  </a:lnTo>
                  <a:lnTo>
                    <a:pt x="156" y="134"/>
                  </a:lnTo>
                  <a:lnTo>
                    <a:pt x="158" y="130"/>
                  </a:lnTo>
                  <a:lnTo>
                    <a:pt x="158" y="130"/>
                  </a:lnTo>
                  <a:lnTo>
                    <a:pt x="168" y="119"/>
                  </a:lnTo>
                  <a:lnTo>
                    <a:pt x="168" y="119"/>
                  </a:lnTo>
                  <a:lnTo>
                    <a:pt x="175" y="123"/>
                  </a:lnTo>
                  <a:lnTo>
                    <a:pt x="181" y="124"/>
                  </a:lnTo>
                  <a:lnTo>
                    <a:pt x="186" y="123"/>
                  </a:lnTo>
                  <a:lnTo>
                    <a:pt x="186" y="121"/>
                  </a:lnTo>
                  <a:lnTo>
                    <a:pt x="192" y="119"/>
                  </a:lnTo>
                  <a:lnTo>
                    <a:pt x="194" y="119"/>
                  </a:lnTo>
                  <a:lnTo>
                    <a:pt x="194" y="123"/>
                  </a:lnTo>
                  <a:lnTo>
                    <a:pt x="192" y="126"/>
                  </a:lnTo>
                  <a:lnTo>
                    <a:pt x="188" y="130"/>
                  </a:lnTo>
                  <a:lnTo>
                    <a:pt x="188" y="130"/>
                  </a:lnTo>
                  <a:lnTo>
                    <a:pt x="192" y="134"/>
                  </a:lnTo>
                  <a:lnTo>
                    <a:pt x="192" y="138"/>
                  </a:lnTo>
                  <a:lnTo>
                    <a:pt x="194" y="138"/>
                  </a:lnTo>
                  <a:lnTo>
                    <a:pt x="198" y="138"/>
                  </a:lnTo>
                  <a:lnTo>
                    <a:pt x="201" y="136"/>
                  </a:lnTo>
                  <a:lnTo>
                    <a:pt x="201" y="134"/>
                  </a:lnTo>
                  <a:lnTo>
                    <a:pt x="203" y="130"/>
                  </a:lnTo>
                  <a:lnTo>
                    <a:pt x="203" y="124"/>
                  </a:lnTo>
                  <a:lnTo>
                    <a:pt x="205" y="121"/>
                  </a:lnTo>
                  <a:lnTo>
                    <a:pt x="211" y="123"/>
                  </a:lnTo>
                  <a:lnTo>
                    <a:pt x="213" y="123"/>
                  </a:lnTo>
                  <a:lnTo>
                    <a:pt x="222" y="119"/>
                  </a:lnTo>
                  <a:lnTo>
                    <a:pt x="226" y="119"/>
                  </a:lnTo>
                  <a:lnTo>
                    <a:pt x="226" y="117"/>
                  </a:lnTo>
                  <a:lnTo>
                    <a:pt x="237" y="117"/>
                  </a:lnTo>
                  <a:lnTo>
                    <a:pt x="241" y="117"/>
                  </a:lnTo>
                  <a:lnTo>
                    <a:pt x="243" y="119"/>
                  </a:lnTo>
                  <a:lnTo>
                    <a:pt x="248" y="121"/>
                  </a:lnTo>
                  <a:lnTo>
                    <a:pt x="256" y="121"/>
                  </a:lnTo>
                  <a:lnTo>
                    <a:pt x="256" y="119"/>
                  </a:lnTo>
                  <a:lnTo>
                    <a:pt x="262" y="117"/>
                  </a:lnTo>
                  <a:lnTo>
                    <a:pt x="265" y="115"/>
                  </a:lnTo>
                  <a:lnTo>
                    <a:pt x="271" y="113"/>
                  </a:lnTo>
                  <a:lnTo>
                    <a:pt x="277" y="113"/>
                  </a:lnTo>
                  <a:lnTo>
                    <a:pt x="280" y="111"/>
                  </a:lnTo>
                  <a:lnTo>
                    <a:pt x="288" y="111"/>
                  </a:lnTo>
                  <a:lnTo>
                    <a:pt x="296" y="109"/>
                  </a:lnTo>
                  <a:lnTo>
                    <a:pt x="301" y="109"/>
                  </a:lnTo>
                  <a:lnTo>
                    <a:pt x="301" y="111"/>
                  </a:lnTo>
                  <a:lnTo>
                    <a:pt x="307" y="106"/>
                  </a:lnTo>
                  <a:lnTo>
                    <a:pt x="312" y="106"/>
                  </a:lnTo>
                  <a:lnTo>
                    <a:pt x="314" y="106"/>
                  </a:lnTo>
                  <a:lnTo>
                    <a:pt x="322" y="106"/>
                  </a:lnTo>
                  <a:lnTo>
                    <a:pt x="328" y="106"/>
                  </a:lnTo>
                  <a:lnTo>
                    <a:pt x="331" y="106"/>
                  </a:lnTo>
                  <a:lnTo>
                    <a:pt x="335" y="109"/>
                  </a:lnTo>
                  <a:lnTo>
                    <a:pt x="335" y="111"/>
                  </a:lnTo>
                  <a:lnTo>
                    <a:pt x="337" y="111"/>
                  </a:lnTo>
                  <a:lnTo>
                    <a:pt x="344" y="111"/>
                  </a:lnTo>
                  <a:lnTo>
                    <a:pt x="344" y="109"/>
                  </a:lnTo>
                  <a:lnTo>
                    <a:pt x="341" y="106"/>
                  </a:lnTo>
                  <a:lnTo>
                    <a:pt x="337" y="96"/>
                  </a:lnTo>
                  <a:lnTo>
                    <a:pt x="331" y="94"/>
                  </a:lnTo>
                  <a:lnTo>
                    <a:pt x="331" y="92"/>
                  </a:lnTo>
                  <a:lnTo>
                    <a:pt x="331" y="87"/>
                  </a:lnTo>
                  <a:lnTo>
                    <a:pt x="335" y="81"/>
                  </a:lnTo>
                  <a:lnTo>
                    <a:pt x="335" y="79"/>
                  </a:lnTo>
                  <a:lnTo>
                    <a:pt x="329" y="77"/>
                  </a:lnTo>
                  <a:lnTo>
                    <a:pt x="329" y="75"/>
                  </a:lnTo>
                  <a:lnTo>
                    <a:pt x="331" y="72"/>
                  </a:lnTo>
                  <a:lnTo>
                    <a:pt x="329" y="64"/>
                  </a:lnTo>
                  <a:lnTo>
                    <a:pt x="328" y="60"/>
                  </a:lnTo>
                  <a:lnTo>
                    <a:pt x="326" y="59"/>
                  </a:lnTo>
                  <a:lnTo>
                    <a:pt x="331" y="57"/>
                  </a:lnTo>
                  <a:lnTo>
                    <a:pt x="331" y="53"/>
                  </a:lnTo>
                  <a:lnTo>
                    <a:pt x="335" y="51"/>
                  </a:lnTo>
                  <a:lnTo>
                    <a:pt x="331" y="47"/>
                  </a:lnTo>
                  <a:lnTo>
                    <a:pt x="331" y="45"/>
                  </a:lnTo>
                  <a:lnTo>
                    <a:pt x="328" y="45"/>
                  </a:lnTo>
                  <a:lnTo>
                    <a:pt x="320" y="45"/>
                  </a:lnTo>
                  <a:lnTo>
                    <a:pt x="314" y="42"/>
                  </a:lnTo>
                  <a:lnTo>
                    <a:pt x="314" y="34"/>
                  </a:lnTo>
                  <a:lnTo>
                    <a:pt x="316" y="28"/>
                  </a:lnTo>
                  <a:lnTo>
                    <a:pt x="314" y="23"/>
                  </a:lnTo>
                  <a:lnTo>
                    <a:pt x="311" y="23"/>
                  </a:lnTo>
                  <a:lnTo>
                    <a:pt x="311" y="21"/>
                  </a:lnTo>
                  <a:lnTo>
                    <a:pt x="307" y="17"/>
                  </a:lnTo>
                  <a:lnTo>
                    <a:pt x="305" y="17"/>
                  </a:lnTo>
                  <a:lnTo>
                    <a:pt x="297" y="11"/>
                  </a:lnTo>
                  <a:lnTo>
                    <a:pt x="294" y="10"/>
                  </a:lnTo>
                  <a:lnTo>
                    <a:pt x="290" y="11"/>
                  </a:lnTo>
                  <a:lnTo>
                    <a:pt x="288" y="13"/>
                  </a:lnTo>
                  <a:lnTo>
                    <a:pt x="282" y="11"/>
                  </a:lnTo>
                  <a:lnTo>
                    <a:pt x="280" y="13"/>
                  </a:lnTo>
                  <a:lnTo>
                    <a:pt x="280" y="11"/>
                  </a:lnTo>
                  <a:lnTo>
                    <a:pt x="280" y="10"/>
                  </a:lnTo>
                  <a:lnTo>
                    <a:pt x="277" y="8"/>
                  </a:lnTo>
                  <a:lnTo>
                    <a:pt x="277" y="8"/>
                  </a:lnTo>
                  <a:lnTo>
                    <a:pt x="277" y="8"/>
                  </a:lnTo>
                  <a:lnTo>
                    <a:pt x="277" y="8"/>
                  </a:lnTo>
                  <a:close/>
                  <a:moveTo>
                    <a:pt x="41" y="126"/>
                  </a:moveTo>
                  <a:lnTo>
                    <a:pt x="43" y="126"/>
                  </a:lnTo>
                  <a:lnTo>
                    <a:pt x="45" y="126"/>
                  </a:lnTo>
                  <a:lnTo>
                    <a:pt x="45" y="126"/>
                  </a:lnTo>
                  <a:lnTo>
                    <a:pt x="43" y="130"/>
                  </a:lnTo>
                  <a:lnTo>
                    <a:pt x="41" y="126"/>
                  </a:lnTo>
                  <a:lnTo>
                    <a:pt x="41" y="126"/>
                  </a:lnTo>
                  <a:lnTo>
                    <a:pt x="41" y="126"/>
                  </a:lnTo>
                  <a:lnTo>
                    <a:pt x="41" y="126"/>
                  </a:lnTo>
                  <a:close/>
                  <a:moveTo>
                    <a:pt x="0" y="45"/>
                  </a:moveTo>
                  <a:lnTo>
                    <a:pt x="6" y="47"/>
                  </a:lnTo>
                  <a:lnTo>
                    <a:pt x="8" y="47"/>
                  </a:lnTo>
                  <a:lnTo>
                    <a:pt x="8" y="43"/>
                  </a:lnTo>
                  <a:lnTo>
                    <a:pt x="6" y="43"/>
                  </a:lnTo>
                  <a:lnTo>
                    <a:pt x="6" y="45"/>
                  </a:lnTo>
                  <a:lnTo>
                    <a:pt x="0" y="45"/>
                  </a:lnTo>
                  <a:lnTo>
                    <a:pt x="0" y="45"/>
                  </a:lnTo>
                  <a:lnTo>
                    <a:pt x="0" y="45"/>
                  </a:lnTo>
                  <a:lnTo>
                    <a:pt x="0" y="4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61">
              <a:extLst>
                <a:ext uri="{FF2B5EF4-FFF2-40B4-BE49-F238E27FC236}">
                  <a16:creationId xmlns:a16="http://schemas.microsoft.com/office/drawing/2014/main" id="{69D0CF5B-7AC7-1944-85C4-5F96EB9F5EEA}"/>
                </a:ext>
              </a:extLst>
            </p:cNvPr>
            <p:cNvSpPr>
              <a:spLocks/>
            </p:cNvSpPr>
            <p:nvPr/>
          </p:nvSpPr>
          <p:spPr bwMode="auto">
            <a:xfrm>
              <a:off x="6719199" y="2426022"/>
              <a:ext cx="152747" cy="133460"/>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62">
              <a:extLst>
                <a:ext uri="{FF2B5EF4-FFF2-40B4-BE49-F238E27FC236}">
                  <a16:creationId xmlns:a16="http://schemas.microsoft.com/office/drawing/2014/main" id="{9B0D3390-B90D-6842-BF2F-231BA7C0A152}"/>
                </a:ext>
              </a:extLst>
            </p:cNvPr>
            <p:cNvSpPr>
              <a:spLocks/>
            </p:cNvSpPr>
            <p:nvPr/>
          </p:nvSpPr>
          <p:spPr bwMode="auto">
            <a:xfrm>
              <a:off x="6719199" y="2426022"/>
              <a:ext cx="152747" cy="133460"/>
            </a:xfrm>
            <a:custGeom>
              <a:avLst/>
              <a:gdLst/>
              <a:ahLst/>
              <a:cxnLst>
                <a:cxn ang="0">
                  <a:pos x="177" y="149"/>
                </a:cxn>
                <a:cxn ang="0">
                  <a:pos x="172" y="144"/>
                </a:cxn>
                <a:cxn ang="0">
                  <a:pos x="164" y="134"/>
                </a:cxn>
                <a:cxn ang="0">
                  <a:pos x="164" y="123"/>
                </a:cxn>
                <a:cxn ang="0">
                  <a:pos x="164" y="110"/>
                </a:cxn>
                <a:cxn ang="0">
                  <a:pos x="157" y="104"/>
                </a:cxn>
                <a:cxn ang="0">
                  <a:pos x="151" y="100"/>
                </a:cxn>
                <a:cxn ang="0">
                  <a:pos x="136" y="91"/>
                </a:cxn>
                <a:cxn ang="0">
                  <a:pos x="128" y="91"/>
                </a:cxn>
                <a:cxn ang="0">
                  <a:pos x="128" y="87"/>
                </a:cxn>
                <a:cxn ang="0">
                  <a:pos x="127" y="80"/>
                </a:cxn>
                <a:cxn ang="0">
                  <a:pos x="123" y="76"/>
                </a:cxn>
                <a:cxn ang="0">
                  <a:pos x="117" y="74"/>
                </a:cxn>
                <a:cxn ang="0">
                  <a:pos x="117" y="70"/>
                </a:cxn>
                <a:cxn ang="0">
                  <a:pos x="117" y="65"/>
                </a:cxn>
                <a:cxn ang="0">
                  <a:pos x="123" y="57"/>
                </a:cxn>
                <a:cxn ang="0">
                  <a:pos x="123" y="51"/>
                </a:cxn>
                <a:cxn ang="0">
                  <a:pos x="127" y="42"/>
                </a:cxn>
                <a:cxn ang="0">
                  <a:pos x="127" y="36"/>
                </a:cxn>
                <a:cxn ang="0">
                  <a:pos x="130" y="34"/>
                </a:cxn>
                <a:cxn ang="0">
                  <a:pos x="130" y="34"/>
                </a:cxn>
                <a:cxn ang="0">
                  <a:pos x="123" y="34"/>
                </a:cxn>
                <a:cxn ang="0">
                  <a:pos x="113" y="29"/>
                </a:cxn>
                <a:cxn ang="0">
                  <a:pos x="108" y="27"/>
                </a:cxn>
                <a:cxn ang="0">
                  <a:pos x="104" y="19"/>
                </a:cxn>
                <a:cxn ang="0">
                  <a:pos x="102" y="14"/>
                </a:cxn>
                <a:cxn ang="0">
                  <a:pos x="98" y="6"/>
                </a:cxn>
                <a:cxn ang="0">
                  <a:pos x="89" y="6"/>
                </a:cxn>
                <a:cxn ang="0">
                  <a:pos x="89" y="4"/>
                </a:cxn>
                <a:cxn ang="0">
                  <a:pos x="80" y="0"/>
                </a:cxn>
                <a:cxn ang="0">
                  <a:pos x="68" y="0"/>
                </a:cxn>
                <a:cxn ang="0">
                  <a:pos x="61" y="0"/>
                </a:cxn>
                <a:cxn ang="0">
                  <a:pos x="57" y="6"/>
                </a:cxn>
                <a:cxn ang="0">
                  <a:pos x="53" y="10"/>
                </a:cxn>
                <a:cxn ang="0">
                  <a:pos x="40" y="16"/>
                </a:cxn>
                <a:cxn ang="0">
                  <a:pos x="38" y="29"/>
                </a:cxn>
                <a:cxn ang="0">
                  <a:pos x="40" y="40"/>
                </a:cxn>
                <a:cxn ang="0">
                  <a:pos x="40" y="49"/>
                </a:cxn>
                <a:cxn ang="0">
                  <a:pos x="36" y="61"/>
                </a:cxn>
                <a:cxn ang="0">
                  <a:pos x="0" y="87"/>
                </a:cxn>
                <a:cxn ang="0">
                  <a:pos x="0" y="87"/>
                </a:cxn>
                <a:cxn ang="0">
                  <a:pos x="29" y="114"/>
                </a:cxn>
                <a:cxn ang="0">
                  <a:pos x="147" y="174"/>
                </a:cxn>
                <a:cxn ang="0">
                  <a:pos x="155" y="157"/>
                </a:cxn>
                <a:cxn ang="0">
                  <a:pos x="170" y="157"/>
                </a:cxn>
                <a:cxn ang="0">
                  <a:pos x="176" y="155"/>
                </a:cxn>
                <a:cxn ang="0">
                  <a:pos x="179" y="149"/>
                </a:cxn>
                <a:cxn ang="0">
                  <a:pos x="179" y="149"/>
                </a:cxn>
              </a:cxnLst>
              <a:rect l="0" t="0" r="r" b="b"/>
              <a:pathLst>
                <a:path w="179" h="174">
                  <a:moveTo>
                    <a:pt x="179" y="149"/>
                  </a:moveTo>
                  <a:lnTo>
                    <a:pt x="177" y="149"/>
                  </a:lnTo>
                  <a:lnTo>
                    <a:pt x="176" y="147"/>
                  </a:lnTo>
                  <a:lnTo>
                    <a:pt x="172" y="144"/>
                  </a:lnTo>
                  <a:lnTo>
                    <a:pt x="172" y="134"/>
                  </a:lnTo>
                  <a:lnTo>
                    <a:pt x="164" y="134"/>
                  </a:lnTo>
                  <a:lnTo>
                    <a:pt x="162" y="129"/>
                  </a:lnTo>
                  <a:lnTo>
                    <a:pt x="164" y="123"/>
                  </a:lnTo>
                  <a:lnTo>
                    <a:pt x="168" y="119"/>
                  </a:lnTo>
                  <a:lnTo>
                    <a:pt x="164" y="110"/>
                  </a:lnTo>
                  <a:lnTo>
                    <a:pt x="160" y="108"/>
                  </a:lnTo>
                  <a:lnTo>
                    <a:pt x="157" y="104"/>
                  </a:lnTo>
                  <a:lnTo>
                    <a:pt x="153" y="100"/>
                  </a:lnTo>
                  <a:lnTo>
                    <a:pt x="151" y="100"/>
                  </a:lnTo>
                  <a:lnTo>
                    <a:pt x="138" y="91"/>
                  </a:lnTo>
                  <a:lnTo>
                    <a:pt x="136" y="91"/>
                  </a:lnTo>
                  <a:lnTo>
                    <a:pt x="134" y="95"/>
                  </a:lnTo>
                  <a:lnTo>
                    <a:pt x="128" y="91"/>
                  </a:lnTo>
                  <a:lnTo>
                    <a:pt x="130" y="89"/>
                  </a:lnTo>
                  <a:lnTo>
                    <a:pt x="128" y="87"/>
                  </a:lnTo>
                  <a:lnTo>
                    <a:pt x="130" y="83"/>
                  </a:lnTo>
                  <a:lnTo>
                    <a:pt x="127" y="80"/>
                  </a:lnTo>
                  <a:lnTo>
                    <a:pt x="127" y="78"/>
                  </a:lnTo>
                  <a:lnTo>
                    <a:pt x="123" y="76"/>
                  </a:lnTo>
                  <a:lnTo>
                    <a:pt x="121" y="74"/>
                  </a:lnTo>
                  <a:lnTo>
                    <a:pt x="117" y="74"/>
                  </a:lnTo>
                  <a:lnTo>
                    <a:pt x="117" y="70"/>
                  </a:lnTo>
                  <a:lnTo>
                    <a:pt x="117" y="70"/>
                  </a:lnTo>
                  <a:lnTo>
                    <a:pt x="117" y="66"/>
                  </a:lnTo>
                  <a:lnTo>
                    <a:pt x="117" y="65"/>
                  </a:lnTo>
                  <a:lnTo>
                    <a:pt x="117" y="59"/>
                  </a:lnTo>
                  <a:lnTo>
                    <a:pt x="123" y="57"/>
                  </a:lnTo>
                  <a:lnTo>
                    <a:pt x="123" y="51"/>
                  </a:lnTo>
                  <a:lnTo>
                    <a:pt x="123" y="51"/>
                  </a:lnTo>
                  <a:lnTo>
                    <a:pt x="127" y="49"/>
                  </a:lnTo>
                  <a:lnTo>
                    <a:pt x="127" y="42"/>
                  </a:lnTo>
                  <a:lnTo>
                    <a:pt x="127" y="42"/>
                  </a:lnTo>
                  <a:lnTo>
                    <a:pt x="127" y="36"/>
                  </a:lnTo>
                  <a:lnTo>
                    <a:pt x="127" y="36"/>
                  </a:lnTo>
                  <a:lnTo>
                    <a:pt x="130" y="34"/>
                  </a:lnTo>
                  <a:lnTo>
                    <a:pt x="130" y="34"/>
                  </a:lnTo>
                  <a:lnTo>
                    <a:pt x="130" y="34"/>
                  </a:lnTo>
                  <a:lnTo>
                    <a:pt x="127" y="31"/>
                  </a:lnTo>
                  <a:lnTo>
                    <a:pt x="123" y="34"/>
                  </a:lnTo>
                  <a:lnTo>
                    <a:pt x="121" y="31"/>
                  </a:lnTo>
                  <a:lnTo>
                    <a:pt x="113" y="29"/>
                  </a:lnTo>
                  <a:lnTo>
                    <a:pt x="112" y="29"/>
                  </a:lnTo>
                  <a:lnTo>
                    <a:pt x="108" y="27"/>
                  </a:lnTo>
                  <a:lnTo>
                    <a:pt x="106" y="21"/>
                  </a:lnTo>
                  <a:lnTo>
                    <a:pt x="104" y="19"/>
                  </a:lnTo>
                  <a:lnTo>
                    <a:pt x="102" y="17"/>
                  </a:lnTo>
                  <a:lnTo>
                    <a:pt x="102" y="14"/>
                  </a:lnTo>
                  <a:lnTo>
                    <a:pt x="102" y="10"/>
                  </a:lnTo>
                  <a:lnTo>
                    <a:pt x="98" y="6"/>
                  </a:lnTo>
                  <a:lnTo>
                    <a:pt x="96" y="6"/>
                  </a:lnTo>
                  <a:lnTo>
                    <a:pt x="89" y="6"/>
                  </a:lnTo>
                  <a:lnTo>
                    <a:pt x="89" y="6"/>
                  </a:lnTo>
                  <a:lnTo>
                    <a:pt x="89" y="4"/>
                  </a:lnTo>
                  <a:lnTo>
                    <a:pt x="85" y="0"/>
                  </a:lnTo>
                  <a:lnTo>
                    <a:pt x="80" y="0"/>
                  </a:lnTo>
                  <a:lnTo>
                    <a:pt x="74" y="0"/>
                  </a:lnTo>
                  <a:lnTo>
                    <a:pt x="68" y="0"/>
                  </a:lnTo>
                  <a:lnTo>
                    <a:pt x="64" y="0"/>
                  </a:lnTo>
                  <a:lnTo>
                    <a:pt x="61" y="0"/>
                  </a:lnTo>
                  <a:lnTo>
                    <a:pt x="55" y="6"/>
                  </a:lnTo>
                  <a:lnTo>
                    <a:pt x="57" y="6"/>
                  </a:lnTo>
                  <a:lnTo>
                    <a:pt x="53" y="10"/>
                  </a:lnTo>
                  <a:lnTo>
                    <a:pt x="53" y="10"/>
                  </a:lnTo>
                  <a:lnTo>
                    <a:pt x="48" y="14"/>
                  </a:lnTo>
                  <a:lnTo>
                    <a:pt x="40" y="16"/>
                  </a:lnTo>
                  <a:lnTo>
                    <a:pt x="38" y="21"/>
                  </a:lnTo>
                  <a:lnTo>
                    <a:pt x="38" y="29"/>
                  </a:lnTo>
                  <a:lnTo>
                    <a:pt x="40" y="34"/>
                  </a:lnTo>
                  <a:lnTo>
                    <a:pt x="40" y="40"/>
                  </a:lnTo>
                  <a:lnTo>
                    <a:pt x="38" y="48"/>
                  </a:lnTo>
                  <a:lnTo>
                    <a:pt x="40" y="49"/>
                  </a:lnTo>
                  <a:lnTo>
                    <a:pt x="40" y="55"/>
                  </a:lnTo>
                  <a:lnTo>
                    <a:pt x="36" y="61"/>
                  </a:lnTo>
                  <a:lnTo>
                    <a:pt x="34" y="61"/>
                  </a:lnTo>
                  <a:lnTo>
                    <a:pt x="0" y="87"/>
                  </a:lnTo>
                  <a:lnTo>
                    <a:pt x="0" y="87"/>
                  </a:lnTo>
                  <a:lnTo>
                    <a:pt x="0" y="87"/>
                  </a:lnTo>
                  <a:lnTo>
                    <a:pt x="12" y="110"/>
                  </a:lnTo>
                  <a:lnTo>
                    <a:pt x="29" y="114"/>
                  </a:lnTo>
                  <a:lnTo>
                    <a:pt x="113" y="174"/>
                  </a:lnTo>
                  <a:lnTo>
                    <a:pt x="147" y="174"/>
                  </a:lnTo>
                  <a:lnTo>
                    <a:pt x="151" y="164"/>
                  </a:lnTo>
                  <a:lnTo>
                    <a:pt x="155" y="157"/>
                  </a:lnTo>
                  <a:lnTo>
                    <a:pt x="164" y="153"/>
                  </a:lnTo>
                  <a:lnTo>
                    <a:pt x="170" y="157"/>
                  </a:lnTo>
                  <a:lnTo>
                    <a:pt x="176" y="155"/>
                  </a:lnTo>
                  <a:lnTo>
                    <a:pt x="176" y="155"/>
                  </a:lnTo>
                  <a:lnTo>
                    <a:pt x="177" y="151"/>
                  </a:lnTo>
                  <a:lnTo>
                    <a:pt x="179" y="149"/>
                  </a:lnTo>
                  <a:lnTo>
                    <a:pt x="179" y="149"/>
                  </a:lnTo>
                  <a:lnTo>
                    <a:pt x="179" y="1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63">
              <a:extLst>
                <a:ext uri="{FF2B5EF4-FFF2-40B4-BE49-F238E27FC236}">
                  <a16:creationId xmlns:a16="http://schemas.microsoft.com/office/drawing/2014/main" id="{7709FCEB-D6D2-D842-BAE4-B300E6B28BAA}"/>
                </a:ext>
              </a:extLst>
            </p:cNvPr>
            <p:cNvSpPr>
              <a:spLocks/>
            </p:cNvSpPr>
            <p:nvPr/>
          </p:nvSpPr>
          <p:spPr bwMode="auto">
            <a:xfrm>
              <a:off x="6846345" y="2543374"/>
              <a:ext cx="25600" cy="24544"/>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64">
              <a:extLst>
                <a:ext uri="{FF2B5EF4-FFF2-40B4-BE49-F238E27FC236}">
                  <a16:creationId xmlns:a16="http://schemas.microsoft.com/office/drawing/2014/main" id="{46F22DEC-B4FD-1748-A9D7-31FB9318FDCA}"/>
                </a:ext>
              </a:extLst>
            </p:cNvPr>
            <p:cNvSpPr>
              <a:spLocks/>
            </p:cNvSpPr>
            <p:nvPr/>
          </p:nvSpPr>
          <p:spPr bwMode="auto">
            <a:xfrm>
              <a:off x="6846345" y="2543374"/>
              <a:ext cx="25600" cy="24544"/>
            </a:xfrm>
            <a:custGeom>
              <a:avLst/>
              <a:gdLst/>
              <a:ahLst/>
              <a:cxnLst>
                <a:cxn ang="0">
                  <a:pos x="0" y="21"/>
                </a:cxn>
                <a:cxn ang="0">
                  <a:pos x="4" y="11"/>
                </a:cxn>
                <a:cxn ang="0">
                  <a:pos x="8" y="2"/>
                </a:cxn>
                <a:cxn ang="0">
                  <a:pos x="15" y="0"/>
                </a:cxn>
                <a:cxn ang="0">
                  <a:pos x="21" y="2"/>
                </a:cxn>
                <a:cxn ang="0">
                  <a:pos x="27" y="2"/>
                </a:cxn>
                <a:cxn ang="0">
                  <a:pos x="27" y="2"/>
                </a:cxn>
                <a:cxn ang="0">
                  <a:pos x="27" y="2"/>
                </a:cxn>
                <a:cxn ang="0">
                  <a:pos x="28" y="9"/>
                </a:cxn>
                <a:cxn ang="0">
                  <a:pos x="19" y="13"/>
                </a:cxn>
                <a:cxn ang="0">
                  <a:pos x="27" y="17"/>
                </a:cxn>
                <a:cxn ang="0">
                  <a:pos x="27" y="15"/>
                </a:cxn>
                <a:cxn ang="0">
                  <a:pos x="27" y="19"/>
                </a:cxn>
                <a:cxn ang="0">
                  <a:pos x="27" y="23"/>
                </a:cxn>
                <a:cxn ang="0">
                  <a:pos x="28" y="25"/>
                </a:cxn>
                <a:cxn ang="0">
                  <a:pos x="28" y="25"/>
                </a:cxn>
                <a:cxn ang="0">
                  <a:pos x="27" y="25"/>
                </a:cxn>
                <a:cxn ang="0">
                  <a:pos x="30" y="26"/>
                </a:cxn>
                <a:cxn ang="0">
                  <a:pos x="19" y="32"/>
                </a:cxn>
                <a:cxn ang="0">
                  <a:pos x="19" y="26"/>
                </a:cxn>
                <a:cxn ang="0">
                  <a:pos x="2" y="21"/>
                </a:cxn>
                <a:cxn ang="0">
                  <a:pos x="0" y="21"/>
                </a:cxn>
                <a:cxn ang="0">
                  <a:pos x="0" y="21"/>
                </a:cxn>
                <a:cxn ang="0">
                  <a:pos x="0" y="21"/>
                </a:cxn>
              </a:cxnLst>
              <a:rect l="0" t="0" r="r" b="b"/>
              <a:pathLst>
                <a:path w="30" h="32">
                  <a:moveTo>
                    <a:pt x="0" y="21"/>
                  </a:moveTo>
                  <a:lnTo>
                    <a:pt x="4" y="11"/>
                  </a:lnTo>
                  <a:lnTo>
                    <a:pt x="8" y="2"/>
                  </a:lnTo>
                  <a:lnTo>
                    <a:pt x="15" y="0"/>
                  </a:lnTo>
                  <a:lnTo>
                    <a:pt x="21" y="2"/>
                  </a:lnTo>
                  <a:lnTo>
                    <a:pt x="27" y="2"/>
                  </a:lnTo>
                  <a:lnTo>
                    <a:pt x="27" y="2"/>
                  </a:lnTo>
                  <a:lnTo>
                    <a:pt x="27" y="2"/>
                  </a:lnTo>
                  <a:lnTo>
                    <a:pt x="28" y="9"/>
                  </a:lnTo>
                  <a:lnTo>
                    <a:pt x="19" y="13"/>
                  </a:lnTo>
                  <a:lnTo>
                    <a:pt x="27" y="17"/>
                  </a:lnTo>
                  <a:lnTo>
                    <a:pt x="27" y="15"/>
                  </a:lnTo>
                  <a:lnTo>
                    <a:pt x="27" y="19"/>
                  </a:lnTo>
                  <a:lnTo>
                    <a:pt x="27" y="23"/>
                  </a:lnTo>
                  <a:lnTo>
                    <a:pt x="28" y="25"/>
                  </a:lnTo>
                  <a:lnTo>
                    <a:pt x="28" y="25"/>
                  </a:lnTo>
                  <a:lnTo>
                    <a:pt x="27" y="25"/>
                  </a:lnTo>
                  <a:lnTo>
                    <a:pt x="30" y="26"/>
                  </a:lnTo>
                  <a:lnTo>
                    <a:pt x="19" y="32"/>
                  </a:lnTo>
                  <a:lnTo>
                    <a:pt x="19" y="26"/>
                  </a:lnTo>
                  <a:lnTo>
                    <a:pt x="2" y="21"/>
                  </a:lnTo>
                  <a:lnTo>
                    <a:pt x="0" y="21"/>
                  </a:lnTo>
                  <a:lnTo>
                    <a:pt x="0" y="21"/>
                  </a:lnTo>
                  <a:lnTo>
                    <a:pt x="0"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65">
              <a:extLst>
                <a:ext uri="{FF2B5EF4-FFF2-40B4-BE49-F238E27FC236}">
                  <a16:creationId xmlns:a16="http://schemas.microsoft.com/office/drawing/2014/main" id="{C5070884-1D6E-5D47-A8E1-49D7245F1740}"/>
                </a:ext>
              </a:extLst>
            </p:cNvPr>
            <p:cNvSpPr>
              <a:spLocks/>
            </p:cNvSpPr>
            <p:nvPr/>
          </p:nvSpPr>
          <p:spPr bwMode="auto">
            <a:xfrm>
              <a:off x="6616798" y="2458237"/>
              <a:ext cx="34986" cy="16107"/>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66">
              <a:extLst>
                <a:ext uri="{FF2B5EF4-FFF2-40B4-BE49-F238E27FC236}">
                  <a16:creationId xmlns:a16="http://schemas.microsoft.com/office/drawing/2014/main" id="{E7BDE53A-25C7-064A-AC80-3612F6B648E8}"/>
                </a:ext>
              </a:extLst>
            </p:cNvPr>
            <p:cNvSpPr>
              <a:spLocks/>
            </p:cNvSpPr>
            <p:nvPr/>
          </p:nvSpPr>
          <p:spPr bwMode="auto">
            <a:xfrm>
              <a:off x="6616798" y="2458237"/>
              <a:ext cx="34986" cy="16107"/>
            </a:xfrm>
            <a:custGeom>
              <a:avLst/>
              <a:gdLst/>
              <a:ahLst/>
              <a:cxnLst>
                <a:cxn ang="0">
                  <a:pos x="6" y="21"/>
                </a:cxn>
                <a:cxn ang="0">
                  <a:pos x="0" y="17"/>
                </a:cxn>
                <a:cxn ang="0">
                  <a:pos x="0" y="15"/>
                </a:cxn>
                <a:cxn ang="0">
                  <a:pos x="0" y="11"/>
                </a:cxn>
                <a:cxn ang="0">
                  <a:pos x="0" y="11"/>
                </a:cxn>
                <a:cxn ang="0">
                  <a:pos x="2" y="7"/>
                </a:cxn>
                <a:cxn ang="0">
                  <a:pos x="6" y="9"/>
                </a:cxn>
                <a:cxn ang="0">
                  <a:pos x="9" y="9"/>
                </a:cxn>
                <a:cxn ang="0">
                  <a:pos x="9" y="7"/>
                </a:cxn>
                <a:cxn ang="0">
                  <a:pos x="9" y="6"/>
                </a:cxn>
                <a:cxn ang="0">
                  <a:pos x="15" y="6"/>
                </a:cxn>
                <a:cxn ang="0">
                  <a:pos x="17" y="7"/>
                </a:cxn>
                <a:cxn ang="0">
                  <a:pos x="23" y="7"/>
                </a:cxn>
                <a:cxn ang="0">
                  <a:pos x="32" y="4"/>
                </a:cxn>
                <a:cxn ang="0">
                  <a:pos x="38" y="0"/>
                </a:cxn>
                <a:cxn ang="0">
                  <a:pos x="40" y="0"/>
                </a:cxn>
                <a:cxn ang="0">
                  <a:pos x="41" y="0"/>
                </a:cxn>
                <a:cxn ang="0">
                  <a:pos x="40" y="2"/>
                </a:cxn>
                <a:cxn ang="0">
                  <a:pos x="34" y="6"/>
                </a:cxn>
                <a:cxn ang="0">
                  <a:pos x="30" y="7"/>
                </a:cxn>
                <a:cxn ang="0">
                  <a:pos x="32" y="11"/>
                </a:cxn>
                <a:cxn ang="0">
                  <a:pos x="32" y="15"/>
                </a:cxn>
                <a:cxn ang="0">
                  <a:pos x="26" y="15"/>
                </a:cxn>
                <a:cxn ang="0">
                  <a:pos x="23" y="17"/>
                </a:cxn>
                <a:cxn ang="0">
                  <a:pos x="21" y="19"/>
                </a:cxn>
                <a:cxn ang="0">
                  <a:pos x="15" y="19"/>
                </a:cxn>
                <a:cxn ang="0">
                  <a:pos x="15" y="21"/>
                </a:cxn>
                <a:cxn ang="0">
                  <a:pos x="9" y="21"/>
                </a:cxn>
                <a:cxn ang="0">
                  <a:pos x="6" y="21"/>
                </a:cxn>
                <a:cxn ang="0">
                  <a:pos x="6" y="21"/>
                </a:cxn>
                <a:cxn ang="0">
                  <a:pos x="6" y="21"/>
                </a:cxn>
              </a:cxnLst>
              <a:rect l="0" t="0" r="r" b="b"/>
              <a:pathLst>
                <a:path w="41" h="21">
                  <a:moveTo>
                    <a:pt x="6" y="21"/>
                  </a:moveTo>
                  <a:lnTo>
                    <a:pt x="0" y="17"/>
                  </a:lnTo>
                  <a:lnTo>
                    <a:pt x="0" y="15"/>
                  </a:lnTo>
                  <a:lnTo>
                    <a:pt x="0" y="11"/>
                  </a:lnTo>
                  <a:lnTo>
                    <a:pt x="0" y="11"/>
                  </a:lnTo>
                  <a:lnTo>
                    <a:pt x="2" y="7"/>
                  </a:lnTo>
                  <a:lnTo>
                    <a:pt x="6" y="9"/>
                  </a:lnTo>
                  <a:lnTo>
                    <a:pt x="9" y="9"/>
                  </a:lnTo>
                  <a:lnTo>
                    <a:pt x="9" y="7"/>
                  </a:lnTo>
                  <a:lnTo>
                    <a:pt x="9" y="6"/>
                  </a:lnTo>
                  <a:lnTo>
                    <a:pt x="15" y="6"/>
                  </a:lnTo>
                  <a:lnTo>
                    <a:pt x="17" y="7"/>
                  </a:lnTo>
                  <a:lnTo>
                    <a:pt x="23" y="7"/>
                  </a:lnTo>
                  <a:lnTo>
                    <a:pt x="32" y="4"/>
                  </a:lnTo>
                  <a:lnTo>
                    <a:pt x="38" y="0"/>
                  </a:lnTo>
                  <a:lnTo>
                    <a:pt x="40" y="0"/>
                  </a:lnTo>
                  <a:lnTo>
                    <a:pt x="41" y="0"/>
                  </a:lnTo>
                  <a:lnTo>
                    <a:pt x="40" y="2"/>
                  </a:lnTo>
                  <a:lnTo>
                    <a:pt x="34" y="6"/>
                  </a:lnTo>
                  <a:lnTo>
                    <a:pt x="30" y="7"/>
                  </a:lnTo>
                  <a:lnTo>
                    <a:pt x="32" y="11"/>
                  </a:lnTo>
                  <a:lnTo>
                    <a:pt x="32" y="15"/>
                  </a:lnTo>
                  <a:lnTo>
                    <a:pt x="26" y="15"/>
                  </a:lnTo>
                  <a:lnTo>
                    <a:pt x="23" y="17"/>
                  </a:lnTo>
                  <a:lnTo>
                    <a:pt x="21" y="19"/>
                  </a:lnTo>
                  <a:lnTo>
                    <a:pt x="15" y="19"/>
                  </a:lnTo>
                  <a:lnTo>
                    <a:pt x="15" y="21"/>
                  </a:lnTo>
                  <a:lnTo>
                    <a:pt x="9" y="21"/>
                  </a:lnTo>
                  <a:lnTo>
                    <a:pt x="6" y="21"/>
                  </a:lnTo>
                  <a:lnTo>
                    <a:pt x="6" y="21"/>
                  </a:lnTo>
                  <a:lnTo>
                    <a:pt x="6" y="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67">
              <a:extLst>
                <a:ext uri="{FF2B5EF4-FFF2-40B4-BE49-F238E27FC236}">
                  <a16:creationId xmlns:a16="http://schemas.microsoft.com/office/drawing/2014/main" id="{2E192874-E419-AB4B-BD59-A6C3BBC36896}"/>
                </a:ext>
              </a:extLst>
            </p:cNvPr>
            <p:cNvSpPr>
              <a:spLocks/>
            </p:cNvSpPr>
            <p:nvPr/>
          </p:nvSpPr>
          <p:spPr bwMode="auto">
            <a:xfrm>
              <a:off x="6666292" y="2429091"/>
              <a:ext cx="98134" cy="82837"/>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68">
              <a:extLst>
                <a:ext uri="{FF2B5EF4-FFF2-40B4-BE49-F238E27FC236}">
                  <a16:creationId xmlns:a16="http://schemas.microsoft.com/office/drawing/2014/main" id="{0BBB9EC1-6374-F044-A3E1-8068157F0665}"/>
                </a:ext>
              </a:extLst>
            </p:cNvPr>
            <p:cNvSpPr>
              <a:spLocks/>
            </p:cNvSpPr>
            <p:nvPr/>
          </p:nvSpPr>
          <p:spPr bwMode="auto">
            <a:xfrm>
              <a:off x="6666292" y="2429091"/>
              <a:ext cx="98134" cy="82837"/>
            </a:xfrm>
            <a:custGeom>
              <a:avLst/>
              <a:gdLst/>
              <a:ahLst/>
              <a:cxnLst>
                <a:cxn ang="0">
                  <a:pos x="93" y="59"/>
                </a:cxn>
                <a:cxn ang="0">
                  <a:pos x="98" y="51"/>
                </a:cxn>
                <a:cxn ang="0">
                  <a:pos x="96" y="45"/>
                </a:cxn>
                <a:cxn ang="0">
                  <a:pos x="98" y="32"/>
                </a:cxn>
                <a:cxn ang="0">
                  <a:pos x="96" y="17"/>
                </a:cxn>
                <a:cxn ang="0">
                  <a:pos x="106" y="10"/>
                </a:cxn>
                <a:cxn ang="0">
                  <a:pos x="111" y="6"/>
                </a:cxn>
                <a:cxn ang="0">
                  <a:pos x="111" y="0"/>
                </a:cxn>
                <a:cxn ang="0">
                  <a:pos x="98" y="2"/>
                </a:cxn>
                <a:cxn ang="0">
                  <a:pos x="87" y="6"/>
                </a:cxn>
                <a:cxn ang="0">
                  <a:pos x="78" y="6"/>
                </a:cxn>
                <a:cxn ang="0">
                  <a:pos x="68" y="10"/>
                </a:cxn>
                <a:cxn ang="0">
                  <a:pos x="59" y="12"/>
                </a:cxn>
                <a:cxn ang="0">
                  <a:pos x="53" y="8"/>
                </a:cxn>
                <a:cxn ang="0">
                  <a:pos x="38" y="8"/>
                </a:cxn>
                <a:cxn ang="0">
                  <a:pos x="34" y="10"/>
                </a:cxn>
                <a:cxn ang="0">
                  <a:pos x="23" y="13"/>
                </a:cxn>
                <a:cxn ang="0">
                  <a:pos x="15" y="15"/>
                </a:cxn>
                <a:cxn ang="0">
                  <a:pos x="14" y="25"/>
                </a:cxn>
                <a:cxn ang="0">
                  <a:pos x="10" y="30"/>
                </a:cxn>
                <a:cxn ang="0">
                  <a:pos x="4" y="30"/>
                </a:cxn>
                <a:cxn ang="0">
                  <a:pos x="0" y="30"/>
                </a:cxn>
                <a:cxn ang="0">
                  <a:pos x="4" y="42"/>
                </a:cxn>
                <a:cxn ang="0">
                  <a:pos x="4" y="51"/>
                </a:cxn>
                <a:cxn ang="0">
                  <a:pos x="12" y="59"/>
                </a:cxn>
                <a:cxn ang="0">
                  <a:pos x="15" y="62"/>
                </a:cxn>
                <a:cxn ang="0">
                  <a:pos x="17" y="72"/>
                </a:cxn>
                <a:cxn ang="0">
                  <a:pos x="14" y="76"/>
                </a:cxn>
                <a:cxn ang="0">
                  <a:pos x="8" y="81"/>
                </a:cxn>
                <a:cxn ang="0">
                  <a:pos x="4" y="85"/>
                </a:cxn>
                <a:cxn ang="0">
                  <a:pos x="8" y="89"/>
                </a:cxn>
                <a:cxn ang="0">
                  <a:pos x="8" y="100"/>
                </a:cxn>
                <a:cxn ang="0">
                  <a:pos x="15" y="102"/>
                </a:cxn>
                <a:cxn ang="0">
                  <a:pos x="19" y="106"/>
                </a:cxn>
                <a:cxn ang="0">
                  <a:pos x="59" y="83"/>
                </a:cxn>
                <a:cxn ang="0">
                  <a:pos x="59" y="83"/>
                </a:cxn>
              </a:cxnLst>
              <a:rect l="0" t="0" r="r" b="b"/>
              <a:pathLst>
                <a:path w="115" h="108">
                  <a:moveTo>
                    <a:pt x="59" y="83"/>
                  </a:moveTo>
                  <a:lnTo>
                    <a:pt x="93" y="59"/>
                  </a:lnTo>
                  <a:lnTo>
                    <a:pt x="93" y="57"/>
                  </a:lnTo>
                  <a:lnTo>
                    <a:pt x="98" y="51"/>
                  </a:lnTo>
                  <a:lnTo>
                    <a:pt x="98" y="45"/>
                  </a:lnTo>
                  <a:lnTo>
                    <a:pt x="96" y="45"/>
                  </a:lnTo>
                  <a:lnTo>
                    <a:pt x="98" y="36"/>
                  </a:lnTo>
                  <a:lnTo>
                    <a:pt x="98" y="32"/>
                  </a:lnTo>
                  <a:lnTo>
                    <a:pt x="96" y="25"/>
                  </a:lnTo>
                  <a:lnTo>
                    <a:pt x="96" y="17"/>
                  </a:lnTo>
                  <a:lnTo>
                    <a:pt x="98" y="12"/>
                  </a:lnTo>
                  <a:lnTo>
                    <a:pt x="106" y="10"/>
                  </a:lnTo>
                  <a:lnTo>
                    <a:pt x="110" y="6"/>
                  </a:lnTo>
                  <a:lnTo>
                    <a:pt x="111" y="6"/>
                  </a:lnTo>
                  <a:lnTo>
                    <a:pt x="115" y="2"/>
                  </a:lnTo>
                  <a:lnTo>
                    <a:pt x="111" y="0"/>
                  </a:lnTo>
                  <a:lnTo>
                    <a:pt x="106" y="0"/>
                  </a:lnTo>
                  <a:lnTo>
                    <a:pt x="98" y="2"/>
                  </a:lnTo>
                  <a:lnTo>
                    <a:pt x="91" y="2"/>
                  </a:lnTo>
                  <a:lnTo>
                    <a:pt x="87" y="6"/>
                  </a:lnTo>
                  <a:lnTo>
                    <a:pt x="81" y="6"/>
                  </a:lnTo>
                  <a:lnTo>
                    <a:pt x="78" y="6"/>
                  </a:lnTo>
                  <a:lnTo>
                    <a:pt x="74" y="8"/>
                  </a:lnTo>
                  <a:lnTo>
                    <a:pt x="68" y="10"/>
                  </a:lnTo>
                  <a:lnTo>
                    <a:pt x="68" y="12"/>
                  </a:lnTo>
                  <a:lnTo>
                    <a:pt x="59" y="12"/>
                  </a:lnTo>
                  <a:lnTo>
                    <a:pt x="53" y="10"/>
                  </a:lnTo>
                  <a:lnTo>
                    <a:pt x="53" y="8"/>
                  </a:lnTo>
                  <a:lnTo>
                    <a:pt x="49" y="8"/>
                  </a:lnTo>
                  <a:lnTo>
                    <a:pt x="38" y="8"/>
                  </a:lnTo>
                  <a:lnTo>
                    <a:pt x="36" y="10"/>
                  </a:lnTo>
                  <a:lnTo>
                    <a:pt x="34" y="10"/>
                  </a:lnTo>
                  <a:lnTo>
                    <a:pt x="25" y="13"/>
                  </a:lnTo>
                  <a:lnTo>
                    <a:pt x="23" y="13"/>
                  </a:lnTo>
                  <a:lnTo>
                    <a:pt x="17" y="12"/>
                  </a:lnTo>
                  <a:lnTo>
                    <a:pt x="15" y="15"/>
                  </a:lnTo>
                  <a:lnTo>
                    <a:pt x="15" y="23"/>
                  </a:lnTo>
                  <a:lnTo>
                    <a:pt x="14" y="25"/>
                  </a:lnTo>
                  <a:lnTo>
                    <a:pt x="14" y="27"/>
                  </a:lnTo>
                  <a:lnTo>
                    <a:pt x="10" y="30"/>
                  </a:lnTo>
                  <a:lnTo>
                    <a:pt x="6" y="30"/>
                  </a:lnTo>
                  <a:lnTo>
                    <a:pt x="4" y="30"/>
                  </a:lnTo>
                  <a:lnTo>
                    <a:pt x="0" y="30"/>
                  </a:lnTo>
                  <a:lnTo>
                    <a:pt x="0" y="30"/>
                  </a:lnTo>
                  <a:lnTo>
                    <a:pt x="0" y="36"/>
                  </a:lnTo>
                  <a:lnTo>
                    <a:pt x="4" y="42"/>
                  </a:lnTo>
                  <a:lnTo>
                    <a:pt x="4" y="47"/>
                  </a:lnTo>
                  <a:lnTo>
                    <a:pt x="4" y="51"/>
                  </a:lnTo>
                  <a:lnTo>
                    <a:pt x="4" y="59"/>
                  </a:lnTo>
                  <a:lnTo>
                    <a:pt x="12" y="59"/>
                  </a:lnTo>
                  <a:lnTo>
                    <a:pt x="14" y="62"/>
                  </a:lnTo>
                  <a:lnTo>
                    <a:pt x="15" y="62"/>
                  </a:lnTo>
                  <a:lnTo>
                    <a:pt x="15" y="70"/>
                  </a:lnTo>
                  <a:lnTo>
                    <a:pt x="17" y="72"/>
                  </a:lnTo>
                  <a:lnTo>
                    <a:pt x="15" y="76"/>
                  </a:lnTo>
                  <a:lnTo>
                    <a:pt x="14" y="76"/>
                  </a:lnTo>
                  <a:lnTo>
                    <a:pt x="10" y="76"/>
                  </a:lnTo>
                  <a:lnTo>
                    <a:pt x="8" y="81"/>
                  </a:lnTo>
                  <a:lnTo>
                    <a:pt x="4" y="85"/>
                  </a:lnTo>
                  <a:lnTo>
                    <a:pt x="4" y="85"/>
                  </a:lnTo>
                  <a:lnTo>
                    <a:pt x="6" y="87"/>
                  </a:lnTo>
                  <a:lnTo>
                    <a:pt x="8" y="89"/>
                  </a:lnTo>
                  <a:lnTo>
                    <a:pt x="8" y="96"/>
                  </a:lnTo>
                  <a:lnTo>
                    <a:pt x="8" y="100"/>
                  </a:lnTo>
                  <a:lnTo>
                    <a:pt x="10" y="100"/>
                  </a:lnTo>
                  <a:lnTo>
                    <a:pt x="15" y="102"/>
                  </a:lnTo>
                  <a:lnTo>
                    <a:pt x="19" y="106"/>
                  </a:lnTo>
                  <a:lnTo>
                    <a:pt x="19" y="106"/>
                  </a:lnTo>
                  <a:lnTo>
                    <a:pt x="25" y="108"/>
                  </a:lnTo>
                  <a:lnTo>
                    <a:pt x="59" y="83"/>
                  </a:lnTo>
                  <a:lnTo>
                    <a:pt x="59" y="83"/>
                  </a:lnTo>
                  <a:lnTo>
                    <a:pt x="59" y="83"/>
                  </a:lnTo>
                  <a:lnTo>
                    <a:pt x="59"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69">
              <a:extLst>
                <a:ext uri="{FF2B5EF4-FFF2-40B4-BE49-F238E27FC236}">
                  <a16:creationId xmlns:a16="http://schemas.microsoft.com/office/drawing/2014/main" id="{D72A8A4A-51A3-134F-8DF1-AAF231CB10CE}"/>
                </a:ext>
              </a:extLst>
            </p:cNvPr>
            <p:cNvSpPr>
              <a:spLocks/>
            </p:cNvSpPr>
            <p:nvPr/>
          </p:nvSpPr>
          <p:spPr bwMode="auto">
            <a:xfrm>
              <a:off x="6647518" y="2494286"/>
              <a:ext cx="22186" cy="60594"/>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70">
              <a:extLst>
                <a:ext uri="{FF2B5EF4-FFF2-40B4-BE49-F238E27FC236}">
                  <a16:creationId xmlns:a16="http://schemas.microsoft.com/office/drawing/2014/main" id="{C90547EA-323B-F84E-B7AD-3889BA6B60AC}"/>
                </a:ext>
              </a:extLst>
            </p:cNvPr>
            <p:cNvSpPr>
              <a:spLocks/>
            </p:cNvSpPr>
            <p:nvPr/>
          </p:nvSpPr>
          <p:spPr bwMode="auto">
            <a:xfrm>
              <a:off x="6647518" y="2494286"/>
              <a:ext cx="22186" cy="60594"/>
            </a:xfrm>
            <a:custGeom>
              <a:avLst/>
              <a:gdLst/>
              <a:ahLst/>
              <a:cxnLst>
                <a:cxn ang="0">
                  <a:pos x="17" y="79"/>
                </a:cxn>
                <a:cxn ang="0">
                  <a:pos x="19" y="77"/>
                </a:cxn>
                <a:cxn ang="0">
                  <a:pos x="19" y="77"/>
                </a:cxn>
                <a:cxn ang="0">
                  <a:pos x="19" y="73"/>
                </a:cxn>
                <a:cxn ang="0">
                  <a:pos x="20" y="72"/>
                </a:cxn>
                <a:cxn ang="0">
                  <a:pos x="20" y="68"/>
                </a:cxn>
                <a:cxn ang="0">
                  <a:pos x="22" y="64"/>
                </a:cxn>
                <a:cxn ang="0">
                  <a:pos x="22" y="58"/>
                </a:cxn>
                <a:cxn ang="0">
                  <a:pos x="22" y="58"/>
                </a:cxn>
                <a:cxn ang="0">
                  <a:pos x="22" y="55"/>
                </a:cxn>
                <a:cxn ang="0">
                  <a:pos x="22" y="49"/>
                </a:cxn>
                <a:cxn ang="0">
                  <a:pos x="22" y="47"/>
                </a:cxn>
                <a:cxn ang="0">
                  <a:pos x="22" y="40"/>
                </a:cxn>
                <a:cxn ang="0">
                  <a:pos x="22" y="40"/>
                </a:cxn>
                <a:cxn ang="0">
                  <a:pos x="20" y="40"/>
                </a:cxn>
                <a:cxn ang="0">
                  <a:pos x="19" y="40"/>
                </a:cxn>
                <a:cxn ang="0">
                  <a:pos x="17" y="40"/>
                </a:cxn>
                <a:cxn ang="0">
                  <a:pos x="17" y="34"/>
                </a:cxn>
                <a:cxn ang="0">
                  <a:pos x="17" y="25"/>
                </a:cxn>
                <a:cxn ang="0">
                  <a:pos x="17" y="23"/>
                </a:cxn>
                <a:cxn ang="0">
                  <a:pos x="17" y="17"/>
                </a:cxn>
                <a:cxn ang="0">
                  <a:pos x="22" y="17"/>
                </a:cxn>
                <a:cxn ang="0">
                  <a:pos x="22" y="21"/>
                </a:cxn>
                <a:cxn ang="0">
                  <a:pos x="22" y="21"/>
                </a:cxn>
                <a:cxn ang="0">
                  <a:pos x="26" y="21"/>
                </a:cxn>
                <a:cxn ang="0">
                  <a:pos x="26" y="17"/>
                </a:cxn>
                <a:cxn ang="0">
                  <a:pos x="26" y="17"/>
                </a:cxn>
                <a:cxn ang="0">
                  <a:pos x="26" y="17"/>
                </a:cxn>
                <a:cxn ang="0">
                  <a:pos x="22" y="11"/>
                </a:cxn>
                <a:cxn ang="0">
                  <a:pos x="26" y="8"/>
                </a:cxn>
                <a:cxn ang="0">
                  <a:pos x="26" y="2"/>
                </a:cxn>
                <a:cxn ang="0">
                  <a:pos x="26" y="0"/>
                </a:cxn>
                <a:cxn ang="0">
                  <a:pos x="26" y="0"/>
                </a:cxn>
                <a:cxn ang="0">
                  <a:pos x="22" y="4"/>
                </a:cxn>
                <a:cxn ang="0">
                  <a:pos x="19" y="4"/>
                </a:cxn>
                <a:cxn ang="0">
                  <a:pos x="17" y="4"/>
                </a:cxn>
                <a:cxn ang="0">
                  <a:pos x="13" y="8"/>
                </a:cxn>
                <a:cxn ang="0">
                  <a:pos x="9" y="21"/>
                </a:cxn>
                <a:cxn ang="0">
                  <a:pos x="5" y="32"/>
                </a:cxn>
                <a:cxn ang="0">
                  <a:pos x="0" y="40"/>
                </a:cxn>
                <a:cxn ang="0">
                  <a:pos x="4" y="40"/>
                </a:cxn>
                <a:cxn ang="0">
                  <a:pos x="5" y="45"/>
                </a:cxn>
                <a:cxn ang="0">
                  <a:pos x="7" y="53"/>
                </a:cxn>
                <a:cxn ang="0">
                  <a:pos x="13" y="60"/>
                </a:cxn>
                <a:cxn ang="0">
                  <a:pos x="17" y="70"/>
                </a:cxn>
                <a:cxn ang="0">
                  <a:pos x="17" y="73"/>
                </a:cxn>
                <a:cxn ang="0">
                  <a:pos x="17" y="79"/>
                </a:cxn>
                <a:cxn ang="0">
                  <a:pos x="17" y="79"/>
                </a:cxn>
                <a:cxn ang="0">
                  <a:pos x="17" y="79"/>
                </a:cxn>
              </a:cxnLst>
              <a:rect l="0" t="0" r="r" b="b"/>
              <a:pathLst>
                <a:path w="26" h="79">
                  <a:moveTo>
                    <a:pt x="17" y="79"/>
                  </a:moveTo>
                  <a:lnTo>
                    <a:pt x="19" y="77"/>
                  </a:lnTo>
                  <a:lnTo>
                    <a:pt x="19" y="77"/>
                  </a:lnTo>
                  <a:lnTo>
                    <a:pt x="19" y="73"/>
                  </a:lnTo>
                  <a:lnTo>
                    <a:pt x="20" y="72"/>
                  </a:lnTo>
                  <a:lnTo>
                    <a:pt x="20" y="68"/>
                  </a:lnTo>
                  <a:lnTo>
                    <a:pt x="22" y="64"/>
                  </a:lnTo>
                  <a:lnTo>
                    <a:pt x="22" y="58"/>
                  </a:lnTo>
                  <a:lnTo>
                    <a:pt x="22" y="58"/>
                  </a:lnTo>
                  <a:lnTo>
                    <a:pt x="22" y="55"/>
                  </a:lnTo>
                  <a:lnTo>
                    <a:pt x="22" y="49"/>
                  </a:lnTo>
                  <a:lnTo>
                    <a:pt x="22" y="47"/>
                  </a:lnTo>
                  <a:lnTo>
                    <a:pt x="22" y="40"/>
                  </a:lnTo>
                  <a:lnTo>
                    <a:pt x="22" y="40"/>
                  </a:lnTo>
                  <a:lnTo>
                    <a:pt x="20" y="40"/>
                  </a:lnTo>
                  <a:lnTo>
                    <a:pt x="19" y="40"/>
                  </a:lnTo>
                  <a:lnTo>
                    <a:pt x="17" y="40"/>
                  </a:lnTo>
                  <a:lnTo>
                    <a:pt x="17" y="34"/>
                  </a:lnTo>
                  <a:lnTo>
                    <a:pt x="17" y="25"/>
                  </a:lnTo>
                  <a:lnTo>
                    <a:pt x="17" y="23"/>
                  </a:lnTo>
                  <a:lnTo>
                    <a:pt x="17" y="17"/>
                  </a:lnTo>
                  <a:lnTo>
                    <a:pt x="22" y="17"/>
                  </a:lnTo>
                  <a:lnTo>
                    <a:pt x="22" y="21"/>
                  </a:lnTo>
                  <a:lnTo>
                    <a:pt x="22" y="21"/>
                  </a:lnTo>
                  <a:lnTo>
                    <a:pt x="26" y="21"/>
                  </a:lnTo>
                  <a:lnTo>
                    <a:pt x="26" y="17"/>
                  </a:lnTo>
                  <a:lnTo>
                    <a:pt x="26" y="17"/>
                  </a:lnTo>
                  <a:lnTo>
                    <a:pt x="26" y="17"/>
                  </a:lnTo>
                  <a:lnTo>
                    <a:pt x="22" y="11"/>
                  </a:lnTo>
                  <a:lnTo>
                    <a:pt x="26" y="8"/>
                  </a:lnTo>
                  <a:lnTo>
                    <a:pt x="26" y="2"/>
                  </a:lnTo>
                  <a:lnTo>
                    <a:pt x="26" y="0"/>
                  </a:lnTo>
                  <a:lnTo>
                    <a:pt x="26" y="0"/>
                  </a:lnTo>
                  <a:lnTo>
                    <a:pt x="22" y="4"/>
                  </a:lnTo>
                  <a:lnTo>
                    <a:pt x="19" y="4"/>
                  </a:lnTo>
                  <a:lnTo>
                    <a:pt x="17" y="4"/>
                  </a:lnTo>
                  <a:lnTo>
                    <a:pt x="13" y="8"/>
                  </a:lnTo>
                  <a:lnTo>
                    <a:pt x="9" y="21"/>
                  </a:lnTo>
                  <a:lnTo>
                    <a:pt x="5" y="32"/>
                  </a:lnTo>
                  <a:lnTo>
                    <a:pt x="0" y="40"/>
                  </a:lnTo>
                  <a:lnTo>
                    <a:pt x="4" y="40"/>
                  </a:lnTo>
                  <a:lnTo>
                    <a:pt x="5" y="45"/>
                  </a:lnTo>
                  <a:lnTo>
                    <a:pt x="7" y="53"/>
                  </a:lnTo>
                  <a:lnTo>
                    <a:pt x="13" y="60"/>
                  </a:lnTo>
                  <a:lnTo>
                    <a:pt x="17" y="70"/>
                  </a:lnTo>
                  <a:lnTo>
                    <a:pt x="17" y="73"/>
                  </a:lnTo>
                  <a:lnTo>
                    <a:pt x="17" y="79"/>
                  </a:lnTo>
                  <a:lnTo>
                    <a:pt x="17" y="79"/>
                  </a:lnTo>
                  <a:lnTo>
                    <a:pt x="17"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71">
              <a:extLst>
                <a:ext uri="{FF2B5EF4-FFF2-40B4-BE49-F238E27FC236}">
                  <a16:creationId xmlns:a16="http://schemas.microsoft.com/office/drawing/2014/main" id="{40248920-ACDC-084B-87FE-8798EB36BCF3}"/>
                </a:ext>
              </a:extLst>
            </p:cNvPr>
            <p:cNvSpPr>
              <a:spLocks/>
            </p:cNvSpPr>
            <p:nvPr/>
          </p:nvSpPr>
          <p:spPr bwMode="auto">
            <a:xfrm>
              <a:off x="6666292" y="2494287"/>
              <a:ext cx="8534" cy="13039"/>
            </a:xfrm>
            <a:custGeom>
              <a:avLst/>
              <a:gdLst/>
              <a:ahLst/>
              <a:cxnLst>
                <a:cxn ang="0">
                  <a:pos x="2" y="17"/>
                </a:cxn>
                <a:cxn ang="0">
                  <a:pos x="2" y="15"/>
                </a:cxn>
                <a:cxn ang="0">
                  <a:pos x="0" y="11"/>
                </a:cxn>
                <a:cxn ang="0">
                  <a:pos x="2" y="8"/>
                </a:cxn>
                <a:cxn ang="0">
                  <a:pos x="2" y="2"/>
                </a:cxn>
                <a:cxn ang="0">
                  <a:pos x="4" y="0"/>
                </a:cxn>
                <a:cxn ang="0">
                  <a:pos x="4" y="0"/>
                </a:cxn>
                <a:cxn ang="0">
                  <a:pos x="6" y="2"/>
                </a:cxn>
                <a:cxn ang="0">
                  <a:pos x="10" y="4"/>
                </a:cxn>
                <a:cxn ang="0">
                  <a:pos x="10" y="11"/>
                </a:cxn>
                <a:cxn ang="0">
                  <a:pos x="10" y="13"/>
                </a:cxn>
                <a:cxn ang="0">
                  <a:pos x="10" y="11"/>
                </a:cxn>
                <a:cxn ang="0">
                  <a:pos x="6" y="15"/>
                </a:cxn>
                <a:cxn ang="0">
                  <a:pos x="4" y="17"/>
                </a:cxn>
                <a:cxn ang="0">
                  <a:pos x="2" y="17"/>
                </a:cxn>
                <a:cxn ang="0">
                  <a:pos x="2" y="17"/>
                </a:cxn>
                <a:cxn ang="0">
                  <a:pos x="2" y="17"/>
                </a:cxn>
              </a:cxnLst>
              <a:rect l="0" t="0" r="r" b="b"/>
              <a:pathLst>
                <a:path w="10" h="17">
                  <a:moveTo>
                    <a:pt x="2" y="17"/>
                  </a:moveTo>
                  <a:lnTo>
                    <a:pt x="2" y="15"/>
                  </a:lnTo>
                  <a:lnTo>
                    <a:pt x="0" y="11"/>
                  </a:lnTo>
                  <a:lnTo>
                    <a:pt x="2" y="8"/>
                  </a:lnTo>
                  <a:lnTo>
                    <a:pt x="2" y="2"/>
                  </a:lnTo>
                  <a:lnTo>
                    <a:pt x="4" y="0"/>
                  </a:lnTo>
                  <a:lnTo>
                    <a:pt x="4" y="0"/>
                  </a:lnTo>
                  <a:lnTo>
                    <a:pt x="6" y="2"/>
                  </a:lnTo>
                  <a:lnTo>
                    <a:pt x="10" y="4"/>
                  </a:lnTo>
                  <a:lnTo>
                    <a:pt x="10" y="11"/>
                  </a:lnTo>
                  <a:lnTo>
                    <a:pt x="10" y="13"/>
                  </a:lnTo>
                  <a:lnTo>
                    <a:pt x="10" y="11"/>
                  </a:lnTo>
                  <a:lnTo>
                    <a:pt x="6" y="15"/>
                  </a:lnTo>
                  <a:lnTo>
                    <a:pt x="4" y="17"/>
                  </a:lnTo>
                  <a:lnTo>
                    <a:pt x="2" y="17"/>
                  </a:lnTo>
                  <a:lnTo>
                    <a:pt x="2" y="17"/>
                  </a:lnTo>
                  <a:lnTo>
                    <a:pt x="2"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72">
              <a:extLst>
                <a:ext uri="{FF2B5EF4-FFF2-40B4-BE49-F238E27FC236}">
                  <a16:creationId xmlns:a16="http://schemas.microsoft.com/office/drawing/2014/main" id="{0542CD3C-0697-E043-A046-B9BDA76664EF}"/>
                </a:ext>
              </a:extLst>
            </p:cNvPr>
            <p:cNvSpPr>
              <a:spLocks/>
            </p:cNvSpPr>
            <p:nvPr/>
          </p:nvSpPr>
          <p:spPr bwMode="auto">
            <a:xfrm>
              <a:off x="6662025" y="2507326"/>
              <a:ext cx="7680" cy="16107"/>
            </a:xfrm>
            <a:custGeom>
              <a:avLst/>
              <a:gdLst/>
              <a:ahLst/>
              <a:cxnLst>
                <a:cxn ang="0">
                  <a:pos x="7" y="19"/>
                </a:cxn>
                <a:cxn ang="0">
                  <a:pos x="3" y="19"/>
                </a:cxn>
                <a:cxn ang="0">
                  <a:pos x="2" y="21"/>
                </a:cxn>
                <a:cxn ang="0">
                  <a:pos x="0" y="19"/>
                </a:cxn>
                <a:cxn ang="0">
                  <a:pos x="0" y="15"/>
                </a:cxn>
                <a:cxn ang="0">
                  <a:pos x="0" y="8"/>
                </a:cxn>
                <a:cxn ang="0">
                  <a:pos x="0" y="4"/>
                </a:cxn>
                <a:cxn ang="0">
                  <a:pos x="0" y="0"/>
                </a:cxn>
                <a:cxn ang="0">
                  <a:pos x="5" y="0"/>
                </a:cxn>
                <a:cxn ang="0">
                  <a:pos x="5" y="4"/>
                </a:cxn>
                <a:cxn ang="0">
                  <a:pos x="7" y="4"/>
                </a:cxn>
                <a:cxn ang="0">
                  <a:pos x="9" y="2"/>
                </a:cxn>
                <a:cxn ang="0">
                  <a:pos x="9" y="2"/>
                </a:cxn>
                <a:cxn ang="0">
                  <a:pos x="9" y="4"/>
                </a:cxn>
                <a:cxn ang="0">
                  <a:pos x="9" y="8"/>
                </a:cxn>
                <a:cxn ang="0">
                  <a:pos x="9" y="11"/>
                </a:cxn>
                <a:cxn ang="0">
                  <a:pos x="9" y="13"/>
                </a:cxn>
                <a:cxn ang="0">
                  <a:pos x="7" y="19"/>
                </a:cxn>
                <a:cxn ang="0">
                  <a:pos x="7" y="19"/>
                </a:cxn>
                <a:cxn ang="0">
                  <a:pos x="7" y="19"/>
                </a:cxn>
                <a:cxn ang="0">
                  <a:pos x="7" y="19"/>
                </a:cxn>
              </a:cxnLst>
              <a:rect l="0" t="0" r="r" b="b"/>
              <a:pathLst>
                <a:path w="9" h="21">
                  <a:moveTo>
                    <a:pt x="7" y="19"/>
                  </a:moveTo>
                  <a:lnTo>
                    <a:pt x="3" y="19"/>
                  </a:lnTo>
                  <a:lnTo>
                    <a:pt x="2" y="21"/>
                  </a:lnTo>
                  <a:lnTo>
                    <a:pt x="0" y="19"/>
                  </a:lnTo>
                  <a:lnTo>
                    <a:pt x="0" y="15"/>
                  </a:lnTo>
                  <a:lnTo>
                    <a:pt x="0" y="8"/>
                  </a:lnTo>
                  <a:lnTo>
                    <a:pt x="0" y="4"/>
                  </a:lnTo>
                  <a:lnTo>
                    <a:pt x="0" y="0"/>
                  </a:lnTo>
                  <a:lnTo>
                    <a:pt x="5" y="0"/>
                  </a:lnTo>
                  <a:lnTo>
                    <a:pt x="5" y="4"/>
                  </a:lnTo>
                  <a:lnTo>
                    <a:pt x="7" y="4"/>
                  </a:lnTo>
                  <a:lnTo>
                    <a:pt x="9" y="2"/>
                  </a:lnTo>
                  <a:lnTo>
                    <a:pt x="9" y="2"/>
                  </a:lnTo>
                  <a:lnTo>
                    <a:pt x="9" y="4"/>
                  </a:lnTo>
                  <a:lnTo>
                    <a:pt x="9" y="8"/>
                  </a:lnTo>
                  <a:lnTo>
                    <a:pt x="9" y="11"/>
                  </a:lnTo>
                  <a:lnTo>
                    <a:pt x="9" y="13"/>
                  </a:lnTo>
                  <a:lnTo>
                    <a:pt x="7" y="19"/>
                  </a:lnTo>
                  <a:lnTo>
                    <a:pt x="7" y="19"/>
                  </a:lnTo>
                  <a:lnTo>
                    <a:pt x="7" y="19"/>
                  </a:lnTo>
                  <a:lnTo>
                    <a:pt x="7"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73">
              <a:extLst>
                <a:ext uri="{FF2B5EF4-FFF2-40B4-BE49-F238E27FC236}">
                  <a16:creationId xmlns:a16="http://schemas.microsoft.com/office/drawing/2014/main" id="{7C5B538B-7805-884B-849C-0FF4EFC1CA0A}"/>
                </a:ext>
              </a:extLst>
            </p:cNvPr>
            <p:cNvSpPr>
              <a:spLocks/>
            </p:cNvSpPr>
            <p:nvPr/>
          </p:nvSpPr>
          <p:spPr bwMode="auto">
            <a:xfrm>
              <a:off x="6662025" y="2474343"/>
              <a:ext cx="22186" cy="19942"/>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74">
              <a:extLst>
                <a:ext uri="{FF2B5EF4-FFF2-40B4-BE49-F238E27FC236}">
                  <a16:creationId xmlns:a16="http://schemas.microsoft.com/office/drawing/2014/main" id="{1CF2FFE5-B73B-F245-AEC0-05108076C03C}"/>
                </a:ext>
              </a:extLst>
            </p:cNvPr>
            <p:cNvSpPr>
              <a:spLocks/>
            </p:cNvSpPr>
            <p:nvPr/>
          </p:nvSpPr>
          <p:spPr bwMode="auto">
            <a:xfrm>
              <a:off x="6662025" y="2474343"/>
              <a:ext cx="22186" cy="19942"/>
            </a:xfrm>
            <a:custGeom>
              <a:avLst/>
              <a:gdLst/>
              <a:ahLst/>
              <a:cxnLst>
                <a:cxn ang="0">
                  <a:pos x="0" y="26"/>
                </a:cxn>
                <a:cxn ang="0">
                  <a:pos x="2" y="26"/>
                </a:cxn>
                <a:cxn ang="0">
                  <a:pos x="7" y="26"/>
                </a:cxn>
                <a:cxn ang="0">
                  <a:pos x="11" y="24"/>
                </a:cxn>
                <a:cxn ang="0">
                  <a:pos x="11" y="24"/>
                </a:cxn>
                <a:cxn ang="0">
                  <a:pos x="17" y="20"/>
                </a:cxn>
                <a:cxn ang="0">
                  <a:pos x="17" y="17"/>
                </a:cxn>
                <a:cxn ang="0">
                  <a:pos x="20" y="15"/>
                </a:cxn>
                <a:cxn ang="0">
                  <a:pos x="22" y="15"/>
                </a:cxn>
                <a:cxn ang="0">
                  <a:pos x="26" y="13"/>
                </a:cxn>
                <a:cxn ang="0">
                  <a:pos x="22" y="11"/>
                </a:cxn>
                <a:cxn ang="0">
                  <a:pos x="22" y="5"/>
                </a:cxn>
                <a:cxn ang="0">
                  <a:pos x="20" y="5"/>
                </a:cxn>
                <a:cxn ang="0">
                  <a:pos x="19" y="0"/>
                </a:cxn>
                <a:cxn ang="0">
                  <a:pos x="11" y="0"/>
                </a:cxn>
                <a:cxn ang="0">
                  <a:pos x="11" y="3"/>
                </a:cxn>
                <a:cxn ang="0">
                  <a:pos x="7" y="3"/>
                </a:cxn>
                <a:cxn ang="0">
                  <a:pos x="5" y="13"/>
                </a:cxn>
                <a:cxn ang="0">
                  <a:pos x="5" y="17"/>
                </a:cxn>
                <a:cxn ang="0">
                  <a:pos x="0" y="22"/>
                </a:cxn>
                <a:cxn ang="0">
                  <a:pos x="0" y="26"/>
                </a:cxn>
                <a:cxn ang="0">
                  <a:pos x="0" y="26"/>
                </a:cxn>
                <a:cxn ang="0">
                  <a:pos x="0" y="26"/>
                </a:cxn>
                <a:cxn ang="0">
                  <a:pos x="0" y="26"/>
                </a:cxn>
              </a:cxnLst>
              <a:rect l="0" t="0" r="r" b="b"/>
              <a:pathLst>
                <a:path w="26" h="26">
                  <a:moveTo>
                    <a:pt x="0" y="26"/>
                  </a:moveTo>
                  <a:lnTo>
                    <a:pt x="2" y="26"/>
                  </a:lnTo>
                  <a:lnTo>
                    <a:pt x="7" y="26"/>
                  </a:lnTo>
                  <a:lnTo>
                    <a:pt x="11" y="24"/>
                  </a:lnTo>
                  <a:lnTo>
                    <a:pt x="11" y="24"/>
                  </a:lnTo>
                  <a:lnTo>
                    <a:pt x="17" y="20"/>
                  </a:lnTo>
                  <a:lnTo>
                    <a:pt x="17" y="17"/>
                  </a:lnTo>
                  <a:lnTo>
                    <a:pt x="20" y="15"/>
                  </a:lnTo>
                  <a:lnTo>
                    <a:pt x="22" y="15"/>
                  </a:lnTo>
                  <a:lnTo>
                    <a:pt x="26" y="13"/>
                  </a:lnTo>
                  <a:lnTo>
                    <a:pt x="22" y="11"/>
                  </a:lnTo>
                  <a:lnTo>
                    <a:pt x="22" y="5"/>
                  </a:lnTo>
                  <a:lnTo>
                    <a:pt x="20" y="5"/>
                  </a:lnTo>
                  <a:lnTo>
                    <a:pt x="19" y="0"/>
                  </a:lnTo>
                  <a:lnTo>
                    <a:pt x="11" y="0"/>
                  </a:lnTo>
                  <a:lnTo>
                    <a:pt x="11" y="3"/>
                  </a:lnTo>
                  <a:lnTo>
                    <a:pt x="7" y="3"/>
                  </a:lnTo>
                  <a:lnTo>
                    <a:pt x="5" y="13"/>
                  </a:lnTo>
                  <a:lnTo>
                    <a:pt x="5" y="17"/>
                  </a:lnTo>
                  <a:lnTo>
                    <a:pt x="0" y="22"/>
                  </a:lnTo>
                  <a:lnTo>
                    <a:pt x="0" y="26"/>
                  </a:lnTo>
                  <a:lnTo>
                    <a:pt x="0" y="26"/>
                  </a:lnTo>
                  <a:lnTo>
                    <a:pt x="0" y="26"/>
                  </a:lnTo>
                  <a:lnTo>
                    <a:pt x="0"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75">
              <a:extLst>
                <a:ext uri="{FF2B5EF4-FFF2-40B4-BE49-F238E27FC236}">
                  <a16:creationId xmlns:a16="http://schemas.microsoft.com/office/drawing/2014/main" id="{BD18F862-6C91-D843-ACBE-06ABB5160E5D}"/>
                </a:ext>
              </a:extLst>
            </p:cNvPr>
            <p:cNvSpPr>
              <a:spLocks/>
            </p:cNvSpPr>
            <p:nvPr/>
          </p:nvSpPr>
          <p:spPr bwMode="auto">
            <a:xfrm>
              <a:off x="6662025" y="2491219"/>
              <a:ext cx="67414" cy="72099"/>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76">
              <a:extLst>
                <a:ext uri="{FF2B5EF4-FFF2-40B4-BE49-F238E27FC236}">
                  <a16:creationId xmlns:a16="http://schemas.microsoft.com/office/drawing/2014/main" id="{F523CDED-C5B4-934C-BD40-69593C072C19}"/>
                </a:ext>
              </a:extLst>
            </p:cNvPr>
            <p:cNvSpPr>
              <a:spLocks/>
            </p:cNvSpPr>
            <p:nvPr/>
          </p:nvSpPr>
          <p:spPr bwMode="auto">
            <a:xfrm>
              <a:off x="6662025" y="2491219"/>
              <a:ext cx="67414" cy="72099"/>
            </a:xfrm>
            <a:custGeom>
              <a:avLst/>
              <a:gdLst/>
              <a:ahLst/>
              <a:cxnLst>
                <a:cxn ang="0">
                  <a:pos x="0" y="83"/>
                </a:cxn>
                <a:cxn ang="0">
                  <a:pos x="0" y="83"/>
                </a:cxn>
                <a:cxn ang="0">
                  <a:pos x="0" y="79"/>
                </a:cxn>
                <a:cxn ang="0">
                  <a:pos x="3" y="76"/>
                </a:cxn>
                <a:cxn ang="0">
                  <a:pos x="3" y="74"/>
                </a:cxn>
                <a:cxn ang="0">
                  <a:pos x="5" y="68"/>
                </a:cxn>
                <a:cxn ang="0">
                  <a:pos x="5" y="62"/>
                </a:cxn>
                <a:cxn ang="0">
                  <a:pos x="5" y="62"/>
                </a:cxn>
                <a:cxn ang="0">
                  <a:pos x="5" y="59"/>
                </a:cxn>
                <a:cxn ang="0">
                  <a:pos x="5" y="53"/>
                </a:cxn>
                <a:cxn ang="0">
                  <a:pos x="5" y="51"/>
                </a:cxn>
                <a:cxn ang="0">
                  <a:pos x="9" y="34"/>
                </a:cxn>
                <a:cxn ang="0">
                  <a:pos x="9" y="32"/>
                </a:cxn>
                <a:cxn ang="0">
                  <a:pos x="9" y="29"/>
                </a:cxn>
                <a:cxn ang="0">
                  <a:pos x="9" y="25"/>
                </a:cxn>
                <a:cxn ang="0">
                  <a:pos x="9" y="23"/>
                </a:cxn>
                <a:cxn ang="0">
                  <a:pos x="9" y="19"/>
                </a:cxn>
                <a:cxn ang="0">
                  <a:pos x="9" y="19"/>
                </a:cxn>
                <a:cxn ang="0">
                  <a:pos x="11" y="19"/>
                </a:cxn>
                <a:cxn ang="0">
                  <a:pos x="15" y="13"/>
                </a:cxn>
                <a:cxn ang="0">
                  <a:pos x="15" y="17"/>
                </a:cxn>
                <a:cxn ang="0">
                  <a:pos x="20" y="19"/>
                </a:cxn>
                <a:cxn ang="0">
                  <a:pos x="24" y="23"/>
                </a:cxn>
                <a:cxn ang="0">
                  <a:pos x="26" y="23"/>
                </a:cxn>
                <a:cxn ang="0">
                  <a:pos x="30" y="23"/>
                </a:cxn>
                <a:cxn ang="0">
                  <a:pos x="67" y="0"/>
                </a:cxn>
                <a:cxn ang="0">
                  <a:pos x="79" y="23"/>
                </a:cxn>
                <a:cxn ang="0">
                  <a:pos x="77" y="23"/>
                </a:cxn>
                <a:cxn ang="0">
                  <a:pos x="69" y="30"/>
                </a:cxn>
                <a:cxn ang="0">
                  <a:pos x="41" y="40"/>
                </a:cxn>
                <a:cxn ang="0">
                  <a:pos x="64" y="64"/>
                </a:cxn>
                <a:cxn ang="0">
                  <a:pos x="54" y="74"/>
                </a:cxn>
                <a:cxn ang="0">
                  <a:pos x="54" y="79"/>
                </a:cxn>
                <a:cxn ang="0">
                  <a:pos x="39" y="79"/>
                </a:cxn>
                <a:cxn ang="0">
                  <a:pos x="24" y="94"/>
                </a:cxn>
                <a:cxn ang="0">
                  <a:pos x="5" y="89"/>
                </a:cxn>
                <a:cxn ang="0">
                  <a:pos x="0" y="89"/>
                </a:cxn>
                <a:cxn ang="0">
                  <a:pos x="0" y="89"/>
                </a:cxn>
                <a:cxn ang="0">
                  <a:pos x="0" y="83"/>
                </a:cxn>
                <a:cxn ang="0">
                  <a:pos x="0" y="83"/>
                </a:cxn>
                <a:cxn ang="0">
                  <a:pos x="0" y="83"/>
                </a:cxn>
                <a:cxn ang="0">
                  <a:pos x="0" y="83"/>
                </a:cxn>
                <a:cxn ang="0">
                  <a:pos x="0" y="83"/>
                </a:cxn>
              </a:cxnLst>
              <a:rect l="0" t="0" r="r" b="b"/>
              <a:pathLst>
                <a:path w="79" h="94">
                  <a:moveTo>
                    <a:pt x="0" y="83"/>
                  </a:moveTo>
                  <a:lnTo>
                    <a:pt x="0" y="83"/>
                  </a:lnTo>
                  <a:lnTo>
                    <a:pt x="0" y="79"/>
                  </a:lnTo>
                  <a:lnTo>
                    <a:pt x="3" y="76"/>
                  </a:lnTo>
                  <a:lnTo>
                    <a:pt x="3" y="74"/>
                  </a:lnTo>
                  <a:lnTo>
                    <a:pt x="5" y="68"/>
                  </a:lnTo>
                  <a:lnTo>
                    <a:pt x="5" y="62"/>
                  </a:lnTo>
                  <a:lnTo>
                    <a:pt x="5" y="62"/>
                  </a:lnTo>
                  <a:lnTo>
                    <a:pt x="5" y="59"/>
                  </a:lnTo>
                  <a:lnTo>
                    <a:pt x="5" y="53"/>
                  </a:lnTo>
                  <a:lnTo>
                    <a:pt x="5" y="51"/>
                  </a:lnTo>
                  <a:lnTo>
                    <a:pt x="9" y="34"/>
                  </a:lnTo>
                  <a:lnTo>
                    <a:pt x="9" y="32"/>
                  </a:lnTo>
                  <a:lnTo>
                    <a:pt x="9" y="29"/>
                  </a:lnTo>
                  <a:lnTo>
                    <a:pt x="9" y="25"/>
                  </a:lnTo>
                  <a:lnTo>
                    <a:pt x="9" y="23"/>
                  </a:lnTo>
                  <a:lnTo>
                    <a:pt x="9" y="19"/>
                  </a:lnTo>
                  <a:lnTo>
                    <a:pt x="9" y="19"/>
                  </a:lnTo>
                  <a:lnTo>
                    <a:pt x="11" y="19"/>
                  </a:lnTo>
                  <a:lnTo>
                    <a:pt x="15" y="13"/>
                  </a:lnTo>
                  <a:lnTo>
                    <a:pt x="15" y="17"/>
                  </a:lnTo>
                  <a:lnTo>
                    <a:pt x="20" y="19"/>
                  </a:lnTo>
                  <a:lnTo>
                    <a:pt x="24" y="23"/>
                  </a:lnTo>
                  <a:lnTo>
                    <a:pt x="26" y="23"/>
                  </a:lnTo>
                  <a:lnTo>
                    <a:pt x="30" y="23"/>
                  </a:lnTo>
                  <a:lnTo>
                    <a:pt x="67" y="0"/>
                  </a:lnTo>
                  <a:lnTo>
                    <a:pt x="79" y="23"/>
                  </a:lnTo>
                  <a:lnTo>
                    <a:pt x="77" y="23"/>
                  </a:lnTo>
                  <a:lnTo>
                    <a:pt x="69" y="30"/>
                  </a:lnTo>
                  <a:lnTo>
                    <a:pt x="41" y="40"/>
                  </a:lnTo>
                  <a:lnTo>
                    <a:pt x="64" y="64"/>
                  </a:lnTo>
                  <a:lnTo>
                    <a:pt x="54" y="74"/>
                  </a:lnTo>
                  <a:lnTo>
                    <a:pt x="54" y="79"/>
                  </a:lnTo>
                  <a:lnTo>
                    <a:pt x="39" y="79"/>
                  </a:lnTo>
                  <a:lnTo>
                    <a:pt x="24" y="94"/>
                  </a:lnTo>
                  <a:lnTo>
                    <a:pt x="5" y="89"/>
                  </a:lnTo>
                  <a:lnTo>
                    <a:pt x="0" y="89"/>
                  </a:lnTo>
                  <a:lnTo>
                    <a:pt x="0" y="89"/>
                  </a:lnTo>
                  <a:lnTo>
                    <a:pt x="0" y="83"/>
                  </a:lnTo>
                  <a:lnTo>
                    <a:pt x="0" y="83"/>
                  </a:lnTo>
                  <a:lnTo>
                    <a:pt x="0" y="83"/>
                  </a:lnTo>
                  <a:lnTo>
                    <a:pt x="0" y="83"/>
                  </a:lnTo>
                  <a:lnTo>
                    <a:pt x="0" y="8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77">
              <a:extLst>
                <a:ext uri="{FF2B5EF4-FFF2-40B4-BE49-F238E27FC236}">
                  <a16:creationId xmlns:a16="http://schemas.microsoft.com/office/drawing/2014/main" id="{B148449F-8D65-C349-90BB-B09B35C36BC2}"/>
                </a:ext>
              </a:extLst>
            </p:cNvPr>
            <p:cNvSpPr>
              <a:spLocks/>
            </p:cNvSpPr>
            <p:nvPr/>
          </p:nvSpPr>
          <p:spPr bwMode="auto">
            <a:xfrm>
              <a:off x="6913759" y="2600133"/>
              <a:ext cx="12800" cy="24544"/>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78">
              <a:extLst>
                <a:ext uri="{FF2B5EF4-FFF2-40B4-BE49-F238E27FC236}">
                  <a16:creationId xmlns:a16="http://schemas.microsoft.com/office/drawing/2014/main" id="{3940B00A-AE3A-0042-AF4D-851D93F4E990}"/>
                </a:ext>
              </a:extLst>
            </p:cNvPr>
            <p:cNvSpPr>
              <a:spLocks/>
            </p:cNvSpPr>
            <p:nvPr/>
          </p:nvSpPr>
          <p:spPr bwMode="auto">
            <a:xfrm>
              <a:off x="6913759" y="2600133"/>
              <a:ext cx="12800" cy="24544"/>
            </a:xfrm>
            <a:custGeom>
              <a:avLst/>
              <a:gdLst/>
              <a:ahLst/>
              <a:cxnLst>
                <a:cxn ang="0">
                  <a:pos x="12" y="32"/>
                </a:cxn>
                <a:cxn ang="0">
                  <a:pos x="6" y="32"/>
                </a:cxn>
                <a:cxn ang="0">
                  <a:pos x="0" y="28"/>
                </a:cxn>
                <a:cxn ang="0">
                  <a:pos x="0" y="28"/>
                </a:cxn>
                <a:cxn ang="0">
                  <a:pos x="0" y="28"/>
                </a:cxn>
                <a:cxn ang="0">
                  <a:pos x="0" y="22"/>
                </a:cxn>
                <a:cxn ang="0">
                  <a:pos x="0" y="22"/>
                </a:cxn>
                <a:cxn ang="0">
                  <a:pos x="0" y="18"/>
                </a:cxn>
                <a:cxn ang="0">
                  <a:pos x="0" y="13"/>
                </a:cxn>
                <a:cxn ang="0">
                  <a:pos x="0" y="13"/>
                </a:cxn>
                <a:cxn ang="0">
                  <a:pos x="2" y="13"/>
                </a:cxn>
                <a:cxn ang="0">
                  <a:pos x="0" y="7"/>
                </a:cxn>
                <a:cxn ang="0">
                  <a:pos x="2" y="7"/>
                </a:cxn>
                <a:cxn ang="0">
                  <a:pos x="0" y="7"/>
                </a:cxn>
                <a:cxn ang="0">
                  <a:pos x="2" y="3"/>
                </a:cxn>
                <a:cxn ang="0">
                  <a:pos x="2" y="3"/>
                </a:cxn>
                <a:cxn ang="0">
                  <a:pos x="6" y="3"/>
                </a:cxn>
                <a:cxn ang="0">
                  <a:pos x="6" y="0"/>
                </a:cxn>
                <a:cxn ang="0">
                  <a:pos x="6" y="0"/>
                </a:cxn>
                <a:cxn ang="0">
                  <a:pos x="12" y="3"/>
                </a:cxn>
                <a:cxn ang="0">
                  <a:pos x="12" y="7"/>
                </a:cxn>
                <a:cxn ang="0">
                  <a:pos x="12" y="7"/>
                </a:cxn>
                <a:cxn ang="0">
                  <a:pos x="12" y="7"/>
                </a:cxn>
                <a:cxn ang="0">
                  <a:pos x="12" y="13"/>
                </a:cxn>
                <a:cxn ang="0">
                  <a:pos x="12" y="13"/>
                </a:cxn>
                <a:cxn ang="0">
                  <a:pos x="12" y="18"/>
                </a:cxn>
                <a:cxn ang="0">
                  <a:pos x="12" y="18"/>
                </a:cxn>
                <a:cxn ang="0">
                  <a:pos x="15" y="22"/>
                </a:cxn>
                <a:cxn ang="0">
                  <a:pos x="12" y="32"/>
                </a:cxn>
                <a:cxn ang="0">
                  <a:pos x="12" y="32"/>
                </a:cxn>
                <a:cxn ang="0">
                  <a:pos x="12" y="32"/>
                </a:cxn>
                <a:cxn ang="0">
                  <a:pos x="12" y="32"/>
                </a:cxn>
                <a:cxn ang="0">
                  <a:pos x="12" y="32"/>
                </a:cxn>
              </a:cxnLst>
              <a:rect l="0" t="0" r="r" b="b"/>
              <a:pathLst>
                <a:path w="15" h="32">
                  <a:moveTo>
                    <a:pt x="12" y="32"/>
                  </a:moveTo>
                  <a:lnTo>
                    <a:pt x="6" y="32"/>
                  </a:lnTo>
                  <a:lnTo>
                    <a:pt x="0" y="28"/>
                  </a:lnTo>
                  <a:lnTo>
                    <a:pt x="0" y="28"/>
                  </a:lnTo>
                  <a:lnTo>
                    <a:pt x="0" y="28"/>
                  </a:lnTo>
                  <a:lnTo>
                    <a:pt x="0" y="22"/>
                  </a:lnTo>
                  <a:lnTo>
                    <a:pt x="0" y="22"/>
                  </a:lnTo>
                  <a:lnTo>
                    <a:pt x="0" y="18"/>
                  </a:lnTo>
                  <a:lnTo>
                    <a:pt x="0" y="13"/>
                  </a:lnTo>
                  <a:lnTo>
                    <a:pt x="0" y="13"/>
                  </a:lnTo>
                  <a:lnTo>
                    <a:pt x="2" y="13"/>
                  </a:lnTo>
                  <a:lnTo>
                    <a:pt x="0" y="7"/>
                  </a:lnTo>
                  <a:lnTo>
                    <a:pt x="2" y="7"/>
                  </a:lnTo>
                  <a:lnTo>
                    <a:pt x="0" y="7"/>
                  </a:lnTo>
                  <a:lnTo>
                    <a:pt x="2" y="3"/>
                  </a:lnTo>
                  <a:lnTo>
                    <a:pt x="2" y="3"/>
                  </a:lnTo>
                  <a:lnTo>
                    <a:pt x="6" y="3"/>
                  </a:lnTo>
                  <a:lnTo>
                    <a:pt x="6" y="0"/>
                  </a:lnTo>
                  <a:lnTo>
                    <a:pt x="6" y="0"/>
                  </a:lnTo>
                  <a:lnTo>
                    <a:pt x="12" y="3"/>
                  </a:lnTo>
                  <a:lnTo>
                    <a:pt x="12" y="7"/>
                  </a:lnTo>
                  <a:lnTo>
                    <a:pt x="12" y="7"/>
                  </a:lnTo>
                  <a:lnTo>
                    <a:pt x="12" y="7"/>
                  </a:lnTo>
                  <a:lnTo>
                    <a:pt x="12" y="13"/>
                  </a:lnTo>
                  <a:lnTo>
                    <a:pt x="12" y="13"/>
                  </a:lnTo>
                  <a:lnTo>
                    <a:pt x="12" y="18"/>
                  </a:lnTo>
                  <a:lnTo>
                    <a:pt x="12" y="18"/>
                  </a:lnTo>
                  <a:lnTo>
                    <a:pt x="15" y="22"/>
                  </a:lnTo>
                  <a:lnTo>
                    <a:pt x="12" y="32"/>
                  </a:lnTo>
                  <a:lnTo>
                    <a:pt x="12" y="32"/>
                  </a:lnTo>
                  <a:lnTo>
                    <a:pt x="12" y="32"/>
                  </a:lnTo>
                  <a:lnTo>
                    <a:pt x="12" y="32"/>
                  </a:lnTo>
                  <a:lnTo>
                    <a:pt x="12"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79">
              <a:extLst>
                <a:ext uri="{FF2B5EF4-FFF2-40B4-BE49-F238E27FC236}">
                  <a16:creationId xmlns:a16="http://schemas.microsoft.com/office/drawing/2014/main" id="{8E1A39DD-B974-1940-873B-09722252DA25}"/>
                </a:ext>
              </a:extLst>
            </p:cNvPr>
            <p:cNvSpPr>
              <a:spLocks noEditPoints="1"/>
            </p:cNvSpPr>
            <p:nvPr/>
          </p:nvSpPr>
          <p:spPr bwMode="auto">
            <a:xfrm>
              <a:off x="6417970" y="2007233"/>
              <a:ext cx="86187" cy="53691"/>
            </a:xfrm>
            <a:custGeom>
              <a:avLst/>
              <a:gdLst/>
              <a:ahLst/>
              <a:cxnLst>
                <a:cxn ang="0">
                  <a:pos x="99" y="62"/>
                </a:cxn>
                <a:cxn ang="0">
                  <a:pos x="92" y="38"/>
                </a:cxn>
                <a:cxn ang="0">
                  <a:pos x="97" y="17"/>
                </a:cxn>
                <a:cxn ang="0">
                  <a:pos x="101" y="12"/>
                </a:cxn>
                <a:cxn ang="0">
                  <a:pos x="82" y="10"/>
                </a:cxn>
                <a:cxn ang="0">
                  <a:pos x="65" y="4"/>
                </a:cxn>
                <a:cxn ang="0">
                  <a:pos x="60" y="4"/>
                </a:cxn>
                <a:cxn ang="0">
                  <a:pos x="58" y="6"/>
                </a:cxn>
                <a:cxn ang="0">
                  <a:pos x="47" y="8"/>
                </a:cxn>
                <a:cxn ang="0">
                  <a:pos x="41" y="10"/>
                </a:cxn>
                <a:cxn ang="0">
                  <a:pos x="35" y="13"/>
                </a:cxn>
                <a:cxn ang="0">
                  <a:pos x="26" y="32"/>
                </a:cxn>
                <a:cxn ang="0">
                  <a:pos x="32" y="32"/>
                </a:cxn>
                <a:cxn ang="0">
                  <a:pos x="30" y="38"/>
                </a:cxn>
                <a:cxn ang="0">
                  <a:pos x="39" y="47"/>
                </a:cxn>
                <a:cxn ang="0">
                  <a:pos x="45" y="44"/>
                </a:cxn>
                <a:cxn ang="0">
                  <a:pos x="45" y="57"/>
                </a:cxn>
                <a:cxn ang="0">
                  <a:pos x="60" y="55"/>
                </a:cxn>
                <a:cxn ang="0">
                  <a:pos x="65" y="53"/>
                </a:cxn>
                <a:cxn ang="0">
                  <a:pos x="75" y="62"/>
                </a:cxn>
                <a:cxn ang="0">
                  <a:pos x="84" y="70"/>
                </a:cxn>
                <a:cxn ang="0">
                  <a:pos x="96" y="68"/>
                </a:cxn>
                <a:cxn ang="0">
                  <a:pos x="20" y="25"/>
                </a:cxn>
                <a:cxn ang="0">
                  <a:pos x="20" y="27"/>
                </a:cxn>
                <a:cxn ang="0">
                  <a:pos x="20" y="25"/>
                </a:cxn>
                <a:cxn ang="0">
                  <a:pos x="11" y="28"/>
                </a:cxn>
                <a:cxn ang="0">
                  <a:pos x="5" y="28"/>
                </a:cxn>
                <a:cxn ang="0">
                  <a:pos x="11" y="25"/>
                </a:cxn>
                <a:cxn ang="0">
                  <a:pos x="18" y="27"/>
                </a:cxn>
                <a:cxn ang="0">
                  <a:pos x="15" y="32"/>
                </a:cxn>
                <a:cxn ang="0">
                  <a:pos x="13" y="34"/>
                </a:cxn>
                <a:cxn ang="0">
                  <a:pos x="20" y="34"/>
                </a:cxn>
                <a:cxn ang="0">
                  <a:pos x="26" y="38"/>
                </a:cxn>
                <a:cxn ang="0">
                  <a:pos x="20" y="36"/>
                </a:cxn>
                <a:cxn ang="0">
                  <a:pos x="5" y="59"/>
                </a:cxn>
                <a:cxn ang="0">
                  <a:pos x="11" y="47"/>
                </a:cxn>
                <a:cxn ang="0">
                  <a:pos x="20" y="44"/>
                </a:cxn>
                <a:cxn ang="0">
                  <a:pos x="22" y="42"/>
                </a:cxn>
                <a:cxn ang="0">
                  <a:pos x="13" y="38"/>
                </a:cxn>
                <a:cxn ang="0">
                  <a:pos x="7" y="38"/>
                </a:cxn>
                <a:cxn ang="0">
                  <a:pos x="1" y="38"/>
                </a:cxn>
                <a:cxn ang="0">
                  <a:pos x="5" y="42"/>
                </a:cxn>
                <a:cxn ang="0">
                  <a:pos x="1" y="47"/>
                </a:cxn>
                <a:cxn ang="0">
                  <a:pos x="5" y="53"/>
                </a:cxn>
                <a:cxn ang="0">
                  <a:pos x="5" y="57"/>
                </a:cxn>
              </a:cxnLst>
              <a:rect l="0" t="0" r="r" b="b"/>
              <a:pathLst>
                <a:path w="101" h="70">
                  <a:moveTo>
                    <a:pt x="96" y="68"/>
                  </a:moveTo>
                  <a:lnTo>
                    <a:pt x="99" y="64"/>
                  </a:lnTo>
                  <a:lnTo>
                    <a:pt x="99" y="62"/>
                  </a:lnTo>
                  <a:lnTo>
                    <a:pt x="101" y="59"/>
                  </a:lnTo>
                  <a:lnTo>
                    <a:pt x="101" y="55"/>
                  </a:lnTo>
                  <a:lnTo>
                    <a:pt x="92" y="38"/>
                  </a:lnTo>
                  <a:lnTo>
                    <a:pt x="92" y="25"/>
                  </a:lnTo>
                  <a:lnTo>
                    <a:pt x="96" y="23"/>
                  </a:lnTo>
                  <a:lnTo>
                    <a:pt x="97" y="17"/>
                  </a:lnTo>
                  <a:lnTo>
                    <a:pt x="101" y="13"/>
                  </a:lnTo>
                  <a:lnTo>
                    <a:pt x="101" y="12"/>
                  </a:lnTo>
                  <a:lnTo>
                    <a:pt x="101" y="12"/>
                  </a:lnTo>
                  <a:lnTo>
                    <a:pt x="99" y="8"/>
                  </a:lnTo>
                  <a:lnTo>
                    <a:pt x="99" y="10"/>
                  </a:lnTo>
                  <a:lnTo>
                    <a:pt x="82" y="10"/>
                  </a:lnTo>
                  <a:lnTo>
                    <a:pt x="77" y="6"/>
                  </a:lnTo>
                  <a:lnTo>
                    <a:pt x="71" y="6"/>
                  </a:lnTo>
                  <a:lnTo>
                    <a:pt x="65" y="4"/>
                  </a:lnTo>
                  <a:lnTo>
                    <a:pt x="62" y="4"/>
                  </a:lnTo>
                  <a:lnTo>
                    <a:pt x="60" y="0"/>
                  </a:lnTo>
                  <a:lnTo>
                    <a:pt x="60" y="4"/>
                  </a:lnTo>
                  <a:lnTo>
                    <a:pt x="56" y="4"/>
                  </a:lnTo>
                  <a:lnTo>
                    <a:pt x="56" y="4"/>
                  </a:lnTo>
                  <a:lnTo>
                    <a:pt x="58" y="6"/>
                  </a:lnTo>
                  <a:lnTo>
                    <a:pt x="54" y="10"/>
                  </a:lnTo>
                  <a:lnTo>
                    <a:pt x="54" y="8"/>
                  </a:lnTo>
                  <a:lnTo>
                    <a:pt x="47" y="8"/>
                  </a:lnTo>
                  <a:lnTo>
                    <a:pt x="45" y="6"/>
                  </a:lnTo>
                  <a:lnTo>
                    <a:pt x="45" y="10"/>
                  </a:lnTo>
                  <a:lnTo>
                    <a:pt x="41" y="10"/>
                  </a:lnTo>
                  <a:lnTo>
                    <a:pt x="37" y="10"/>
                  </a:lnTo>
                  <a:lnTo>
                    <a:pt x="35" y="13"/>
                  </a:lnTo>
                  <a:lnTo>
                    <a:pt x="35" y="13"/>
                  </a:lnTo>
                  <a:lnTo>
                    <a:pt x="30" y="15"/>
                  </a:lnTo>
                  <a:lnTo>
                    <a:pt x="26" y="19"/>
                  </a:lnTo>
                  <a:lnTo>
                    <a:pt x="26" y="32"/>
                  </a:lnTo>
                  <a:lnTo>
                    <a:pt x="30" y="32"/>
                  </a:lnTo>
                  <a:lnTo>
                    <a:pt x="32" y="32"/>
                  </a:lnTo>
                  <a:lnTo>
                    <a:pt x="32" y="32"/>
                  </a:lnTo>
                  <a:lnTo>
                    <a:pt x="32" y="34"/>
                  </a:lnTo>
                  <a:lnTo>
                    <a:pt x="30" y="34"/>
                  </a:lnTo>
                  <a:lnTo>
                    <a:pt x="30" y="38"/>
                  </a:lnTo>
                  <a:lnTo>
                    <a:pt x="32" y="44"/>
                  </a:lnTo>
                  <a:lnTo>
                    <a:pt x="37" y="47"/>
                  </a:lnTo>
                  <a:lnTo>
                    <a:pt x="39" y="47"/>
                  </a:lnTo>
                  <a:lnTo>
                    <a:pt x="39" y="44"/>
                  </a:lnTo>
                  <a:lnTo>
                    <a:pt x="43" y="44"/>
                  </a:lnTo>
                  <a:lnTo>
                    <a:pt x="45" y="44"/>
                  </a:lnTo>
                  <a:lnTo>
                    <a:pt x="43" y="55"/>
                  </a:lnTo>
                  <a:lnTo>
                    <a:pt x="43" y="57"/>
                  </a:lnTo>
                  <a:lnTo>
                    <a:pt x="45" y="57"/>
                  </a:lnTo>
                  <a:lnTo>
                    <a:pt x="50" y="53"/>
                  </a:lnTo>
                  <a:lnTo>
                    <a:pt x="56" y="53"/>
                  </a:lnTo>
                  <a:lnTo>
                    <a:pt x="60" y="55"/>
                  </a:lnTo>
                  <a:lnTo>
                    <a:pt x="62" y="55"/>
                  </a:lnTo>
                  <a:lnTo>
                    <a:pt x="62" y="53"/>
                  </a:lnTo>
                  <a:lnTo>
                    <a:pt x="65" y="53"/>
                  </a:lnTo>
                  <a:lnTo>
                    <a:pt x="65" y="57"/>
                  </a:lnTo>
                  <a:lnTo>
                    <a:pt x="71" y="57"/>
                  </a:lnTo>
                  <a:lnTo>
                    <a:pt x="75" y="62"/>
                  </a:lnTo>
                  <a:lnTo>
                    <a:pt x="77" y="64"/>
                  </a:lnTo>
                  <a:lnTo>
                    <a:pt x="81" y="68"/>
                  </a:lnTo>
                  <a:lnTo>
                    <a:pt x="84" y="70"/>
                  </a:lnTo>
                  <a:lnTo>
                    <a:pt x="90" y="68"/>
                  </a:lnTo>
                  <a:lnTo>
                    <a:pt x="96" y="68"/>
                  </a:lnTo>
                  <a:lnTo>
                    <a:pt x="96" y="68"/>
                  </a:lnTo>
                  <a:lnTo>
                    <a:pt x="96" y="68"/>
                  </a:lnTo>
                  <a:lnTo>
                    <a:pt x="96" y="68"/>
                  </a:lnTo>
                  <a:close/>
                  <a:moveTo>
                    <a:pt x="20" y="25"/>
                  </a:moveTo>
                  <a:lnTo>
                    <a:pt x="22" y="25"/>
                  </a:lnTo>
                  <a:lnTo>
                    <a:pt x="22" y="27"/>
                  </a:lnTo>
                  <a:lnTo>
                    <a:pt x="20" y="27"/>
                  </a:lnTo>
                  <a:lnTo>
                    <a:pt x="20" y="25"/>
                  </a:lnTo>
                  <a:lnTo>
                    <a:pt x="20" y="25"/>
                  </a:lnTo>
                  <a:lnTo>
                    <a:pt x="20" y="25"/>
                  </a:lnTo>
                  <a:lnTo>
                    <a:pt x="20" y="25"/>
                  </a:lnTo>
                  <a:close/>
                  <a:moveTo>
                    <a:pt x="13" y="34"/>
                  </a:moveTo>
                  <a:lnTo>
                    <a:pt x="11" y="28"/>
                  </a:lnTo>
                  <a:lnTo>
                    <a:pt x="7" y="28"/>
                  </a:lnTo>
                  <a:lnTo>
                    <a:pt x="5" y="32"/>
                  </a:lnTo>
                  <a:lnTo>
                    <a:pt x="5" y="28"/>
                  </a:lnTo>
                  <a:lnTo>
                    <a:pt x="9" y="28"/>
                  </a:lnTo>
                  <a:lnTo>
                    <a:pt x="11" y="25"/>
                  </a:lnTo>
                  <a:lnTo>
                    <a:pt x="11" y="25"/>
                  </a:lnTo>
                  <a:lnTo>
                    <a:pt x="13" y="25"/>
                  </a:lnTo>
                  <a:lnTo>
                    <a:pt x="15" y="27"/>
                  </a:lnTo>
                  <a:lnTo>
                    <a:pt x="18" y="27"/>
                  </a:lnTo>
                  <a:lnTo>
                    <a:pt x="20" y="28"/>
                  </a:lnTo>
                  <a:lnTo>
                    <a:pt x="18" y="28"/>
                  </a:lnTo>
                  <a:lnTo>
                    <a:pt x="15" y="32"/>
                  </a:lnTo>
                  <a:lnTo>
                    <a:pt x="13" y="34"/>
                  </a:lnTo>
                  <a:lnTo>
                    <a:pt x="13" y="34"/>
                  </a:lnTo>
                  <a:lnTo>
                    <a:pt x="13" y="34"/>
                  </a:lnTo>
                  <a:lnTo>
                    <a:pt x="13" y="34"/>
                  </a:lnTo>
                  <a:close/>
                  <a:moveTo>
                    <a:pt x="20" y="36"/>
                  </a:moveTo>
                  <a:lnTo>
                    <a:pt x="20" y="34"/>
                  </a:lnTo>
                  <a:lnTo>
                    <a:pt x="26" y="34"/>
                  </a:lnTo>
                  <a:lnTo>
                    <a:pt x="26" y="38"/>
                  </a:lnTo>
                  <a:lnTo>
                    <a:pt x="26" y="38"/>
                  </a:lnTo>
                  <a:lnTo>
                    <a:pt x="20" y="36"/>
                  </a:lnTo>
                  <a:lnTo>
                    <a:pt x="20" y="36"/>
                  </a:lnTo>
                  <a:lnTo>
                    <a:pt x="20" y="36"/>
                  </a:lnTo>
                  <a:lnTo>
                    <a:pt x="20" y="36"/>
                  </a:lnTo>
                  <a:close/>
                  <a:moveTo>
                    <a:pt x="5" y="57"/>
                  </a:moveTo>
                  <a:lnTo>
                    <a:pt x="5" y="59"/>
                  </a:lnTo>
                  <a:lnTo>
                    <a:pt x="7" y="55"/>
                  </a:lnTo>
                  <a:lnTo>
                    <a:pt x="7" y="53"/>
                  </a:lnTo>
                  <a:lnTo>
                    <a:pt x="11" y="47"/>
                  </a:lnTo>
                  <a:lnTo>
                    <a:pt x="17" y="47"/>
                  </a:lnTo>
                  <a:lnTo>
                    <a:pt x="18" y="44"/>
                  </a:lnTo>
                  <a:lnTo>
                    <a:pt x="20" y="44"/>
                  </a:lnTo>
                  <a:lnTo>
                    <a:pt x="22" y="44"/>
                  </a:lnTo>
                  <a:lnTo>
                    <a:pt x="22" y="44"/>
                  </a:lnTo>
                  <a:lnTo>
                    <a:pt x="22" y="42"/>
                  </a:lnTo>
                  <a:lnTo>
                    <a:pt x="20" y="38"/>
                  </a:lnTo>
                  <a:lnTo>
                    <a:pt x="18" y="38"/>
                  </a:lnTo>
                  <a:lnTo>
                    <a:pt x="13" y="38"/>
                  </a:lnTo>
                  <a:lnTo>
                    <a:pt x="11" y="36"/>
                  </a:lnTo>
                  <a:lnTo>
                    <a:pt x="9" y="38"/>
                  </a:lnTo>
                  <a:lnTo>
                    <a:pt x="7" y="38"/>
                  </a:lnTo>
                  <a:lnTo>
                    <a:pt x="5" y="42"/>
                  </a:lnTo>
                  <a:lnTo>
                    <a:pt x="5" y="38"/>
                  </a:lnTo>
                  <a:lnTo>
                    <a:pt x="1" y="38"/>
                  </a:lnTo>
                  <a:lnTo>
                    <a:pt x="1" y="38"/>
                  </a:lnTo>
                  <a:lnTo>
                    <a:pt x="0" y="42"/>
                  </a:lnTo>
                  <a:lnTo>
                    <a:pt x="5" y="42"/>
                  </a:lnTo>
                  <a:lnTo>
                    <a:pt x="5" y="44"/>
                  </a:lnTo>
                  <a:lnTo>
                    <a:pt x="1" y="44"/>
                  </a:lnTo>
                  <a:lnTo>
                    <a:pt x="1" y="47"/>
                  </a:lnTo>
                  <a:lnTo>
                    <a:pt x="5" y="47"/>
                  </a:lnTo>
                  <a:lnTo>
                    <a:pt x="7" y="49"/>
                  </a:lnTo>
                  <a:lnTo>
                    <a:pt x="5" y="53"/>
                  </a:lnTo>
                  <a:lnTo>
                    <a:pt x="5" y="53"/>
                  </a:lnTo>
                  <a:lnTo>
                    <a:pt x="5" y="57"/>
                  </a:lnTo>
                  <a:lnTo>
                    <a:pt x="5" y="57"/>
                  </a:lnTo>
                  <a:lnTo>
                    <a:pt x="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80">
              <a:extLst>
                <a:ext uri="{FF2B5EF4-FFF2-40B4-BE49-F238E27FC236}">
                  <a16:creationId xmlns:a16="http://schemas.microsoft.com/office/drawing/2014/main" id="{74E890BF-ECAA-B048-B04D-A674BE7D09B7}"/>
                </a:ext>
              </a:extLst>
            </p:cNvPr>
            <p:cNvSpPr>
              <a:spLocks/>
            </p:cNvSpPr>
            <p:nvPr/>
          </p:nvSpPr>
          <p:spPr bwMode="auto">
            <a:xfrm>
              <a:off x="6409437" y="2049420"/>
              <a:ext cx="98134" cy="47555"/>
            </a:xfrm>
            <a:custGeom>
              <a:avLst/>
              <a:gdLst/>
              <a:ahLst/>
              <a:cxnLst>
                <a:cxn ang="0">
                  <a:pos x="115" y="43"/>
                </a:cxn>
                <a:cxn ang="0">
                  <a:pos x="111" y="34"/>
                </a:cxn>
                <a:cxn ang="0">
                  <a:pos x="107" y="28"/>
                </a:cxn>
                <a:cxn ang="0">
                  <a:pos x="107" y="21"/>
                </a:cxn>
                <a:cxn ang="0">
                  <a:pos x="107" y="21"/>
                </a:cxn>
                <a:cxn ang="0">
                  <a:pos x="96" y="15"/>
                </a:cxn>
                <a:cxn ang="0">
                  <a:pos x="87" y="13"/>
                </a:cxn>
                <a:cxn ang="0">
                  <a:pos x="83" y="7"/>
                </a:cxn>
                <a:cxn ang="0">
                  <a:pos x="74" y="4"/>
                </a:cxn>
                <a:cxn ang="0">
                  <a:pos x="70" y="0"/>
                </a:cxn>
                <a:cxn ang="0">
                  <a:pos x="66" y="2"/>
                </a:cxn>
                <a:cxn ang="0">
                  <a:pos x="59" y="0"/>
                </a:cxn>
                <a:cxn ang="0">
                  <a:pos x="51" y="4"/>
                </a:cxn>
                <a:cxn ang="0">
                  <a:pos x="53" y="15"/>
                </a:cxn>
                <a:cxn ang="0">
                  <a:pos x="43" y="28"/>
                </a:cxn>
                <a:cxn ang="0">
                  <a:pos x="34" y="24"/>
                </a:cxn>
                <a:cxn ang="0">
                  <a:pos x="27" y="13"/>
                </a:cxn>
                <a:cxn ang="0">
                  <a:pos x="25" y="7"/>
                </a:cxn>
                <a:cxn ang="0">
                  <a:pos x="15" y="11"/>
                </a:cxn>
                <a:cxn ang="0">
                  <a:pos x="10" y="15"/>
                </a:cxn>
                <a:cxn ang="0">
                  <a:pos x="10" y="21"/>
                </a:cxn>
                <a:cxn ang="0">
                  <a:pos x="6" y="28"/>
                </a:cxn>
                <a:cxn ang="0">
                  <a:pos x="2" y="38"/>
                </a:cxn>
                <a:cxn ang="0">
                  <a:pos x="0" y="43"/>
                </a:cxn>
                <a:cxn ang="0">
                  <a:pos x="4" y="53"/>
                </a:cxn>
                <a:cxn ang="0">
                  <a:pos x="6" y="53"/>
                </a:cxn>
                <a:cxn ang="0">
                  <a:pos x="13" y="45"/>
                </a:cxn>
                <a:cxn ang="0">
                  <a:pos x="28" y="45"/>
                </a:cxn>
                <a:cxn ang="0">
                  <a:pos x="34" y="45"/>
                </a:cxn>
                <a:cxn ang="0">
                  <a:pos x="42" y="43"/>
                </a:cxn>
                <a:cxn ang="0">
                  <a:pos x="45" y="45"/>
                </a:cxn>
                <a:cxn ang="0">
                  <a:pos x="55" y="49"/>
                </a:cxn>
                <a:cxn ang="0">
                  <a:pos x="62" y="45"/>
                </a:cxn>
                <a:cxn ang="0">
                  <a:pos x="75" y="49"/>
                </a:cxn>
                <a:cxn ang="0">
                  <a:pos x="83" y="54"/>
                </a:cxn>
                <a:cxn ang="0">
                  <a:pos x="92" y="60"/>
                </a:cxn>
                <a:cxn ang="0">
                  <a:pos x="94" y="62"/>
                </a:cxn>
                <a:cxn ang="0">
                  <a:pos x="107" y="58"/>
                </a:cxn>
                <a:cxn ang="0">
                  <a:pos x="111" y="53"/>
                </a:cxn>
                <a:cxn ang="0">
                  <a:pos x="115" y="49"/>
                </a:cxn>
                <a:cxn ang="0">
                  <a:pos x="115" y="49"/>
                </a:cxn>
              </a:cxnLst>
              <a:rect l="0" t="0" r="r" b="b"/>
              <a:pathLst>
                <a:path w="115" h="62">
                  <a:moveTo>
                    <a:pt x="115" y="49"/>
                  </a:moveTo>
                  <a:lnTo>
                    <a:pt x="115" y="43"/>
                  </a:lnTo>
                  <a:lnTo>
                    <a:pt x="113" y="39"/>
                  </a:lnTo>
                  <a:lnTo>
                    <a:pt x="111" y="34"/>
                  </a:lnTo>
                  <a:lnTo>
                    <a:pt x="111" y="32"/>
                  </a:lnTo>
                  <a:lnTo>
                    <a:pt x="107" y="28"/>
                  </a:lnTo>
                  <a:lnTo>
                    <a:pt x="107" y="24"/>
                  </a:lnTo>
                  <a:lnTo>
                    <a:pt x="107" y="21"/>
                  </a:lnTo>
                  <a:lnTo>
                    <a:pt x="106" y="21"/>
                  </a:lnTo>
                  <a:lnTo>
                    <a:pt x="107" y="21"/>
                  </a:lnTo>
                  <a:lnTo>
                    <a:pt x="106" y="15"/>
                  </a:lnTo>
                  <a:lnTo>
                    <a:pt x="96" y="15"/>
                  </a:lnTo>
                  <a:lnTo>
                    <a:pt x="91" y="15"/>
                  </a:lnTo>
                  <a:lnTo>
                    <a:pt x="87" y="13"/>
                  </a:lnTo>
                  <a:lnTo>
                    <a:pt x="83" y="11"/>
                  </a:lnTo>
                  <a:lnTo>
                    <a:pt x="83" y="7"/>
                  </a:lnTo>
                  <a:lnTo>
                    <a:pt x="77" y="4"/>
                  </a:lnTo>
                  <a:lnTo>
                    <a:pt x="74" y="4"/>
                  </a:lnTo>
                  <a:lnTo>
                    <a:pt x="74" y="0"/>
                  </a:lnTo>
                  <a:lnTo>
                    <a:pt x="70" y="0"/>
                  </a:lnTo>
                  <a:lnTo>
                    <a:pt x="70" y="2"/>
                  </a:lnTo>
                  <a:lnTo>
                    <a:pt x="66" y="2"/>
                  </a:lnTo>
                  <a:lnTo>
                    <a:pt x="62" y="0"/>
                  </a:lnTo>
                  <a:lnTo>
                    <a:pt x="59" y="0"/>
                  </a:lnTo>
                  <a:lnTo>
                    <a:pt x="53" y="4"/>
                  </a:lnTo>
                  <a:lnTo>
                    <a:pt x="51" y="4"/>
                  </a:lnTo>
                  <a:lnTo>
                    <a:pt x="51" y="9"/>
                  </a:lnTo>
                  <a:lnTo>
                    <a:pt x="53" y="15"/>
                  </a:lnTo>
                  <a:lnTo>
                    <a:pt x="51" y="24"/>
                  </a:lnTo>
                  <a:lnTo>
                    <a:pt x="43" y="28"/>
                  </a:lnTo>
                  <a:lnTo>
                    <a:pt x="40" y="28"/>
                  </a:lnTo>
                  <a:lnTo>
                    <a:pt x="34" y="24"/>
                  </a:lnTo>
                  <a:lnTo>
                    <a:pt x="34" y="21"/>
                  </a:lnTo>
                  <a:lnTo>
                    <a:pt x="27" y="13"/>
                  </a:lnTo>
                  <a:lnTo>
                    <a:pt x="27" y="7"/>
                  </a:lnTo>
                  <a:lnTo>
                    <a:pt x="25" y="7"/>
                  </a:lnTo>
                  <a:lnTo>
                    <a:pt x="21" y="11"/>
                  </a:lnTo>
                  <a:lnTo>
                    <a:pt x="15" y="11"/>
                  </a:lnTo>
                  <a:lnTo>
                    <a:pt x="13" y="13"/>
                  </a:lnTo>
                  <a:lnTo>
                    <a:pt x="10" y="15"/>
                  </a:lnTo>
                  <a:lnTo>
                    <a:pt x="10" y="19"/>
                  </a:lnTo>
                  <a:lnTo>
                    <a:pt x="10" y="21"/>
                  </a:lnTo>
                  <a:lnTo>
                    <a:pt x="6" y="21"/>
                  </a:lnTo>
                  <a:lnTo>
                    <a:pt x="6" y="28"/>
                  </a:lnTo>
                  <a:lnTo>
                    <a:pt x="2" y="34"/>
                  </a:lnTo>
                  <a:lnTo>
                    <a:pt x="2" y="38"/>
                  </a:lnTo>
                  <a:lnTo>
                    <a:pt x="2" y="41"/>
                  </a:lnTo>
                  <a:lnTo>
                    <a:pt x="0" y="43"/>
                  </a:lnTo>
                  <a:lnTo>
                    <a:pt x="2" y="53"/>
                  </a:lnTo>
                  <a:lnTo>
                    <a:pt x="4" y="53"/>
                  </a:lnTo>
                  <a:lnTo>
                    <a:pt x="4" y="54"/>
                  </a:lnTo>
                  <a:lnTo>
                    <a:pt x="6" y="53"/>
                  </a:lnTo>
                  <a:lnTo>
                    <a:pt x="10" y="49"/>
                  </a:lnTo>
                  <a:lnTo>
                    <a:pt x="13" y="45"/>
                  </a:lnTo>
                  <a:lnTo>
                    <a:pt x="21" y="43"/>
                  </a:lnTo>
                  <a:lnTo>
                    <a:pt x="28" y="45"/>
                  </a:lnTo>
                  <a:lnTo>
                    <a:pt x="30" y="43"/>
                  </a:lnTo>
                  <a:lnTo>
                    <a:pt x="34" y="45"/>
                  </a:lnTo>
                  <a:lnTo>
                    <a:pt x="38" y="43"/>
                  </a:lnTo>
                  <a:lnTo>
                    <a:pt x="42" y="43"/>
                  </a:lnTo>
                  <a:lnTo>
                    <a:pt x="42" y="45"/>
                  </a:lnTo>
                  <a:lnTo>
                    <a:pt x="45" y="45"/>
                  </a:lnTo>
                  <a:lnTo>
                    <a:pt x="49" y="49"/>
                  </a:lnTo>
                  <a:lnTo>
                    <a:pt x="55" y="49"/>
                  </a:lnTo>
                  <a:lnTo>
                    <a:pt x="55" y="49"/>
                  </a:lnTo>
                  <a:lnTo>
                    <a:pt x="62" y="45"/>
                  </a:lnTo>
                  <a:lnTo>
                    <a:pt x="68" y="49"/>
                  </a:lnTo>
                  <a:lnTo>
                    <a:pt x="75" y="49"/>
                  </a:lnTo>
                  <a:lnTo>
                    <a:pt x="79" y="54"/>
                  </a:lnTo>
                  <a:lnTo>
                    <a:pt x="83" y="54"/>
                  </a:lnTo>
                  <a:lnTo>
                    <a:pt x="87" y="60"/>
                  </a:lnTo>
                  <a:lnTo>
                    <a:pt x="92" y="60"/>
                  </a:lnTo>
                  <a:lnTo>
                    <a:pt x="94" y="62"/>
                  </a:lnTo>
                  <a:lnTo>
                    <a:pt x="94" y="62"/>
                  </a:lnTo>
                  <a:lnTo>
                    <a:pt x="100" y="60"/>
                  </a:lnTo>
                  <a:lnTo>
                    <a:pt x="107" y="58"/>
                  </a:lnTo>
                  <a:lnTo>
                    <a:pt x="107" y="53"/>
                  </a:lnTo>
                  <a:lnTo>
                    <a:pt x="111" y="53"/>
                  </a:lnTo>
                  <a:lnTo>
                    <a:pt x="113" y="49"/>
                  </a:lnTo>
                  <a:lnTo>
                    <a:pt x="115" y="49"/>
                  </a:lnTo>
                  <a:lnTo>
                    <a:pt x="115" y="49"/>
                  </a:lnTo>
                  <a:lnTo>
                    <a:pt x="115"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81">
              <a:extLst>
                <a:ext uri="{FF2B5EF4-FFF2-40B4-BE49-F238E27FC236}">
                  <a16:creationId xmlns:a16="http://schemas.microsoft.com/office/drawing/2014/main" id="{DC5217C7-90BF-FB4B-A5EB-6669104BD433}"/>
                </a:ext>
              </a:extLst>
            </p:cNvPr>
            <p:cNvSpPr>
              <a:spLocks/>
            </p:cNvSpPr>
            <p:nvPr/>
          </p:nvSpPr>
          <p:spPr bwMode="auto">
            <a:xfrm>
              <a:off x="6414557" y="2080867"/>
              <a:ext cx="75094" cy="52157"/>
            </a:xfrm>
            <a:custGeom>
              <a:avLst/>
              <a:gdLst/>
              <a:ahLst/>
              <a:cxnLst>
                <a:cxn ang="0">
                  <a:pos x="28" y="44"/>
                </a:cxn>
                <a:cxn ang="0">
                  <a:pos x="28" y="38"/>
                </a:cxn>
                <a:cxn ang="0">
                  <a:pos x="24" y="36"/>
                </a:cxn>
                <a:cxn ang="0">
                  <a:pos x="15" y="36"/>
                </a:cxn>
                <a:cxn ang="0">
                  <a:pos x="5" y="23"/>
                </a:cxn>
                <a:cxn ang="0">
                  <a:pos x="0" y="27"/>
                </a:cxn>
                <a:cxn ang="0">
                  <a:pos x="0" y="17"/>
                </a:cxn>
                <a:cxn ang="0">
                  <a:pos x="2" y="12"/>
                </a:cxn>
                <a:cxn ang="0">
                  <a:pos x="9" y="2"/>
                </a:cxn>
                <a:cxn ang="0">
                  <a:pos x="24" y="2"/>
                </a:cxn>
                <a:cxn ang="0">
                  <a:pos x="30" y="2"/>
                </a:cxn>
                <a:cxn ang="0">
                  <a:pos x="37" y="0"/>
                </a:cxn>
                <a:cxn ang="0">
                  <a:pos x="39" y="2"/>
                </a:cxn>
                <a:cxn ang="0">
                  <a:pos x="49" y="6"/>
                </a:cxn>
                <a:cxn ang="0">
                  <a:pos x="58" y="2"/>
                </a:cxn>
                <a:cxn ang="0">
                  <a:pos x="69" y="6"/>
                </a:cxn>
                <a:cxn ang="0">
                  <a:pos x="79" y="12"/>
                </a:cxn>
                <a:cxn ang="0">
                  <a:pos x="88" y="17"/>
                </a:cxn>
                <a:cxn ang="0">
                  <a:pos x="86" y="27"/>
                </a:cxn>
                <a:cxn ang="0">
                  <a:pos x="88" y="30"/>
                </a:cxn>
                <a:cxn ang="0">
                  <a:pos x="79" y="40"/>
                </a:cxn>
                <a:cxn ang="0">
                  <a:pos x="75" y="47"/>
                </a:cxn>
                <a:cxn ang="0">
                  <a:pos x="79" y="53"/>
                </a:cxn>
                <a:cxn ang="0">
                  <a:pos x="73" y="51"/>
                </a:cxn>
                <a:cxn ang="0">
                  <a:pos x="68" y="59"/>
                </a:cxn>
                <a:cxn ang="0">
                  <a:pos x="64" y="64"/>
                </a:cxn>
                <a:cxn ang="0">
                  <a:pos x="58" y="66"/>
                </a:cxn>
                <a:cxn ang="0">
                  <a:pos x="45" y="66"/>
                </a:cxn>
                <a:cxn ang="0">
                  <a:pos x="39" y="66"/>
                </a:cxn>
                <a:cxn ang="0">
                  <a:pos x="39" y="53"/>
                </a:cxn>
                <a:cxn ang="0">
                  <a:pos x="32" y="49"/>
                </a:cxn>
                <a:cxn ang="0">
                  <a:pos x="28" y="49"/>
                </a:cxn>
              </a:cxnLst>
              <a:rect l="0" t="0" r="r" b="b"/>
              <a:pathLst>
                <a:path w="88" h="68">
                  <a:moveTo>
                    <a:pt x="28" y="49"/>
                  </a:moveTo>
                  <a:lnTo>
                    <a:pt x="28" y="44"/>
                  </a:lnTo>
                  <a:lnTo>
                    <a:pt x="30" y="40"/>
                  </a:lnTo>
                  <a:lnTo>
                    <a:pt x="28" y="38"/>
                  </a:lnTo>
                  <a:lnTo>
                    <a:pt x="24" y="38"/>
                  </a:lnTo>
                  <a:lnTo>
                    <a:pt x="24" y="36"/>
                  </a:lnTo>
                  <a:lnTo>
                    <a:pt x="24" y="32"/>
                  </a:lnTo>
                  <a:lnTo>
                    <a:pt x="15" y="36"/>
                  </a:lnTo>
                  <a:lnTo>
                    <a:pt x="11" y="30"/>
                  </a:lnTo>
                  <a:lnTo>
                    <a:pt x="5" y="23"/>
                  </a:lnTo>
                  <a:lnTo>
                    <a:pt x="0" y="27"/>
                  </a:lnTo>
                  <a:lnTo>
                    <a:pt x="0" y="27"/>
                  </a:lnTo>
                  <a:lnTo>
                    <a:pt x="0" y="21"/>
                  </a:lnTo>
                  <a:lnTo>
                    <a:pt x="0" y="17"/>
                  </a:lnTo>
                  <a:lnTo>
                    <a:pt x="0" y="12"/>
                  </a:lnTo>
                  <a:lnTo>
                    <a:pt x="2" y="12"/>
                  </a:lnTo>
                  <a:lnTo>
                    <a:pt x="4" y="8"/>
                  </a:lnTo>
                  <a:lnTo>
                    <a:pt x="9" y="2"/>
                  </a:lnTo>
                  <a:lnTo>
                    <a:pt x="15" y="0"/>
                  </a:lnTo>
                  <a:lnTo>
                    <a:pt x="24" y="2"/>
                  </a:lnTo>
                  <a:lnTo>
                    <a:pt x="26" y="0"/>
                  </a:lnTo>
                  <a:lnTo>
                    <a:pt x="30" y="2"/>
                  </a:lnTo>
                  <a:lnTo>
                    <a:pt x="34" y="0"/>
                  </a:lnTo>
                  <a:lnTo>
                    <a:pt x="37" y="0"/>
                  </a:lnTo>
                  <a:lnTo>
                    <a:pt x="37" y="2"/>
                  </a:lnTo>
                  <a:lnTo>
                    <a:pt x="39" y="2"/>
                  </a:lnTo>
                  <a:lnTo>
                    <a:pt x="43" y="6"/>
                  </a:lnTo>
                  <a:lnTo>
                    <a:pt x="49" y="6"/>
                  </a:lnTo>
                  <a:lnTo>
                    <a:pt x="51" y="6"/>
                  </a:lnTo>
                  <a:lnTo>
                    <a:pt x="58" y="2"/>
                  </a:lnTo>
                  <a:lnTo>
                    <a:pt x="64" y="6"/>
                  </a:lnTo>
                  <a:lnTo>
                    <a:pt x="69" y="6"/>
                  </a:lnTo>
                  <a:lnTo>
                    <a:pt x="73" y="12"/>
                  </a:lnTo>
                  <a:lnTo>
                    <a:pt x="79" y="12"/>
                  </a:lnTo>
                  <a:lnTo>
                    <a:pt x="83" y="17"/>
                  </a:lnTo>
                  <a:lnTo>
                    <a:pt x="88" y="17"/>
                  </a:lnTo>
                  <a:lnTo>
                    <a:pt x="88" y="21"/>
                  </a:lnTo>
                  <a:lnTo>
                    <a:pt x="86" y="27"/>
                  </a:lnTo>
                  <a:lnTo>
                    <a:pt x="88" y="27"/>
                  </a:lnTo>
                  <a:lnTo>
                    <a:pt x="88" y="30"/>
                  </a:lnTo>
                  <a:lnTo>
                    <a:pt x="83" y="36"/>
                  </a:lnTo>
                  <a:lnTo>
                    <a:pt x="79" y="40"/>
                  </a:lnTo>
                  <a:lnTo>
                    <a:pt x="75" y="42"/>
                  </a:lnTo>
                  <a:lnTo>
                    <a:pt x="75" y="47"/>
                  </a:lnTo>
                  <a:lnTo>
                    <a:pt x="79" y="49"/>
                  </a:lnTo>
                  <a:lnTo>
                    <a:pt x="79" y="53"/>
                  </a:lnTo>
                  <a:lnTo>
                    <a:pt x="75" y="53"/>
                  </a:lnTo>
                  <a:lnTo>
                    <a:pt x="73" y="51"/>
                  </a:lnTo>
                  <a:lnTo>
                    <a:pt x="69" y="53"/>
                  </a:lnTo>
                  <a:lnTo>
                    <a:pt x="68" y="59"/>
                  </a:lnTo>
                  <a:lnTo>
                    <a:pt x="64" y="59"/>
                  </a:lnTo>
                  <a:lnTo>
                    <a:pt x="64" y="64"/>
                  </a:lnTo>
                  <a:lnTo>
                    <a:pt x="64" y="64"/>
                  </a:lnTo>
                  <a:lnTo>
                    <a:pt x="58" y="66"/>
                  </a:lnTo>
                  <a:lnTo>
                    <a:pt x="53" y="64"/>
                  </a:lnTo>
                  <a:lnTo>
                    <a:pt x="45" y="66"/>
                  </a:lnTo>
                  <a:lnTo>
                    <a:pt x="43" y="68"/>
                  </a:lnTo>
                  <a:lnTo>
                    <a:pt x="39" y="66"/>
                  </a:lnTo>
                  <a:lnTo>
                    <a:pt x="39" y="61"/>
                  </a:lnTo>
                  <a:lnTo>
                    <a:pt x="39" y="53"/>
                  </a:lnTo>
                  <a:lnTo>
                    <a:pt x="36" y="53"/>
                  </a:lnTo>
                  <a:lnTo>
                    <a:pt x="32" y="49"/>
                  </a:lnTo>
                  <a:lnTo>
                    <a:pt x="28" y="49"/>
                  </a:lnTo>
                  <a:lnTo>
                    <a:pt x="28" y="49"/>
                  </a:lnTo>
                  <a:lnTo>
                    <a:pt x="28" y="4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82">
              <a:extLst>
                <a:ext uri="{FF2B5EF4-FFF2-40B4-BE49-F238E27FC236}">
                  <a16:creationId xmlns:a16="http://schemas.microsoft.com/office/drawing/2014/main" id="{A9FB3EC8-EE93-FC41-9775-BB1CECE80BB9}"/>
                </a:ext>
              </a:extLst>
            </p:cNvPr>
            <p:cNvSpPr>
              <a:spLocks/>
            </p:cNvSpPr>
            <p:nvPr/>
          </p:nvSpPr>
          <p:spPr bwMode="auto">
            <a:xfrm>
              <a:off x="6449544" y="2085469"/>
              <a:ext cx="134827" cy="89740"/>
            </a:xfrm>
            <a:custGeom>
              <a:avLst/>
              <a:gdLst/>
              <a:ahLst/>
              <a:cxnLst>
                <a:cxn ang="0">
                  <a:pos x="2" y="56"/>
                </a:cxn>
                <a:cxn ang="0">
                  <a:pos x="17" y="56"/>
                </a:cxn>
                <a:cxn ang="0">
                  <a:pos x="23" y="55"/>
                </a:cxn>
                <a:cxn ang="0">
                  <a:pos x="27" y="49"/>
                </a:cxn>
                <a:cxn ang="0">
                  <a:pos x="32" y="43"/>
                </a:cxn>
                <a:cxn ang="0">
                  <a:pos x="38" y="45"/>
                </a:cxn>
                <a:cxn ang="0">
                  <a:pos x="34" y="40"/>
                </a:cxn>
                <a:cxn ang="0">
                  <a:pos x="38" y="32"/>
                </a:cxn>
                <a:cxn ang="0">
                  <a:pos x="47" y="24"/>
                </a:cxn>
                <a:cxn ang="0">
                  <a:pos x="45" y="19"/>
                </a:cxn>
                <a:cxn ang="0">
                  <a:pos x="53" y="11"/>
                </a:cxn>
                <a:cxn ang="0">
                  <a:pos x="62" y="6"/>
                </a:cxn>
                <a:cxn ang="0">
                  <a:pos x="68" y="0"/>
                </a:cxn>
                <a:cxn ang="0">
                  <a:pos x="76" y="0"/>
                </a:cxn>
                <a:cxn ang="0">
                  <a:pos x="83" y="6"/>
                </a:cxn>
                <a:cxn ang="0">
                  <a:pos x="92" y="4"/>
                </a:cxn>
                <a:cxn ang="0">
                  <a:pos x="102" y="6"/>
                </a:cxn>
                <a:cxn ang="0">
                  <a:pos x="108" y="6"/>
                </a:cxn>
                <a:cxn ang="0">
                  <a:pos x="119" y="9"/>
                </a:cxn>
                <a:cxn ang="0">
                  <a:pos x="119" y="19"/>
                </a:cxn>
                <a:cxn ang="0">
                  <a:pos x="123" y="28"/>
                </a:cxn>
                <a:cxn ang="0">
                  <a:pos x="130" y="36"/>
                </a:cxn>
                <a:cxn ang="0">
                  <a:pos x="138" y="45"/>
                </a:cxn>
                <a:cxn ang="0">
                  <a:pos x="147" y="53"/>
                </a:cxn>
                <a:cxn ang="0">
                  <a:pos x="153" y="64"/>
                </a:cxn>
                <a:cxn ang="0">
                  <a:pos x="156" y="68"/>
                </a:cxn>
                <a:cxn ang="0">
                  <a:pos x="143" y="77"/>
                </a:cxn>
                <a:cxn ang="0">
                  <a:pos x="138" y="73"/>
                </a:cxn>
                <a:cxn ang="0">
                  <a:pos x="141" y="85"/>
                </a:cxn>
                <a:cxn ang="0">
                  <a:pos x="143" y="96"/>
                </a:cxn>
                <a:cxn ang="0">
                  <a:pos x="143" y="98"/>
                </a:cxn>
                <a:cxn ang="0">
                  <a:pos x="130" y="102"/>
                </a:cxn>
                <a:cxn ang="0">
                  <a:pos x="128" y="113"/>
                </a:cxn>
                <a:cxn ang="0">
                  <a:pos x="121" y="113"/>
                </a:cxn>
                <a:cxn ang="0">
                  <a:pos x="111" y="113"/>
                </a:cxn>
                <a:cxn ang="0">
                  <a:pos x="104" y="117"/>
                </a:cxn>
                <a:cxn ang="0">
                  <a:pos x="98" y="113"/>
                </a:cxn>
                <a:cxn ang="0">
                  <a:pos x="89" y="113"/>
                </a:cxn>
                <a:cxn ang="0">
                  <a:pos x="81" y="113"/>
                </a:cxn>
                <a:cxn ang="0">
                  <a:pos x="76" y="113"/>
                </a:cxn>
                <a:cxn ang="0">
                  <a:pos x="66" y="113"/>
                </a:cxn>
                <a:cxn ang="0">
                  <a:pos x="62" y="107"/>
                </a:cxn>
                <a:cxn ang="0">
                  <a:pos x="45" y="105"/>
                </a:cxn>
                <a:cxn ang="0">
                  <a:pos x="40" y="107"/>
                </a:cxn>
                <a:cxn ang="0">
                  <a:pos x="21" y="111"/>
                </a:cxn>
                <a:cxn ang="0">
                  <a:pos x="12" y="107"/>
                </a:cxn>
                <a:cxn ang="0">
                  <a:pos x="8" y="107"/>
                </a:cxn>
                <a:cxn ang="0">
                  <a:pos x="2" y="96"/>
                </a:cxn>
                <a:cxn ang="0">
                  <a:pos x="8" y="92"/>
                </a:cxn>
                <a:cxn ang="0">
                  <a:pos x="8" y="77"/>
                </a:cxn>
                <a:cxn ang="0">
                  <a:pos x="2" y="68"/>
                </a:cxn>
                <a:cxn ang="0">
                  <a:pos x="0" y="60"/>
                </a:cxn>
                <a:cxn ang="0">
                  <a:pos x="0" y="60"/>
                </a:cxn>
              </a:cxnLst>
              <a:rect l="0" t="0" r="r" b="b"/>
              <a:pathLst>
                <a:path w="158" h="117">
                  <a:moveTo>
                    <a:pt x="0" y="60"/>
                  </a:moveTo>
                  <a:lnTo>
                    <a:pt x="2" y="56"/>
                  </a:lnTo>
                  <a:lnTo>
                    <a:pt x="12" y="55"/>
                  </a:lnTo>
                  <a:lnTo>
                    <a:pt x="17" y="56"/>
                  </a:lnTo>
                  <a:lnTo>
                    <a:pt x="21" y="55"/>
                  </a:lnTo>
                  <a:lnTo>
                    <a:pt x="23" y="55"/>
                  </a:lnTo>
                  <a:lnTo>
                    <a:pt x="21" y="49"/>
                  </a:lnTo>
                  <a:lnTo>
                    <a:pt x="27" y="49"/>
                  </a:lnTo>
                  <a:lnTo>
                    <a:pt x="28" y="45"/>
                  </a:lnTo>
                  <a:lnTo>
                    <a:pt x="32" y="43"/>
                  </a:lnTo>
                  <a:lnTo>
                    <a:pt x="34" y="45"/>
                  </a:lnTo>
                  <a:lnTo>
                    <a:pt x="38" y="45"/>
                  </a:lnTo>
                  <a:lnTo>
                    <a:pt x="38" y="41"/>
                  </a:lnTo>
                  <a:lnTo>
                    <a:pt x="34" y="40"/>
                  </a:lnTo>
                  <a:lnTo>
                    <a:pt x="34" y="34"/>
                  </a:lnTo>
                  <a:lnTo>
                    <a:pt x="38" y="32"/>
                  </a:lnTo>
                  <a:lnTo>
                    <a:pt x="42" y="28"/>
                  </a:lnTo>
                  <a:lnTo>
                    <a:pt x="47" y="24"/>
                  </a:lnTo>
                  <a:lnTo>
                    <a:pt x="47" y="21"/>
                  </a:lnTo>
                  <a:lnTo>
                    <a:pt x="45" y="19"/>
                  </a:lnTo>
                  <a:lnTo>
                    <a:pt x="47" y="13"/>
                  </a:lnTo>
                  <a:lnTo>
                    <a:pt x="53" y="11"/>
                  </a:lnTo>
                  <a:lnTo>
                    <a:pt x="62" y="9"/>
                  </a:lnTo>
                  <a:lnTo>
                    <a:pt x="62" y="6"/>
                  </a:lnTo>
                  <a:lnTo>
                    <a:pt x="66" y="4"/>
                  </a:lnTo>
                  <a:lnTo>
                    <a:pt x="68" y="0"/>
                  </a:lnTo>
                  <a:lnTo>
                    <a:pt x="72" y="0"/>
                  </a:lnTo>
                  <a:lnTo>
                    <a:pt x="76" y="0"/>
                  </a:lnTo>
                  <a:lnTo>
                    <a:pt x="79" y="0"/>
                  </a:lnTo>
                  <a:lnTo>
                    <a:pt x="83" y="6"/>
                  </a:lnTo>
                  <a:lnTo>
                    <a:pt x="89" y="4"/>
                  </a:lnTo>
                  <a:lnTo>
                    <a:pt x="92" y="4"/>
                  </a:lnTo>
                  <a:lnTo>
                    <a:pt x="96" y="9"/>
                  </a:lnTo>
                  <a:lnTo>
                    <a:pt x="102" y="6"/>
                  </a:lnTo>
                  <a:lnTo>
                    <a:pt x="108" y="4"/>
                  </a:lnTo>
                  <a:lnTo>
                    <a:pt x="108" y="6"/>
                  </a:lnTo>
                  <a:lnTo>
                    <a:pt x="111" y="6"/>
                  </a:lnTo>
                  <a:lnTo>
                    <a:pt x="119" y="9"/>
                  </a:lnTo>
                  <a:lnTo>
                    <a:pt x="121" y="13"/>
                  </a:lnTo>
                  <a:lnTo>
                    <a:pt x="119" y="19"/>
                  </a:lnTo>
                  <a:lnTo>
                    <a:pt x="123" y="21"/>
                  </a:lnTo>
                  <a:lnTo>
                    <a:pt x="123" y="28"/>
                  </a:lnTo>
                  <a:lnTo>
                    <a:pt x="126" y="32"/>
                  </a:lnTo>
                  <a:lnTo>
                    <a:pt x="130" y="36"/>
                  </a:lnTo>
                  <a:lnTo>
                    <a:pt x="134" y="43"/>
                  </a:lnTo>
                  <a:lnTo>
                    <a:pt x="138" y="45"/>
                  </a:lnTo>
                  <a:lnTo>
                    <a:pt x="138" y="53"/>
                  </a:lnTo>
                  <a:lnTo>
                    <a:pt x="147" y="53"/>
                  </a:lnTo>
                  <a:lnTo>
                    <a:pt x="153" y="60"/>
                  </a:lnTo>
                  <a:lnTo>
                    <a:pt x="153" y="64"/>
                  </a:lnTo>
                  <a:lnTo>
                    <a:pt x="158" y="64"/>
                  </a:lnTo>
                  <a:lnTo>
                    <a:pt x="156" y="68"/>
                  </a:lnTo>
                  <a:lnTo>
                    <a:pt x="153" y="73"/>
                  </a:lnTo>
                  <a:lnTo>
                    <a:pt x="143" y="77"/>
                  </a:lnTo>
                  <a:lnTo>
                    <a:pt x="138" y="72"/>
                  </a:lnTo>
                  <a:lnTo>
                    <a:pt x="138" y="73"/>
                  </a:lnTo>
                  <a:lnTo>
                    <a:pt x="138" y="79"/>
                  </a:lnTo>
                  <a:lnTo>
                    <a:pt x="141" y="85"/>
                  </a:lnTo>
                  <a:lnTo>
                    <a:pt x="141" y="88"/>
                  </a:lnTo>
                  <a:lnTo>
                    <a:pt x="143" y="96"/>
                  </a:lnTo>
                  <a:lnTo>
                    <a:pt x="143" y="98"/>
                  </a:lnTo>
                  <a:lnTo>
                    <a:pt x="143" y="98"/>
                  </a:lnTo>
                  <a:lnTo>
                    <a:pt x="136" y="100"/>
                  </a:lnTo>
                  <a:lnTo>
                    <a:pt x="130" y="102"/>
                  </a:lnTo>
                  <a:lnTo>
                    <a:pt x="128" y="107"/>
                  </a:lnTo>
                  <a:lnTo>
                    <a:pt x="128" y="113"/>
                  </a:lnTo>
                  <a:lnTo>
                    <a:pt x="123" y="117"/>
                  </a:lnTo>
                  <a:lnTo>
                    <a:pt x="121" y="113"/>
                  </a:lnTo>
                  <a:lnTo>
                    <a:pt x="115" y="113"/>
                  </a:lnTo>
                  <a:lnTo>
                    <a:pt x="111" y="113"/>
                  </a:lnTo>
                  <a:lnTo>
                    <a:pt x="108" y="113"/>
                  </a:lnTo>
                  <a:lnTo>
                    <a:pt x="104" y="117"/>
                  </a:lnTo>
                  <a:lnTo>
                    <a:pt x="102" y="117"/>
                  </a:lnTo>
                  <a:lnTo>
                    <a:pt x="98" y="113"/>
                  </a:lnTo>
                  <a:lnTo>
                    <a:pt x="96" y="111"/>
                  </a:lnTo>
                  <a:lnTo>
                    <a:pt x="89" y="113"/>
                  </a:lnTo>
                  <a:lnTo>
                    <a:pt x="87" y="113"/>
                  </a:lnTo>
                  <a:lnTo>
                    <a:pt x="81" y="113"/>
                  </a:lnTo>
                  <a:lnTo>
                    <a:pt x="79" y="113"/>
                  </a:lnTo>
                  <a:lnTo>
                    <a:pt x="76" y="113"/>
                  </a:lnTo>
                  <a:lnTo>
                    <a:pt x="74" y="113"/>
                  </a:lnTo>
                  <a:lnTo>
                    <a:pt x="66" y="113"/>
                  </a:lnTo>
                  <a:lnTo>
                    <a:pt x="66" y="113"/>
                  </a:lnTo>
                  <a:lnTo>
                    <a:pt x="62" y="107"/>
                  </a:lnTo>
                  <a:lnTo>
                    <a:pt x="51" y="107"/>
                  </a:lnTo>
                  <a:lnTo>
                    <a:pt x="45" y="105"/>
                  </a:lnTo>
                  <a:lnTo>
                    <a:pt x="44" y="105"/>
                  </a:lnTo>
                  <a:lnTo>
                    <a:pt x="40" y="107"/>
                  </a:lnTo>
                  <a:lnTo>
                    <a:pt x="34" y="107"/>
                  </a:lnTo>
                  <a:lnTo>
                    <a:pt x="21" y="111"/>
                  </a:lnTo>
                  <a:lnTo>
                    <a:pt x="17" y="113"/>
                  </a:lnTo>
                  <a:lnTo>
                    <a:pt x="12" y="107"/>
                  </a:lnTo>
                  <a:lnTo>
                    <a:pt x="8" y="111"/>
                  </a:lnTo>
                  <a:lnTo>
                    <a:pt x="8" y="107"/>
                  </a:lnTo>
                  <a:lnTo>
                    <a:pt x="2" y="102"/>
                  </a:lnTo>
                  <a:lnTo>
                    <a:pt x="2" y="96"/>
                  </a:lnTo>
                  <a:lnTo>
                    <a:pt x="6" y="92"/>
                  </a:lnTo>
                  <a:lnTo>
                    <a:pt x="8" y="92"/>
                  </a:lnTo>
                  <a:lnTo>
                    <a:pt x="8" y="79"/>
                  </a:lnTo>
                  <a:lnTo>
                    <a:pt x="8" y="77"/>
                  </a:lnTo>
                  <a:lnTo>
                    <a:pt x="8" y="73"/>
                  </a:lnTo>
                  <a:lnTo>
                    <a:pt x="2" y="68"/>
                  </a:lnTo>
                  <a:lnTo>
                    <a:pt x="2" y="60"/>
                  </a:lnTo>
                  <a:lnTo>
                    <a:pt x="0" y="60"/>
                  </a:lnTo>
                  <a:lnTo>
                    <a:pt x="0" y="60"/>
                  </a:lnTo>
                  <a:lnTo>
                    <a:pt x="0"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83">
              <a:extLst>
                <a:ext uri="{FF2B5EF4-FFF2-40B4-BE49-F238E27FC236}">
                  <a16:creationId xmlns:a16="http://schemas.microsoft.com/office/drawing/2014/main" id="{66CF5A89-4E35-494B-B181-B44FC528AB33}"/>
                </a:ext>
              </a:extLst>
            </p:cNvPr>
            <p:cNvSpPr>
              <a:spLocks/>
            </p:cNvSpPr>
            <p:nvPr/>
          </p:nvSpPr>
          <p:spPr bwMode="auto">
            <a:xfrm>
              <a:off x="6440158" y="2157568"/>
              <a:ext cx="261975" cy="145732"/>
            </a:xfrm>
            <a:custGeom>
              <a:avLst/>
              <a:gdLst/>
              <a:ahLst/>
              <a:cxnLst>
                <a:cxn ang="0">
                  <a:pos x="45" y="17"/>
                </a:cxn>
                <a:cxn ang="0">
                  <a:pos x="71" y="17"/>
                </a:cxn>
                <a:cxn ang="0">
                  <a:pos x="88" y="21"/>
                </a:cxn>
                <a:cxn ang="0">
                  <a:pos x="109" y="21"/>
                </a:cxn>
                <a:cxn ang="0">
                  <a:pos x="126" y="21"/>
                </a:cxn>
                <a:cxn ang="0">
                  <a:pos x="139" y="10"/>
                </a:cxn>
                <a:cxn ang="0">
                  <a:pos x="162" y="4"/>
                </a:cxn>
                <a:cxn ang="0">
                  <a:pos x="192" y="0"/>
                </a:cxn>
                <a:cxn ang="0">
                  <a:pos x="211" y="21"/>
                </a:cxn>
                <a:cxn ang="0">
                  <a:pos x="222" y="42"/>
                </a:cxn>
                <a:cxn ang="0">
                  <a:pos x="247" y="47"/>
                </a:cxn>
                <a:cxn ang="0">
                  <a:pos x="267" y="59"/>
                </a:cxn>
                <a:cxn ang="0">
                  <a:pos x="290" y="59"/>
                </a:cxn>
                <a:cxn ang="0">
                  <a:pos x="307" y="66"/>
                </a:cxn>
                <a:cxn ang="0">
                  <a:pos x="305" y="89"/>
                </a:cxn>
                <a:cxn ang="0">
                  <a:pos x="292" y="107"/>
                </a:cxn>
                <a:cxn ang="0">
                  <a:pos x="280" y="123"/>
                </a:cxn>
                <a:cxn ang="0">
                  <a:pos x="265" y="130"/>
                </a:cxn>
                <a:cxn ang="0">
                  <a:pos x="250" y="138"/>
                </a:cxn>
                <a:cxn ang="0">
                  <a:pos x="231" y="136"/>
                </a:cxn>
                <a:cxn ang="0">
                  <a:pos x="228" y="149"/>
                </a:cxn>
                <a:cxn ang="0">
                  <a:pos x="230" y="143"/>
                </a:cxn>
                <a:cxn ang="0">
                  <a:pos x="216" y="153"/>
                </a:cxn>
                <a:cxn ang="0">
                  <a:pos x="205" y="153"/>
                </a:cxn>
                <a:cxn ang="0">
                  <a:pos x="220" y="156"/>
                </a:cxn>
                <a:cxn ang="0">
                  <a:pos x="222" y="162"/>
                </a:cxn>
                <a:cxn ang="0">
                  <a:pos x="228" y="170"/>
                </a:cxn>
                <a:cxn ang="0">
                  <a:pos x="222" y="153"/>
                </a:cxn>
                <a:cxn ang="0">
                  <a:pos x="237" y="172"/>
                </a:cxn>
                <a:cxn ang="0">
                  <a:pos x="252" y="164"/>
                </a:cxn>
                <a:cxn ang="0">
                  <a:pos x="256" y="173"/>
                </a:cxn>
                <a:cxn ang="0">
                  <a:pos x="228" y="183"/>
                </a:cxn>
                <a:cxn ang="0">
                  <a:pos x="203" y="185"/>
                </a:cxn>
                <a:cxn ang="0">
                  <a:pos x="192" y="172"/>
                </a:cxn>
                <a:cxn ang="0">
                  <a:pos x="203" y="160"/>
                </a:cxn>
                <a:cxn ang="0">
                  <a:pos x="199" y="153"/>
                </a:cxn>
                <a:cxn ang="0">
                  <a:pos x="181" y="153"/>
                </a:cxn>
                <a:cxn ang="0">
                  <a:pos x="171" y="143"/>
                </a:cxn>
                <a:cxn ang="0">
                  <a:pos x="179" y="143"/>
                </a:cxn>
                <a:cxn ang="0">
                  <a:pos x="173" y="138"/>
                </a:cxn>
                <a:cxn ang="0">
                  <a:pos x="166" y="140"/>
                </a:cxn>
                <a:cxn ang="0">
                  <a:pos x="152" y="149"/>
                </a:cxn>
                <a:cxn ang="0">
                  <a:pos x="139" y="164"/>
                </a:cxn>
                <a:cxn ang="0">
                  <a:pos x="137" y="173"/>
                </a:cxn>
                <a:cxn ang="0">
                  <a:pos x="120" y="173"/>
                </a:cxn>
                <a:cxn ang="0">
                  <a:pos x="117" y="162"/>
                </a:cxn>
                <a:cxn ang="0">
                  <a:pos x="126" y="143"/>
                </a:cxn>
                <a:cxn ang="0">
                  <a:pos x="137" y="140"/>
                </a:cxn>
                <a:cxn ang="0">
                  <a:pos x="126" y="123"/>
                </a:cxn>
                <a:cxn ang="0">
                  <a:pos x="113" y="102"/>
                </a:cxn>
                <a:cxn ang="0">
                  <a:pos x="92" y="98"/>
                </a:cxn>
                <a:cxn ang="0">
                  <a:pos x="79" y="98"/>
                </a:cxn>
                <a:cxn ang="0">
                  <a:pos x="77" y="107"/>
                </a:cxn>
                <a:cxn ang="0">
                  <a:pos x="49" y="119"/>
                </a:cxn>
                <a:cxn ang="0">
                  <a:pos x="26" y="109"/>
                </a:cxn>
                <a:cxn ang="0">
                  <a:pos x="9" y="107"/>
                </a:cxn>
                <a:cxn ang="0">
                  <a:pos x="6" y="85"/>
                </a:cxn>
                <a:cxn ang="0">
                  <a:pos x="23" y="55"/>
                </a:cxn>
                <a:cxn ang="0">
                  <a:pos x="26" y="42"/>
                </a:cxn>
                <a:cxn ang="0">
                  <a:pos x="19" y="21"/>
                </a:cxn>
              </a:cxnLst>
              <a:rect l="0" t="0" r="r" b="b"/>
              <a:pathLst>
                <a:path w="307" h="190">
                  <a:moveTo>
                    <a:pt x="19" y="19"/>
                  </a:moveTo>
                  <a:lnTo>
                    <a:pt x="23" y="17"/>
                  </a:lnTo>
                  <a:lnTo>
                    <a:pt x="28" y="21"/>
                  </a:lnTo>
                  <a:lnTo>
                    <a:pt x="30" y="19"/>
                  </a:lnTo>
                  <a:lnTo>
                    <a:pt x="45" y="17"/>
                  </a:lnTo>
                  <a:lnTo>
                    <a:pt x="51" y="17"/>
                  </a:lnTo>
                  <a:lnTo>
                    <a:pt x="53" y="13"/>
                  </a:lnTo>
                  <a:lnTo>
                    <a:pt x="56" y="13"/>
                  </a:lnTo>
                  <a:lnTo>
                    <a:pt x="62" y="17"/>
                  </a:lnTo>
                  <a:lnTo>
                    <a:pt x="71" y="17"/>
                  </a:lnTo>
                  <a:lnTo>
                    <a:pt x="77" y="21"/>
                  </a:lnTo>
                  <a:lnTo>
                    <a:pt x="77" y="21"/>
                  </a:lnTo>
                  <a:lnTo>
                    <a:pt x="83" y="21"/>
                  </a:lnTo>
                  <a:lnTo>
                    <a:pt x="87" y="21"/>
                  </a:lnTo>
                  <a:lnTo>
                    <a:pt x="88" y="21"/>
                  </a:lnTo>
                  <a:lnTo>
                    <a:pt x="92" y="21"/>
                  </a:lnTo>
                  <a:lnTo>
                    <a:pt x="96" y="21"/>
                  </a:lnTo>
                  <a:lnTo>
                    <a:pt x="98" y="21"/>
                  </a:lnTo>
                  <a:lnTo>
                    <a:pt x="105" y="19"/>
                  </a:lnTo>
                  <a:lnTo>
                    <a:pt x="109" y="21"/>
                  </a:lnTo>
                  <a:lnTo>
                    <a:pt x="111" y="25"/>
                  </a:lnTo>
                  <a:lnTo>
                    <a:pt x="113" y="25"/>
                  </a:lnTo>
                  <a:lnTo>
                    <a:pt x="119" y="21"/>
                  </a:lnTo>
                  <a:lnTo>
                    <a:pt x="122" y="21"/>
                  </a:lnTo>
                  <a:lnTo>
                    <a:pt x="126" y="21"/>
                  </a:lnTo>
                  <a:lnTo>
                    <a:pt x="130" y="21"/>
                  </a:lnTo>
                  <a:lnTo>
                    <a:pt x="132" y="25"/>
                  </a:lnTo>
                  <a:lnTo>
                    <a:pt x="137" y="21"/>
                  </a:lnTo>
                  <a:lnTo>
                    <a:pt x="137" y="17"/>
                  </a:lnTo>
                  <a:lnTo>
                    <a:pt x="139" y="10"/>
                  </a:lnTo>
                  <a:lnTo>
                    <a:pt x="145" y="8"/>
                  </a:lnTo>
                  <a:lnTo>
                    <a:pt x="152" y="6"/>
                  </a:lnTo>
                  <a:lnTo>
                    <a:pt x="156" y="8"/>
                  </a:lnTo>
                  <a:lnTo>
                    <a:pt x="162" y="6"/>
                  </a:lnTo>
                  <a:lnTo>
                    <a:pt x="162" y="4"/>
                  </a:lnTo>
                  <a:lnTo>
                    <a:pt x="166" y="0"/>
                  </a:lnTo>
                  <a:lnTo>
                    <a:pt x="173" y="4"/>
                  </a:lnTo>
                  <a:lnTo>
                    <a:pt x="183" y="4"/>
                  </a:lnTo>
                  <a:lnTo>
                    <a:pt x="186" y="0"/>
                  </a:lnTo>
                  <a:lnTo>
                    <a:pt x="192" y="0"/>
                  </a:lnTo>
                  <a:lnTo>
                    <a:pt x="196" y="10"/>
                  </a:lnTo>
                  <a:lnTo>
                    <a:pt x="198" y="13"/>
                  </a:lnTo>
                  <a:lnTo>
                    <a:pt x="196" y="17"/>
                  </a:lnTo>
                  <a:lnTo>
                    <a:pt x="201" y="25"/>
                  </a:lnTo>
                  <a:lnTo>
                    <a:pt x="211" y="21"/>
                  </a:lnTo>
                  <a:lnTo>
                    <a:pt x="216" y="25"/>
                  </a:lnTo>
                  <a:lnTo>
                    <a:pt x="216" y="30"/>
                  </a:lnTo>
                  <a:lnTo>
                    <a:pt x="220" y="30"/>
                  </a:lnTo>
                  <a:lnTo>
                    <a:pt x="220" y="34"/>
                  </a:lnTo>
                  <a:lnTo>
                    <a:pt x="222" y="42"/>
                  </a:lnTo>
                  <a:lnTo>
                    <a:pt x="230" y="49"/>
                  </a:lnTo>
                  <a:lnTo>
                    <a:pt x="235" y="45"/>
                  </a:lnTo>
                  <a:lnTo>
                    <a:pt x="239" y="49"/>
                  </a:lnTo>
                  <a:lnTo>
                    <a:pt x="243" y="47"/>
                  </a:lnTo>
                  <a:lnTo>
                    <a:pt x="247" y="47"/>
                  </a:lnTo>
                  <a:lnTo>
                    <a:pt x="252" y="43"/>
                  </a:lnTo>
                  <a:lnTo>
                    <a:pt x="256" y="42"/>
                  </a:lnTo>
                  <a:lnTo>
                    <a:pt x="262" y="53"/>
                  </a:lnTo>
                  <a:lnTo>
                    <a:pt x="265" y="55"/>
                  </a:lnTo>
                  <a:lnTo>
                    <a:pt x="267" y="59"/>
                  </a:lnTo>
                  <a:lnTo>
                    <a:pt x="269" y="55"/>
                  </a:lnTo>
                  <a:lnTo>
                    <a:pt x="277" y="59"/>
                  </a:lnTo>
                  <a:lnTo>
                    <a:pt x="282" y="59"/>
                  </a:lnTo>
                  <a:lnTo>
                    <a:pt x="286" y="59"/>
                  </a:lnTo>
                  <a:lnTo>
                    <a:pt x="290" y="59"/>
                  </a:lnTo>
                  <a:lnTo>
                    <a:pt x="295" y="64"/>
                  </a:lnTo>
                  <a:lnTo>
                    <a:pt x="299" y="64"/>
                  </a:lnTo>
                  <a:lnTo>
                    <a:pt x="305" y="60"/>
                  </a:lnTo>
                  <a:lnTo>
                    <a:pt x="305" y="64"/>
                  </a:lnTo>
                  <a:lnTo>
                    <a:pt x="307" y="66"/>
                  </a:lnTo>
                  <a:lnTo>
                    <a:pt x="307" y="72"/>
                  </a:lnTo>
                  <a:lnTo>
                    <a:pt x="305" y="75"/>
                  </a:lnTo>
                  <a:lnTo>
                    <a:pt x="299" y="75"/>
                  </a:lnTo>
                  <a:lnTo>
                    <a:pt x="297" y="85"/>
                  </a:lnTo>
                  <a:lnTo>
                    <a:pt x="305" y="89"/>
                  </a:lnTo>
                  <a:lnTo>
                    <a:pt x="305" y="92"/>
                  </a:lnTo>
                  <a:lnTo>
                    <a:pt x="305" y="100"/>
                  </a:lnTo>
                  <a:lnTo>
                    <a:pt x="305" y="106"/>
                  </a:lnTo>
                  <a:lnTo>
                    <a:pt x="299" y="107"/>
                  </a:lnTo>
                  <a:lnTo>
                    <a:pt x="292" y="107"/>
                  </a:lnTo>
                  <a:lnTo>
                    <a:pt x="286" y="115"/>
                  </a:lnTo>
                  <a:lnTo>
                    <a:pt x="284" y="115"/>
                  </a:lnTo>
                  <a:lnTo>
                    <a:pt x="284" y="123"/>
                  </a:lnTo>
                  <a:lnTo>
                    <a:pt x="280" y="124"/>
                  </a:lnTo>
                  <a:lnTo>
                    <a:pt x="280" y="123"/>
                  </a:lnTo>
                  <a:lnTo>
                    <a:pt x="279" y="123"/>
                  </a:lnTo>
                  <a:lnTo>
                    <a:pt x="273" y="124"/>
                  </a:lnTo>
                  <a:lnTo>
                    <a:pt x="267" y="124"/>
                  </a:lnTo>
                  <a:lnTo>
                    <a:pt x="265" y="126"/>
                  </a:lnTo>
                  <a:lnTo>
                    <a:pt x="265" y="130"/>
                  </a:lnTo>
                  <a:lnTo>
                    <a:pt x="262" y="130"/>
                  </a:lnTo>
                  <a:lnTo>
                    <a:pt x="260" y="132"/>
                  </a:lnTo>
                  <a:lnTo>
                    <a:pt x="252" y="138"/>
                  </a:lnTo>
                  <a:lnTo>
                    <a:pt x="252" y="136"/>
                  </a:lnTo>
                  <a:lnTo>
                    <a:pt x="250" y="138"/>
                  </a:lnTo>
                  <a:lnTo>
                    <a:pt x="247" y="140"/>
                  </a:lnTo>
                  <a:lnTo>
                    <a:pt x="241" y="138"/>
                  </a:lnTo>
                  <a:lnTo>
                    <a:pt x="237" y="141"/>
                  </a:lnTo>
                  <a:lnTo>
                    <a:pt x="235" y="141"/>
                  </a:lnTo>
                  <a:lnTo>
                    <a:pt x="231" y="136"/>
                  </a:lnTo>
                  <a:lnTo>
                    <a:pt x="230" y="136"/>
                  </a:lnTo>
                  <a:lnTo>
                    <a:pt x="231" y="140"/>
                  </a:lnTo>
                  <a:lnTo>
                    <a:pt x="235" y="141"/>
                  </a:lnTo>
                  <a:lnTo>
                    <a:pt x="235" y="143"/>
                  </a:lnTo>
                  <a:lnTo>
                    <a:pt x="228" y="149"/>
                  </a:lnTo>
                  <a:lnTo>
                    <a:pt x="226" y="149"/>
                  </a:lnTo>
                  <a:lnTo>
                    <a:pt x="226" y="149"/>
                  </a:lnTo>
                  <a:lnTo>
                    <a:pt x="226" y="149"/>
                  </a:lnTo>
                  <a:lnTo>
                    <a:pt x="231" y="143"/>
                  </a:lnTo>
                  <a:lnTo>
                    <a:pt x="230" y="143"/>
                  </a:lnTo>
                  <a:lnTo>
                    <a:pt x="228" y="141"/>
                  </a:lnTo>
                  <a:lnTo>
                    <a:pt x="228" y="143"/>
                  </a:lnTo>
                  <a:lnTo>
                    <a:pt x="222" y="149"/>
                  </a:lnTo>
                  <a:lnTo>
                    <a:pt x="220" y="149"/>
                  </a:lnTo>
                  <a:lnTo>
                    <a:pt x="216" y="153"/>
                  </a:lnTo>
                  <a:lnTo>
                    <a:pt x="215" y="153"/>
                  </a:lnTo>
                  <a:lnTo>
                    <a:pt x="213" y="149"/>
                  </a:lnTo>
                  <a:lnTo>
                    <a:pt x="209" y="153"/>
                  </a:lnTo>
                  <a:lnTo>
                    <a:pt x="205" y="153"/>
                  </a:lnTo>
                  <a:lnTo>
                    <a:pt x="205" y="153"/>
                  </a:lnTo>
                  <a:lnTo>
                    <a:pt x="207" y="153"/>
                  </a:lnTo>
                  <a:lnTo>
                    <a:pt x="213" y="153"/>
                  </a:lnTo>
                  <a:lnTo>
                    <a:pt x="216" y="156"/>
                  </a:lnTo>
                  <a:lnTo>
                    <a:pt x="216" y="158"/>
                  </a:lnTo>
                  <a:lnTo>
                    <a:pt x="220" y="156"/>
                  </a:lnTo>
                  <a:lnTo>
                    <a:pt x="222" y="158"/>
                  </a:lnTo>
                  <a:lnTo>
                    <a:pt x="220" y="160"/>
                  </a:lnTo>
                  <a:lnTo>
                    <a:pt x="220" y="162"/>
                  </a:lnTo>
                  <a:lnTo>
                    <a:pt x="222" y="162"/>
                  </a:lnTo>
                  <a:lnTo>
                    <a:pt x="222" y="162"/>
                  </a:lnTo>
                  <a:lnTo>
                    <a:pt x="222" y="164"/>
                  </a:lnTo>
                  <a:lnTo>
                    <a:pt x="226" y="162"/>
                  </a:lnTo>
                  <a:lnTo>
                    <a:pt x="226" y="164"/>
                  </a:lnTo>
                  <a:lnTo>
                    <a:pt x="226" y="168"/>
                  </a:lnTo>
                  <a:lnTo>
                    <a:pt x="228" y="170"/>
                  </a:lnTo>
                  <a:lnTo>
                    <a:pt x="235" y="172"/>
                  </a:lnTo>
                  <a:lnTo>
                    <a:pt x="235" y="172"/>
                  </a:lnTo>
                  <a:lnTo>
                    <a:pt x="228" y="164"/>
                  </a:lnTo>
                  <a:lnTo>
                    <a:pt x="222" y="156"/>
                  </a:lnTo>
                  <a:lnTo>
                    <a:pt x="222" y="153"/>
                  </a:lnTo>
                  <a:lnTo>
                    <a:pt x="222" y="153"/>
                  </a:lnTo>
                  <a:lnTo>
                    <a:pt x="226" y="155"/>
                  </a:lnTo>
                  <a:lnTo>
                    <a:pt x="226" y="160"/>
                  </a:lnTo>
                  <a:lnTo>
                    <a:pt x="235" y="170"/>
                  </a:lnTo>
                  <a:lnTo>
                    <a:pt x="237" y="172"/>
                  </a:lnTo>
                  <a:lnTo>
                    <a:pt x="241" y="168"/>
                  </a:lnTo>
                  <a:lnTo>
                    <a:pt x="243" y="168"/>
                  </a:lnTo>
                  <a:lnTo>
                    <a:pt x="247" y="170"/>
                  </a:lnTo>
                  <a:lnTo>
                    <a:pt x="248" y="166"/>
                  </a:lnTo>
                  <a:lnTo>
                    <a:pt x="252" y="164"/>
                  </a:lnTo>
                  <a:lnTo>
                    <a:pt x="260" y="166"/>
                  </a:lnTo>
                  <a:lnTo>
                    <a:pt x="256" y="168"/>
                  </a:lnTo>
                  <a:lnTo>
                    <a:pt x="256" y="170"/>
                  </a:lnTo>
                  <a:lnTo>
                    <a:pt x="256" y="173"/>
                  </a:lnTo>
                  <a:lnTo>
                    <a:pt x="256" y="173"/>
                  </a:lnTo>
                  <a:lnTo>
                    <a:pt x="248" y="173"/>
                  </a:lnTo>
                  <a:lnTo>
                    <a:pt x="241" y="173"/>
                  </a:lnTo>
                  <a:lnTo>
                    <a:pt x="237" y="177"/>
                  </a:lnTo>
                  <a:lnTo>
                    <a:pt x="235" y="183"/>
                  </a:lnTo>
                  <a:lnTo>
                    <a:pt x="228" y="183"/>
                  </a:lnTo>
                  <a:lnTo>
                    <a:pt x="220" y="187"/>
                  </a:lnTo>
                  <a:lnTo>
                    <a:pt x="213" y="190"/>
                  </a:lnTo>
                  <a:lnTo>
                    <a:pt x="205" y="190"/>
                  </a:lnTo>
                  <a:lnTo>
                    <a:pt x="203" y="187"/>
                  </a:lnTo>
                  <a:lnTo>
                    <a:pt x="203" y="185"/>
                  </a:lnTo>
                  <a:lnTo>
                    <a:pt x="205" y="179"/>
                  </a:lnTo>
                  <a:lnTo>
                    <a:pt x="205" y="177"/>
                  </a:lnTo>
                  <a:lnTo>
                    <a:pt x="199" y="173"/>
                  </a:lnTo>
                  <a:lnTo>
                    <a:pt x="198" y="173"/>
                  </a:lnTo>
                  <a:lnTo>
                    <a:pt x="192" y="172"/>
                  </a:lnTo>
                  <a:lnTo>
                    <a:pt x="192" y="173"/>
                  </a:lnTo>
                  <a:lnTo>
                    <a:pt x="186" y="172"/>
                  </a:lnTo>
                  <a:lnTo>
                    <a:pt x="192" y="166"/>
                  </a:lnTo>
                  <a:lnTo>
                    <a:pt x="198" y="162"/>
                  </a:lnTo>
                  <a:lnTo>
                    <a:pt x="203" y="160"/>
                  </a:lnTo>
                  <a:lnTo>
                    <a:pt x="205" y="158"/>
                  </a:lnTo>
                  <a:lnTo>
                    <a:pt x="203" y="156"/>
                  </a:lnTo>
                  <a:lnTo>
                    <a:pt x="201" y="153"/>
                  </a:lnTo>
                  <a:lnTo>
                    <a:pt x="199" y="153"/>
                  </a:lnTo>
                  <a:lnTo>
                    <a:pt x="199" y="153"/>
                  </a:lnTo>
                  <a:lnTo>
                    <a:pt x="196" y="153"/>
                  </a:lnTo>
                  <a:lnTo>
                    <a:pt x="192" y="149"/>
                  </a:lnTo>
                  <a:lnTo>
                    <a:pt x="186" y="153"/>
                  </a:lnTo>
                  <a:lnTo>
                    <a:pt x="183" y="153"/>
                  </a:lnTo>
                  <a:lnTo>
                    <a:pt x="181" y="153"/>
                  </a:lnTo>
                  <a:lnTo>
                    <a:pt x="177" y="153"/>
                  </a:lnTo>
                  <a:lnTo>
                    <a:pt x="175" y="149"/>
                  </a:lnTo>
                  <a:lnTo>
                    <a:pt x="177" y="149"/>
                  </a:lnTo>
                  <a:lnTo>
                    <a:pt x="177" y="147"/>
                  </a:lnTo>
                  <a:lnTo>
                    <a:pt x="171" y="143"/>
                  </a:lnTo>
                  <a:lnTo>
                    <a:pt x="166" y="143"/>
                  </a:lnTo>
                  <a:lnTo>
                    <a:pt x="166" y="143"/>
                  </a:lnTo>
                  <a:lnTo>
                    <a:pt x="167" y="143"/>
                  </a:lnTo>
                  <a:lnTo>
                    <a:pt x="175" y="141"/>
                  </a:lnTo>
                  <a:lnTo>
                    <a:pt x="179" y="143"/>
                  </a:lnTo>
                  <a:lnTo>
                    <a:pt x="181" y="141"/>
                  </a:lnTo>
                  <a:lnTo>
                    <a:pt x="183" y="140"/>
                  </a:lnTo>
                  <a:lnTo>
                    <a:pt x="179" y="141"/>
                  </a:lnTo>
                  <a:lnTo>
                    <a:pt x="175" y="140"/>
                  </a:lnTo>
                  <a:lnTo>
                    <a:pt x="173" y="138"/>
                  </a:lnTo>
                  <a:lnTo>
                    <a:pt x="171" y="136"/>
                  </a:lnTo>
                  <a:lnTo>
                    <a:pt x="169" y="138"/>
                  </a:lnTo>
                  <a:lnTo>
                    <a:pt x="169" y="140"/>
                  </a:lnTo>
                  <a:lnTo>
                    <a:pt x="166" y="140"/>
                  </a:lnTo>
                  <a:lnTo>
                    <a:pt x="166" y="140"/>
                  </a:lnTo>
                  <a:lnTo>
                    <a:pt x="166" y="138"/>
                  </a:lnTo>
                  <a:lnTo>
                    <a:pt x="162" y="141"/>
                  </a:lnTo>
                  <a:lnTo>
                    <a:pt x="156" y="143"/>
                  </a:lnTo>
                  <a:lnTo>
                    <a:pt x="152" y="143"/>
                  </a:lnTo>
                  <a:lnTo>
                    <a:pt x="152" y="149"/>
                  </a:lnTo>
                  <a:lnTo>
                    <a:pt x="149" y="153"/>
                  </a:lnTo>
                  <a:lnTo>
                    <a:pt x="147" y="153"/>
                  </a:lnTo>
                  <a:lnTo>
                    <a:pt x="149" y="155"/>
                  </a:lnTo>
                  <a:lnTo>
                    <a:pt x="141" y="164"/>
                  </a:lnTo>
                  <a:lnTo>
                    <a:pt x="139" y="164"/>
                  </a:lnTo>
                  <a:lnTo>
                    <a:pt x="137" y="162"/>
                  </a:lnTo>
                  <a:lnTo>
                    <a:pt x="137" y="164"/>
                  </a:lnTo>
                  <a:lnTo>
                    <a:pt x="135" y="168"/>
                  </a:lnTo>
                  <a:lnTo>
                    <a:pt x="139" y="170"/>
                  </a:lnTo>
                  <a:lnTo>
                    <a:pt x="137" y="173"/>
                  </a:lnTo>
                  <a:lnTo>
                    <a:pt x="137" y="173"/>
                  </a:lnTo>
                  <a:lnTo>
                    <a:pt x="134" y="170"/>
                  </a:lnTo>
                  <a:lnTo>
                    <a:pt x="128" y="172"/>
                  </a:lnTo>
                  <a:lnTo>
                    <a:pt x="126" y="173"/>
                  </a:lnTo>
                  <a:lnTo>
                    <a:pt x="120" y="173"/>
                  </a:lnTo>
                  <a:lnTo>
                    <a:pt x="113" y="172"/>
                  </a:lnTo>
                  <a:lnTo>
                    <a:pt x="111" y="166"/>
                  </a:lnTo>
                  <a:lnTo>
                    <a:pt x="113" y="164"/>
                  </a:lnTo>
                  <a:lnTo>
                    <a:pt x="117" y="166"/>
                  </a:lnTo>
                  <a:lnTo>
                    <a:pt x="117" y="162"/>
                  </a:lnTo>
                  <a:lnTo>
                    <a:pt x="120" y="155"/>
                  </a:lnTo>
                  <a:lnTo>
                    <a:pt x="122" y="155"/>
                  </a:lnTo>
                  <a:lnTo>
                    <a:pt x="122" y="153"/>
                  </a:lnTo>
                  <a:lnTo>
                    <a:pt x="122" y="143"/>
                  </a:lnTo>
                  <a:lnTo>
                    <a:pt x="126" y="143"/>
                  </a:lnTo>
                  <a:lnTo>
                    <a:pt x="130" y="143"/>
                  </a:lnTo>
                  <a:lnTo>
                    <a:pt x="134" y="143"/>
                  </a:lnTo>
                  <a:lnTo>
                    <a:pt x="139" y="143"/>
                  </a:lnTo>
                  <a:lnTo>
                    <a:pt x="139" y="143"/>
                  </a:lnTo>
                  <a:lnTo>
                    <a:pt x="137" y="140"/>
                  </a:lnTo>
                  <a:lnTo>
                    <a:pt x="139" y="138"/>
                  </a:lnTo>
                  <a:lnTo>
                    <a:pt x="137" y="134"/>
                  </a:lnTo>
                  <a:lnTo>
                    <a:pt x="132" y="130"/>
                  </a:lnTo>
                  <a:lnTo>
                    <a:pt x="128" y="126"/>
                  </a:lnTo>
                  <a:lnTo>
                    <a:pt x="126" y="123"/>
                  </a:lnTo>
                  <a:lnTo>
                    <a:pt x="122" y="123"/>
                  </a:lnTo>
                  <a:lnTo>
                    <a:pt x="122" y="119"/>
                  </a:lnTo>
                  <a:lnTo>
                    <a:pt x="122" y="109"/>
                  </a:lnTo>
                  <a:lnTo>
                    <a:pt x="119" y="109"/>
                  </a:lnTo>
                  <a:lnTo>
                    <a:pt x="113" y="102"/>
                  </a:lnTo>
                  <a:lnTo>
                    <a:pt x="111" y="102"/>
                  </a:lnTo>
                  <a:lnTo>
                    <a:pt x="109" y="106"/>
                  </a:lnTo>
                  <a:lnTo>
                    <a:pt x="103" y="104"/>
                  </a:lnTo>
                  <a:lnTo>
                    <a:pt x="96" y="98"/>
                  </a:lnTo>
                  <a:lnTo>
                    <a:pt x="92" y="98"/>
                  </a:lnTo>
                  <a:lnTo>
                    <a:pt x="88" y="94"/>
                  </a:lnTo>
                  <a:lnTo>
                    <a:pt x="87" y="98"/>
                  </a:lnTo>
                  <a:lnTo>
                    <a:pt x="83" y="98"/>
                  </a:lnTo>
                  <a:lnTo>
                    <a:pt x="83" y="98"/>
                  </a:lnTo>
                  <a:lnTo>
                    <a:pt x="79" y="98"/>
                  </a:lnTo>
                  <a:lnTo>
                    <a:pt x="79" y="98"/>
                  </a:lnTo>
                  <a:lnTo>
                    <a:pt x="75" y="98"/>
                  </a:lnTo>
                  <a:lnTo>
                    <a:pt x="77" y="100"/>
                  </a:lnTo>
                  <a:lnTo>
                    <a:pt x="75" y="104"/>
                  </a:lnTo>
                  <a:lnTo>
                    <a:pt x="77" y="107"/>
                  </a:lnTo>
                  <a:lnTo>
                    <a:pt x="71" y="109"/>
                  </a:lnTo>
                  <a:lnTo>
                    <a:pt x="68" y="109"/>
                  </a:lnTo>
                  <a:lnTo>
                    <a:pt x="56" y="113"/>
                  </a:lnTo>
                  <a:lnTo>
                    <a:pt x="53" y="115"/>
                  </a:lnTo>
                  <a:lnTo>
                    <a:pt x="49" y="119"/>
                  </a:lnTo>
                  <a:lnTo>
                    <a:pt x="43" y="119"/>
                  </a:lnTo>
                  <a:lnTo>
                    <a:pt x="38" y="119"/>
                  </a:lnTo>
                  <a:lnTo>
                    <a:pt x="36" y="115"/>
                  </a:lnTo>
                  <a:lnTo>
                    <a:pt x="32" y="113"/>
                  </a:lnTo>
                  <a:lnTo>
                    <a:pt x="26" y="109"/>
                  </a:lnTo>
                  <a:lnTo>
                    <a:pt x="19" y="107"/>
                  </a:lnTo>
                  <a:lnTo>
                    <a:pt x="17" y="107"/>
                  </a:lnTo>
                  <a:lnTo>
                    <a:pt x="13" y="109"/>
                  </a:lnTo>
                  <a:lnTo>
                    <a:pt x="11" y="109"/>
                  </a:lnTo>
                  <a:lnTo>
                    <a:pt x="9" y="107"/>
                  </a:lnTo>
                  <a:lnTo>
                    <a:pt x="4" y="104"/>
                  </a:lnTo>
                  <a:lnTo>
                    <a:pt x="0" y="100"/>
                  </a:lnTo>
                  <a:lnTo>
                    <a:pt x="0" y="98"/>
                  </a:lnTo>
                  <a:lnTo>
                    <a:pt x="2" y="92"/>
                  </a:lnTo>
                  <a:lnTo>
                    <a:pt x="6" y="85"/>
                  </a:lnTo>
                  <a:lnTo>
                    <a:pt x="9" y="85"/>
                  </a:lnTo>
                  <a:lnTo>
                    <a:pt x="9" y="79"/>
                  </a:lnTo>
                  <a:lnTo>
                    <a:pt x="7" y="74"/>
                  </a:lnTo>
                  <a:lnTo>
                    <a:pt x="19" y="60"/>
                  </a:lnTo>
                  <a:lnTo>
                    <a:pt x="23" y="55"/>
                  </a:lnTo>
                  <a:lnTo>
                    <a:pt x="23" y="53"/>
                  </a:lnTo>
                  <a:lnTo>
                    <a:pt x="26" y="53"/>
                  </a:lnTo>
                  <a:lnTo>
                    <a:pt x="28" y="47"/>
                  </a:lnTo>
                  <a:lnTo>
                    <a:pt x="26" y="45"/>
                  </a:lnTo>
                  <a:lnTo>
                    <a:pt x="26" y="42"/>
                  </a:lnTo>
                  <a:lnTo>
                    <a:pt x="26" y="40"/>
                  </a:lnTo>
                  <a:lnTo>
                    <a:pt x="23" y="38"/>
                  </a:lnTo>
                  <a:lnTo>
                    <a:pt x="23" y="30"/>
                  </a:lnTo>
                  <a:lnTo>
                    <a:pt x="19" y="30"/>
                  </a:lnTo>
                  <a:lnTo>
                    <a:pt x="19" y="21"/>
                  </a:lnTo>
                  <a:lnTo>
                    <a:pt x="19" y="19"/>
                  </a:lnTo>
                  <a:lnTo>
                    <a:pt x="19" y="19"/>
                  </a:lnTo>
                  <a:lnTo>
                    <a:pt x="19"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84">
              <a:extLst>
                <a:ext uri="{FF2B5EF4-FFF2-40B4-BE49-F238E27FC236}">
                  <a16:creationId xmlns:a16="http://schemas.microsoft.com/office/drawing/2014/main" id="{67D52BD0-2B27-B04B-84FD-ED3463252BC6}"/>
                </a:ext>
              </a:extLst>
            </p:cNvPr>
            <p:cNvSpPr>
              <a:spLocks/>
            </p:cNvSpPr>
            <p:nvPr/>
          </p:nvSpPr>
          <p:spPr bwMode="auto">
            <a:xfrm>
              <a:off x="6507571" y="2231202"/>
              <a:ext cx="54614" cy="52157"/>
            </a:xfrm>
            <a:custGeom>
              <a:avLst/>
              <a:gdLst/>
              <a:ahLst/>
              <a:cxnLst>
                <a:cxn ang="0">
                  <a:pos x="2" y="11"/>
                </a:cxn>
                <a:cxn ang="0">
                  <a:pos x="0" y="10"/>
                </a:cxn>
                <a:cxn ang="0">
                  <a:pos x="2" y="6"/>
                </a:cxn>
                <a:cxn ang="0">
                  <a:pos x="0" y="2"/>
                </a:cxn>
                <a:cxn ang="0">
                  <a:pos x="4" y="2"/>
                </a:cxn>
                <a:cxn ang="0">
                  <a:pos x="4" y="2"/>
                </a:cxn>
                <a:cxn ang="0">
                  <a:pos x="8" y="4"/>
                </a:cxn>
                <a:cxn ang="0">
                  <a:pos x="9" y="2"/>
                </a:cxn>
                <a:cxn ang="0">
                  <a:pos x="13" y="2"/>
                </a:cxn>
                <a:cxn ang="0">
                  <a:pos x="13" y="0"/>
                </a:cxn>
                <a:cxn ang="0">
                  <a:pos x="17" y="4"/>
                </a:cxn>
                <a:cxn ang="0">
                  <a:pos x="21" y="4"/>
                </a:cxn>
                <a:cxn ang="0">
                  <a:pos x="28" y="10"/>
                </a:cxn>
                <a:cxn ang="0">
                  <a:pos x="34" y="10"/>
                </a:cxn>
                <a:cxn ang="0">
                  <a:pos x="36" y="8"/>
                </a:cxn>
                <a:cxn ang="0">
                  <a:pos x="38" y="8"/>
                </a:cxn>
                <a:cxn ang="0">
                  <a:pos x="41" y="13"/>
                </a:cxn>
                <a:cxn ang="0">
                  <a:pos x="45" y="15"/>
                </a:cxn>
                <a:cxn ang="0">
                  <a:pos x="47" y="23"/>
                </a:cxn>
                <a:cxn ang="0">
                  <a:pos x="47" y="27"/>
                </a:cxn>
                <a:cxn ang="0">
                  <a:pos x="51" y="27"/>
                </a:cxn>
                <a:cxn ang="0">
                  <a:pos x="53" y="30"/>
                </a:cxn>
                <a:cxn ang="0">
                  <a:pos x="56" y="34"/>
                </a:cxn>
                <a:cxn ang="0">
                  <a:pos x="62" y="38"/>
                </a:cxn>
                <a:cxn ang="0">
                  <a:pos x="64" y="42"/>
                </a:cxn>
                <a:cxn ang="0">
                  <a:pos x="62" y="42"/>
                </a:cxn>
                <a:cxn ang="0">
                  <a:pos x="64" y="45"/>
                </a:cxn>
                <a:cxn ang="0">
                  <a:pos x="64" y="47"/>
                </a:cxn>
                <a:cxn ang="0">
                  <a:pos x="58" y="47"/>
                </a:cxn>
                <a:cxn ang="0">
                  <a:pos x="55" y="45"/>
                </a:cxn>
                <a:cxn ang="0">
                  <a:pos x="51" y="47"/>
                </a:cxn>
                <a:cxn ang="0">
                  <a:pos x="47" y="47"/>
                </a:cxn>
                <a:cxn ang="0">
                  <a:pos x="45" y="55"/>
                </a:cxn>
                <a:cxn ang="0">
                  <a:pos x="45" y="57"/>
                </a:cxn>
                <a:cxn ang="0">
                  <a:pos x="45" y="57"/>
                </a:cxn>
                <a:cxn ang="0">
                  <a:pos x="41" y="64"/>
                </a:cxn>
                <a:cxn ang="0">
                  <a:pos x="41" y="68"/>
                </a:cxn>
                <a:cxn ang="0">
                  <a:pos x="38" y="66"/>
                </a:cxn>
                <a:cxn ang="0">
                  <a:pos x="36" y="68"/>
                </a:cxn>
                <a:cxn ang="0">
                  <a:pos x="36" y="68"/>
                </a:cxn>
                <a:cxn ang="0">
                  <a:pos x="32" y="62"/>
                </a:cxn>
                <a:cxn ang="0">
                  <a:pos x="34" y="45"/>
                </a:cxn>
                <a:cxn ang="0">
                  <a:pos x="30" y="42"/>
                </a:cxn>
                <a:cxn ang="0">
                  <a:pos x="28" y="36"/>
                </a:cxn>
                <a:cxn ang="0">
                  <a:pos x="21" y="28"/>
                </a:cxn>
                <a:cxn ang="0">
                  <a:pos x="17" y="27"/>
                </a:cxn>
                <a:cxn ang="0">
                  <a:pos x="11" y="19"/>
                </a:cxn>
                <a:cxn ang="0">
                  <a:pos x="9" y="10"/>
                </a:cxn>
                <a:cxn ang="0">
                  <a:pos x="2" y="11"/>
                </a:cxn>
                <a:cxn ang="0">
                  <a:pos x="2" y="11"/>
                </a:cxn>
                <a:cxn ang="0">
                  <a:pos x="2" y="11"/>
                </a:cxn>
              </a:cxnLst>
              <a:rect l="0" t="0" r="r" b="b"/>
              <a:pathLst>
                <a:path w="64" h="68">
                  <a:moveTo>
                    <a:pt x="2" y="11"/>
                  </a:moveTo>
                  <a:lnTo>
                    <a:pt x="0" y="10"/>
                  </a:lnTo>
                  <a:lnTo>
                    <a:pt x="2" y="6"/>
                  </a:lnTo>
                  <a:lnTo>
                    <a:pt x="0" y="2"/>
                  </a:lnTo>
                  <a:lnTo>
                    <a:pt x="4" y="2"/>
                  </a:lnTo>
                  <a:lnTo>
                    <a:pt x="4" y="2"/>
                  </a:lnTo>
                  <a:lnTo>
                    <a:pt x="8" y="4"/>
                  </a:lnTo>
                  <a:lnTo>
                    <a:pt x="9" y="2"/>
                  </a:lnTo>
                  <a:lnTo>
                    <a:pt x="13" y="2"/>
                  </a:lnTo>
                  <a:lnTo>
                    <a:pt x="13" y="0"/>
                  </a:lnTo>
                  <a:lnTo>
                    <a:pt x="17" y="4"/>
                  </a:lnTo>
                  <a:lnTo>
                    <a:pt x="21" y="4"/>
                  </a:lnTo>
                  <a:lnTo>
                    <a:pt x="28" y="10"/>
                  </a:lnTo>
                  <a:lnTo>
                    <a:pt x="34" y="10"/>
                  </a:lnTo>
                  <a:lnTo>
                    <a:pt x="36" y="8"/>
                  </a:lnTo>
                  <a:lnTo>
                    <a:pt x="38" y="8"/>
                  </a:lnTo>
                  <a:lnTo>
                    <a:pt x="41" y="13"/>
                  </a:lnTo>
                  <a:lnTo>
                    <a:pt x="45" y="15"/>
                  </a:lnTo>
                  <a:lnTo>
                    <a:pt x="47" y="23"/>
                  </a:lnTo>
                  <a:lnTo>
                    <a:pt x="47" y="27"/>
                  </a:lnTo>
                  <a:lnTo>
                    <a:pt x="51" y="27"/>
                  </a:lnTo>
                  <a:lnTo>
                    <a:pt x="53" y="30"/>
                  </a:lnTo>
                  <a:lnTo>
                    <a:pt x="56" y="34"/>
                  </a:lnTo>
                  <a:lnTo>
                    <a:pt x="62" y="38"/>
                  </a:lnTo>
                  <a:lnTo>
                    <a:pt x="64" y="42"/>
                  </a:lnTo>
                  <a:lnTo>
                    <a:pt x="62" y="42"/>
                  </a:lnTo>
                  <a:lnTo>
                    <a:pt x="64" y="45"/>
                  </a:lnTo>
                  <a:lnTo>
                    <a:pt x="64" y="47"/>
                  </a:lnTo>
                  <a:lnTo>
                    <a:pt x="58" y="47"/>
                  </a:lnTo>
                  <a:lnTo>
                    <a:pt x="55" y="45"/>
                  </a:lnTo>
                  <a:lnTo>
                    <a:pt x="51" y="47"/>
                  </a:lnTo>
                  <a:lnTo>
                    <a:pt x="47" y="47"/>
                  </a:lnTo>
                  <a:lnTo>
                    <a:pt x="45" y="55"/>
                  </a:lnTo>
                  <a:lnTo>
                    <a:pt x="45" y="57"/>
                  </a:lnTo>
                  <a:lnTo>
                    <a:pt x="45" y="57"/>
                  </a:lnTo>
                  <a:lnTo>
                    <a:pt x="41" y="64"/>
                  </a:lnTo>
                  <a:lnTo>
                    <a:pt x="41" y="68"/>
                  </a:lnTo>
                  <a:lnTo>
                    <a:pt x="38" y="66"/>
                  </a:lnTo>
                  <a:lnTo>
                    <a:pt x="36" y="68"/>
                  </a:lnTo>
                  <a:lnTo>
                    <a:pt x="36" y="68"/>
                  </a:lnTo>
                  <a:lnTo>
                    <a:pt x="32" y="62"/>
                  </a:lnTo>
                  <a:lnTo>
                    <a:pt x="34" y="45"/>
                  </a:lnTo>
                  <a:lnTo>
                    <a:pt x="30" y="42"/>
                  </a:lnTo>
                  <a:lnTo>
                    <a:pt x="28" y="36"/>
                  </a:lnTo>
                  <a:lnTo>
                    <a:pt x="21" y="28"/>
                  </a:lnTo>
                  <a:lnTo>
                    <a:pt x="17" y="27"/>
                  </a:lnTo>
                  <a:lnTo>
                    <a:pt x="11" y="19"/>
                  </a:lnTo>
                  <a:lnTo>
                    <a:pt x="9" y="10"/>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85">
              <a:extLst>
                <a:ext uri="{FF2B5EF4-FFF2-40B4-BE49-F238E27FC236}">
                  <a16:creationId xmlns:a16="http://schemas.microsoft.com/office/drawing/2014/main" id="{77A9C88E-2EE6-C44C-AA64-71F9D985721C}"/>
                </a:ext>
              </a:extLst>
            </p:cNvPr>
            <p:cNvSpPr>
              <a:spLocks/>
            </p:cNvSpPr>
            <p:nvPr/>
          </p:nvSpPr>
          <p:spPr bwMode="auto">
            <a:xfrm>
              <a:off x="6454664" y="2307903"/>
              <a:ext cx="89600" cy="53691"/>
            </a:xfrm>
            <a:custGeom>
              <a:avLst/>
              <a:gdLst/>
              <a:ahLst/>
              <a:cxnLst>
                <a:cxn ang="0">
                  <a:pos x="7" y="0"/>
                </a:cxn>
                <a:cxn ang="0">
                  <a:pos x="9" y="6"/>
                </a:cxn>
                <a:cxn ang="0">
                  <a:pos x="9" y="11"/>
                </a:cxn>
                <a:cxn ang="0">
                  <a:pos x="19" y="8"/>
                </a:cxn>
                <a:cxn ang="0">
                  <a:pos x="22" y="9"/>
                </a:cxn>
                <a:cxn ang="0">
                  <a:pos x="34" y="9"/>
                </a:cxn>
                <a:cxn ang="0">
                  <a:pos x="41" y="9"/>
                </a:cxn>
                <a:cxn ang="0">
                  <a:pos x="47" y="11"/>
                </a:cxn>
                <a:cxn ang="0">
                  <a:pos x="56" y="9"/>
                </a:cxn>
                <a:cxn ang="0">
                  <a:pos x="62" y="6"/>
                </a:cxn>
                <a:cxn ang="0">
                  <a:pos x="79" y="0"/>
                </a:cxn>
                <a:cxn ang="0">
                  <a:pos x="90" y="4"/>
                </a:cxn>
                <a:cxn ang="0">
                  <a:pos x="96" y="4"/>
                </a:cxn>
                <a:cxn ang="0">
                  <a:pos x="102" y="8"/>
                </a:cxn>
                <a:cxn ang="0">
                  <a:pos x="105" y="9"/>
                </a:cxn>
                <a:cxn ang="0">
                  <a:pos x="103" y="19"/>
                </a:cxn>
                <a:cxn ang="0">
                  <a:pos x="94" y="23"/>
                </a:cxn>
                <a:cxn ang="0">
                  <a:pos x="94" y="34"/>
                </a:cxn>
                <a:cxn ang="0">
                  <a:pos x="90" y="40"/>
                </a:cxn>
                <a:cxn ang="0">
                  <a:pos x="96" y="47"/>
                </a:cxn>
                <a:cxn ang="0">
                  <a:pos x="98" y="51"/>
                </a:cxn>
                <a:cxn ang="0">
                  <a:pos x="92" y="53"/>
                </a:cxn>
                <a:cxn ang="0">
                  <a:pos x="83" y="49"/>
                </a:cxn>
                <a:cxn ang="0">
                  <a:pos x="77" y="51"/>
                </a:cxn>
                <a:cxn ang="0">
                  <a:pos x="73" y="55"/>
                </a:cxn>
                <a:cxn ang="0">
                  <a:pos x="66" y="58"/>
                </a:cxn>
                <a:cxn ang="0">
                  <a:pos x="68" y="66"/>
                </a:cxn>
                <a:cxn ang="0">
                  <a:pos x="58" y="68"/>
                </a:cxn>
                <a:cxn ang="0">
                  <a:pos x="51" y="68"/>
                </a:cxn>
                <a:cxn ang="0">
                  <a:pos x="45" y="70"/>
                </a:cxn>
                <a:cxn ang="0">
                  <a:pos x="41" y="66"/>
                </a:cxn>
                <a:cxn ang="0">
                  <a:pos x="32" y="66"/>
                </a:cxn>
                <a:cxn ang="0">
                  <a:pos x="24" y="70"/>
                </a:cxn>
                <a:cxn ang="0">
                  <a:pos x="17" y="70"/>
                </a:cxn>
                <a:cxn ang="0">
                  <a:pos x="17" y="66"/>
                </a:cxn>
                <a:cxn ang="0">
                  <a:pos x="11" y="51"/>
                </a:cxn>
                <a:cxn ang="0">
                  <a:pos x="4" y="45"/>
                </a:cxn>
                <a:cxn ang="0">
                  <a:pos x="2" y="40"/>
                </a:cxn>
                <a:cxn ang="0">
                  <a:pos x="9" y="30"/>
                </a:cxn>
                <a:cxn ang="0">
                  <a:pos x="7" y="21"/>
                </a:cxn>
                <a:cxn ang="0">
                  <a:pos x="0" y="8"/>
                </a:cxn>
                <a:cxn ang="0">
                  <a:pos x="2" y="0"/>
                </a:cxn>
                <a:cxn ang="0">
                  <a:pos x="2" y="0"/>
                </a:cxn>
              </a:cxnLst>
              <a:rect l="0" t="0" r="r" b="b"/>
              <a:pathLst>
                <a:path w="105" h="70">
                  <a:moveTo>
                    <a:pt x="2" y="0"/>
                  </a:moveTo>
                  <a:lnTo>
                    <a:pt x="7" y="0"/>
                  </a:lnTo>
                  <a:lnTo>
                    <a:pt x="9" y="4"/>
                  </a:lnTo>
                  <a:lnTo>
                    <a:pt x="9" y="6"/>
                  </a:lnTo>
                  <a:lnTo>
                    <a:pt x="7" y="8"/>
                  </a:lnTo>
                  <a:lnTo>
                    <a:pt x="9" y="11"/>
                  </a:lnTo>
                  <a:lnTo>
                    <a:pt x="13" y="8"/>
                  </a:lnTo>
                  <a:lnTo>
                    <a:pt x="19" y="8"/>
                  </a:lnTo>
                  <a:lnTo>
                    <a:pt x="21" y="11"/>
                  </a:lnTo>
                  <a:lnTo>
                    <a:pt x="22" y="9"/>
                  </a:lnTo>
                  <a:lnTo>
                    <a:pt x="28" y="13"/>
                  </a:lnTo>
                  <a:lnTo>
                    <a:pt x="34" y="9"/>
                  </a:lnTo>
                  <a:lnTo>
                    <a:pt x="38" y="11"/>
                  </a:lnTo>
                  <a:lnTo>
                    <a:pt x="41" y="9"/>
                  </a:lnTo>
                  <a:lnTo>
                    <a:pt x="43" y="11"/>
                  </a:lnTo>
                  <a:lnTo>
                    <a:pt x="47" y="11"/>
                  </a:lnTo>
                  <a:lnTo>
                    <a:pt x="54" y="11"/>
                  </a:lnTo>
                  <a:lnTo>
                    <a:pt x="56" y="9"/>
                  </a:lnTo>
                  <a:lnTo>
                    <a:pt x="62" y="9"/>
                  </a:lnTo>
                  <a:lnTo>
                    <a:pt x="62" y="6"/>
                  </a:lnTo>
                  <a:lnTo>
                    <a:pt x="73" y="0"/>
                  </a:lnTo>
                  <a:lnTo>
                    <a:pt x="79" y="0"/>
                  </a:lnTo>
                  <a:lnTo>
                    <a:pt x="85" y="0"/>
                  </a:lnTo>
                  <a:lnTo>
                    <a:pt x="90" y="4"/>
                  </a:lnTo>
                  <a:lnTo>
                    <a:pt x="92" y="6"/>
                  </a:lnTo>
                  <a:lnTo>
                    <a:pt x="96" y="4"/>
                  </a:lnTo>
                  <a:lnTo>
                    <a:pt x="100" y="6"/>
                  </a:lnTo>
                  <a:lnTo>
                    <a:pt x="102" y="8"/>
                  </a:lnTo>
                  <a:lnTo>
                    <a:pt x="105" y="8"/>
                  </a:lnTo>
                  <a:lnTo>
                    <a:pt x="105" y="9"/>
                  </a:lnTo>
                  <a:lnTo>
                    <a:pt x="105" y="17"/>
                  </a:lnTo>
                  <a:lnTo>
                    <a:pt x="103" y="19"/>
                  </a:lnTo>
                  <a:lnTo>
                    <a:pt x="100" y="19"/>
                  </a:lnTo>
                  <a:lnTo>
                    <a:pt x="94" y="23"/>
                  </a:lnTo>
                  <a:lnTo>
                    <a:pt x="94" y="30"/>
                  </a:lnTo>
                  <a:lnTo>
                    <a:pt x="94" y="34"/>
                  </a:lnTo>
                  <a:lnTo>
                    <a:pt x="90" y="40"/>
                  </a:lnTo>
                  <a:lnTo>
                    <a:pt x="90" y="40"/>
                  </a:lnTo>
                  <a:lnTo>
                    <a:pt x="92" y="43"/>
                  </a:lnTo>
                  <a:lnTo>
                    <a:pt x="96" y="47"/>
                  </a:lnTo>
                  <a:lnTo>
                    <a:pt x="98" y="51"/>
                  </a:lnTo>
                  <a:lnTo>
                    <a:pt x="98" y="51"/>
                  </a:lnTo>
                  <a:lnTo>
                    <a:pt x="94" y="51"/>
                  </a:lnTo>
                  <a:lnTo>
                    <a:pt x="92" y="53"/>
                  </a:lnTo>
                  <a:lnTo>
                    <a:pt x="86" y="49"/>
                  </a:lnTo>
                  <a:lnTo>
                    <a:pt x="83" y="49"/>
                  </a:lnTo>
                  <a:lnTo>
                    <a:pt x="81" y="51"/>
                  </a:lnTo>
                  <a:lnTo>
                    <a:pt x="77" y="51"/>
                  </a:lnTo>
                  <a:lnTo>
                    <a:pt x="73" y="55"/>
                  </a:lnTo>
                  <a:lnTo>
                    <a:pt x="73" y="55"/>
                  </a:lnTo>
                  <a:lnTo>
                    <a:pt x="71" y="55"/>
                  </a:lnTo>
                  <a:lnTo>
                    <a:pt x="66" y="58"/>
                  </a:lnTo>
                  <a:lnTo>
                    <a:pt x="66" y="62"/>
                  </a:lnTo>
                  <a:lnTo>
                    <a:pt x="68" y="66"/>
                  </a:lnTo>
                  <a:lnTo>
                    <a:pt x="66" y="68"/>
                  </a:lnTo>
                  <a:lnTo>
                    <a:pt x="58" y="68"/>
                  </a:lnTo>
                  <a:lnTo>
                    <a:pt x="54" y="70"/>
                  </a:lnTo>
                  <a:lnTo>
                    <a:pt x="51" y="68"/>
                  </a:lnTo>
                  <a:lnTo>
                    <a:pt x="47" y="68"/>
                  </a:lnTo>
                  <a:lnTo>
                    <a:pt x="45" y="70"/>
                  </a:lnTo>
                  <a:lnTo>
                    <a:pt x="41" y="70"/>
                  </a:lnTo>
                  <a:lnTo>
                    <a:pt x="41" y="66"/>
                  </a:lnTo>
                  <a:lnTo>
                    <a:pt x="38" y="66"/>
                  </a:lnTo>
                  <a:lnTo>
                    <a:pt x="32" y="66"/>
                  </a:lnTo>
                  <a:lnTo>
                    <a:pt x="30" y="70"/>
                  </a:lnTo>
                  <a:lnTo>
                    <a:pt x="24" y="70"/>
                  </a:lnTo>
                  <a:lnTo>
                    <a:pt x="19" y="70"/>
                  </a:lnTo>
                  <a:lnTo>
                    <a:pt x="17" y="70"/>
                  </a:lnTo>
                  <a:lnTo>
                    <a:pt x="17" y="70"/>
                  </a:lnTo>
                  <a:lnTo>
                    <a:pt x="17" y="66"/>
                  </a:lnTo>
                  <a:lnTo>
                    <a:pt x="17" y="60"/>
                  </a:lnTo>
                  <a:lnTo>
                    <a:pt x="11" y="51"/>
                  </a:lnTo>
                  <a:lnTo>
                    <a:pt x="4" y="45"/>
                  </a:lnTo>
                  <a:lnTo>
                    <a:pt x="4" y="45"/>
                  </a:lnTo>
                  <a:lnTo>
                    <a:pt x="4" y="43"/>
                  </a:lnTo>
                  <a:lnTo>
                    <a:pt x="2" y="40"/>
                  </a:lnTo>
                  <a:lnTo>
                    <a:pt x="2" y="34"/>
                  </a:lnTo>
                  <a:lnTo>
                    <a:pt x="9" y="30"/>
                  </a:lnTo>
                  <a:lnTo>
                    <a:pt x="9" y="26"/>
                  </a:lnTo>
                  <a:lnTo>
                    <a:pt x="7" y="21"/>
                  </a:lnTo>
                  <a:lnTo>
                    <a:pt x="2" y="15"/>
                  </a:lnTo>
                  <a:lnTo>
                    <a:pt x="0" y="8"/>
                  </a:lnTo>
                  <a:lnTo>
                    <a:pt x="2" y="4"/>
                  </a:lnTo>
                  <a:lnTo>
                    <a:pt x="2" y="0"/>
                  </a:lnTo>
                  <a:lnTo>
                    <a:pt x="2" y="0"/>
                  </a:lnTo>
                  <a:lnTo>
                    <a:pt x="2"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Freeform 86">
              <a:extLst>
                <a:ext uri="{FF2B5EF4-FFF2-40B4-BE49-F238E27FC236}">
                  <a16:creationId xmlns:a16="http://schemas.microsoft.com/office/drawing/2014/main" id="{62EB8514-0630-7644-8028-422956160C08}"/>
                </a:ext>
              </a:extLst>
            </p:cNvPr>
            <p:cNvSpPr>
              <a:spLocks/>
            </p:cNvSpPr>
            <p:nvPr/>
          </p:nvSpPr>
          <p:spPr bwMode="auto">
            <a:xfrm>
              <a:off x="6427358" y="2343951"/>
              <a:ext cx="40106" cy="29146"/>
            </a:xfrm>
            <a:custGeom>
              <a:avLst/>
              <a:gdLst/>
              <a:ahLst/>
              <a:cxnLst>
                <a:cxn ang="0">
                  <a:pos x="34" y="0"/>
                </a:cxn>
                <a:cxn ang="0">
                  <a:pos x="41" y="6"/>
                </a:cxn>
                <a:cxn ang="0">
                  <a:pos x="47" y="15"/>
                </a:cxn>
                <a:cxn ang="0">
                  <a:pos x="47" y="21"/>
                </a:cxn>
                <a:cxn ang="0">
                  <a:pos x="47" y="25"/>
                </a:cxn>
                <a:cxn ang="0">
                  <a:pos x="45" y="25"/>
                </a:cxn>
                <a:cxn ang="0">
                  <a:pos x="41" y="25"/>
                </a:cxn>
                <a:cxn ang="0">
                  <a:pos x="38" y="28"/>
                </a:cxn>
                <a:cxn ang="0">
                  <a:pos x="28" y="28"/>
                </a:cxn>
                <a:cxn ang="0">
                  <a:pos x="24" y="28"/>
                </a:cxn>
                <a:cxn ang="0">
                  <a:pos x="24" y="30"/>
                </a:cxn>
                <a:cxn ang="0">
                  <a:pos x="19" y="32"/>
                </a:cxn>
                <a:cxn ang="0">
                  <a:pos x="11" y="38"/>
                </a:cxn>
                <a:cxn ang="0">
                  <a:pos x="11" y="38"/>
                </a:cxn>
                <a:cxn ang="0">
                  <a:pos x="7" y="36"/>
                </a:cxn>
                <a:cxn ang="0">
                  <a:pos x="6" y="30"/>
                </a:cxn>
                <a:cxn ang="0">
                  <a:pos x="2" y="25"/>
                </a:cxn>
                <a:cxn ang="0">
                  <a:pos x="0" y="19"/>
                </a:cxn>
                <a:cxn ang="0">
                  <a:pos x="2" y="13"/>
                </a:cxn>
                <a:cxn ang="0">
                  <a:pos x="2" y="13"/>
                </a:cxn>
                <a:cxn ang="0">
                  <a:pos x="4" y="11"/>
                </a:cxn>
                <a:cxn ang="0">
                  <a:pos x="4" y="10"/>
                </a:cxn>
                <a:cxn ang="0">
                  <a:pos x="7" y="6"/>
                </a:cxn>
                <a:cxn ang="0">
                  <a:pos x="11" y="6"/>
                </a:cxn>
                <a:cxn ang="0">
                  <a:pos x="15" y="4"/>
                </a:cxn>
                <a:cxn ang="0">
                  <a:pos x="22" y="0"/>
                </a:cxn>
                <a:cxn ang="0">
                  <a:pos x="24" y="4"/>
                </a:cxn>
                <a:cxn ang="0">
                  <a:pos x="30" y="0"/>
                </a:cxn>
                <a:cxn ang="0">
                  <a:pos x="34" y="0"/>
                </a:cxn>
                <a:cxn ang="0">
                  <a:pos x="34" y="0"/>
                </a:cxn>
                <a:cxn ang="0">
                  <a:pos x="34" y="0"/>
                </a:cxn>
              </a:cxnLst>
              <a:rect l="0" t="0" r="r" b="b"/>
              <a:pathLst>
                <a:path w="47" h="38">
                  <a:moveTo>
                    <a:pt x="34" y="0"/>
                  </a:moveTo>
                  <a:lnTo>
                    <a:pt x="41" y="6"/>
                  </a:lnTo>
                  <a:lnTo>
                    <a:pt x="47" y="15"/>
                  </a:lnTo>
                  <a:lnTo>
                    <a:pt x="47" y="21"/>
                  </a:lnTo>
                  <a:lnTo>
                    <a:pt x="47" y="25"/>
                  </a:lnTo>
                  <a:lnTo>
                    <a:pt x="45" y="25"/>
                  </a:lnTo>
                  <a:lnTo>
                    <a:pt x="41" y="25"/>
                  </a:lnTo>
                  <a:lnTo>
                    <a:pt x="38" y="28"/>
                  </a:lnTo>
                  <a:lnTo>
                    <a:pt x="28" y="28"/>
                  </a:lnTo>
                  <a:lnTo>
                    <a:pt x="24" y="28"/>
                  </a:lnTo>
                  <a:lnTo>
                    <a:pt x="24" y="30"/>
                  </a:lnTo>
                  <a:lnTo>
                    <a:pt x="19" y="32"/>
                  </a:lnTo>
                  <a:lnTo>
                    <a:pt x="11" y="38"/>
                  </a:lnTo>
                  <a:lnTo>
                    <a:pt x="11" y="38"/>
                  </a:lnTo>
                  <a:lnTo>
                    <a:pt x="7" y="36"/>
                  </a:lnTo>
                  <a:lnTo>
                    <a:pt x="6" y="30"/>
                  </a:lnTo>
                  <a:lnTo>
                    <a:pt x="2" y="25"/>
                  </a:lnTo>
                  <a:lnTo>
                    <a:pt x="0" y="19"/>
                  </a:lnTo>
                  <a:lnTo>
                    <a:pt x="2" y="13"/>
                  </a:lnTo>
                  <a:lnTo>
                    <a:pt x="2" y="13"/>
                  </a:lnTo>
                  <a:lnTo>
                    <a:pt x="4" y="11"/>
                  </a:lnTo>
                  <a:lnTo>
                    <a:pt x="4" y="10"/>
                  </a:lnTo>
                  <a:lnTo>
                    <a:pt x="7" y="6"/>
                  </a:lnTo>
                  <a:lnTo>
                    <a:pt x="11" y="6"/>
                  </a:lnTo>
                  <a:lnTo>
                    <a:pt x="15" y="4"/>
                  </a:lnTo>
                  <a:lnTo>
                    <a:pt x="22" y="0"/>
                  </a:lnTo>
                  <a:lnTo>
                    <a:pt x="24" y="4"/>
                  </a:lnTo>
                  <a:lnTo>
                    <a:pt x="30" y="0"/>
                  </a:lnTo>
                  <a:lnTo>
                    <a:pt x="34" y="0"/>
                  </a:lnTo>
                  <a:lnTo>
                    <a:pt x="34" y="0"/>
                  </a:lnTo>
                  <a:lnTo>
                    <a:pt x="3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6" name="Freeform 87">
              <a:extLst>
                <a:ext uri="{FF2B5EF4-FFF2-40B4-BE49-F238E27FC236}">
                  <a16:creationId xmlns:a16="http://schemas.microsoft.com/office/drawing/2014/main" id="{0E388BED-BAF4-E945-8AF0-2B9EE4C5A003}"/>
                </a:ext>
              </a:extLst>
            </p:cNvPr>
            <p:cNvSpPr>
              <a:spLocks/>
            </p:cNvSpPr>
            <p:nvPr/>
          </p:nvSpPr>
          <p:spPr bwMode="auto">
            <a:xfrm>
              <a:off x="6409437" y="2340883"/>
              <a:ext cx="27306" cy="48322"/>
            </a:xfrm>
            <a:custGeom>
              <a:avLst/>
              <a:gdLst/>
              <a:ahLst/>
              <a:cxnLst>
                <a:cxn ang="0">
                  <a:pos x="25" y="19"/>
                </a:cxn>
                <a:cxn ang="0">
                  <a:pos x="21" y="23"/>
                </a:cxn>
                <a:cxn ang="0">
                  <a:pos x="25" y="30"/>
                </a:cxn>
                <a:cxn ang="0">
                  <a:pos x="27" y="34"/>
                </a:cxn>
                <a:cxn ang="0">
                  <a:pos x="28" y="40"/>
                </a:cxn>
                <a:cxn ang="0">
                  <a:pos x="32" y="42"/>
                </a:cxn>
                <a:cxn ang="0">
                  <a:pos x="32" y="47"/>
                </a:cxn>
                <a:cxn ang="0">
                  <a:pos x="28" y="51"/>
                </a:cxn>
                <a:cxn ang="0">
                  <a:pos x="21" y="53"/>
                </a:cxn>
                <a:cxn ang="0">
                  <a:pos x="21" y="59"/>
                </a:cxn>
                <a:cxn ang="0">
                  <a:pos x="19" y="63"/>
                </a:cxn>
                <a:cxn ang="0">
                  <a:pos x="17" y="63"/>
                </a:cxn>
                <a:cxn ang="0">
                  <a:pos x="13" y="63"/>
                </a:cxn>
                <a:cxn ang="0">
                  <a:pos x="10" y="53"/>
                </a:cxn>
                <a:cxn ang="0">
                  <a:pos x="2" y="53"/>
                </a:cxn>
                <a:cxn ang="0">
                  <a:pos x="2" y="51"/>
                </a:cxn>
                <a:cxn ang="0">
                  <a:pos x="2" y="47"/>
                </a:cxn>
                <a:cxn ang="0">
                  <a:pos x="2" y="46"/>
                </a:cxn>
                <a:cxn ang="0">
                  <a:pos x="2" y="40"/>
                </a:cxn>
                <a:cxn ang="0">
                  <a:pos x="2" y="36"/>
                </a:cxn>
                <a:cxn ang="0">
                  <a:pos x="2" y="30"/>
                </a:cxn>
                <a:cxn ang="0">
                  <a:pos x="2" y="23"/>
                </a:cxn>
                <a:cxn ang="0">
                  <a:pos x="6" y="23"/>
                </a:cxn>
                <a:cxn ang="0">
                  <a:pos x="6" y="19"/>
                </a:cxn>
                <a:cxn ang="0">
                  <a:pos x="0" y="15"/>
                </a:cxn>
                <a:cxn ang="0">
                  <a:pos x="0" y="10"/>
                </a:cxn>
                <a:cxn ang="0">
                  <a:pos x="2" y="4"/>
                </a:cxn>
                <a:cxn ang="0">
                  <a:pos x="6" y="0"/>
                </a:cxn>
                <a:cxn ang="0">
                  <a:pos x="6" y="0"/>
                </a:cxn>
                <a:cxn ang="0">
                  <a:pos x="10" y="4"/>
                </a:cxn>
                <a:cxn ang="0">
                  <a:pos x="11" y="0"/>
                </a:cxn>
                <a:cxn ang="0">
                  <a:pos x="13" y="0"/>
                </a:cxn>
                <a:cxn ang="0">
                  <a:pos x="13" y="0"/>
                </a:cxn>
                <a:cxn ang="0">
                  <a:pos x="17" y="4"/>
                </a:cxn>
                <a:cxn ang="0">
                  <a:pos x="19" y="6"/>
                </a:cxn>
                <a:cxn ang="0">
                  <a:pos x="21" y="8"/>
                </a:cxn>
                <a:cxn ang="0">
                  <a:pos x="21" y="10"/>
                </a:cxn>
                <a:cxn ang="0">
                  <a:pos x="21" y="15"/>
                </a:cxn>
                <a:cxn ang="0">
                  <a:pos x="25" y="19"/>
                </a:cxn>
                <a:cxn ang="0">
                  <a:pos x="25" y="19"/>
                </a:cxn>
                <a:cxn ang="0">
                  <a:pos x="25" y="19"/>
                </a:cxn>
              </a:cxnLst>
              <a:rect l="0" t="0" r="r" b="b"/>
              <a:pathLst>
                <a:path w="32" h="63">
                  <a:moveTo>
                    <a:pt x="25" y="19"/>
                  </a:moveTo>
                  <a:lnTo>
                    <a:pt x="21" y="23"/>
                  </a:lnTo>
                  <a:lnTo>
                    <a:pt x="25" y="30"/>
                  </a:lnTo>
                  <a:lnTo>
                    <a:pt x="27" y="34"/>
                  </a:lnTo>
                  <a:lnTo>
                    <a:pt x="28" y="40"/>
                  </a:lnTo>
                  <a:lnTo>
                    <a:pt x="32" y="42"/>
                  </a:lnTo>
                  <a:lnTo>
                    <a:pt x="32" y="47"/>
                  </a:lnTo>
                  <a:lnTo>
                    <a:pt x="28" y="51"/>
                  </a:lnTo>
                  <a:lnTo>
                    <a:pt x="21" y="53"/>
                  </a:lnTo>
                  <a:lnTo>
                    <a:pt x="21" y="59"/>
                  </a:lnTo>
                  <a:lnTo>
                    <a:pt x="19" y="63"/>
                  </a:lnTo>
                  <a:lnTo>
                    <a:pt x="17" y="63"/>
                  </a:lnTo>
                  <a:lnTo>
                    <a:pt x="13" y="63"/>
                  </a:lnTo>
                  <a:lnTo>
                    <a:pt x="10" y="53"/>
                  </a:lnTo>
                  <a:lnTo>
                    <a:pt x="2" y="53"/>
                  </a:lnTo>
                  <a:lnTo>
                    <a:pt x="2" y="51"/>
                  </a:lnTo>
                  <a:lnTo>
                    <a:pt x="2" y="47"/>
                  </a:lnTo>
                  <a:lnTo>
                    <a:pt x="2" y="46"/>
                  </a:lnTo>
                  <a:lnTo>
                    <a:pt x="2" y="40"/>
                  </a:lnTo>
                  <a:lnTo>
                    <a:pt x="2" y="36"/>
                  </a:lnTo>
                  <a:lnTo>
                    <a:pt x="2" y="30"/>
                  </a:lnTo>
                  <a:lnTo>
                    <a:pt x="2" y="23"/>
                  </a:lnTo>
                  <a:lnTo>
                    <a:pt x="6" y="23"/>
                  </a:lnTo>
                  <a:lnTo>
                    <a:pt x="6" y="19"/>
                  </a:lnTo>
                  <a:lnTo>
                    <a:pt x="0" y="15"/>
                  </a:lnTo>
                  <a:lnTo>
                    <a:pt x="0" y="10"/>
                  </a:lnTo>
                  <a:lnTo>
                    <a:pt x="2" y="4"/>
                  </a:lnTo>
                  <a:lnTo>
                    <a:pt x="6" y="0"/>
                  </a:lnTo>
                  <a:lnTo>
                    <a:pt x="6" y="0"/>
                  </a:lnTo>
                  <a:lnTo>
                    <a:pt x="10" y="4"/>
                  </a:lnTo>
                  <a:lnTo>
                    <a:pt x="11" y="0"/>
                  </a:lnTo>
                  <a:lnTo>
                    <a:pt x="13" y="0"/>
                  </a:lnTo>
                  <a:lnTo>
                    <a:pt x="13" y="0"/>
                  </a:lnTo>
                  <a:lnTo>
                    <a:pt x="17" y="4"/>
                  </a:lnTo>
                  <a:lnTo>
                    <a:pt x="19" y="6"/>
                  </a:lnTo>
                  <a:lnTo>
                    <a:pt x="21" y="8"/>
                  </a:lnTo>
                  <a:lnTo>
                    <a:pt x="21" y="10"/>
                  </a:lnTo>
                  <a:lnTo>
                    <a:pt x="21" y="15"/>
                  </a:lnTo>
                  <a:lnTo>
                    <a:pt x="25" y="19"/>
                  </a:lnTo>
                  <a:lnTo>
                    <a:pt x="25" y="19"/>
                  </a:lnTo>
                  <a:lnTo>
                    <a:pt x="2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7" name="Freeform 88">
              <a:extLst>
                <a:ext uri="{FF2B5EF4-FFF2-40B4-BE49-F238E27FC236}">
                  <a16:creationId xmlns:a16="http://schemas.microsoft.com/office/drawing/2014/main" id="{9D3BA0CD-6F8C-1449-BA5F-CCA8BAA3383E}"/>
                </a:ext>
              </a:extLst>
            </p:cNvPr>
            <p:cNvSpPr>
              <a:spLocks/>
            </p:cNvSpPr>
            <p:nvPr/>
          </p:nvSpPr>
          <p:spPr bwMode="auto">
            <a:xfrm>
              <a:off x="6400051" y="2280290"/>
              <a:ext cx="62294" cy="72099"/>
            </a:xfrm>
            <a:custGeom>
              <a:avLst/>
              <a:gdLst/>
              <a:ahLst/>
              <a:cxnLst>
                <a:cxn ang="0">
                  <a:pos x="2" y="6"/>
                </a:cxn>
                <a:cxn ang="0">
                  <a:pos x="9" y="4"/>
                </a:cxn>
                <a:cxn ang="0">
                  <a:pos x="15" y="0"/>
                </a:cxn>
                <a:cxn ang="0">
                  <a:pos x="21" y="0"/>
                </a:cxn>
                <a:cxn ang="0">
                  <a:pos x="28" y="4"/>
                </a:cxn>
                <a:cxn ang="0">
                  <a:pos x="36" y="15"/>
                </a:cxn>
                <a:cxn ang="0">
                  <a:pos x="45" y="21"/>
                </a:cxn>
                <a:cxn ang="0">
                  <a:pos x="45" y="27"/>
                </a:cxn>
                <a:cxn ang="0">
                  <a:pos x="53" y="32"/>
                </a:cxn>
                <a:cxn ang="0">
                  <a:pos x="58" y="34"/>
                </a:cxn>
                <a:cxn ang="0">
                  <a:pos x="70" y="30"/>
                </a:cxn>
                <a:cxn ang="0">
                  <a:pos x="66" y="38"/>
                </a:cxn>
                <a:cxn ang="0">
                  <a:pos x="66" y="47"/>
                </a:cxn>
                <a:cxn ang="0">
                  <a:pos x="73" y="59"/>
                </a:cxn>
                <a:cxn ang="0">
                  <a:pos x="73" y="66"/>
                </a:cxn>
                <a:cxn ang="0">
                  <a:pos x="68" y="76"/>
                </a:cxn>
                <a:cxn ang="0">
                  <a:pos x="70" y="81"/>
                </a:cxn>
                <a:cxn ang="0">
                  <a:pos x="60" y="85"/>
                </a:cxn>
                <a:cxn ang="0">
                  <a:pos x="49" y="85"/>
                </a:cxn>
                <a:cxn ang="0">
                  <a:pos x="43" y="87"/>
                </a:cxn>
                <a:cxn ang="0">
                  <a:pos x="39" y="93"/>
                </a:cxn>
                <a:cxn ang="0">
                  <a:pos x="36" y="93"/>
                </a:cxn>
                <a:cxn ang="0">
                  <a:pos x="36" y="85"/>
                </a:cxn>
                <a:cxn ang="0">
                  <a:pos x="30" y="81"/>
                </a:cxn>
                <a:cxn ang="0">
                  <a:pos x="28" y="76"/>
                </a:cxn>
                <a:cxn ang="0">
                  <a:pos x="28" y="72"/>
                </a:cxn>
                <a:cxn ang="0">
                  <a:pos x="24" y="66"/>
                </a:cxn>
                <a:cxn ang="0">
                  <a:pos x="19" y="66"/>
                </a:cxn>
                <a:cxn ang="0">
                  <a:pos x="15" y="61"/>
                </a:cxn>
                <a:cxn ang="0">
                  <a:pos x="13" y="55"/>
                </a:cxn>
                <a:cxn ang="0">
                  <a:pos x="9" y="47"/>
                </a:cxn>
                <a:cxn ang="0">
                  <a:pos x="15" y="47"/>
                </a:cxn>
                <a:cxn ang="0">
                  <a:pos x="13" y="44"/>
                </a:cxn>
                <a:cxn ang="0">
                  <a:pos x="6" y="38"/>
                </a:cxn>
                <a:cxn ang="0">
                  <a:pos x="9" y="32"/>
                </a:cxn>
                <a:cxn ang="0">
                  <a:pos x="7" y="27"/>
                </a:cxn>
                <a:cxn ang="0">
                  <a:pos x="4" y="27"/>
                </a:cxn>
                <a:cxn ang="0">
                  <a:pos x="7" y="21"/>
                </a:cxn>
                <a:cxn ang="0">
                  <a:pos x="9" y="21"/>
                </a:cxn>
                <a:cxn ang="0">
                  <a:pos x="4" y="19"/>
                </a:cxn>
                <a:cxn ang="0">
                  <a:pos x="0" y="8"/>
                </a:cxn>
                <a:cxn ang="0">
                  <a:pos x="0" y="8"/>
                </a:cxn>
              </a:cxnLst>
              <a:rect l="0" t="0" r="r" b="b"/>
              <a:pathLst>
                <a:path w="73" h="94">
                  <a:moveTo>
                    <a:pt x="0" y="8"/>
                  </a:moveTo>
                  <a:lnTo>
                    <a:pt x="2" y="6"/>
                  </a:lnTo>
                  <a:lnTo>
                    <a:pt x="7" y="4"/>
                  </a:lnTo>
                  <a:lnTo>
                    <a:pt x="9" y="4"/>
                  </a:lnTo>
                  <a:lnTo>
                    <a:pt x="11" y="2"/>
                  </a:lnTo>
                  <a:lnTo>
                    <a:pt x="15" y="0"/>
                  </a:lnTo>
                  <a:lnTo>
                    <a:pt x="19" y="0"/>
                  </a:lnTo>
                  <a:lnTo>
                    <a:pt x="21" y="0"/>
                  </a:lnTo>
                  <a:lnTo>
                    <a:pt x="28" y="2"/>
                  </a:lnTo>
                  <a:lnTo>
                    <a:pt x="28" y="4"/>
                  </a:lnTo>
                  <a:lnTo>
                    <a:pt x="36" y="12"/>
                  </a:lnTo>
                  <a:lnTo>
                    <a:pt x="36" y="15"/>
                  </a:lnTo>
                  <a:lnTo>
                    <a:pt x="41" y="15"/>
                  </a:lnTo>
                  <a:lnTo>
                    <a:pt x="45" y="21"/>
                  </a:lnTo>
                  <a:lnTo>
                    <a:pt x="45" y="25"/>
                  </a:lnTo>
                  <a:lnTo>
                    <a:pt x="45" y="27"/>
                  </a:lnTo>
                  <a:lnTo>
                    <a:pt x="49" y="28"/>
                  </a:lnTo>
                  <a:lnTo>
                    <a:pt x="53" y="32"/>
                  </a:lnTo>
                  <a:lnTo>
                    <a:pt x="58" y="30"/>
                  </a:lnTo>
                  <a:lnTo>
                    <a:pt x="58" y="34"/>
                  </a:lnTo>
                  <a:lnTo>
                    <a:pt x="62" y="28"/>
                  </a:lnTo>
                  <a:lnTo>
                    <a:pt x="70" y="30"/>
                  </a:lnTo>
                  <a:lnTo>
                    <a:pt x="66" y="34"/>
                  </a:lnTo>
                  <a:lnTo>
                    <a:pt x="66" y="38"/>
                  </a:lnTo>
                  <a:lnTo>
                    <a:pt x="68" y="44"/>
                  </a:lnTo>
                  <a:lnTo>
                    <a:pt x="66" y="47"/>
                  </a:lnTo>
                  <a:lnTo>
                    <a:pt x="68" y="53"/>
                  </a:lnTo>
                  <a:lnTo>
                    <a:pt x="73" y="59"/>
                  </a:lnTo>
                  <a:lnTo>
                    <a:pt x="73" y="62"/>
                  </a:lnTo>
                  <a:lnTo>
                    <a:pt x="73" y="66"/>
                  </a:lnTo>
                  <a:lnTo>
                    <a:pt x="68" y="72"/>
                  </a:lnTo>
                  <a:lnTo>
                    <a:pt x="68" y="76"/>
                  </a:lnTo>
                  <a:lnTo>
                    <a:pt x="70" y="79"/>
                  </a:lnTo>
                  <a:lnTo>
                    <a:pt x="70" y="81"/>
                  </a:lnTo>
                  <a:lnTo>
                    <a:pt x="66" y="81"/>
                  </a:lnTo>
                  <a:lnTo>
                    <a:pt x="60" y="85"/>
                  </a:lnTo>
                  <a:lnTo>
                    <a:pt x="58" y="81"/>
                  </a:lnTo>
                  <a:lnTo>
                    <a:pt x="49" y="85"/>
                  </a:lnTo>
                  <a:lnTo>
                    <a:pt x="45" y="85"/>
                  </a:lnTo>
                  <a:lnTo>
                    <a:pt x="43" y="87"/>
                  </a:lnTo>
                  <a:lnTo>
                    <a:pt x="39" y="89"/>
                  </a:lnTo>
                  <a:lnTo>
                    <a:pt x="39" y="93"/>
                  </a:lnTo>
                  <a:lnTo>
                    <a:pt x="38" y="94"/>
                  </a:lnTo>
                  <a:lnTo>
                    <a:pt x="36" y="93"/>
                  </a:lnTo>
                  <a:lnTo>
                    <a:pt x="36" y="85"/>
                  </a:lnTo>
                  <a:lnTo>
                    <a:pt x="36" y="85"/>
                  </a:lnTo>
                  <a:lnTo>
                    <a:pt x="32" y="81"/>
                  </a:lnTo>
                  <a:lnTo>
                    <a:pt x="30" y="81"/>
                  </a:lnTo>
                  <a:lnTo>
                    <a:pt x="28" y="77"/>
                  </a:lnTo>
                  <a:lnTo>
                    <a:pt x="28" y="76"/>
                  </a:lnTo>
                  <a:lnTo>
                    <a:pt x="28" y="74"/>
                  </a:lnTo>
                  <a:lnTo>
                    <a:pt x="28" y="72"/>
                  </a:lnTo>
                  <a:lnTo>
                    <a:pt x="28" y="68"/>
                  </a:lnTo>
                  <a:lnTo>
                    <a:pt x="24" y="66"/>
                  </a:lnTo>
                  <a:lnTo>
                    <a:pt x="21" y="66"/>
                  </a:lnTo>
                  <a:lnTo>
                    <a:pt x="19" y="66"/>
                  </a:lnTo>
                  <a:lnTo>
                    <a:pt x="15" y="62"/>
                  </a:lnTo>
                  <a:lnTo>
                    <a:pt x="15" y="61"/>
                  </a:lnTo>
                  <a:lnTo>
                    <a:pt x="11" y="57"/>
                  </a:lnTo>
                  <a:lnTo>
                    <a:pt x="13" y="55"/>
                  </a:lnTo>
                  <a:lnTo>
                    <a:pt x="9" y="49"/>
                  </a:lnTo>
                  <a:lnTo>
                    <a:pt x="9" y="47"/>
                  </a:lnTo>
                  <a:lnTo>
                    <a:pt x="11" y="44"/>
                  </a:lnTo>
                  <a:lnTo>
                    <a:pt x="15" y="47"/>
                  </a:lnTo>
                  <a:lnTo>
                    <a:pt x="15" y="44"/>
                  </a:lnTo>
                  <a:lnTo>
                    <a:pt x="13" y="44"/>
                  </a:lnTo>
                  <a:lnTo>
                    <a:pt x="11" y="44"/>
                  </a:lnTo>
                  <a:lnTo>
                    <a:pt x="6" y="38"/>
                  </a:lnTo>
                  <a:lnTo>
                    <a:pt x="4" y="38"/>
                  </a:lnTo>
                  <a:lnTo>
                    <a:pt x="9" y="32"/>
                  </a:lnTo>
                  <a:lnTo>
                    <a:pt x="9" y="27"/>
                  </a:lnTo>
                  <a:lnTo>
                    <a:pt x="7" y="27"/>
                  </a:lnTo>
                  <a:lnTo>
                    <a:pt x="6" y="28"/>
                  </a:lnTo>
                  <a:lnTo>
                    <a:pt x="4" y="27"/>
                  </a:lnTo>
                  <a:lnTo>
                    <a:pt x="4" y="23"/>
                  </a:lnTo>
                  <a:lnTo>
                    <a:pt x="7" y="21"/>
                  </a:lnTo>
                  <a:lnTo>
                    <a:pt x="9" y="21"/>
                  </a:lnTo>
                  <a:lnTo>
                    <a:pt x="9" y="21"/>
                  </a:lnTo>
                  <a:lnTo>
                    <a:pt x="6" y="19"/>
                  </a:lnTo>
                  <a:lnTo>
                    <a:pt x="4" y="19"/>
                  </a:lnTo>
                  <a:lnTo>
                    <a:pt x="2" y="15"/>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8" name="Freeform 89">
              <a:extLst>
                <a:ext uri="{FF2B5EF4-FFF2-40B4-BE49-F238E27FC236}">
                  <a16:creationId xmlns:a16="http://schemas.microsoft.com/office/drawing/2014/main" id="{4A46D63E-78B6-F54E-8025-07838B63CDC5}"/>
                </a:ext>
              </a:extLst>
            </p:cNvPr>
            <p:cNvSpPr>
              <a:spLocks/>
            </p:cNvSpPr>
            <p:nvPr/>
          </p:nvSpPr>
          <p:spPr bwMode="auto">
            <a:xfrm>
              <a:off x="6394931" y="2320942"/>
              <a:ext cx="27306" cy="31447"/>
            </a:xfrm>
            <a:custGeom>
              <a:avLst/>
              <a:gdLst/>
              <a:ahLst/>
              <a:cxnLst>
                <a:cxn ang="0">
                  <a:pos x="17" y="41"/>
                </a:cxn>
                <a:cxn ang="0">
                  <a:pos x="17" y="34"/>
                </a:cxn>
                <a:cxn ang="0">
                  <a:pos x="19" y="30"/>
                </a:cxn>
                <a:cxn ang="0">
                  <a:pos x="25" y="24"/>
                </a:cxn>
                <a:cxn ang="0">
                  <a:pos x="25" y="24"/>
                </a:cxn>
                <a:cxn ang="0">
                  <a:pos x="28" y="30"/>
                </a:cxn>
                <a:cxn ang="0">
                  <a:pos x="28" y="24"/>
                </a:cxn>
                <a:cxn ang="0">
                  <a:pos x="32" y="23"/>
                </a:cxn>
                <a:cxn ang="0">
                  <a:pos x="32" y="19"/>
                </a:cxn>
                <a:cxn ang="0">
                  <a:pos x="32" y="15"/>
                </a:cxn>
                <a:cxn ang="0">
                  <a:pos x="28" y="15"/>
                </a:cxn>
                <a:cxn ang="0">
                  <a:pos x="25" y="13"/>
                </a:cxn>
                <a:cxn ang="0">
                  <a:pos x="23" y="13"/>
                </a:cxn>
                <a:cxn ang="0">
                  <a:pos x="21" y="9"/>
                </a:cxn>
                <a:cxn ang="0">
                  <a:pos x="21" y="8"/>
                </a:cxn>
                <a:cxn ang="0">
                  <a:pos x="15" y="4"/>
                </a:cxn>
                <a:cxn ang="0">
                  <a:pos x="15" y="4"/>
                </a:cxn>
                <a:cxn ang="0">
                  <a:pos x="13" y="2"/>
                </a:cxn>
                <a:cxn ang="0">
                  <a:pos x="8" y="0"/>
                </a:cxn>
                <a:cxn ang="0">
                  <a:pos x="6" y="2"/>
                </a:cxn>
                <a:cxn ang="0">
                  <a:pos x="6" y="4"/>
                </a:cxn>
                <a:cxn ang="0">
                  <a:pos x="10" y="8"/>
                </a:cxn>
                <a:cxn ang="0">
                  <a:pos x="12" y="9"/>
                </a:cxn>
                <a:cxn ang="0">
                  <a:pos x="8" y="9"/>
                </a:cxn>
                <a:cxn ang="0">
                  <a:pos x="6" y="9"/>
                </a:cxn>
                <a:cxn ang="0">
                  <a:pos x="4" y="15"/>
                </a:cxn>
                <a:cxn ang="0">
                  <a:pos x="4" y="19"/>
                </a:cxn>
                <a:cxn ang="0">
                  <a:pos x="4" y="24"/>
                </a:cxn>
                <a:cxn ang="0">
                  <a:pos x="0" y="24"/>
                </a:cxn>
                <a:cxn ang="0">
                  <a:pos x="0" y="28"/>
                </a:cxn>
                <a:cxn ang="0">
                  <a:pos x="4" y="30"/>
                </a:cxn>
                <a:cxn ang="0">
                  <a:pos x="12" y="40"/>
                </a:cxn>
                <a:cxn ang="0">
                  <a:pos x="13" y="40"/>
                </a:cxn>
                <a:cxn ang="0">
                  <a:pos x="17" y="41"/>
                </a:cxn>
                <a:cxn ang="0">
                  <a:pos x="17" y="41"/>
                </a:cxn>
                <a:cxn ang="0">
                  <a:pos x="17" y="41"/>
                </a:cxn>
              </a:cxnLst>
              <a:rect l="0" t="0" r="r" b="b"/>
              <a:pathLst>
                <a:path w="32" h="41">
                  <a:moveTo>
                    <a:pt x="17" y="41"/>
                  </a:moveTo>
                  <a:lnTo>
                    <a:pt x="17" y="34"/>
                  </a:lnTo>
                  <a:lnTo>
                    <a:pt x="19" y="30"/>
                  </a:lnTo>
                  <a:lnTo>
                    <a:pt x="25" y="24"/>
                  </a:lnTo>
                  <a:lnTo>
                    <a:pt x="25" y="24"/>
                  </a:lnTo>
                  <a:lnTo>
                    <a:pt x="28" y="30"/>
                  </a:lnTo>
                  <a:lnTo>
                    <a:pt x="28" y="24"/>
                  </a:lnTo>
                  <a:lnTo>
                    <a:pt x="32" y="23"/>
                  </a:lnTo>
                  <a:lnTo>
                    <a:pt x="32" y="19"/>
                  </a:lnTo>
                  <a:lnTo>
                    <a:pt x="32" y="15"/>
                  </a:lnTo>
                  <a:lnTo>
                    <a:pt x="28" y="15"/>
                  </a:lnTo>
                  <a:lnTo>
                    <a:pt x="25" y="13"/>
                  </a:lnTo>
                  <a:lnTo>
                    <a:pt x="23" y="13"/>
                  </a:lnTo>
                  <a:lnTo>
                    <a:pt x="21" y="9"/>
                  </a:lnTo>
                  <a:lnTo>
                    <a:pt x="21" y="8"/>
                  </a:lnTo>
                  <a:lnTo>
                    <a:pt x="15" y="4"/>
                  </a:lnTo>
                  <a:lnTo>
                    <a:pt x="15" y="4"/>
                  </a:lnTo>
                  <a:lnTo>
                    <a:pt x="13" y="2"/>
                  </a:lnTo>
                  <a:lnTo>
                    <a:pt x="8" y="0"/>
                  </a:lnTo>
                  <a:lnTo>
                    <a:pt x="6" y="2"/>
                  </a:lnTo>
                  <a:lnTo>
                    <a:pt x="6" y="4"/>
                  </a:lnTo>
                  <a:lnTo>
                    <a:pt x="10" y="8"/>
                  </a:lnTo>
                  <a:lnTo>
                    <a:pt x="12" y="9"/>
                  </a:lnTo>
                  <a:lnTo>
                    <a:pt x="8" y="9"/>
                  </a:lnTo>
                  <a:lnTo>
                    <a:pt x="6" y="9"/>
                  </a:lnTo>
                  <a:lnTo>
                    <a:pt x="4" y="15"/>
                  </a:lnTo>
                  <a:lnTo>
                    <a:pt x="4" y="19"/>
                  </a:lnTo>
                  <a:lnTo>
                    <a:pt x="4" y="24"/>
                  </a:lnTo>
                  <a:lnTo>
                    <a:pt x="0" y="24"/>
                  </a:lnTo>
                  <a:lnTo>
                    <a:pt x="0" y="28"/>
                  </a:lnTo>
                  <a:lnTo>
                    <a:pt x="4" y="30"/>
                  </a:lnTo>
                  <a:lnTo>
                    <a:pt x="12" y="40"/>
                  </a:lnTo>
                  <a:lnTo>
                    <a:pt x="13" y="40"/>
                  </a:lnTo>
                  <a:lnTo>
                    <a:pt x="17" y="41"/>
                  </a:lnTo>
                  <a:lnTo>
                    <a:pt x="17" y="41"/>
                  </a:lnTo>
                  <a:lnTo>
                    <a:pt x="17" y="4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9" name="Freeform 90">
              <a:extLst>
                <a:ext uri="{FF2B5EF4-FFF2-40B4-BE49-F238E27FC236}">
                  <a16:creationId xmlns:a16="http://schemas.microsoft.com/office/drawing/2014/main" id="{AFA11356-663B-574F-B00F-DB8003743BB0}"/>
                </a:ext>
              </a:extLst>
            </p:cNvPr>
            <p:cNvSpPr>
              <a:spLocks noEditPoints="1"/>
            </p:cNvSpPr>
            <p:nvPr/>
          </p:nvSpPr>
          <p:spPr bwMode="auto">
            <a:xfrm>
              <a:off x="6319837" y="2276454"/>
              <a:ext cx="85334" cy="60594"/>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 name="Freeform 91">
              <a:extLst>
                <a:ext uri="{FF2B5EF4-FFF2-40B4-BE49-F238E27FC236}">
                  <a16:creationId xmlns:a16="http://schemas.microsoft.com/office/drawing/2014/main" id="{0E8C989E-20E1-4C4D-8DD7-6873F912097A}"/>
                </a:ext>
              </a:extLst>
            </p:cNvPr>
            <p:cNvSpPr>
              <a:spLocks noEditPoints="1"/>
            </p:cNvSpPr>
            <p:nvPr/>
          </p:nvSpPr>
          <p:spPr bwMode="auto">
            <a:xfrm>
              <a:off x="6319837" y="2276454"/>
              <a:ext cx="85334" cy="60594"/>
            </a:xfrm>
            <a:custGeom>
              <a:avLst/>
              <a:gdLst/>
              <a:ahLst/>
              <a:cxnLst>
                <a:cxn ang="0">
                  <a:pos x="98" y="26"/>
                </a:cxn>
                <a:cxn ang="0">
                  <a:pos x="96" y="24"/>
                </a:cxn>
                <a:cxn ang="0">
                  <a:pos x="90" y="13"/>
                </a:cxn>
                <a:cxn ang="0">
                  <a:pos x="79" y="13"/>
                </a:cxn>
                <a:cxn ang="0">
                  <a:pos x="62" y="5"/>
                </a:cxn>
                <a:cxn ang="0">
                  <a:pos x="52" y="0"/>
                </a:cxn>
                <a:cxn ang="0">
                  <a:pos x="32" y="13"/>
                </a:cxn>
                <a:cxn ang="0">
                  <a:pos x="20" y="20"/>
                </a:cxn>
                <a:cxn ang="0">
                  <a:pos x="7" y="22"/>
                </a:cxn>
                <a:cxn ang="0">
                  <a:pos x="2" y="30"/>
                </a:cxn>
                <a:cxn ang="0">
                  <a:pos x="7" y="37"/>
                </a:cxn>
                <a:cxn ang="0">
                  <a:pos x="13" y="22"/>
                </a:cxn>
                <a:cxn ang="0">
                  <a:pos x="22" y="30"/>
                </a:cxn>
                <a:cxn ang="0">
                  <a:pos x="34" y="45"/>
                </a:cxn>
                <a:cxn ang="0">
                  <a:pos x="36" y="49"/>
                </a:cxn>
                <a:cxn ang="0">
                  <a:pos x="32" y="54"/>
                </a:cxn>
                <a:cxn ang="0">
                  <a:pos x="43" y="60"/>
                </a:cxn>
                <a:cxn ang="0">
                  <a:pos x="51" y="66"/>
                </a:cxn>
                <a:cxn ang="0">
                  <a:pos x="71" y="75"/>
                </a:cxn>
                <a:cxn ang="0">
                  <a:pos x="68" y="79"/>
                </a:cxn>
                <a:cxn ang="0">
                  <a:pos x="73" y="75"/>
                </a:cxn>
                <a:cxn ang="0">
                  <a:pos x="45" y="45"/>
                </a:cxn>
                <a:cxn ang="0">
                  <a:pos x="43" y="39"/>
                </a:cxn>
                <a:cxn ang="0">
                  <a:pos x="37" y="32"/>
                </a:cxn>
                <a:cxn ang="0">
                  <a:pos x="41" y="22"/>
                </a:cxn>
                <a:cxn ang="0">
                  <a:pos x="47" y="28"/>
                </a:cxn>
                <a:cxn ang="0">
                  <a:pos x="54" y="26"/>
                </a:cxn>
                <a:cxn ang="0">
                  <a:pos x="60" y="24"/>
                </a:cxn>
                <a:cxn ang="0">
                  <a:pos x="66" y="26"/>
                </a:cxn>
                <a:cxn ang="0">
                  <a:pos x="75" y="26"/>
                </a:cxn>
                <a:cxn ang="0">
                  <a:pos x="86" y="28"/>
                </a:cxn>
                <a:cxn ang="0">
                  <a:pos x="94" y="32"/>
                </a:cxn>
                <a:cxn ang="0">
                  <a:pos x="94" y="32"/>
                </a:cxn>
                <a:cxn ang="0">
                  <a:pos x="62" y="75"/>
                </a:cxn>
                <a:cxn ang="0">
                  <a:pos x="56" y="75"/>
                </a:cxn>
                <a:cxn ang="0">
                  <a:pos x="56" y="75"/>
                </a:cxn>
                <a:cxn ang="0">
                  <a:pos x="58" y="75"/>
                </a:cxn>
                <a:cxn ang="0">
                  <a:pos x="52" y="71"/>
                </a:cxn>
                <a:cxn ang="0">
                  <a:pos x="60" y="67"/>
                </a:cxn>
                <a:cxn ang="0">
                  <a:pos x="54" y="69"/>
                </a:cxn>
                <a:cxn ang="0">
                  <a:pos x="52" y="67"/>
                </a:cxn>
                <a:cxn ang="0">
                  <a:pos x="28" y="45"/>
                </a:cxn>
                <a:cxn ang="0">
                  <a:pos x="26" y="45"/>
                </a:cxn>
                <a:cxn ang="0">
                  <a:pos x="26" y="45"/>
                </a:cxn>
                <a:cxn ang="0">
                  <a:pos x="22" y="41"/>
                </a:cxn>
                <a:cxn ang="0">
                  <a:pos x="22" y="39"/>
                </a:cxn>
                <a:cxn ang="0">
                  <a:pos x="28" y="54"/>
                </a:cxn>
                <a:cxn ang="0">
                  <a:pos x="24" y="49"/>
                </a:cxn>
                <a:cxn ang="0">
                  <a:pos x="19" y="45"/>
                </a:cxn>
                <a:cxn ang="0">
                  <a:pos x="19" y="45"/>
                </a:cxn>
                <a:cxn ang="0">
                  <a:pos x="19" y="45"/>
                </a:cxn>
                <a:cxn ang="0">
                  <a:pos x="19" y="43"/>
                </a:cxn>
                <a:cxn ang="0">
                  <a:pos x="17" y="37"/>
                </a:cxn>
                <a:cxn ang="0">
                  <a:pos x="13" y="33"/>
                </a:cxn>
                <a:cxn ang="0">
                  <a:pos x="20" y="33"/>
                </a:cxn>
                <a:cxn ang="0">
                  <a:pos x="13" y="33"/>
                </a:cxn>
                <a:cxn ang="0">
                  <a:pos x="17" y="26"/>
                </a:cxn>
                <a:cxn ang="0">
                  <a:pos x="17" y="26"/>
                </a:cxn>
              </a:cxnLst>
              <a:rect l="0" t="0" r="r" b="b"/>
              <a:pathLst>
                <a:path w="100" h="79">
                  <a:moveTo>
                    <a:pt x="94" y="32"/>
                  </a:moveTo>
                  <a:lnTo>
                    <a:pt x="94" y="28"/>
                  </a:lnTo>
                  <a:lnTo>
                    <a:pt x="98" y="26"/>
                  </a:lnTo>
                  <a:lnTo>
                    <a:pt x="100" y="26"/>
                  </a:lnTo>
                  <a:lnTo>
                    <a:pt x="100" y="26"/>
                  </a:lnTo>
                  <a:lnTo>
                    <a:pt x="96" y="24"/>
                  </a:lnTo>
                  <a:lnTo>
                    <a:pt x="94" y="22"/>
                  </a:lnTo>
                  <a:lnTo>
                    <a:pt x="92" y="18"/>
                  </a:lnTo>
                  <a:lnTo>
                    <a:pt x="90" y="13"/>
                  </a:lnTo>
                  <a:lnTo>
                    <a:pt x="90" y="13"/>
                  </a:lnTo>
                  <a:lnTo>
                    <a:pt x="86" y="15"/>
                  </a:lnTo>
                  <a:lnTo>
                    <a:pt x="79" y="13"/>
                  </a:lnTo>
                  <a:lnTo>
                    <a:pt x="69" y="13"/>
                  </a:lnTo>
                  <a:lnTo>
                    <a:pt x="66" y="9"/>
                  </a:lnTo>
                  <a:lnTo>
                    <a:pt x="62" y="5"/>
                  </a:lnTo>
                  <a:lnTo>
                    <a:pt x="54" y="0"/>
                  </a:lnTo>
                  <a:lnTo>
                    <a:pt x="52" y="0"/>
                  </a:lnTo>
                  <a:lnTo>
                    <a:pt x="52" y="0"/>
                  </a:lnTo>
                  <a:lnTo>
                    <a:pt x="43" y="0"/>
                  </a:lnTo>
                  <a:lnTo>
                    <a:pt x="34" y="5"/>
                  </a:lnTo>
                  <a:lnTo>
                    <a:pt x="32" y="13"/>
                  </a:lnTo>
                  <a:lnTo>
                    <a:pt x="26" y="13"/>
                  </a:lnTo>
                  <a:lnTo>
                    <a:pt x="24" y="20"/>
                  </a:lnTo>
                  <a:lnTo>
                    <a:pt x="20" y="20"/>
                  </a:lnTo>
                  <a:lnTo>
                    <a:pt x="13" y="18"/>
                  </a:lnTo>
                  <a:lnTo>
                    <a:pt x="11" y="18"/>
                  </a:lnTo>
                  <a:lnTo>
                    <a:pt x="7" y="22"/>
                  </a:lnTo>
                  <a:lnTo>
                    <a:pt x="0" y="22"/>
                  </a:lnTo>
                  <a:lnTo>
                    <a:pt x="0" y="22"/>
                  </a:lnTo>
                  <a:lnTo>
                    <a:pt x="2" y="30"/>
                  </a:lnTo>
                  <a:lnTo>
                    <a:pt x="5" y="35"/>
                  </a:lnTo>
                  <a:lnTo>
                    <a:pt x="5" y="35"/>
                  </a:lnTo>
                  <a:lnTo>
                    <a:pt x="7" y="37"/>
                  </a:lnTo>
                  <a:lnTo>
                    <a:pt x="11" y="30"/>
                  </a:lnTo>
                  <a:lnTo>
                    <a:pt x="13" y="26"/>
                  </a:lnTo>
                  <a:lnTo>
                    <a:pt x="13" y="22"/>
                  </a:lnTo>
                  <a:lnTo>
                    <a:pt x="19" y="22"/>
                  </a:lnTo>
                  <a:lnTo>
                    <a:pt x="19" y="26"/>
                  </a:lnTo>
                  <a:lnTo>
                    <a:pt x="22" y="30"/>
                  </a:lnTo>
                  <a:lnTo>
                    <a:pt x="24" y="35"/>
                  </a:lnTo>
                  <a:lnTo>
                    <a:pt x="26" y="41"/>
                  </a:lnTo>
                  <a:lnTo>
                    <a:pt x="34" y="45"/>
                  </a:lnTo>
                  <a:lnTo>
                    <a:pt x="34" y="45"/>
                  </a:lnTo>
                  <a:lnTo>
                    <a:pt x="37" y="49"/>
                  </a:lnTo>
                  <a:lnTo>
                    <a:pt x="36" y="49"/>
                  </a:lnTo>
                  <a:lnTo>
                    <a:pt x="32" y="49"/>
                  </a:lnTo>
                  <a:lnTo>
                    <a:pt x="30" y="50"/>
                  </a:lnTo>
                  <a:lnTo>
                    <a:pt x="32" y="54"/>
                  </a:lnTo>
                  <a:lnTo>
                    <a:pt x="36" y="54"/>
                  </a:lnTo>
                  <a:lnTo>
                    <a:pt x="41" y="58"/>
                  </a:lnTo>
                  <a:lnTo>
                    <a:pt x="43" y="60"/>
                  </a:lnTo>
                  <a:lnTo>
                    <a:pt x="45" y="64"/>
                  </a:lnTo>
                  <a:lnTo>
                    <a:pt x="47" y="66"/>
                  </a:lnTo>
                  <a:lnTo>
                    <a:pt x="51" y="66"/>
                  </a:lnTo>
                  <a:lnTo>
                    <a:pt x="60" y="66"/>
                  </a:lnTo>
                  <a:lnTo>
                    <a:pt x="62" y="67"/>
                  </a:lnTo>
                  <a:lnTo>
                    <a:pt x="71" y="75"/>
                  </a:lnTo>
                  <a:lnTo>
                    <a:pt x="69" y="79"/>
                  </a:lnTo>
                  <a:lnTo>
                    <a:pt x="66" y="75"/>
                  </a:lnTo>
                  <a:lnTo>
                    <a:pt x="68" y="79"/>
                  </a:lnTo>
                  <a:lnTo>
                    <a:pt x="71" y="79"/>
                  </a:lnTo>
                  <a:lnTo>
                    <a:pt x="71" y="79"/>
                  </a:lnTo>
                  <a:lnTo>
                    <a:pt x="73" y="75"/>
                  </a:lnTo>
                  <a:lnTo>
                    <a:pt x="60" y="60"/>
                  </a:lnTo>
                  <a:lnTo>
                    <a:pt x="45" y="49"/>
                  </a:lnTo>
                  <a:lnTo>
                    <a:pt x="45" y="45"/>
                  </a:lnTo>
                  <a:lnTo>
                    <a:pt x="45" y="45"/>
                  </a:lnTo>
                  <a:lnTo>
                    <a:pt x="43" y="41"/>
                  </a:lnTo>
                  <a:lnTo>
                    <a:pt x="43" y="39"/>
                  </a:lnTo>
                  <a:lnTo>
                    <a:pt x="37" y="33"/>
                  </a:lnTo>
                  <a:lnTo>
                    <a:pt x="37" y="33"/>
                  </a:lnTo>
                  <a:lnTo>
                    <a:pt x="37" y="32"/>
                  </a:lnTo>
                  <a:lnTo>
                    <a:pt x="37" y="30"/>
                  </a:lnTo>
                  <a:lnTo>
                    <a:pt x="37" y="24"/>
                  </a:lnTo>
                  <a:lnTo>
                    <a:pt x="41" y="22"/>
                  </a:lnTo>
                  <a:lnTo>
                    <a:pt x="43" y="26"/>
                  </a:lnTo>
                  <a:lnTo>
                    <a:pt x="45" y="28"/>
                  </a:lnTo>
                  <a:lnTo>
                    <a:pt x="47" y="28"/>
                  </a:lnTo>
                  <a:lnTo>
                    <a:pt x="47" y="26"/>
                  </a:lnTo>
                  <a:lnTo>
                    <a:pt x="51" y="24"/>
                  </a:lnTo>
                  <a:lnTo>
                    <a:pt x="54" y="26"/>
                  </a:lnTo>
                  <a:lnTo>
                    <a:pt x="56" y="22"/>
                  </a:lnTo>
                  <a:lnTo>
                    <a:pt x="58" y="24"/>
                  </a:lnTo>
                  <a:lnTo>
                    <a:pt x="60" y="24"/>
                  </a:lnTo>
                  <a:lnTo>
                    <a:pt x="62" y="24"/>
                  </a:lnTo>
                  <a:lnTo>
                    <a:pt x="66" y="28"/>
                  </a:lnTo>
                  <a:lnTo>
                    <a:pt x="66" y="26"/>
                  </a:lnTo>
                  <a:lnTo>
                    <a:pt x="69" y="26"/>
                  </a:lnTo>
                  <a:lnTo>
                    <a:pt x="73" y="26"/>
                  </a:lnTo>
                  <a:lnTo>
                    <a:pt x="75" y="26"/>
                  </a:lnTo>
                  <a:lnTo>
                    <a:pt x="79" y="26"/>
                  </a:lnTo>
                  <a:lnTo>
                    <a:pt x="81" y="28"/>
                  </a:lnTo>
                  <a:lnTo>
                    <a:pt x="86" y="28"/>
                  </a:lnTo>
                  <a:lnTo>
                    <a:pt x="90" y="32"/>
                  </a:lnTo>
                  <a:lnTo>
                    <a:pt x="94" y="32"/>
                  </a:lnTo>
                  <a:lnTo>
                    <a:pt x="94" y="32"/>
                  </a:lnTo>
                  <a:lnTo>
                    <a:pt x="94" y="32"/>
                  </a:lnTo>
                  <a:lnTo>
                    <a:pt x="94" y="32"/>
                  </a:lnTo>
                  <a:lnTo>
                    <a:pt x="94" y="32"/>
                  </a:lnTo>
                  <a:close/>
                  <a:moveTo>
                    <a:pt x="56" y="75"/>
                  </a:moveTo>
                  <a:lnTo>
                    <a:pt x="56" y="75"/>
                  </a:lnTo>
                  <a:lnTo>
                    <a:pt x="62" y="75"/>
                  </a:lnTo>
                  <a:lnTo>
                    <a:pt x="66" y="79"/>
                  </a:lnTo>
                  <a:lnTo>
                    <a:pt x="60" y="79"/>
                  </a:lnTo>
                  <a:lnTo>
                    <a:pt x="56" y="75"/>
                  </a:lnTo>
                  <a:lnTo>
                    <a:pt x="56" y="75"/>
                  </a:lnTo>
                  <a:lnTo>
                    <a:pt x="56" y="75"/>
                  </a:lnTo>
                  <a:lnTo>
                    <a:pt x="56" y="75"/>
                  </a:lnTo>
                  <a:close/>
                  <a:moveTo>
                    <a:pt x="52" y="71"/>
                  </a:moveTo>
                  <a:lnTo>
                    <a:pt x="62" y="73"/>
                  </a:lnTo>
                  <a:lnTo>
                    <a:pt x="58" y="75"/>
                  </a:lnTo>
                  <a:lnTo>
                    <a:pt x="52" y="71"/>
                  </a:lnTo>
                  <a:lnTo>
                    <a:pt x="52" y="71"/>
                  </a:lnTo>
                  <a:lnTo>
                    <a:pt x="52" y="71"/>
                  </a:lnTo>
                  <a:lnTo>
                    <a:pt x="52" y="71"/>
                  </a:lnTo>
                  <a:close/>
                  <a:moveTo>
                    <a:pt x="52" y="67"/>
                  </a:moveTo>
                  <a:lnTo>
                    <a:pt x="60" y="67"/>
                  </a:lnTo>
                  <a:lnTo>
                    <a:pt x="62" y="69"/>
                  </a:lnTo>
                  <a:lnTo>
                    <a:pt x="58" y="71"/>
                  </a:lnTo>
                  <a:lnTo>
                    <a:pt x="54" y="69"/>
                  </a:lnTo>
                  <a:lnTo>
                    <a:pt x="52" y="67"/>
                  </a:lnTo>
                  <a:lnTo>
                    <a:pt x="52" y="67"/>
                  </a:lnTo>
                  <a:lnTo>
                    <a:pt x="52" y="67"/>
                  </a:lnTo>
                  <a:lnTo>
                    <a:pt x="52" y="67"/>
                  </a:lnTo>
                  <a:close/>
                  <a:moveTo>
                    <a:pt x="26" y="45"/>
                  </a:moveTo>
                  <a:lnTo>
                    <a:pt x="28" y="45"/>
                  </a:lnTo>
                  <a:lnTo>
                    <a:pt x="32" y="49"/>
                  </a:lnTo>
                  <a:lnTo>
                    <a:pt x="30" y="49"/>
                  </a:lnTo>
                  <a:lnTo>
                    <a:pt x="26" y="45"/>
                  </a:lnTo>
                  <a:lnTo>
                    <a:pt x="26" y="45"/>
                  </a:lnTo>
                  <a:lnTo>
                    <a:pt x="26" y="45"/>
                  </a:lnTo>
                  <a:lnTo>
                    <a:pt x="26" y="45"/>
                  </a:lnTo>
                  <a:close/>
                  <a:moveTo>
                    <a:pt x="22" y="39"/>
                  </a:moveTo>
                  <a:lnTo>
                    <a:pt x="26" y="43"/>
                  </a:lnTo>
                  <a:lnTo>
                    <a:pt x="22" y="41"/>
                  </a:lnTo>
                  <a:lnTo>
                    <a:pt x="22" y="39"/>
                  </a:lnTo>
                  <a:lnTo>
                    <a:pt x="22" y="39"/>
                  </a:lnTo>
                  <a:lnTo>
                    <a:pt x="22" y="39"/>
                  </a:lnTo>
                  <a:lnTo>
                    <a:pt x="22" y="39"/>
                  </a:lnTo>
                  <a:close/>
                  <a:moveTo>
                    <a:pt x="24" y="49"/>
                  </a:moveTo>
                  <a:lnTo>
                    <a:pt x="28" y="54"/>
                  </a:lnTo>
                  <a:lnTo>
                    <a:pt x="28" y="56"/>
                  </a:lnTo>
                  <a:lnTo>
                    <a:pt x="24" y="49"/>
                  </a:lnTo>
                  <a:lnTo>
                    <a:pt x="24" y="49"/>
                  </a:lnTo>
                  <a:lnTo>
                    <a:pt x="24" y="49"/>
                  </a:lnTo>
                  <a:lnTo>
                    <a:pt x="24" y="49"/>
                  </a:lnTo>
                  <a:close/>
                  <a:moveTo>
                    <a:pt x="19" y="45"/>
                  </a:moveTo>
                  <a:lnTo>
                    <a:pt x="22" y="45"/>
                  </a:lnTo>
                  <a:lnTo>
                    <a:pt x="22" y="49"/>
                  </a:lnTo>
                  <a:lnTo>
                    <a:pt x="19" y="45"/>
                  </a:lnTo>
                  <a:lnTo>
                    <a:pt x="19" y="45"/>
                  </a:lnTo>
                  <a:lnTo>
                    <a:pt x="19" y="45"/>
                  </a:lnTo>
                  <a:lnTo>
                    <a:pt x="19" y="45"/>
                  </a:lnTo>
                  <a:close/>
                  <a:moveTo>
                    <a:pt x="13" y="33"/>
                  </a:moveTo>
                  <a:lnTo>
                    <a:pt x="17" y="37"/>
                  </a:lnTo>
                  <a:lnTo>
                    <a:pt x="19" y="43"/>
                  </a:lnTo>
                  <a:lnTo>
                    <a:pt x="17" y="43"/>
                  </a:lnTo>
                  <a:lnTo>
                    <a:pt x="13" y="39"/>
                  </a:lnTo>
                  <a:lnTo>
                    <a:pt x="17" y="37"/>
                  </a:lnTo>
                  <a:lnTo>
                    <a:pt x="13" y="33"/>
                  </a:lnTo>
                  <a:lnTo>
                    <a:pt x="13" y="33"/>
                  </a:lnTo>
                  <a:lnTo>
                    <a:pt x="13" y="33"/>
                  </a:lnTo>
                  <a:lnTo>
                    <a:pt x="13" y="33"/>
                  </a:lnTo>
                  <a:close/>
                  <a:moveTo>
                    <a:pt x="17" y="26"/>
                  </a:moveTo>
                  <a:lnTo>
                    <a:pt x="20" y="33"/>
                  </a:lnTo>
                  <a:lnTo>
                    <a:pt x="19" y="35"/>
                  </a:lnTo>
                  <a:lnTo>
                    <a:pt x="17" y="33"/>
                  </a:lnTo>
                  <a:lnTo>
                    <a:pt x="13" y="33"/>
                  </a:lnTo>
                  <a:lnTo>
                    <a:pt x="13" y="28"/>
                  </a:lnTo>
                  <a:lnTo>
                    <a:pt x="13" y="28"/>
                  </a:lnTo>
                  <a:lnTo>
                    <a:pt x="17" y="26"/>
                  </a:lnTo>
                  <a:lnTo>
                    <a:pt x="17" y="26"/>
                  </a:lnTo>
                  <a:lnTo>
                    <a:pt x="17" y="26"/>
                  </a:lnTo>
                  <a:lnTo>
                    <a:pt x="17"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 name="Freeform 92">
              <a:extLst>
                <a:ext uri="{FF2B5EF4-FFF2-40B4-BE49-F238E27FC236}">
                  <a16:creationId xmlns:a16="http://schemas.microsoft.com/office/drawing/2014/main" id="{EE2972FC-1D0F-704D-A3D5-C0CFDBB26198}"/>
                </a:ext>
              </a:extLst>
            </p:cNvPr>
            <p:cNvSpPr>
              <a:spLocks/>
            </p:cNvSpPr>
            <p:nvPr/>
          </p:nvSpPr>
          <p:spPr bwMode="auto">
            <a:xfrm>
              <a:off x="6350556" y="2291796"/>
              <a:ext cx="58880" cy="49089"/>
            </a:xfrm>
            <a:custGeom>
              <a:avLst/>
              <a:gdLst/>
              <a:ahLst/>
              <a:cxnLst>
                <a:cxn ang="0">
                  <a:pos x="37" y="55"/>
                </a:cxn>
                <a:cxn ang="0">
                  <a:pos x="9" y="27"/>
                </a:cxn>
                <a:cxn ang="0">
                  <a:pos x="9" y="21"/>
                </a:cxn>
                <a:cxn ang="0">
                  <a:pos x="7" y="17"/>
                </a:cxn>
                <a:cxn ang="0">
                  <a:pos x="0" y="12"/>
                </a:cxn>
                <a:cxn ang="0">
                  <a:pos x="1" y="8"/>
                </a:cxn>
                <a:cxn ang="0">
                  <a:pos x="3" y="0"/>
                </a:cxn>
                <a:cxn ang="0">
                  <a:pos x="9" y="6"/>
                </a:cxn>
                <a:cxn ang="0">
                  <a:pos x="11" y="2"/>
                </a:cxn>
                <a:cxn ang="0">
                  <a:pos x="18" y="2"/>
                </a:cxn>
                <a:cxn ang="0">
                  <a:pos x="20" y="2"/>
                </a:cxn>
                <a:cxn ang="0">
                  <a:pos x="26" y="2"/>
                </a:cxn>
                <a:cxn ang="0">
                  <a:pos x="30" y="2"/>
                </a:cxn>
                <a:cxn ang="0">
                  <a:pos x="37" y="2"/>
                </a:cxn>
                <a:cxn ang="0">
                  <a:pos x="43" y="2"/>
                </a:cxn>
                <a:cxn ang="0">
                  <a:pos x="50" y="6"/>
                </a:cxn>
                <a:cxn ang="0">
                  <a:pos x="58" y="8"/>
                </a:cxn>
                <a:cxn ang="0">
                  <a:pos x="62" y="8"/>
                </a:cxn>
                <a:cxn ang="0">
                  <a:pos x="64" y="15"/>
                </a:cxn>
                <a:cxn ang="0">
                  <a:pos x="60" y="21"/>
                </a:cxn>
                <a:cxn ang="0">
                  <a:pos x="67" y="27"/>
                </a:cxn>
                <a:cxn ang="0">
                  <a:pos x="69" y="30"/>
                </a:cxn>
                <a:cxn ang="0">
                  <a:pos x="64" y="30"/>
                </a:cxn>
                <a:cxn ang="0">
                  <a:pos x="67" y="40"/>
                </a:cxn>
                <a:cxn ang="0">
                  <a:pos x="64" y="40"/>
                </a:cxn>
                <a:cxn ang="0">
                  <a:pos x="56" y="40"/>
                </a:cxn>
                <a:cxn ang="0">
                  <a:pos x="60" y="46"/>
                </a:cxn>
                <a:cxn ang="0">
                  <a:pos x="58" y="49"/>
                </a:cxn>
                <a:cxn ang="0">
                  <a:pos x="54" y="53"/>
                </a:cxn>
                <a:cxn ang="0">
                  <a:pos x="54" y="62"/>
                </a:cxn>
                <a:cxn ang="0">
                  <a:pos x="45" y="59"/>
                </a:cxn>
                <a:cxn ang="0">
                  <a:pos x="37" y="59"/>
                </a:cxn>
                <a:cxn ang="0">
                  <a:pos x="35" y="57"/>
                </a:cxn>
                <a:cxn ang="0">
                  <a:pos x="35" y="57"/>
                </a:cxn>
              </a:cxnLst>
              <a:rect l="0" t="0" r="r" b="b"/>
              <a:pathLst>
                <a:path w="69" h="64">
                  <a:moveTo>
                    <a:pt x="35" y="57"/>
                  </a:moveTo>
                  <a:lnTo>
                    <a:pt x="37" y="55"/>
                  </a:lnTo>
                  <a:lnTo>
                    <a:pt x="24" y="38"/>
                  </a:lnTo>
                  <a:lnTo>
                    <a:pt x="9" y="27"/>
                  </a:lnTo>
                  <a:lnTo>
                    <a:pt x="9" y="23"/>
                  </a:lnTo>
                  <a:lnTo>
                    <a:pt x="9" y="21"/>
                  </a:lnTo>
                  <a:lnTo>
                    <a:pt x="7" y="17"/>
                  </a:lnTo>
                  <a:lnTo>
                    <a:pt x="7" y="17"/>
                  </a:lnTo>
                  <a:lnTo>
                    <a:pt x="1" y="12"/>
                  </a:lnTo>
                  <a:lnTo>
                    <a:pt x="0" y="12"/>
                  </a:lnTo>
                  <a:lnTo>
                    <a:pt x="0" y="8"/>
                  </a:lnTo>
                  <a:lnTo>
                    <a:pt x="1" y="8"/>
                  </a:lnTo>
                  <a:lnTo>
                    <a:pt x="1" y="2"/>
                  </a:lnTo>
                  <a:lnTo>
                    <a:pt x="3" y="0"/>
                  </a:lnTo>
                  <a:lnTo>
                    <a:pt x="7" y="2"/>
                  </a:lnTo>
                  <a:lnTo>
                    <a:pt x="9" y="6"/>
                  </a:lnTo>
                  <a:lnTo>
                    <a:pt x="11" y="6"/>
                  </a:lnTo>
                  <a:lnTo>
                    <a:pt x="11" y="2"/>
                  </a:lnTo>
                  <a:lnTo>
                    <a:pt x="15" y="2"/>
                  </a:lnTo>
                  <a:lnTo>
                    <a:pt x="18" y="2"/>
                  </a:lnTo>
                  <a:lnTo>
                    <a:pt x="20" y="0"/>
                  </a:lnTo>
                  <a:lnTo>
                    <a:pt x="20" y="2"/>
                  </a:lnTo>
                  <a:lnTo>
                    <a:pt x="24" y="2"/>
                  </a:lnTo>
                  <a:lnTo>
                    <a:pt x="26" y="2"/>
                  </a:lnTo>
                  <a:lnTo>
                    <a:pt x="30" y="6"/>
                  </a:lnTo>
                  <a:lnTo>
                    <a:pt x="30" y="2"/>
                  </a:lnTo>
                  <a:lnTo>
                    <a:pt x="33" y="2"/>
                  </a:lnTo>
                  <a:lnTo>
                    <a:pt x="37" y="2"/>
                  </a:lnTo>
                  <a:lnTo>
                    <a:pt x="39" y="2"/>
                  </a:lnTo>
                  <a:lnTo>
                    <a:pt x="43" y="2"/>
                  </a:lnTo>
                  <a:lnTo>
                    <a:pt x="45" y="6"/>
                  </a:lnTo>
                  <a:lnTo>
                    <a:pt x="50" y="6"/>
                  </a:lnTo>
                  <a:lnTo>
                    <a:pt x="54" y="8"/>
                  </a:lnTo>
                  <a:lnTo>
                    <a:pt x="58" y="8"/>
                  </a:lnTo>
                  <a:lnTo>
                    <a:pt x="60" y="12"/>
                  </a:lnTo>
                  <a:lnTo>
                    <a:pt x="62" y="8"/>
                  </a:lnTo>
                  <a:lnTo>
                    <a:pt x="64" y="8"/>
                  </a:lnTo>
                  <a:lnTo>
                    <a:pt x="64" y="15"/>
                  </a:lnTo>
                  <a:lnTo>
                    <a:pt x="58" y="21"/>
                  </a:lnTo>
                  <a:lnTo>
                    <a:pt x="60" y="21"/>
                  </a:lnTo>
                  <a:lnTo>
                    <a:pt x="65" y="27"/>
                  </a:lnTo>
                  <a:lnTo>
                    <a:pt x="67" y="27"/>
                  </a:lnTo>
                  <a:lnTo>
                    <a:pt x="69" y="29"/>
                  </a:lnTo>
                  <a:lnTo>
                    <a:pt x="69" y="30"/>
                  </a:lnTo>
                  <a:lnTo>
                    <a:pt x="65" y="29"/>
                  </a:lnTo>
                  <a:lnTo>
                    <a:pt x="64" y="30"/>
                  </a:lnTo>
                  <a:lnTo>
                    <a:pt x="64" y="34"/>
                  </a:lnTo>
                  <a:lnTo>
                    <a:pt x="67" y="40"/>
                  </a:lnTo>
                  <a:lnTo>
                    <a:pt x="65" y="42"/>
                  </a:lnTo>
                  <a:lnTo>
                    <a:pt x="64" y="40"/>
                  </a:lnTo>
                  <a:lnTo>
                    <a:pt x="58" y="38"/>
                  </a:lnTo>
                  <a:lnTo>
                    <a:pt x="56" y="40"/>
                  </a:lnTo>
                  <a:lnTo>
                    <a:pt x="56" y="42"/>
                  </a:lnTo>
                  <a:lnTo>
                    <a:pt x="60" y="46"/>
                  </a:lnTo>
                  <a:lnTo>
                    <a:pt x="62" y="47"/>
                  </a:lnTo>
                  <a:lnTo>
                    <a:pt x="58" y="49"/>
                  </a:lnTo>
                  <a:lnTo>
                    <a:pt x="56" y="49"/>
                  </a:lnTo>
                  <a:lnTo>
                    <a:pt x="54" y="53"/>
                  </a:lnTo>
                  <a:lnTo>
                    <a:pt x="54" y="59"/>
                  </a:lnTo>
                  <a:lnTo>
                    <a:pt x="54" y="62"/>
                  </a:lnTo>
                  <a:lnTo>
                    <a:pt x="50" y="64"/>
                  </a:lnTo>
                  <a:lnTo>
                    <a:pt x="45" y="59"/>
                  </a:lnTo>
                  <a:lnTo>
                    <a:pt x="45" y="59"/>
                  </a:lnTo>
                  <a:lnTo>
                    <a:pt x="37" y="59"/>
                  </a:lnTo>
                  <a:lnTo>
                    <a:pt x="35" y="57"/>
                  </a:lnTo>
                  <a:lnTo>
                    <a:pt x="35" y="57"/>
                  </a:lnTo>
                  <a:lnTo>
                    <a:pt x="35" y="57"/>
                  </a:lnTo>
                  <a:lnTo>
                    <a:pt x="35"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 name="Freeform 93">
              <a:extLst>
                <a:ext uri="{FF2B5EF4-FFF2-40B4-BE49-F238E27FC236}">
                  <a16:creationId xmlns:a16="http://schemas.microsoft.com/office/drawing/2014/main" id="{B497D2B0-7F48-C443-A51C-D42EA8E3D5DB}"/>
                </a:ext>
              </a:extLst>
            </p:cNvPr>
            <p:cNvSpPr>
              <a:spLocks/>
            </p:cNvSpPr>
            <p:nvPr/>
          </p:nvSpPr>
          <p:spPr bwMode="auto">
            <a:xfrm>
              <a:off x="6319837" y="2267250"/>
              <a:ext cx="44374" cy="24544"/>
            </a:xfrm>
            <a:custGeom>
              <a:avLst/>
              <a:gdLst/>
              <a:ahLst/>
              <a:cxnLst>
                <a:cxn ang="0">
                  <a:pos x="0" y="32"/>
                </a:cxn>
                <a:cxn ang="0">
                  <a:pos x="7" y="32"/>
                </a:cxn>
                <a:cxn ang="0">
                  <a:pos x="11" y="29"/>
                </a:cxn>
                <a:cxn ang="0">
                  <a:pos x="15" y="27"/>
                </a:cxn>
                <a:cxn ang="0">
                  <a:pos x="22" y="30"/>
                </a:cxn>
                <a:cxn ang="0">
                  <a:pos x="26" y="30"/>
                </a:cxn>
                <a:cxn ang="0">
                  <a:pos x="26" y="23"/>
                </a:cxn>
                <a:cxn ang="0">
                  <a:pos x="32" y="23"/>
                </a:cxn>
                <a:cxn ang="0">
                  <a:pos x="34" y="17"/>
                </a:cxn>
                <a:cxn ang="0">
                  <a:pos x="43" y="10"/>
                </a:cxn>
                <a:cxn ang="0">
                  <a:pos x="52" y="10"/>
                </a:cxn>
                <a:cxn ang="0">
                  <a:pos x="51" y="6"/>
                </a:cxn>
                <a:cxn ang="0">
                  <a:pos x="47" y="0"/>
                </a:cxn>
                <a:cxn ang="0">
                  <a:pos x="41" y="0"/>
                </a:cxn>
                <a:cxn ang="0">
                  <a:pos x="34" y="6"/>
                </a:cxn>
                <a:cxn ang="0">
                  <a:pos x="32" y="6"/>
                </a:cxn>
                <a:cxn ang="0">
                  <a:pos x="30" y="6"/>
                </a:cxn>
                <a:cxn ang="0">
                  <a:pos x="26" y="6"/>
                </a:cxn>
                <a:cxn ang="0">
                  <a:pos x="22" y="6"/>
                </a:cxn>
                <a:cxn ang="0">
                  <a:pos x="19" y="10"/>
                </a:cxn>
                <a:cxn ang="0">
                  <a:pos x="15" y="6"/>
                </a:cxn>
                <a:cxn ang="0">
                  <a:pos x="7" y="6"/>
                </a:cxn>
                <a:cxn ang="0">
                  <a:pos x="4" y="6"/>
                </a:cxn>
                <a:cxn ang="0">
                  <a:pos x="0" y="12"/>
                </a:cxn>
                <a:cxn ang="0">
                  <a:pos x="0" y="13"/>
                </a:cxn>
                <a:cxn ang="0">
                  <a:pos x="0" y="19"/>
                </a:cxn>
                <a:cxn ang="0">
                  <a:pos x="0" y="23"/>
                </a:cxn>
                <a:cxn ang="0">
                  <a:pos x="0" y="23"/>
                </a:cxn>
                <a:cxn ang="0">
                  <a:pos x="4" y="25"/>
                </a:cxn>
                <a:cxn ang="0">
                  <a:pos x="4" y="29"/>
                </a:cxn>
                <a:cxn ang="0">
                  <a:pos x="0" y="29"/>
                </a:cxn>
                <a:cxn ang="0">
                  <a:pos x="0" y="32"/>
                </a:cxn>
                <a:cxn ang="0">
                  <a:pos x="0" y="32"/>
                </a:cxn>
                <a:cxn ang="0">
                  <a:pos x="0" y="32"/>
                </a:cxn>
              </a:cxnLst>
              <a:rect l="0" t="0" r="r" b="b"/>
              <a:pathLst>
                <a:path w="52" h="32">
                  <a:moveTo>
                    <a:pt x="0" y="32"/>
                  </a:moveTo>
                  <a:lnTo>
                    <a:pt x="7" y="32"/>
                  </a:lnTo>
                  <a:lnTo>
                    <a:pt x="11" y="29"/>
                  </a:lnTo>
                  <a:lnTo>
                    <a:pt x="15" y="27"/>
                  </a:lnTo>
                  <a:lnTo>
                    <a:pt x="22" y="30"/>
                  </a:lnTo>
                  <a:lnTo>
                    <a:pt x="26" y="30"/>
                  </a:lnTo>
                  <a:lnTo>
                    <a:pt x="26" y="23"/>
                  </a:lnTo>
                  <a:lnTo>
                    <a:pt x="32" y="23"/>
                  </a:lnTo>
                  <a:lnTo>
                    <a:pt x="34" y="17"/>
                  </a:lnTo>
                  <a:lnTo>
                    <a:pt x="43" y="10"/>
                  </a:lnTo>
                  <a:lnTo>
                    <a:pt x="52" y="10"/>
                  </a:lnTo>
                  <a:lnTo>
                    <a:pt x="51" y="6"/>
                  </a:lnTo>
                  <a:lnTo>
                    <a:pt x="47" y="0"/>
                  </a:lnTo>
                  <a:lnTo>
                    <a:pt x="41" y="0"/>
                  </a:lnTo>
                  <a:lnTo>
                    <a:pt x="34" y="6"/>
                  </a:lnTo>
                  <a:lnTo>
                    <a:pt x="32" y="6"/>
                  </a:lnTo>
                  <a:lnTo>
                    <a:pt x="30" y="6"/>
                  </a:lnTo>
                  <a:lnTo>
                    <a:pt x="26" y="6"/>
                  </a:lnTo>
                  <a:lnTo>
                    <a:pt x="22" y="6"/>
                  </a:lnTo>
                  <a:lnTo>
                    <a:pt x="19" y="10"/>
                  </a:lnTo>
                  <a:lnTo>
                    <a:pt x="15" y="6"/>
                  </a:lnTo>
                  <a:lnTo>
                    <a:pt x="7" y="6"/>
                  </a:lnTo>
                  <a:lnTo>
                    <a:pt x="4" y="6"/>
                  </a:lnTo>
                  <a:lnTo>
                    <a:pt x="0" y="12"/>
                  </a:lnTo>
                  <a:lnTo>
                    <a:pt x="0" y="13"/>
                  </a:lnTo>
                  <a:lnTo>
                    <a:pt x="0" y="19"/>
                  </a:lnTo>
                  <a:lnTo>
                    <a:pt x="0" y="23"/>
                  </a:lnTo>
                  <a:lnTo>
                    <a:pt x="0" y="23"/>
                  </a:lnTo>
                  <a:lnTo>
                    <a:pt x="4" y="25"/>
                  </a:lnTo>
                  <a:lnTo>
                    <a:pt x="4" y="29"/>
                  </a:lnTo>
                  <a:lnTo>
                    <a:pt x="0" y="29"/>
                  </a:lnTo>
                  <a:lnTo>
                    <a:pt x="0" y="32"/>
                  </a:lnTo>
                  <a:lnTo>
                    <a:pt x="0" y="32"/>
                  </a:lnTo>
                  <a:lnTo>
                    <a:pt x="0"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 name="Freeform 94">
              <a:extLst>
                <a:ext uri="{FF2B5EF4-FFF2-40B4-BE49-F238E27FC236}">
                  <a16:creationId xmlns:a16="http://schemas.microsoft.com/office/drawing/2014/main" id="{847B59E7-FDF3-F14C-88AF-BEEE0EE8101F}"/>
                </a:ext>
              </a:extLst>
            </p:cNvPr>
            <p:cNvSpPr>
              <a:spLocks noEditPoints="1"/>
            </p:cNvSpPr>
            <p:nvPr/>
          </p:nvSpPr>
          <p:spPr bwMode="auto">
            <a:xfrm>
              <a:off x="6414557" y="2348553"/>
              <a:ext cx="138241" cy="122722"/>
            </a:xfrm>
            <a:custGeom>
              <a:avLst/>
              <a:gdLst/>
              <a:ahLst/>
              <a:cxnLst>
                <a:cxn ang="0">
                  <a:pos x="94" y="13"/>
                </a:cxn>
                <a:cxn ang="0">
                  <a:pos x="60" y="17"/>
                </a:cxn>
                <a:cxn ang="0">
                  <a:pos x="15" y="41"/>
                </a:cxn>
                <a:cxn ang="0">
                  <a:pos x="28" y="79"/>
                </a:cxn>
                <a:cxn ang="0">
                  <a:pos x="54" y="86"/>
                </a:cxn>
                <a:cxn ang="0">
                  <a:pos x="39" y="88"/>
                </a:cxn>
                <a:cxn ang="0">
                  <a:pos x="39" y="115"/>
                </a:cxn>
                <a:cxn ang="0">
                  <a:pos x="56" y="126"/>
                </a:cxn>
                <a:cxn ang="0">
                  <a:pos x="60" y="105"/>
                </a:cxn>
                <a:cxn ang="0">
                  <a:pos x="69" y="103"/>
                </a:cxn>
                <a:cxn ang="0">
                  <a:pos x="83" y="98"/>
                </a:cxn>
                <a:cxn ang="0">
                  <a:pos x="58" y="75"/>
                </a:cxn>
                <a:cxn ang="0">
                  <a:pos x="64" y="66"/>
                </a:cxn>
                <a:cxn ang="0">
                  <a:pos x="51" y="36"/>
                </a:cxn>
                <a:cxn ang="0">
                  <a:pos x="69" y="43"/>
                </a:cxn>
                <a:cxn ang="0">
                  <a:pos x="79" y="39"/>
                </a:cxn>
                <a:cxn ang="0">
                  <a:pos x="85" y="22"/>
                </a:cxn>
                <a:cxn ang="0">
                  <a:pos x="118" y="19"/>
                </a:cxn>
                <a:cxn ang="0">
                  <a:pos x="79" y="145"/>
                </a:cxn>
                <a:cxn ang="0">
                  <a:pos x="100" y="160"/>
                </a:cxn>
                <a:cxn ang="0">
                  <a:pos x="128" y="150"/>
                </a:cxn>
                <a:cxn ang="0">
                  <a:pos x="107" y="145"/>
                </a:cxn>
                <a:cxn ang="0">
                  <a:pos x="85" y="145"/>
                </a:cxn>
                <a:cxn ang="0">
                  <a:pos x="79" y="145"/>
                </a:cxn>
                <a:cxn ang="0">
                  <a:pos x="0" y="54"/>
                </a:cxn>
                <a:cxn ang="0">
                  <a:pos x="21" y="75"/>
                </a:cxn>
                <a:cxn ang="0">
                  <a:pos x="19" y="79"/>
                </a:cxn>
                <a:cxn ang="0">
                  <a:pos x="19" y="88"/>
                </a:cxn>
                <a:cxn ang="0">
                  <a:pos x="19" y="85"/>
                </a:cxn>
                <a:cxn ang="0">
                  <a:pos x="26" y="98"/>
                </a:cxn>
                <a:cxn ang="0">
                  <a:pos x="143" y="139"/>
                </a:cxn>
                <a:cxn ang="0">
                  <a:pos x="143" y="149"/>
                </a:cxn>
                <a:cxn ang="0">
                  <a:pos x="162" y="124"/>
                </a:cxn>
                <a:cxn ang="0">
                  <a:pos x="152" y="137"/>
                </a:cxn>
                <a:cxn ang="0">
                  <a:pos x="128" y="124"/>
                </a:cxn>
                <a:cxn ang="0">
                  <a:pos x="135" y="100"/>
                </a:cxn>
                <a:cxn ang="0">
                  <a:pos x="128" y="98"/>
                </a:cxn>
                <a:cxn ang="0">
                  <a:pos x="115" y="79"/>
                </a:cxn>
                <a:cxn ang="0">
                  <a:pos x="118" y="62"/>
                </a:cxn>
                <a:cxn ang="0">
                  <a:pos x="118" y="66"/>
                </a:cxn>
                <a:cxn ang="0">
                  <a:pos x="115" y="66"/>
                </a:cxn>
                <a:cxn ang="0">
                  <a:pos x="105" y="34"/>
                </a:cxn>
                <a:cxn ang="0">
                  <a:pos x="98" y="47"/>
                </a:cxn>
                <a:cxn ang="0">
                  <a:pos x="90" y="30"/>
                </a:cxn>
                <a:cxn ang="0">
                  <a:pos x="75" y="66"/>
                </a:cxn>
                <a:cxn ang="0">
                  <a:pos x="68" y="66"/>
                </a:cxn>
                <a:cxn ang="0">
                  <a:pos x="92" y="71"/>
                </a:cxn>
                <a:cxn ang="0">
                  <a:pos x="122" y="103"/>
                </a:cxn>
                <a:cxn ang="0">
                  <a:pos x="88" y="124"/>
                </a:cxn>
                <a:cxn ang="0">
                  <a:pos x="90" y="111"/>
                </a:cxn>
                <a:cxn ang="0">
                  <a:pos x="88" y="105"/>
                </a:cxn>
                <a:cxn ang="0">
                  <a:pos x="103" y="111"/>
                </a:cxn>
                <a:cxn ang="0">
                  <a:pos x="113" y="111"/>
                </a:cxn>
                <a:cxn ang="0">
                  <a:pos x="109" y="105"/>
                </a:cxn>
                <a:cxn ang="0">
                  <a:pos x="103" y="101"/>
                </a:cxn>
                <a:cxn ang="0">
                  <a:pos x="94" y="96"/>
                </a:cxn>
                <a:cxn ang="0">
                  <a:pos x="77" y="75"/>
                </a:cxn>
                <a:cxn ang="0">
                  <a:pos x="88" y="90"/>
                </a:cxn>
                <a:cxn ang="0">
                  <a:pos x="79" y="81"/>
                </a:cxn>
                <a:cxn ang="0">
                  <a:pos x="60" y="71"/>
                </a:cxn>
                <a:cxn ang="0">
                  <a:pos x="66" y="132"/>
                </a:cxn>
                <a:cxn ang="0">
                  <a:pos x="66" y="124"/>
                </a:cxn>
              </a:cxnLst>
              <a:rect l="0" t="0" r="r" b="b"/>
              <a:pathLst>
                <a:path w="162" h="160">
                  <a:moveTo>
                    <a:pt x="120" y="0"/>
                  </a:moveTo>
                  <a:lnTo>
                    <a:pt x="118" y="0"/>
                  </a:lnTo>
                  <a:lnTo>
                    <a:pt x="115" y="4"/>
                  </a:lnTo>
                  <a:lnTo>
                    <a:pt x="115" y="7"/>
                  </a:lnTo>
                  <a:lnTo>
                    <a:pt x="115" y="11"/>
                  </a:lnTo>
                  <a:lnTo>
                    <a:pt x="115" y="13"/>
                  </a:lnTo>
                  <a:lnTo>
                    <a:pt x="105" y="13"/>
                  </a:lnTo>
                  <a:lnTo>
                    <a:pt x="101" y="15"/>
                  </a:lnTo>
                  <a:lnTo>
                    <a:pt x="98" y="13"/>
                  </a:lnTo>
                  <a:lnTo>
                    <a:pt x="94" y="13"/>
                  </a:lnTo>
                  <a:lnTo>
                    <a:pt x="92" y="15"/>
                  </a:lnTo>
                  <a:lnTo>
                    <a:pt x="88" y="15"/>
                  </a:lnTo>
                  <a:lnTo>
                    <a:pt x="88" y="11"/>
                  </a:lnTo>
                  <a:lnTo>
                    <a:pt x="83" y="11"/>
                  </a:lnTo>
                  <a:lnTo>
                    <a:pt x="79" y="11"/>
                  </a:lnTo>
                  <a:lnTo>
                    <a:pt x="77" y="15"/>
                  </a:lnTo>
                  <a:lnTo>
                    <a:pt x="69" y="15"/>
                  </a:lnTo>
                  <a:lnTo>
                    <a:pt x="66" y="15"/>
                  </a:lnTo>
                  <a:lnTo>
                    <a:pt x="62" y="15"/>
                  </a:lnTo>
                  <a:lnTo>
                    <a:pt x="60" y="17"/>
                  </a:lnTo>
                  <a:lnTo>
                    <a:pt x="56" y="17"/>
                  </a:lnTo>
                  <a:lnTo>
                    <a:pt x="53" y="19"/>
                  </a:lnTo>
                  <a:lnTo>
                    <a:pt x="43" y="19"/>
                  </a:lnTo>
                  <a:lnTo>
                    <a:pt x="39" y="20"/>
                  </a:lnTo>
                  <a:lnTo>
                    <a:pt x="39" y="22"/>
                  </a:lnTo>
                  <a:lnTo>
                    <a:pt x="34" y="24"/>
                  </a:lnTo>
                  <a:lnTo>
                    <a:pt x="26" y="30"/>
                  </a:lnTo>
                  <a:lnTo>
                    <a:pt x="26" y="36"/>
                  </a:lnTo>
                  <a:lnTo>
                    <a:pt x="22" y="39"/>
                  </a:lnTo>
                  <a:lnTo>
                    <a:pt x="15" y="41"/>
                  </a:lnTo>
                  <a:lnTo>
                    <a:pt x="15" y="47"/>
                  </a:lnTo>
                  <a:lnTo>
                    <a:pt x="13" y="53"/>
                  </a:lnTo>
                  <a:lnTo>
                    <a:pt x="9" y="53"/>
                  </a:lnTo>
                  <a:lnTo>
                    <a:pt x="9" y="54"/>
                  </a:lnTo>
                  <a:lnTo>
                    <a:pt x="9" y="60"/>
                  </a:lnTo>
                  <a:lnTo>
                    <a:pt x="17" y="64"/>
                  </a:lnTo>
                  <a:lnTo>
                    <a:pt x="21" y="69"/>
                  </a:lnTo>
                  <a:lnTo>
                    <a:pt x="22" y="69"/>
                  </a:lnTo>
                  <a:lnTo>
                    <a:pt x="22" y="71"/>
                  </a:lnTo>
                  <a:lnTo>
                    <a:pt x="28" y="79"/>
                  </a:lnTo>
                  <a:lnTo>
                    <a:pt x="30" y="85"/>
                  </a:lnTo>
                  <a:lnTo>
                    <a:pt x="32" y="85"/>
                  </a:lnTo>
                  <a:lnTo>
                    <a:pt x="36" y="81"/>
                  </a:lnTo>
                  <a:lnTo>
                    <a:pt x="37" y="85"/>
                  </a:lnTo>
                  <a:lnTo>
                    <a:pt x="43" y="85"/>
                  </a:lnTo>
                  <a:lnTo>
                    <a:pt x="43" y="85"/>
                  </a:lnTo>
                  <a:lnTo>
                    <a:pt x="49" y="85"/>
                  </a:lnTo>
                  <a:lnTo>
                    <a:pt x="51" y="86"/>
                  </a:lnTo>
                  <a:lnTo>
                    <a:pt x="54" y="85"/>
                  </a:lnTo>
                  <a:lnTo>
                    <a:pt x="54" y="86"/>
                  </a:lnTo>
                  <a:lnTo>
                    <a:pt x="58" y="86"/>
                  </a:lnTo>
                  <a:lnTo>
                    <a:pt x="60" y="88"/>
                  </a:lnTo>
                  <a:lnTo>
                    <a:pt x="64" y="88"/>
                  </a:lnTo>
                  <a:lnTo>
                    <a:pt x="60" y="90"/>
                  </a:lnTo>
                  <a:lnTo>
                    <a:pt x="58" y="94"/>
                  </a:lnTo>
                  <a:lnTo>
                    <a:pt x="56" y="92"/>
                  </a:lnTo>
                  <a:lnTo>
                    <a:pt x="53" y="90"/>
                  </a:lnTo>
                  <a:lnTo>
                    <a:pt x="45" y="85"/>
                  </a:lnTo>
                  <a:lnTo>
                    <a:pt x="43" y="86"/>
                  </a:lnTo>
                  <a:lnTo>
                    <a:pt x="39" y="88"/>
                  </a:lnTo>
                  <a:lnTo>
                    <a:pt x="36" y="86"/>
                  </a:lnTo>
                  <a:lnTo>
                    <a:pt x="34" y="90"/>
                  </a:lnTo>
                  <a:lnTo>
                    <a:pt x="32" y="92"/>
                  </a:lnTo>
                  <a:lnTo>
                    <a:pt x="30" y="94"/>
                  </a:lnTo>
                  <a:lnTo>
                    <a:pt x="34" y="100"/>
                  </a:lnTo>
                  <a:lnTo>
                    <a:pt x="37" y="101"/>
                  </a:lnTo>
                  <a:lnTo>
                    <a:pt x="43" y="105"/>
                  </a:lnTo>
                  <a:lnTo>
                    <a:pt x="43" y="109"/>
                  </a:lnTo>
                  <a:lnTo>
                    <a:pt x="39" y="111"/>
                  </a:lnTo>
                  <a:lnTo>
                    <a:pt x="39" y="115"/>
                  </a:lnTo>
                  <a:lnTo>
                    <a:pt x="43" y="117"/>
                  </a:lnTo>
                  <a:lnTo>
                    <a:pt x="45" y="118"/>
                  </a:lnTo>
                  <a:lnTo>
                    <a:pt x="49" y="117"/>
                  </a:lnTo>
                  <a:lnTo>
                    <a:pt x="45" y="115"/>
                  </a:lnTo>
                  <a:lnTo>
                    <a:pt x="49" y="111"/>
                  </a:lnTo>
                  <a:lnTo>
                    <a:pt x="49" y="117"/>
                  </a:lnTo>
                  <a:lnTo>
                    <a:pt x="54" y="118"/>
                  </a:lnTo>
                  <a:lnTo>
                    <a:pt x="54" y="120"/>
                  </a:lnTo>
                  <a:lnTo>
                    <a:pt x="54" y="124"/>
                  </a:lnTo>
                  <a:lnTo>
                    <a:pt x="56" y="126"/>
                  </a:lnTo>
                  <a:lnTo>
                    <a:pt x="56" y="120"/>
                  </a:lnTo>
                  <a:lnTo>
                    <a:pt x="58" y="117"/>
                  </a:lnTo>
                  <a:lnTo>
                    <a:pt x="62" y="117"/>
                  </a:lnTo>
                  <a:lnTo>
                    <a:pt x="64" y="120"/>
                  </a:lnTo>
                  <a:lnTo>
                    <a:pt x="69" y="124"/>
                  </a:lnTo>
                  <a:lnTo>
                    <a:pt x="66" y="120"/>
                  </a:lnTo>
                  <a:lnTo>
                    <a:pt x="68" y="117"/>
                  </a:lnTo>
                  <a:lnTo>
                    <a:pt x="66" y="115"/>
                  </a:lnTo>
                  <a:lnTo>
                    <a:pt x="62" y="109"/>
                  </a:lnTo>
                  <a:lnTo>
                    <a:pt x="60" y="105"/>
                  </a:lnTo>
                  <a:lnTo>
                    <a:pt x="60" y="103"/>
                  </a:lnTo>
                  <a:lnTo>
                    <a:pt x="62" y="103"/>
                  </a:lnTo>
                  <a:lnTo>
                    <a:pt x="68" y="105"/>
                  </a:lnTo>
                  <a:lnTo>
                    <a:pt x="66" y="105"/>
                  </a:lnTo>
                  <a:lnTo>
                    <a:pt x="68" y="109"/>
                  </a:lnTo>
                  <a:lnTo>
                    <a:pt x="69" y="105"/>
                  </a:lnTo>
                  <a:lnTo>
                    <a:pt x="73" y="105"/>
                  </a:lnTo>
                  <a:lnTo>
                    <a:pt x="73" y="105"/>
                  </a:lnTo>
                  <a:lnTo>
                    <a:pt x="69" y="105"/>
                  </a:lnTo>
                  <a:lnTo>
                    <a:pt x="69" y="103"/>
                  </a:lnTo>
                  <a:lnTo>
                    <a:pt x="69" y="103"/>
                  </a:lnTo>
                  <a:lnTo>
                    <a:pt x="68" y="101"/>
                  </a:lnTo>
                  <a:lnTo>
                    <a:pt x="68" y="100"/>
                  </a:lnTo>
                  <a:lnTo>
                    <a:pt x="64" y="96"/>
                  </a:lnTo>
                  <a:lnTo>
                    <a:pt x="68" y="94"/>
                  </a:lnTo>
                  <a:lnTo>
                    <a:pt x="69" y="94"/>
                  </a:lnTo>
                  <a:lnTo>
                    <a:pt x="73" y="92"/>
                  </a:lnTo>
                  <a:lnTo>
                    <a:pt x="77" y="96"/>
                  </a:lnTo>
                  <a:lnTo>
                    <a:pt x="79" y="98"/>
                  </a:lnTo>
                  <a:lnTo>
                    <a:pt x="83" y="98"/>
                  </a:lnTo>
                  <a:lnTo>
                    <a:pt x="83" y="96"/>
                  </a:lnTo>
                  <a:lnTo>
                    <a:pt x="79" y="92"/>
                  </a:lnTo>
                  <a:lnTo>
                    <a:pt x="79" y="86"/>
                  </a:lnTo>
                  <a:lnTo>
                    <a:pt x="79" y="85"/>
                  </a:lnTo>
                  <a:lnTo>
                    <a:pt x="69" y="79"/>
                  </a:lnTo>
                  <a:lnTo>
                    <a:pt x="68" y="79"/>
                  </a:lnTo>
                  <a:lnTo>
                    <a:pt x="66" y="75"/>
                  </a:lnTo>
                  <a:lnTo>
                    <a:pt x="64" y="79"/>
                  </a:lnTo>
                  <a:lnTo>
                    <a:pt x="62" y="75"/>
                  </a:lnTo>
                  <a:lnTo>
                    <a:pt x="58" y="75"/>
                  </a:lnTo>
                  <a:lnTo>
                    <a:pt x="54" y="69"/>
                  </a:lnTo>
                  <a:lnTo>
                    <a:pt x="58" y="69"/>
                  </a:lnTo>
                  <a:lnTo>
                    <a:pt x="60" y="69"/>
                  </a:lnTo>
                  <a:lnTo>
                    <a:pt x="60" y="66"/>
                  </a:lnTo>
                  <a:lnTo>
                    <a:pt x="56" y="66"/>
                  </a:lnTo>
                  <a:lnTo>
                    <a:pt x="58" y="62"/>
                  </a:lnTo>
                  <a:lnTo>
                    <a:pt x="58" y="60"/>
                  </a:lnTo>
                  <a:lnTo>
                    <a:pt x="62" y="62"/>
                  </a:lnTo>
                  <a:lnTo>
                    <a:pt x="64" y="64"/>
                  </a:lnTo>
                  <a:lnTo>
                    <a:pt x="64" y="66"/>
                  </a:lnTo>
                  <a:lnTo>
                    <a:pt x="64" y="66"/>
                  </a:lnTo>
                  <a:lnTo>
                    <a:pt x="66" y="66"/>
                  </a:lnTo>
                  <a:lnTo>
                    <a:pt x="68" y="62"/>
                  </a:lnTo>
                  <a:lnTo>
                    <a:pt x="64" y="60"/>
                  </a:lnTo>
                  <a:lnTo>
                    <a:pt x="58" y="53"/>
                  </a:lnTo>
                  <a:lnTo>
                    <a:pt x="56" y="51"/>
                  </a:lnTo>
                  <a:lnTo>
                    <a:pt x="54" y="47"/>
                  </a:lnTo>
                  <a:lnTo>
                    <a:pt x="51" y="43"/>
                  </a:lnTo>
                  <a:lnTo>
                    <a:pt x="53" y="41"/>
                  </a:lnTo>
                  <a:lnTo>
                    <a:pt x="51" y="36"/>
                  </a:lnTo>
                  <a:lnTo>
                    <a:pt x="54" y="30"/>
                  </a:lnTo>
                  <a:lnTo>
                    <a:pt x="58" y="30"/>
                  </a:lnTo>
                  <a:lnTo>
                    <a:pt x="60" y="36"/>
                  </a:lnTo>
                  <a:lnTo>
                    <a:pt x="56" y="36"/>
                  </a:lnTo>
                  <a:lnTo>
                    <a:pt x="58" y="36"/>
                  </a:lnTo>
                  <a:lnTo>
                    <a:pt x="64" y="39"/>
                  </a:lnTo>
                  <a:lnTo>
                    <a:pt x="64" y="43"/>
                  </a:lnTo>
                  <a:lnTo>
                    <a:pt x="68" y="45"/>
                  </a:lnTo>
                  <a:lnTo>
                    <a:pt x="73" y="45"/>
                  </a:lnTo>
                  <a:lnTo>
                    <a:pt x="69" y="43"/>
                  </a:lnTo>
                  <a:lnTo>
                    <a:pt x="68" y="41"/>
                  </a:lnTo>
                  <a:lnTo>
                    <a:pt x="68" y="39"/>
                  </a:lnTo>
                  <a:lnTo>
                    <a:pt x="73" y="39"/>
                  </a:lnTo>
                  <a:lnTo>
                    <a:pt x="75" y="43"/>
                  </a:lnTo>
                  <a:lnTo>
                    <a:pt x="79" y="45"/>
                  </a:lnTo>
                  <a:lnTo>
                    <a:pt x="79" y="41"/>
                  </a:lnTo>
                  <a:lnTo>
                    <a:pt x="77" y="39"/>
                  </a:lnTo>
                  <a:lnTo>
                    <a:pt x="73" y="39"/>
                  </a:lnTo>
                  <a:lnTo>
                    <a:pt x="75" y="36"/>
                  </a:lnTo>
                  <a:lnTo>
                    <a:pt x="79" y="39"/>
                  </a:lnTo>
                  <a:lnTo>
                    <a:pt x="83" y="39"/>
                  </a:lnTo>
                  <a:lnTo>
                    <a:pt x="83" y="39"/>
                  </a:lnTo>
                  <a:lnTo>
                    <a:pt x="79" y="36"/>
                  </a:lnTo>
                  <a:lnTo>
                    <a:pt x="77" y="36"/>
                  </a:lnTo>
                  <a:lnTo>
                    <a:pt x="73" y="30"/>
                  </a:lnTo>
                  <a:lnTo>
                    <a:pt x="75" y="26"/>
                  </a:lnTo>
                  <a:lnTo>
                    <a:pt x="79" y="30"/>
                  </a:lnTo>
                  <a:lnTo>
                    <a:pt x="83" y="26"/>
                  </a:lnTo>
                  <a:lnTo>
                    <a:pt x="83" y="22"/>
                  </a:lnTo>
                  <a:lnTo>
                    <a:pt x="85" y="22"/>
                  </a:lnTo>
                  <a:lnTo>
                    <a:pt x="88" y="26"/>
                  </a:lnTo>
                  <a:lnTo>
                    <a:pt x="92" y="26"/>
                  </a:lnTo>
                  <a:lnTo>
                    <a:pt x="96" y="22"/>
                  </a:lnTo>
                  <a:lnTo>
                    <a:pt x="96" y="20"/>
                  </a:lnTo>
                  <a:lnTo>
                    <a:pt x="98" y="20"/>
                  </a:lnTo>
                  <a:lnTo>
                    <a:pt x="100" y="22"/>
                  </a:lnTo>
                  <a:lnTo>
                    <a:pt x="109" y="22"/>
                  </a:lnTo>
                  <a:lnTo>
                    <a:pt x="115" y="24"/>
                  </a:lnTo>
                  <a:lnTo>
                    <a:pt x="118" y="24"/>
                  </a:lnTo>
                  <a:lnTo>
                    <a:pt x="118" y="19"/>
                  </a:lnTo>
                  <a:lnTo>
                    <a:pt x="118" y="15"/>
                  </a:lnTo>
                  <a:lnTo>
                    <a:pt x="124" y="11"/>
                  </a:lnTo>
                  <a:lnTo>
                    <a:pt x="124" y="7"/>
                  </a:lnTo>
                  <a:lnTo>
                    <a:pt x="120" y="5"/>
                  </a:lnTo>
                  <a:lnTo>
                    <a:pt x="120" y="0"/>
                  </a:lnTo>
                  <a:lnTo>
                    <a:pt x="120" y="0"/>
                  </a:lnTo>
                  <a:lnTo>
                    <a:pt x="120" y="0"/>
                  </a:lnTo>
                  <a:lnTo>
                    <a:pt x="120" y="0"/>
                  </a:lnTo>
                  <a:close/>
                  <a:moveTo>
                    <a:pt x="79" y="145"/>
                  </a:moveTo>
                  <a:lnTo>
                    <a:pt x="79" y="145"/>
                  </a:lnTo>
                  <a:lnTo>
                    <a:pt x="79" y="145"/>
                  </a:lnTo>
                  <a:lnTo>
                    <a:pt x="77" y="150"/>
                  </a:lnTo>
                  <a:lnTo>
                    <a:pt x="79" y="150"/>
                  </a:lnTo>
                  <a:lnTo>
                    <a:pt x="79" y="154"/>
                  </a:lnTo>
                  <a:lnTo>
                    <a:pt x="88" y="154"/>
                  </a:lnTo>
                  <a:lnTo>
                    <a:pt x="88" y="154"/>
                  </a:lnTo>
                  <a:lnTo>
                    <a:pt x="90" y="150"/>
                  </a:lnTo>
                  <a:lnTo>
                    <a:pt x="94" y="154"/>
                  </a:lnTo>
                  <a:lnTo>
                    <a:pt x="100" y="154"/>
                  </a:lnTo>
                  <a:lnTo>
                    <a:pt x="100" y="160"/>
                  </a:lnTo>
                  <a:lnTo>
                    <a:pt x="105" y="160"/>
                  </a:lnTo>
                  <a:lnTo>
                    <a:pt x="109" y="154"/>
                  </a:lnTo>
                  <a:lnTo>
                    <a:pt x="113" y="154"/>
                  </a:lnTo>
                  <a:lnTo>
                    <a:pt x="118" y="154"/>
                  </a:lnTo>
                  <a:lnTo>
                    <a:pt x="124" y="154"/>
                  </a:lnTo>
                  <a:lnTo>
                    <a:pt x="128" y="154"/>
                  </a:lnTo>
                  <a:lnTo>
                    <a:pt x="128" y="150"/>
                  </a:lnTo>
                  <a:lnTo>
                    <a:pt x="128" y="150"/>
                  </a:lnTo>
                  <a:lnTo>
                    <a:pt x="128" y="149"/>
                  </a:lnTo>
                  <a:lnTo>
                    <a:pt x="128" y="150"/>
                  </a:lnTo>
                  <a:lnTo>
                    <a:pt x="128" y="150"/>
                  </a:lnTo>
                  <a:lnTo>
                    <a:pt x="124" y="154"/>
                  </a:lnTo>
                  <a:lnTo>
                    <a:pt x="122" y="150"/>
                  </a:lnTo>
                  <a:lnTo>
                    <a:pt x="120" y="150"/>
                  </a:lnTo>
                  <a:lnTo>
                    <a:pt x="118" y="150"/>
                  </a:lnTo>
                  <a:lnTo>
                    <a:pt x="118" y="150"/>
                  </a:lnTo>
                  <a:lnTo>
                    <a:pt x="118" y="149"/>
                  </a:lnTo>
                  <a:lnTo>
                    <a:pt x="115" y="149"/>
                  </a:lnTo>
                  <a:lnTo>
                    <a:pt x="109" y="145"/>
                  </a:lnTo>
                  <a:lnTo>
                    <a:pt x="107" y="145"/>
                  </a:lnTo>
                  <a:lnTo>
                    <a:pt x="101" y="145"/>
                  </a:lnTo>
                  <a:lnTo>
                    <a:pt x="98" y="149"/>
                  </a:lnTo>
                  <a:lnTo>
                    <a:pt x="94" y="150"/>
                  </a:lnTo>
                  <a:lnTo>
                    <a:pt x="90" y="149"/>
                  </a:lnTo>
                  <a:lnTo>
                    <a:pt x="88" y="145"/>
                  </a:lnTo>
                  <a:lnTo>
                    <a:pt x="88" y="145"/>
                  </a:lnTo>
                  <a:lnTo>
                    <a:pt x="88" y="145"/>
                  </a:lnTo>
                  <a:lnTo>
                    <a:pt x="88" y="141"/>
                  </a:lnTo>
                  <a:lnTo>
                    <a:pt x="85" y="141"/>
                  </a:lnTo>
                  <a:lnTo>
                    <a:pt x="85" y="145"/>
                  </a:lnTo>
                  <a:lnTo>
                    <a:pt x="88" y="145"/>
                  </a:lnTo>
                  <a:lnTo>
                    <a:pt x="85" y="145"/>
                  </a:lnTo>
                  <a:lnTo>
                    <a:pt x="83" y="145"/>
                  </a:lnTo>
                  <a:lnTo>
                    <a:pt x="83" y="141"/>
                  </a:lnTo>
                  <a:lnTo>
                    <a:pt x="79" y="141"/>
                  </a:lnTo>
                  <a:lnTo>
                    <a:pt x="79" y="145"/>
                  </a:lnTo>
                  <a:lnTo>
                    <a:pt x="83" y="145"/>
                  </a:lnTo>
                  <a:lnTo>
                    <a:pt x="79" y="145"/>
                  </a:lnTo>
                  <a:lnTo>
                    <a:pt x="79" y="145"/>
                  </a:lnTo>
                  <a:lnTo>
                    <a:pt x="79" y="145"/>
                  </a:lnTo>
                  <a:lnTo>
                    <a:pt x="79" y="145"/>
                  </a:lnTo>
                  <a:close/>
                  <a:moveTo>
                    <a:pt x="4" y="51"/>
                  </a:moveTo>
                  <a:lnTo>
                    <a:pt x="4" y="54"/>
                  </a:lnTo>
                  <a:lnTo>
                    <a:pt x="7" y="58"/>
                  </a:lnTo>
                  <a:lnTo>
                    <a:pt x="9" y="58"/>
                  </a:lnTo>
                  <a:lnTo>
                    <a:pt x="9" y="60"/>
                  </a:lnTo>
                  <a:lnTo>
                    <a:pt x="9" y="60"/>
                  </a:lnTo>
                  <a:lnTo>
                    <a:pt x="4" y="60"/>
                  </a:lnTo>
                  <a:lnTo>
                    <a:pt x="4" y="56"/>
                  </a:lnTo>
                  <a:lnTo>
                    <a:pt x="0" y="54"/>
                  </a:lnTo>
                  <a:lnTo>
                    <a:pt x="0" y="54"/>
                  </a:lnTo>
                  <a:lnTo>
                    <a:pt x="0" y="53"/>
                  </a:lnTo>
                  <a:lnTo>
                    <a:pt x="4" y="51"/>
                  </a:lnTo>
                  <a:lnTo>
                    <a:pt x="4" y="51"/>
                  </a:lnTo>
                  <a:lnTo>
                    <a:pt x="4" y="51"/>
                  </a:lnTo>
                  <a:lnTo>
                    <a:pt x="4" y="51"/>
                  </a:lnTo>
                  <a:lnTo>
                    <a:pt x="4" y="51"/>
                  </a:lnTo>
                  <a:close/>
                  <a:moveTo>
                    <a:pt x="19" y="79"/>
                  </a:moveTo>
                  <a:lnTo>
                    <a:pt x="19" y="79"/>
                  </a:lnTo>
                  <a:lnTo>
                    <a:pt x="21" y="75"/>
                  </a:lnTo>
                  <a:lnTo>
                    <a:pt x="22" y="75"/>
                  </a:lnTo>
                  <a:lnTo>
                    <a:pt x="22" y="79"/>
                  </a:lnTo>
                  <a:lnTo>
                    <a:pt x="21" y="79"/>
                  </a:lnTo>
                  <a:lnTo>
                    <a:pt x="21" y="79"/>
                  </a:lnTo>
                  <a:lnTo>
                    <a:pt x="19" y="79"/>
                  </a:lnTo>
                  <a:lnTo>
                    <a:pt x="19" y="79"/>
                  </a:lnTo>
                  <a:lnTo>
                    <a:pt x="19" y="79"/>
                  </a:lnTo>
                  <a:lnTo>
                    <a:pt x="19" y="79"/>
                  </a:lnTo>
                  <a:close/>
                  <a:moveTo>
                    <a:pt x="19" y="85"/>
                  </a:moveTo>
                  <a:lnTo>
                    <a:pt x="19" y="79"/>
                  </a:lnTo>
                  <a:lnTo>
                    <a:pt x="21" y="81"/>
                  </a:lnTo>
                  <a:lnTo>
                    <a:pt x="22" y="85"/>
                  </a:lnTo>
                  <a:lnTo>
                    <a:pt x="22" y="86"/>
                  </a:lnTo>
                  <a:lnTo>
                    <a:pt x="24" y="86"/>
                  </a:lnTo>
                  <a:lnTo>
                    <a:pt x="24" y="88"/>
                  </a:lnTo>
                  <a:lnTo>
                    <a:pt x="24" y="90"/>
                  </a:lnTo>
                  <a:lnTo>
                    <a:pt x="24" y="92"/>
                  </a:lnTo>
                  <a:lnTo>
                    <a:pt x="21" y="90"/>
                  </a:lnTo>
                  <a:lnTo>
                    <a:pt x="19" y="90"/>
                  </a:lnTo>
                  <a:lnTo>
                    <a:pt x="19" y="88"/>
                  </a:lnTo>
                  <a:lnTo>
                    <a:pt x="19" y="86"/>
                  </a:lnTo>
                  <a:lnTo>
                    <a:pt x="19" y="90"/>
                  </a:lnTo>
                  <a:lnTo>
                    <a:pt x="17" y="90"/>
                  </a:lnTo>
                  <a:lnTo>
                    <a:pt x="15" y="88"/>
                  </a:lnTo>
                  <a:lnTo>
                    <a:pt x="15" y="85"/>
                  </a:lnTo>
                  <a:lnTo>
                    <a:pt x="17" y="85"/>
                  </a:lnTo>
                  <a:lnTo>
                    <a:pt x="19" y="85"/>
                  </a:lnTo>
                  <a:lnTo>
                    <a:pt x="19" y="85"/>
                  </a:lnTo>
                  <a:lnTo>
                    <a:pt x="19" y="85"/>
                  </a:lnTo>
                  <a:lnTo>
                    <a:pt x="19" y="85"/>
                  </a:lnTo>
                  <a:close/>
                  <a:moveTo>
                    <a:pt x="26" y="98"/>
                  </a:moveTo>
                  <a:lnTo>
                    <a:pt x="28" y="100"/>
                  </a:lnTo>
                  <a:lnTo>
                    <a:pt x="26" y="100"/>
                  </a:lnTo>
                  <a:lnTo>
                    <a:pt x="24" y="101"/>
                  </a:lnTo>
                  <a:lnTo>
                    <a:pt x="22" y="100"/>
                  </a:lnTo>
                  <a:lnTo>
                    <a:pt x="21" y="98"/>
                  </a:lnTo>
                  <a:lnTo>
                    <a:pt x="21" y="96"/>
                  </a:lnTo>
                  <a:lnTo>
                    <a:pt x="22" y="94"/>
                  </a:lnTo>
                  <a:lnTo>
                    <a:pt x="24" y="96"/>
                  </a:lnTo>
                  <a:lnTo>
                    <a:pt x="26" y="98"/>
                  </a:lnTo>
                  <a:lnTo>
                    <a:pt x="26" y="98"/>
                  </a:lnTo>
                  <a:lnTo>
                    <a:pt x="26" y="98"/>
                  </a:lnTo>
                  <a:lnTo>
                    <a:pt x="26" y="98"/>
                  </a:lnTo>
                  <a:close/>
                  <a:moveTo>
                    <a:pt x="143" y="139"/>
                  </a:moveTo>
                  <a:lnTo>
                    <a:pt x="143" y="139"/>
                  </a:lnTo>
                  <a:lnTo>
                    <a:pt x="143" y="137"/>
                  </a:lnTo>
                  <a:lnTo>
                    <a:pt x="143" y="139"/>
                  </a:lnTo>
                  <a:lnTo>
                    <a:pt x="143" y="139"/>
                  </a:lnTo>
                  <a:lnTo>
                    <a:pt x="143" y="139"/>
                  </a:lnTo>
                  <a:lnTo>
                    <a:pt x="143" y="139"/>
                  </a:lnTo>
                  <a:lnTo>
                    <a:pt x="143" y="139"/>
                  </a:lnTo>
                  <a:close/>
                  <a:moveTo>
                    <a:pt x="143" y="149"/>
                  </a:moveTo>
                  <a:lnTo>
                    <a:pt x="141" y="145"/>
                  </a:lnTo>
                  <a:lnTo>
                    <a:pt x="141" y="141"/>
                  </a:lnTo>
                  <a:lnTo>
                    <a:pt x="143" y="141"/>
                  </a:lnTo>
                  <a:lnTo>
                    <a:pt x="143" y="141"/>
                  </a:lnTo>
                  <a:lnTo>
                    <a:pt x="145" y="145"/>
                  </a:lnTo>
                  <a:lnTo>
                    <a:pt x="143" y="149"/>
                  </a:lnTo>
                  <a:lnTo>
                    <a:pt x="143" y="149"/>
                  </a:lnTo>
                  <a:lnTo>
                    <a:pt x="143" y="149"/>
                  </a:lnTo>
                  <a:lnTo>
                    <a:pt x="143" y="149"/>
                  </a:lnTo>
                  <a:lnTo>
                    <a:pt x="143" y="149"/>
                  </a:lnTo>
                  <a:close/>
                  <a:moveTo>
                    <a:pt x="152" y="137"/>
                  </a:moveTo>
                  <a:lnTo>
                    <a:pt x="149" y="137"/>
                  </a:lnTo>
                  <a:lnTo>
                    <a:pt x="152" y="134"/>
                  </a:lnTo>
                  <a:lnTo>
                    <a:pt x="152" y="134"/>
                  </a:lnTo>
                  <a:lnTo>
                    <a:pt x="152" y="132"/>
                  </a:lnTo>
                  <a:lnTo>
                    <a:pt x="154" y="128"/>
                  </a:lnTo>
                  <a:lnTo>
                    <a:pt x="158" y="126"/>
                  </a:lnTo>
                  <a:lnTo>
                    <a:pt x="162" y="124"/>
                  </a:lnTo>
                  <a:lnTo>
                    <a:pt x="162" y="126"/>
                  </a:lnTo>
                  <a:lnTo>
                    <a:pt x="160" y="128"/>
                  </a:lnTo>
                  <a:lnTo>
                    <a:pt x="160" y="130"/>
                  </a:lnTo>
                  <a:lnTo>
                    <a:pt x="158" y="132"/>
                  </a:lnTo>
                  <a:lnTo>
                    <a:pt x="158" y="134"/>
                  </a:lnTo>
                  <a:lnTo>
                    <a:pt x="158" y="134"/>
                  </a:lnTo>
                  <a:lnTo>
                    <a:pt x="154" y="135"/>
                  </a:lnTo>
                  <a:lnTo>
                    <a:pt x="154" y="137"/>
                  </a:lnTo>
                  <a:lnTo>
                    <a:pt x="152" y="137"/>
                  </a:lnTo>
                  <a:lnTo>
                    <a:pt x="152" y="137"/>
                  </a:lnTo>
                  <a:lnTo>
                    <a:pt x="152" y="137"/>
                  </a:lnTo>
                  <a:lnTo>
                    <a:pt x="152" y="137"/>
                  </a:lnTo>
                  <a:close/>
                  <a:moveTo>
                    <a:pt x="128" y="124"/>
                  </a:moveTo>
                  <a:lnTo>
                    <a:pt x="124" y="124"/>
                  </a:lnTo>
                  <a:lnTo>
                    <a:pt x="128" y="122"/>
                  </a:lnTo>
                  <a:lnTo>
                    <a:pt x="128" y="120"/>
                  </a:lnTo>
                  <a:lnTo>
                    <a:pt x="130" y="122"/>
                  </a:lnTo>
                  <a:lnTo>
                    <a:pt x="128" y="124"/>
                  </a:lnTo>
                  <a:lnTo>
                    <a:pt x="128" y="124"/>
                  </a:lnTo>
                  <a:lnTo>
                    <a:pt x="128" y="124"/>
                  </a:lnTo>
                  <a:lnTo>
                    <a:pt x="128" y="124"/>
                  </a:lnTo>
                  <a:lnTo>
                    <a:pt x="128" y="124"/>
                  </a:lnTo>
                  <a:lnTo>
                    <a:pt x="128" y="124"/>
                  </a:lnTo>
                  <a:close/>
                  <a:moveTo>
                    <a:pt x="128" y="98"/>
                  </a:moveTo>
                  <a:lnTo>
                    <a:pt x="130" y="96"/>
                  </a:lnTo>
                  <a:lnTo>
                    <a:pt x="132" y="96"/>
                  </a:lnTo>
                  <a:lnTo>
                    <a:pt x="133" y="98"/>
                  </a:lnTo>
                  <a:lnTo>
                    <a:pt x="133" y="98"/>
                  </a:lnTo>
                  <a:lnTo>
                    <a:pt x="135" y="98"/>
                  </a:lnTo>
                  <a:lnTo>
                    <a:pt x="135" y="100"/>
                  </a:lnTo>
                  <a:lnTo>
                    <a:pt x="133" y="100"/>
                  </a:lnTo>
                  <a:lnTo>
                    <a:pt x="133" y="101"/>
                  </a:lnTo>
                  <a:lnTo>
                    <a:pt x="132" y="101"/>
                  </a:lnTo>
                  <a:lnTo>
                    <a:pt x="130" y="100"/>
                  </a:lnTo>
                  <a:lnTo>
                    <a:pt x="128" y="100"/>
                  </a:lnTo>
                  <a:lnTo>
                    <a:pt x="124" y="100"/>
                  </a:lnTo>
                  <a:lnTo>
                    <a:pt x="128" y="98"/>
                  </a:lnTo>
                  <a:lnTo>
                    <a:pt x="128" y="98"/>
                  </a:lnTo>
                  <a:lnTo>
                    <a:pt x="128" y="98"/>
                  </a:lnTo>
                  <a:lnTo>
                    <a:pt x="128" y="98"/>
                  </a:lnTo>
                  <a:close/>
                  <a:moveTo>
                    <a:pt x="118" y="79"/>
                  </a:moveTo>
                  <a:lnTo>
                    <a:pt x="120" y="85"/>
                  </a:lnTo>
                  <a:lnTo>
                    <a:pt x="118" y="86"/>
                  </a:lnTo>
                  <a:lnTo>
                    <a:pt x="118" y="86"/>
                  </a:lnTo>
                  <a:lnTo>
                    <a:pt x="115" y="86"/>
                  </a:lnTo>
                  <a:lnTo>
                    <a:pt x="115" y="85"/>
                  </a:lnTo>
                  <a:lnTo>
                    <a:pt x="118" y="85"/>
                  </a:lnTo>
                  <a:lnTo>
                    <a:pt x="118" y="81"/>
                  </a:lnTo>
                  <a:lnTo>
                    <a:pt x="115" y="79"/>
                  </a:lnTo>
                  <a:lnTo>
                    <a:pt x="115" y="79"/>
                  </a:lnTo>
                  <a:lnTo>
                    <a:pt x="118" y="75"/>
                  </a:lnTo>
                  <a:lnTo>
                    <a:pt x="118" y="79"/>
                  </a:lnTo>
                  <a:lnTo>
                    <a:pt x="118" y="79"/>
                  </a:lnTo>
                  <a:lnTo>
                    <a:pt x="118" y="79"/>
                  </a:lnTo>
                  <a:lnTo>
                    <a:pt x="118" y="79"/>
                  </a:lnTo>
                  <a:lnTo>
                    <a:pt x="118" y="79"/>
                  </a:lnTo>
                  <a:close/>
                  <a:moveTo>
                    <a:pt x="115" y="66"/>
                  </a:moveTo>
                  <a:lnTo>
                    <a:pt x="113" y="66"/>
                  </a:lnTo>
                  <a:lnTo>
                    <a:pt x="115" y="62"/>
                  </a:lnTo>
                  <a:lnTo>
                    <a:pt x="118" y="62"/>
                  </a:lnTo>
                  <a:lnTo>
                    <a:pt x="118" y="60"/>
                  </a:lnTo>
                  <a:lnTo>
                    <a:pt x="124" y="60"/>
                  </a:lnTo>
                  <a:lnTo>
                    <a:pt x="124" y="60"/>
                  </a:lnTo>
                  <a:lnTo>
                    <a:pt x="124" y="62"/>
                  </a:lnTo>
                  <a:lnTo>
                    <a:pt x="124" y="62"/>
                  </a:lnTo>
                  <a:lnTo>
                    <a:pt x="124" y="66"/>
                  </a:lnTo>
                  <a:lnTo>
                    <a:pt x="124" y="69"/>
                  </a:lnTo>
                  <a:lnTo>
                    <a:pt x="120" y="69"/>
                  </a:lnTo>
                  <a:lnTo>
                    <a:pt x="118" y="69"/>
                  </a:lnTo>
                  <a:lnTo>
                    <a:pt x="118" y="66"/>
                  </a:lnTo>
                  <a:lnTo>
                    <a:pt x="120" y="66"/>
                  </a:lnTo>
                  <a:lnTo>
                    <a:pt x="120" y="64"/>
                  </a:lnTo>
                  <a:lnTo>
                    <a:pt x="118" y="64"/>
                  </a:lnTo>
                  <a:lnTo>
                    <a:pt x="118" y="66"/>
                  </a:lnTo>
                  <a:lnTo>
                    <a:pt x="118" y="66"/>
                  </a:lnTo>
                  <a:lnTo>
                    <a:pt x="115" y="66"/>
                  </a:lnTo>
                  <a:lnTo>
                    <a:pt x="115" y="66"/>
                  </a:lnTo>
                  <a:lnTo>
                    <a:pt x="115" y="66"/>
                  </a:lnTo>
                  <a:lnTo>
                    <a:pt x="115" y="66"/>
                  </a:lnTo>
                  <a:lnTo>
                    <a:pt x="115" y="66"/>
                  </a:lnTo>
                  <a:close/>
                  <a:moveTo>
                    <a:pt x="105" y="34"/>
                  </a:moveTo>
                  <a:lnTo>
                    <a:pt x="107" y="34"/>
                  </a:lnTo>
                  <a:lnTo>
                    <a:pt x="109" y="30"/>
                  </a:lnTo>
                  <a:lnTo>
                    <a:pt x="109" y="34"/>
                  </a:lnTo>
                  <a:lnTo>
                    <a:pt x="109" y="36"/>
                  </a:lnTo>
                  <a:lnTo>
                    <a:pt x="109" y="36"/>
                  </a:lnTo>
                  <a:lnTo>
                    <a:pt x="105" y="34"/>
                  </a:lnTo>
                  <a:lnTo>
                    <a:pt x="105" y="34"/>
                  </a:lnTo>
                  <a:lnTo>
                    <a:pt x="105" y="34"/>
                  </a:lnTo>
                  <a:lnTo>
                    <a:pt x="105" y="34"/>
                  </a:lnTo>
                  <a:close/>
                  <a:moveTo>
                    <a:pt x="98" y="43"/>
                  </a:moveTo>
                  <a:lnTo>
                    <a:pt x="100" y="43"/>
                  </a:lnTo>
                  <a:lnTo>
                    <a:pt x="101" y="43"/>
                  </a:lnTo>
                  <a:lnTo>
                    <a:pt x="103" y="41"/>
                  </a:lnTo>
                  <a:lnTo>
                    <a:pt x="105" y="43"/>
                  </a:lnTo>
                  <a:lnTo>
                    <a:pt x="103" y="45"/>
                  </a:lnTo>
                  <a:lnTo>
                    <a:pt x="103" y="49"/>
                  </a:lnTo>
                  <a:lnTo>
                    <a:pt x="100" y="49"/>
                  </a:lnTo>
                  <a:lnTo>
                    <a:pt x="100" y="49"/>
                  </a:lnTo>
                  <a:lnTo>
                    <a:pt x="98" y="47"/>
                  </a:lnTo>
                  <a:lnTo>
                    <a:pt x="96" y="43"/>
                  </a:lnTo>
                  <a:lnTo>
                    <a:pt x="98" y="43"/>
                  </a:lnTo>
                  <a:lnTo>
                    <a:pt x="98" y="43"/>
                  </a:lnTo>
                  <a:lnTo>
                    <a:pt x="98" y="43"/>
                  </a:lnTo>
                  <a:lnTo>
                    <a:pt x="98" y="43"/>
                  </a:lnTo>
                  <a:close/>
                  <a:moveTo>
                    <a:pt x="88" y="26"/>
                  </a:moveTo>
                  <a:lnTo>
                    <a:pt x="90" y="26"/>
                  </a:lnTo>
                  <a:lnTo>
                    <a:pt x="92" y="26"/>
                  </a:lnTo>
                  <a:lnTo>
                    <a:pt x="92" y="30"/>
                  </a:lnTo>
                  <a:lnTo>
                    <a:pt x="90" y="30"/>
                  </a:lnTo>
                  <a:lnTo>
                    <a:pt x="88" y="30"/>
                  </a:lnTo>
                  <a:lnTo>
                    <a:pt x="88" y="30"/>
                  </a:lnTo>
                  <a:lnTo>
                    <a:pt x="88" y="26"/>
                  </a:lnTo>
                  <a:lnTo>
                    <a:pt x="88" y="26"/>
                  </a:lnTo>
                  <a:lnTo>
                    <a:pt x="88" y="26"/>
                  </a:lnTo>
                  <a:lnTo>
                    <a:pt x="88" y="26"/>
                  </a:lnTo>
                  <a:close/>
                  <a:moveTo>
                    <a:pt x="69" y="66"/>
                  </a:moveTo>
                  <a:lnTo>
                    <a:pt x="73" y="66"/>
                  </a:lnTo>
                  <a:lnTo>
                    <a:pt x="75" y="66"/>
                  </a:lnTo>
                  <a:lnTo>
                    <a:pt x="75" y="66"/>
                  </a:lnTo>
                  <a:lnTo>
                    <a:pt x="75" y="69"/>
                  </a:lnTo>
                  <a:lnTo>
                    <a:pt x="69" y="66"/>
                  </a:lnTo>
                  <a:lnTo>
                    <a:pt x="69" y="66"/>
                  </a:lnTo>
                  <a:lnTo>
                    <a:pt x="69" y="66"/>
                  </a:lnTo>
                  <a:lnTo>
                    <a:pt x="69" y="66"/>
                  </a:lnTo>
                  <a:close/>
                  <a:moveTo>
                    <a:pt x="68" y="66"/>
                  </a:moveTo>
                  <a:lnTo>
                    <a:pt x="69" y="64"/>
                  </a:lnTo>
                  <a:lnTo>
                    <a:pt x="69" y="66"/>
                  </a:lnTo>
                  <a:lnTo>
                    <a:pt x="69" y="66"/>
                  </a:lnTo>
                  <a:lnTo>
                    <a:pt x="68" y="66"/>
                  </a:lnTo>
                  <a:lnTo>
                    <a:pt x="68" y="66"/>
                  </a:lnTo>
                  <a:lnTo>
                    <a:pt x="68" y="66"/>
                  </a:lnTo>
                  <a:lnTo>
                    <a:pt x="68" y="66"/>
                  </a:lnTo>
                  <a:close/>
                  <a:moveTo>
                    <a:pt x="88" y="69"/>
                  </a:moveTo>
                  <a:lnTo>
                    <a:pt x="90" y="69"/>
                  </a:lnTo>
                  <a:lnTo>
                    <a:pt x="92" y="69"/>
                  </a:lnTo>
                  <a:lnTo>
                    <a:pt x="94" y="69"/>
                  </a:lnTo>
                  <a:lnTo>
                    <a:pt x="94" y="75"/>
                  </a:lnTo>
                  <a:lnTo>
                    <a:pt x="92" y="75"/>
                  </a:lnTo>
                  <a:lnTo>
                    <a:pt x="92" y="71"/>
                  </a:lnTo>
                  <a:lnTo>
                    <a:pt x="90" y="71"/>
                  </a:lnTo>
                  <a:lnTo>
                    <a:pt x="88" y="69"/>
                  </a:lnTo>
                  <a:lnTo>
                    <a:pt x="88" y="69"/>
                  </a:lnTo>
                  <a:lnTo>
                    <a:pt x="88" y="69"/>
                  </a:lnTo>
                  <a:lnTo>
                    <a:pt x="88" y="69"/>
                  </a:lnTo>
                  <a:close/>
                  <a:moveTo>
                    <a:pt x="118" y="105"/>
                  </a:moveTo>
                  <a:lnTo>
                    <a:pt x="118" y="103"/>
                  </a:lnTo>
                  <a:lnTo>
                    <a:pt x="118" y="101"/>
                  </a:lnTo>
                  <a:lnTo>
                    <a:pt x="122" y="101"/>
                  </a:lnTo>
                  <a:lnTo>
                    <a:pt x="122" y="103"/>
                  </a:lnTo>
                  <a:lnTo>
                    <a:pt x="118" y="105"/>
                  </a:lnTo>
                  <a:lnTo>
                    <a:pt x="118" y="105"/>
                  </a:lnTo>
                  <a:lnTo>
                    <a:pt x="118" y="105"/>
                  </a:lnTo>
                  <a:lnTo>
                    <a:pt x="118" y="105"/>
                  </a:lnTo>
                  <a:close/>
                  <a:moveTo>
                    <a:pt x="88" y="124"/>
                  </a:moveTo>
                  <a:lnTo>
                    <a:pt x="90" y="120"/>
                  </a:lnTo>
                  <a:lnTo>
                    <a:pt x="92" y="120"/>
                  </a:lnTo>
                  <a:lnTo>
                    <a:pt x="92" y="122"/>
                  </a:lnTo>
                  <a:lnTo>
                    <a:pt x="90" y="124"/>
                  </a:lnTo>
                  <a:lnTo>
                    <a:pt x="88" y="124"/>
                  </a:lnTo>
                  <a:lnTo>
                    <a:pt x="88" y="124"/>
                  </a:lnTo>
                  <a:lnTo>
                    <a:pt x="88" y="124"/>
                  </a:lnTo>
                  <a:lnTo>
                    <a:pt x="88" y="124"/>
                  </a:lnTo>
                  <a:close/>
                  <a:moveTo>
                    <a:pt x="90" y="111"/>
                  </a:moveTo>
                  <a:lnTo>
                    <a:pt x="92" y="111"/>
                  </a:lnTo>
                  <a:lnTo>
                    <a:pt x="92" y="115"/>
                  </a:lnTo>
                  <a:lnTo>
                    <a:pt x="90" y="111"/>
                  </a:lnTo>
                  <a:lnTo>
                    <a:pt x="90" y="111"/>
                  </a:lnTo>
                  <a:lnTo>
                    <a:pt x="90" y="111"/>
                  </a:lnTo>
                  <a:lnTo>
                    <a:pt x="90" y="111"/>
                  </a:lnTo>
                  <a:close/>
                  <a:moveTo>
                    <a:pt x="88" y="109"/>
                  </a:moveTo>
                  <a:lnTo>
                    <a:pt x="88" y="105"/>
                  </a:lnTo>
                  <a:lnTo>
                    <a:pt x="90" y="105"/>
                  </a:lnTo>
                  <a:lnTo>
                    <a:pt x="90" y="109"/>
                  </a:lnTo>
                  <a:lnTo>
                    <a:pt x="90" y="109"/>
                  </a:lnTo>
                  <a:lnTo>
                    <a:pt x="88" y="109"/>
                  </a:lnTo>
                  <a:lnTo>
                    <a:pt x="88" y="109"/>
                  </a:lnTo>
                  <a:lnTo>
                    <a:pt x="88" y="109"/>
                  </a:lnTo>
                  <a:lnTo>
                    <a:pt x="88" y="109"/>
                  </a:lnTo>
                  <a:close/>
                  <a:moveTo>
                    <a:pt x="88" y="105"/>
                  </a:moveTo>
                  <a:lnTo>
                    <a:pt x="88" y="103"/>
                  </a:lnTo>
                  <a:lnTo>
                    <a:pt x="88" y="101"/>
                  </a:lnTo>
                  <a:lnTo>
                    <a:pt x="88" y="103"/>
                  </a:lnTo>
                  <a:lnTo>
                    <a:pt x="88" y="105"/>
                  </a:lnTo>
                  <a:lnTo>
                    <a:pt x="88" y="105"/>
                  </a:lnTo>
                  <a:lnTo>
                    <a:pt x="88" y="105"/>
                  </a:lnTo>
                  <a:lnTo>
                    <a:pt x="88" y="105"/>
                  </a:lnTo>
                  <a:close/>
                  <a:moveTo>
                    <a:pt x="105" y="115"/>
                  </a:moveTo>
                  <a:lnTo>
                    <a:pt x="103" y="115"/>
                  </a:lnTo>
                  <a:lnTo>
                    <a:pt x="103" y="111"/>
                  </a:lnTo>
                  <a:lnTo>
                    <a:pt x="105" y="111"/>
                  </a:lnTo>
                  <a:lnTo>
                    <a:pt x="107" y="115"/>
                  </a:lnTo>
                  <a:lnTo>
                    <a:pt x="105" y="115"/>
                  </a:lnTo>
                  <a:lnTo>
                    <a:pt x="105" y="115"/>
                  </a:lnTo>
                  <a:lnTo>
                    <a:pt x="105" y="115"/>
                  </a:lnTo>
                  <a:lnTo>
                    <a:pt x="105" y="115"/>
                  </a:lnTo>
                  <a:close/>
                  <a:moveTo>
                    <a:pt x="109" y="115"/>
                  </a:moveTo>
                  <a:lnTo>
                    <a:pt x="109" y="111"/>
                  </a:lnTo>
                  <a:lnTo>
                    <a:pt x="109" y="111"/>
                  </a:lnTo>
                  <a:lnTo>
                    <a:pt x="113" y="111"/>
                  </a:lnTo>
                  <a:lnTo>
                    <a:pt x="113" y="111"/>
                  </a:lnTo>
                  <a:lnTo>
                    <a:pt x="109" y="115"/>
                  </a:lnTo>
                  <a:lnTo>
                    <a:pt x="109" y="115"/>
                  </a:lnTo>
                  <a:lnTo>
                    <a:pt x="109" y="115"/>
                  </a:lnTo>
                  <a:lnTo>
                    <a:pt x="109" y="115"/>
                  </a:lnTo>
                  <a:lnTo>
                    <a:pt x="109" y="115"/>
                  </a:lnTo>
                  <a:close/>
                  <a:moveTo>
                    <a:pt x="109" y="105"/>
                  </a:moveTo>
                  <a:lnTo>
                    <a:pt x="109" y="105"/>
                  </a:lnTo>
                  <a:lnTo>
                    <a:pt x="109" y="105"/>
                  </a:lnTo>
                  <a:lnTo>
                    <a:pt x="109" y="105"/>
                  </a:lnTo>
                  <a:lnTo>
                    <a:pt x="109" y="105"/>
                  </a:lnTo>
                  <a:lnTo>
                    <a:pt x="109" y="105"/>
                  </a:lnTo>
                  <a:lnTo>
                    <a:pt x="109" y="105"/>
                  </a:lnTo>
                  <a:close/>
                  <a:moveTo>
                    <a:pt x="103" y="101"/>
                  </a:moveTo>
                  <a:lnTo>
                    <a:pt x="105" y="101"/>
                  </a:lnTo>
                  <a:lnTo>
                    <a:pt x="107" y="103"/>
                  </a:lnTo>
                  <a:lnTo>
                    <a:pt x="107" y="105"/>
                  </a:lnTo>
                  <a:lnTo>
                    <a:pt x="105" y="103"/>
                  </a:lnTo>
                  <a:lnTo>
                    <a:pt x="103" y="101"/>
                  </a:lnTo>
                  <a:lnTo>
                    <a:pt x="103" y="101"/>
                  </a:lnTo>
                  <a:lnTo>
                    <a:pt x="103" y="101"/>
                  </a:lnTo>
                  <a:lnTo>
                    <a:pt x="103" y="101"/>
                  </a:lnTo>
                  <a:close/>
                  <a:moveTo>
                    <a:pt x="94" y="94"/>
                  </a:moveTo>
                  <a:lnTo>
                    <a:pt x="96" y="94"/>
                  </a:lnTo>
                  <a:lnTo>
                    <a:pt x="98" y="96"/>
                  </a:lnTo>
                  <a:lnTo>
                    <a:pt x="101" y="100"/>
                  </a:lnTo>
                  <a:lnTo>
                    <a:pt x="101" y="101"/>
                  </a:lnTo>
                  <a:lnTo>
                    <a:pt x="100" y="101"/>
                  </a:lnTo>
                  <a:lnTo>
                    <a:pt x="96" y="98"/>
                  </a:lnTo>
                  <a:lnTo>
                    <a:pt x="94" y="96"/>
                  </a:lnTo>
                  <a:lnTo>
                    <a:pt x="94" y="94"/>
                  </a:lnTo>
                  <a:lnTo>
                    <a:pt x="94" y="94"/>
                  </a:lnTo>
                  <a:lnTo>
                    <a:pt x="94" y="94"/>
                  </a:lnTo>
                  <a:lnTo>
                    <a:pt x="94" y="94"/>
                  </a:lnTo>
                  <a:close/>
                  <a:moveTo>
                    <a:pt x="60" y="71"/>
                  </a:moveTo>
                  <a:lnTo>
                    <a:pt x="62" y="69"/>
                  </a:lnTo>
                  <a:lnTo>
                    <a:pt x="68" y="69"/>
                  </a:lnTo>
                  <a:lnTo>
                    <a:pt x="69" y="71"/>
                  </a:lnTo>
                  <a:lnTo>
                    <a:pt x="73" y="71"/>
                  </a:lnTo>
                  <a:lnTo>
                    <a:pt x="77" y="75"/>
                  </a:lnTo>
                  <a:lnTo>
                    <a:pt x="77" y="75"/>
                  </a:lnTo>
                  <a:lnTo>
                    <a:pt x="79" y="75"/>
                  </a:lnTo>
                  <a:lnTo>
                    <a:pt x="79" y="75"/>
                  </a:lnTo>
                  <a:lnTo>
                    <a:pt x="83" y="79"/>
                  </a:lnTo>
                  <a:lnTo>
                    <a:pt x="85" y="81"/>
                  </a:lnTo>
                  <a:lnTo>
                    <a:pt x="85" y="85"/>
                  </a:lnTo>
                  <a:lnTo>
                    <a:pt x="85" y="85"/>
                  </a:lnTo>
                  <a:lnTo>
                    <a:pt x="85" y="88"/>
                  </a:lnTo>
                  <a:lnTo>
                    <a:pt x="88" y="90"/>
                  </a:lnTo>
                  <a:lnTo>
                    <a:pt x="88" y="90"/>
                  </a:lnTo>
                  <a:lnTo>
                    <a:pt x="92" y="90"/>
                  </a:lnTo>
                  <a:lnTo>
                    <a:pt x="90" y="94"/>
                  </a:lnTo>
                  <a:lnTo>
                    <a:pt x="88" y="94"/>
                  </a:lnTo>
                  <a:lnTo>
                    <a:pt x="88" y="94"/>
                  </a:lnTo>
                  <a:lnTo>
                    <a:pt x="85" y="92"/>
                  </a:lnTo>
                  <a:lnTo>
                    <a:pt x="83" y="90"/>
                  </a:lnTo>
                  <a:lnTo>
                    <a:pt x="85" y="88"/>
                  </a:lnTo>
                  <a:lnTo>
                    <a:pt x="83" y="86"/>
                  </a:lnTo>
                  <a:lnTo>
                    <a:pt x="79" y="85"/>
                  </a:lnTo>
                  <a:lnTo>
                    <a:pt x="79" y="81"/>
                  </a:lnTo>
                  <a:lnTo>
                    <a:pt x="79" y="81"/>
                  </a:lnTo>
                  <a:lnTo>
                    <a:pt x="75" y="79"/>
                  </a:lnTo>
                  <a:lnTo>
                    <a:pt x="73" y="79"/>
                  </a:lnTo>
                  <a:lnTo>
                    <a:pt x="69" y="79"/>
                  </a:lnTo>
                  <a:lnTo>
                    <a:pt x="69" y="75"/>
                  </a:lnTo>
                  <a:lnTo>
                    <a:pt x="68" y="75"/>
                  </a:lnTo>
                  <a:lnTo>
                    <a:pt x="66" y="75"/>
                  </a:lnTo>
                  <a:lnTo>
                    <a:pt x="64" y="71"/>
                  </a:lnTo>
                  <a:lnTo>
                    <a:pt x="62" y="71"/>
                  </a:lnTo>
                  <a:lnTo>
                    <a:pt x="60" y="71"/>
                  </a:lnTo>
                  <a:lnTo>
                    <a:pt x="60" y="71"/>
                  </a:lnTo>
                  <a:lnTo>
                    <a:pt x="60" y="71"/>
                  </a:lnTo>
                  <a:lnTo>
                    <a:pt x="60" y="71"/>
                  </a:lnTo>
                  <a:close/>
                  <a:moveTo>
                    <a:pt x="66" y="128"/>
                  </a:moveTo>
                  <a:lnTo>
                    <a:pt x="66" y="126"/>
                  </a:lnTo>
                  <a:lnTo>
                    <a:pt x="66" y="130"/>
                  </a:lnTo>
                  <a:lnTo>
                    <a:pt x="68" y="132"/>
                  </a:lnTo>
                  <a:lnTo>
                    <a:pt x="68" y="134"/>
                  </a:lnTo>
                  <a:lnTo>
                    <a:pt x="66" y="134"/>
                  </a:lnTo>
                  <a:lnTo>
                    <a:pt x="66" y="132"/>
                  </a:lnTo>
                  <a:lnTo>
                    <a:pt x="64" y="130"/>
                  </a:lnTo>
                  <a:lnTo>
                    <a:pt x="66" y="128"/>
                  </a:lnTo>
                  <a:lnTo>
                    <a:pt x="66" y="128"/>
                  </a:lnTo>
                  <a:lnTo>
                    <a:pt x="66" y="128"/>
                  </a:lnTo>
                  <a:lnTo>
                    <a:pt x="66" y="128"/>
                  </a:lnTo>
                  <a:close/>
                  <a:moveTo>
                    <a:pt x="66" y="124"/>
                  </a:moveTo>
                  <a:lnTo>
                    <a:pt x="66" y="124"/>
                  </a:lnTo>
                  <a:lnTo>
                    <a:pt x="64" y="124"/>
                  </a:lnTo>
                  <a:lnTo>
                    <a:pt x="66" y="124"/>
                  </a:lnTo>
                  <a:lnTo>
                    <a:pt x="66" y="124"/>
                  </a:lnTo>
                  <a:lnTo>
                    <a:pt x="66" y="1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 name="Freeform 95">
              <a:extLst>
                <a:ext uri="{FF2B5EF4-FFF2-40B4-BE49-F238E27FC236}">
                  <a16:creationId xmlns:a16="http://schemas.microsoft.com/office/drawing/2014/main" id="{C56D853F-9A63-6C46-B3F7-D2DF4F0FCB35}"/>
                </a:ext>
              </a:extLst>
            </p:cNvPr>
            <p:cNvSpPr>
              <a:spLocks noEditPoints="1"/>
            </p:cNvSpPr>
            <p:nvPr/>
          </p:nvSpPr>
          <p:spPr bwMode="auto">
            <a:xfrm>
              <a:off x="6939359" y="2597065"/>
              <a:ext cx="117760" cy="148800"/>
            </a:xfrm>
            <a:custGeom>
              <a:avLst/>
              <a:gdLst/>
              <a:ahLst/>
              <a:cxnLst>
                <a:cxn ang="0">
                  <a:pos x="55" y="126"/>
                </a:cxn>
                <a:cxn ang="0">
                  <a:pos x="55" y="71"/>
                </a:cxn>
                <a:cxn ang="0">
                  <a:pos x="74" y="22"/>
                </a:cxn>
                <a:cxn ang="0">
                  <a:pos x="79" y="41"/>
                </a:cxn>
                <a:cxn ang="0">
                  <a:pos x="91" y="53"/>
                </a:cxn>
                <a:cxn ang="0">
                  <a:pos x="98" y="53"/>
                </a:cxn>
                <a:cxn ang="0">
                  <a:pos x="108" y="54"/>
                </a:cxn>
                <a:cxn ang="0">
                  <a:pos x="117" y="54"/>
                </a:cxn>
                <a:cxn ang="0">
                  <a:pos x="123" y="66"/>
                </a:cxn>
                <a:cxn ang="0">
                  <a:pos x="128" y="71"/>
                </a:cxn>
                <a:cxn ang="0">
                  <a:pos x="138" y="77"/>
                </a:cxn>
                <a:cxn ang="0">
                  <a:pos x="138" y="83"/>
                </a:cxn>
                <a:cxn ang="0">
                  <a:pos x="138" y="90"/>
                </a:cxn>
                <a:cxn ang="0">
                  <a:pos x="128" y="101"/>
                </a:cxn>
                <a:cxn ang="0">
                  <a:pos x="123" y="111"/>
                </a:cxn>
                <a:cxn ang="0">
                  <a:pos x="119" y="120"/>
                </a:cxn>
                <a:cxn ang="0">
                  <a:pos x="117" y="118"/>
                </a:cxn>
                <a:cxn ang="0">
                  <a:pos x="117" y="115"/>
                </a:cxn>
                <a:cxn ang="0">
                  <a:pos x="111" y="117"/>
                </a:cxn>
                <a:cxn ang="0">
                  <a:pos x="110" y="120"/>
                </a:cxn>
                <a:cxn ang="0">
                  <a:pos x="108" y="122"/>
                </a:cxn>
                <a:cxn ang="0">
                  <a:pos x="104" y="132"/>
                </a:cxn>
                <a:cxn ang="0">
                  <a:pos x="104" y="135"/>
                </a:cxn>
                <a:cxn ang="0">
                  <a:pos x="104" y="139"/>
                </a:cxn>
                <a:cxn ang="0">
                  <a:pos x="110" y="147"/>
                </a:cxn>
                <a:cxn ang="0">
                  <a:pos x="100" y="150"/>
                </a:cxn>
                <a:cxn ang="0">
                  <a:pos x="94" y="150"/>
                </a:cxn>
                <a:cxn ang="0">
                  <a:pos x="83" y="160"/>
                </a:cxn>
                <a:cxn ang="0">
                  <a:pos x="83" y="166"/>
                </a:cxn>
                <a:cxn ang="0">
                  <a:pos x="78" y="169"/>
                </a:cxn>
                <a:cxn ang="0">
                  <a:pos x="66" y="169"/>
                </a:cxn>
                <a:cxn ang="0">
                  <a:pos x="61" y="173"/>
                </a:cxn>
                <a:cxn ang="0">
                  <a:pos x="62" y="179"/>
                </a:cxn>
                <a:cxn ang="0">
                  <a:pos x="62" y="182"/>
                </a:cxn>
                <a:cxn ang="0">
                  <a:pos x="62" y="182"/>
                </a:cxn>
                <a:cxn ang="0">
                  <a:pos x="55" y="190"/>
                </a:cxn>
                <a:cxn ang="0">
                  <a:pos x="49" y="186"/>
                </a:cxn>
                <a:cxn ang="0">
                  <a:pos x="40" y="190"/>
                </a:cxn>
                <a:cxn ang="0">
                  <a:pos x="34" y="194"/>
                </a:cxn>
                <a:cxn ang="0">
                  <a:pos x="29" y="194"/>
                </a:cxn>
                <a:cxn ang="0">
                  <a:pos x="15" y="182"/>
                </a:cxn>
                <a:cxn ang="0">
                  <a:pos x="0" y="152"/>
                </a:cxn>
                <a:cxn ang="0">
                  <a:pos x="4" y="143"/>
                </a:cxn>
                <a:cxn ang="0">
                  <a:pos x="4" y="143"/>
                </a:cxn>
                <a:cxn ang="0">
                  <a:pos x="70" y="11"/>
                </a:cxn>
                <a:cxn ang="0">
                  <a:pos x="72" y="4"/>
                </a:cxn>
                <a:cxn ang="0">
                  <a:pos x="72" y="2"/>
                </a:cxn>
                <a:cxn ang="0">
                  <a:pos x="72" y="0"/>
                </a:cxn>
                <a:cxn ang="0">
                  <a:pos x="70" y="0"/>
                </a:cxn>
                <a:cxn ang="0">
                  <a:pos x="68" y="0"/>
                </a:cxn>
                <a:cxn ang="0">
                  <a:pos x="66" y="4"/>
                </a:cxn>
                <a:cxn ang="0">
                  <a:pos x="64" y="7"/>
                </a:cxn>
                <a:cxn ang="0">
                  <a:pos x="66" y="7"/>
                </a:cxn>
                <a:cxn ang="0">
                  <a:pos x="70" y="17"/>
                </a:cxn>
                <a:cxn ang="0">
                  <a:pos x="70" y="17"/>
                </a:cxn>
              </a:cxnLst>
              <a:rect l="0" t="0" r="r" b="b"/>
              <a:pathLst>
                <a:path w="138" h="194">
                  <a:moveTo>
                    <a:pt x="4" y="143"/>
                  </a:moveTo>
                  <a:lnTo>
                    <a:pt x="55" y="126"/>
                  </a:lnTo>
                  <a:lnTo>
                    <a:pt x="59" y="88"/>
                  </a:lnTo>
                  <a:lnTo>
                    <a:pt x="55" y="71"/>
                  </a:lnTo>
                  <a:lnTo>
                    <a:pt x="70" y="24"/>
                  </a:lnTo>
                  <a:lnTo>
                    <a:pt x="74" y="22"/>
                  </a:lnTo>
                  <a:lnTo>
                    <a:pt x="74" y="36"/>
                  </a:lnTo>
                  <a:lnTo>
                    <a:pt x="79" y="41"/>
                  </a:lnTo>
                  <a:lnTo>
                    <a:pt x="79" y="43"/>
                  </a:lnTo>
                  <a:lnTo>
                    <a:pt x="91" y="53"/>
                  </a:lnTo>
                  <a:lnTo>
                    <a:pt x="94" y="54"/>
                  </a:lnTo>
                  <a:lnTo>
                    <a:pt x="98" y="53"/>
                  </a:lnTo>
                  <a:lnTo>
                    <a:pt x="102" y="53"/>
                  </a:lnTo>
                  <a:lnTo>
                    <a:pt x="108" y="54"/>
                  </a:lnTo>
                  <a:lnTo>
                    <a:pt x="113" y="53"/>
                  </a:lnTo>
                  <a:lnTo>
                    <a:pt x="117" y="54"/>
                  </a:lnTo>
                  <a:lnTo>
                    <a:pt x="121" y="60"/>
                  </a:lnTo>
                  <a:lnTo>
                    <a:pt x="123" y="66"/>
                  </a:lnTo>
                  <a:lnTo>
                    <a:pt x="126" y="68"/>
                  </a:lnTo>
                  <a:lnTo>
                    <a:pt x="128" y="71"/>
                  </a:lnTo>
                  <a:lnTo>
                    <a:pt x="134" y="77"/>
                  </a:lnTo>
                  <a:lnTo>
                    <a:pt x="138" y="77"/>
                  </a:lnTo>
                  <a:lnTo>
                    <a:pt x="138" y="79"/>
                  </a:lnTo>
                  <a:lnTo>
                    <a:pt x="138" y="83"/>
                  </a:lnTo>
                  <a:lnTo>
                    <a:pt x="138" y="86"/>
                  </a:lnTo>
                  <a:lnTo>
                    <a:pt x="138" y="90"/>
                  </a:lnTo>
                  <a:lnTo>
                    <a:pt x="138" y="92"/>
                  </a:lnTo>
                  <a:lnTo>
                    <a:pt x="128" y="101"/>
                  </a:lnTo>
                  <a:lnTo>
                    <a:pt x="125" y="107"/>
                  </a:lnTo>
                  <a:lnTo>
                    <a:pt x="123" y="111"/>
                  </a:lnTo>
                  <a:lnTo>
                    <a:pt x="121" y="113"/>
                  </a:lnTo>
                  <a:lnTo>
                    <a:pt x="119" y="120"/>
                  </a:lnTo>
                  <a:lnTo>
                    <a:pt x="117" y="120"/>
                  </a:lnTo>
                  <a:lnTo>
                    <a:pt x="117" y="118"/>
                  </a:lnTo>
                  <a:lnTo>
                    <a:pt x="117" y="117"/>
                  </a:lnTo>
                  <a:lnTo>
                    <a:pt x="117" y="115"/>
                  </a:lnTo>
                  <a:lnTo>
                    <a:pt x="113" y="115"/>
                  </a:lnTo>
                  <a:lnTo>
                    <a:pt x="111" y="117"/>
                  </a:lnTo>
                  <a:lnTo>
                    <a:pt x="110" y="120"/>
                  </a:lnTo>
                  <a:lnTo>
                    <a:pt x="110" y="120"/>
                  </a:lnTo>
                  <a:lnTo>
                    <a:pt x="110" y="122"/>
                  </a:lnTo>
                  <a:lnTo>
                    <a:pt x="108" y="122"/>
                  </a:lnTo>
                  <a:lnTo>
                    <a:pt x="104" y="130"/>
                  </a:lnTo>
                  <a:lnTo>
                    <a:pt x="104" y="132"/>
                  </a:lnTo>
                  <a:lnTo>
                    <a:pt x="104" y="135"/>
                  </a:lnTo>
                  <a:lnTo>
                    <a:pt x="104" y="135"/>
                  </a:lnTo>
                  <a:lnTo>
                    <a:pt x="108" y="139"/>
                  </a:lnTo>
                  <a:lnTo>
                    <a:pt x="104" y="139"/>
                  </a:lnTo>
                  <a:lnTo>
                    <a:pt x="108" y="145"/>
                  </a:lnTo>
                  <a:lnTo>
                    <a:pt x="110" y="147"/>
                  </a:lnTo>
                  <a:lnTo>
                    <a:pt x="108" y="149"/>
                  </a:lnTo>
                  <a:lnTo>
                    <a:pt x="100" y="150"/>
                  </a:lnTo>
                  <a:lnTo>
                    <a:pt x="98" y="150"/>
                  </a:lnTo>
                  <a:lnTo>
                    <a:pt x="94" y="150"/>
                  </a:lnTo>
                  <a:lnTo>
                    <a:pt x="91" y="150"/>
                  </a:lnTo>
                  <a:lnTo>
                    <a:pt x="83" y="160"/>
                  </a:lnTo>
                  <a:lnTo>
                    <a:pt x="83" y="166"/>
                  </a:lnTo>
                  <a:lnTo>
                    <a:pt x="83" y="166"/>
                  </a:lnTo>
                  <a:lnTo>
                    <a:pt x="79" y="169"/>
                  </a:lnTo>
                  <a:lnTo>
                    <a:pt x="78" y="169"/>
                  </a:lnTo>
                  <a:lnTo>
                    <a:pt x="72" y="169"/>
                  </a:lnTo>
                  <a:lnTo>
                    <a:pt x="66" y="169"/>
                  </a:lnTo>
                  <a:lnTo>
                    <a:pt x="64" y="171"/>
                  </a:lnTo>
                  <a:lnTo>
                    <a:pt x="61" y="173"/>
                  </a:lnTo>
                  <a:lnTo>
                    <a:pt x="62" y="175"/>
                  </a:lnTo>
                  <a:lnTo>
                    <a:pt x="62" y="179"/>
                  </a:lnTo>
                  <a:lnTo>
                    <a:pt x="64" y="179"/>
                  </a:lnTo>
                  <a:lnTo>
                    <a:pt x="62" y="182"/>
                  </a:lnTo>
                  <a:lnTo>
                    <a:pt x="62" y="182"/>
                  </a:lnTo>
                  <a:lnTo>
                    <a:pt x="62" y="182"/>
                  </a:lnTo>
                  <a:lnTo>
                    <a:pt x="59" y="190"/>
                  </a:lnTo>
                  <a:lnTo>
                    <a:pt x="55" y="190"/>
                  </a:lnTo>
                  <a:lnTo>
                    <a:pt x="55" y="186"/>
                  </a:lnTo>
                  <a:lnTo>
                    <a:pt x="49" y="186"/>
                  </a:lnTo>
                  <a:lnTo>
                    <a:pt x="47" y="186"/>
                  </a:lnTo>
                  <a:lnTo>
                    <a:pt x="40" y="190"/>
                  </a:lnTo>
                  <a:lnTo>
                    <a:pt x="36" y="190"/>
                  </a:lnTo>
                  <a:lnTo>
                    <a:pt x="34" y="194"/>
                  </a:lnTo>
                  <a:lnTo>
                    <a:pt x="29" y="194"/>
                  </a:lnTo>
                  <a:lnTo>
                    <a:pt x="29" y="194"/>
                  </a:lnTo>
                  <a:lnTo>
                    <a:pt x="25" y="194"/>
                  </a:lnTo>
                  <a:lnTo>
                    <a:pt x="15" y="182"/>
                  </a:lnTo>
                  <a:lnTo>
                    <a:pt x="19" y="175"/>
                  </a:lnTo>
                  <a:lnTo>
                    <a:pt x="0" y="152"/>
                  </a:lnTo>
                  <a:lnTo>
                    <a:pt x="4" y="143"/>
                  </a:lnTo>
                  <a:lnTo>
                    <a:pt x="4" y="143"/>
                  </a:lnTo>
                  <a:lnTo>
                    <a:pt x="4" y="143"/>
                  </a:lnTo>
                  <a:lnTo>
                    <a:pt x="4" y="143"/>
                  </a:lnTo>
                  <a:close/>
                  <a:moveTo>
                    <a:pt x="70" y="17"/>
                  </a:moveTo>
                  <a:lnTo>
                    <a:pt x="70" y="11"/>
                  </a:lnTo>
                  <a:lnTo>
                    <a:pt x="70" y="11"/>
                  </a:lnTo>
                  <a:lnTo>
                    <a:pt x="72" y="4"/>
                  </a:lnTo>
                  <a:lnTo>
                    <a:pt x="70" y="4"/>
                  </a:lnTo>
                  <a:lnTo>
                    <a:pt x="72" y="2"/>
                  </a:lnTo>
                  <a:lnTo>
                    <a:pt x="70" y="2"/>
                  </a:lnTo>
                  <a:lnTo>
                    <a:pt x="72" y="0"/>
                  </a:lnTo>
                  <a:lnTo>
                    <a:pt x="72" y="2"/>
                  </a:lnTo>
                  <a:lnTo>
                    <a:pt x="70" y="0"/>
                  </a:lnTo>
                  <a:lnTo>
                    <a:pt x="70" y="0"/>
                  </a:lnTo>
                  <a:lnTo>
                    <a:pt x="68" y="0"/>
                  </a:lnTo>
                  <a:lnTo>
                    <a:pt x="66" y="4"/>
                  </a:lnTo>
                  <a:lnTo>
                    <a:pt x="66" y="4"/>
                  </a:lnTo>
                  <a:lnTo>
                    <a:pt x="64" y="4"/>
                  </a:lnTo>
                  <a:lnTo>
                    <a:pt x="64" y="7"/>
                  </a:lnTo>
                  <a:lnTo>
                    <a:pt x="64" y="7"/>
                  </a:lnTo>
                  <a:lnTo>
                    <a:pt x="66" y="7"/>
                  </a:lnTo>
                  <a:lnTo>
                    <a:pt x="68" y="17"/>
                  </a:lnTo>
                  <a:lnTo>
                    <a:pt x="70" y="17"/>
                  </a:lnTo>
                  <a:lnTo>
                    <a:pt x="70" y="17"/>
                  </a:lnTo>
                  <a:lnTo>
                    <a:pt x="70"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 name="Freeform 96">
              <a:extLst>
                <a:ext uri="{FF2B5EF4-FFF2-40B4-BE49-F238E27FC236}">
                  <a16:creationId xmlns:a16="http://schemas.microsoft.com/office/drawing/2014/main" id="{9856714C-18A0-8444-A90A-B987F4E4624B}"/>
                </a:ext>
              </a:extLst>
            </p:cNvPr>
            <p:cNvSpPr>
              <a:spLocks noEditPoints="1"/>
            </p:cNvSpPr>
            <p:nvPr/>
          </p:nvSpPr>
          <p:spPr bwMode="auto">
            <a:xfrm>
              <a:off x="6796854" y="2705215"/>
              <a:ext cx="187734" cy="109683"/>
            </a:xfrm>
            <a:custGeom>
              <a:avLst/>
              <a:gdLst/>
              <a:ahLst/>
              <a:cxnLst>
                <a:cxn ang="0">
                  <a:pos x="5" y="55"/>
                </a:cxn>
                <a:cxn ang="0">
                  <a:pos x="11" y="53"/>
                </a:cxn>
                <a:cxn ang="0">
                  <a:pos x="13" y="45"/>
                </a:cxn>
                <a:cxn ang="0">
                  <a:pos x="19" y="32"/>
                </a:cxn>
                <a:cxn ang="0">
                  <a:pos x="36" y="38"/>
                </a:cxn>
                <a:cxn ang="0">
                  <a:pos x="68" y="51"/>
                </a:cxn>
                <a:cxn ang="0">
                  <a:pos x="100" y="23"/>
                </a:cxn>
                <a:cxn ang="0">
                  <a:pos x="167" y="9"/>
                </a:cxn>
                <a:cxn ang="0">
                  <a:pos x="182" y="40"/>
                </a:cxn>
                <a:cxn ang="0">
                  <a:pos x="190" y="55"/>
                </a:cxn>
                <a:cxn ang="0">
                  <a:pos x="177" y="64"/>
                </a:cxn>
                <a:cxn ang="0">
                  <a:pos x="177" y="72"/>
                </a:cxn>
                <a:cxn ang="0">
                  <a:pos x="177" y="73"/>
                </a:cxn>
                <a:cxn ang="0">
                  <a:pos x="165" y="79"/>
                </a:cxn>
                <a:cxn ang="0">
                  <a:pos x="149" y="85"/>
                </a:cxn>
                <a:cxn ang="0">
                  <a:pos x="124" y="92"/>
                </a:cxn>
                <a:cxn ang="0">
                  <a:pos x="120" y="94"/>
                </a:cxn>
                <a:cxn ang="0">
                  <a:pos x="111" y="106"/>
                </a:cxn>
                <a:cxn ang="0">
                  <a:pos x="109" y="104"/>
                </a:cxn>
                <a:cxn ang="0">
                  <a:pos x="103" y="107"/>
                </a:cxn>
                <a:cxn ang="0">
                  <a:pos x="100" y="104"/>
                </a:cxn>
                <a:cxn ang="0">
                  <a:pos x="92" y="113"/>
                </a:cxn>
                <a:cxn ang="0">
                  <a:pos x="81" y="115"/>
                </a:cxn>
                <a:cxn ang="0">
                  <a:pos x="69" y="119"/>
                </a:cxn>
                <a:cxn ang="0">
                  <a:pos x="64" y="115"/>
                </a:cxn>
                <a:cxn ang="0">
                  <a:pos x="60" y="115"/>
                </a:cxn>
                <a:cxn ang="0">
                  <a:pos x="54" y="119"/>
                </a:cxn>
                <a:cxn ang="0">
                  <a:pos x="49" y="124"/>
                </a:cxn>
                <a:cxn ang="0">
                  <a:pos x="41" y="130"/>
                </a:cxn>
                <a:cxn ang="0">
                  <a:pos x="36" y="128"/>
                </a:cxn>
                <a:cxn ang="0">
                  <a:pos x="30" y="134"/>
                </a:cxn>
                <a:cxn ang="0">
                  <a:pos x="24" y="134"/>
                </a:cxn>
                <a:cxn ang="0">
                  <a:pos x="19" y="128"/>
                </a:cxn>
                <a:cxn ang="0">
                  <a:pos x="13" y="121"/>
                </a:cxn>
                <a:cxn ang="0">
                  <a:pos x="13" y="115"/>
                </a:cxn>
                <a:cxn ang="0">
                  <a:pos x="7" y="104"/>
                </a:cxn>
                <a:cxn ang="0">
                  <a:pos x="4" y="79"/>
                </a:cxn>
                <a:cxn ang="0">
                  <a:pos x="0" y="79"/>
                </a:cxn>
                <a:cxn ang="0">
                  <a:pos x="2" y="75"/>
                </a:cxn>
                <a:cxn ang="0">
                  <a:pos x="5" y="75"/>
                </a:cxn>
                <a:cxn ang="0">
                  <a:pos x="4" y="58"/>
                </a:cxn>
                <a:cxn ang="0">
                  <a:pos x="2" y="55"/>
                </a:cxn>
                <a:cxn ang="0">
                  <a:pos x="2" y="55"/>
                </a:cxn>
                <a:cxn ang="0">
                  <a:pos x="181" y="141"/>
                </a:cxn>
                <a:cxn ang="0">
                  <a:pos x="181" y="143"/>
                </a:cxn>
                <a:cxn ang="0">
                  <a:pos x="177" y="141"/>
                </a:cxn>
                <a:cxn ang="0">
                  <a:pos x="177" y="141"/>
                </a:cxn>
                <a:cxn ang="0">
                  <a:pos x="201" y="134"/>
                </a:cxn>
                <a:cxn ang="0">
                  <a:pos x="203" y="130"/>
                </a:cxn>
                <a:cxn ang="0">
                  <a:pos x="207" y="134"/>
                </a:cxn>
                <a:cxn ang="0">
                  <a:pos x="213" y="134"/>
                </a:cxn>
                <a:cxn ang="0">
                  <a:pos x="216" y="134"/>
                </a:cxn>
                <a:cxn ang="0">
                  <a:pos x="220" y="134"/>
                </a:cxn>
                <a:cxn ang="0">
                  <a:pos x="216" y="136"/>
                </a:cxn>
                <a:cxn ang="0">
                  <a:pos x="207" y="139"/>
                </a:cxn>
                <a:cxn ang="0">
                  <a:pos x="201" y="138"/>
                </a:cxn>
                <a:cxn ang="0">
                  <a:pos x="197" y="136"/>
                </a:cxn>
              </a:cxnLst>
              <a:rect l="0" t="0" r="r" b="b"/>
              <a:pathLst>
                <a:path w="220" h="143">
                  <a:moveTo>
                    <a:pt x="2" y="55"/>
                  </a:moveTo>
                  <a:lnTo>
                    <a:pt x="5" y="55"/>
                  </a:lnTo>
                  <a:lnTo>
                    <a:pt x="7" y="58"/>
                  </a:lnTo>
                  <a:lnTo>
                    <a:pt x="11" y="53"/>
                  </a:lnTo>
                  <a:lnTo>
                    <a:pt x="13" y="49"/>
                  </a:lnTo>
                  <a:lnTo>
                    <a:pt x="13" y="45"/>
                  </a:lnTo>
                  <a:lnTo>
                    <a:pt x="13" y="36"/>
                  </a:lnTo>
                  <a:lnTo>
                    <a:pt x="19" y="32"/>
                  </a:lnTo>
                  <a:lnTo>
                    <a:pt x="24" y="38"/>
                  </a:lnTo>
                  <a:lnTo>
                    <a:pt x="36" y="38"/>
                  </a:lnTo>
                  <a:lnTo>
                    <a:pt x="51" y="45"/>
                  </a:lnTo>
                  <a:lnTo>
                    <a:pt x="68" y="51"/>
                  </a:lnTo>
                  <a:lnTo>
                    <a:pt x="68" y="70"/>
                  </a:lnTo>
                  <a:lnTo>
                    <a:pt x="100" y="23"/>
                  </a:lnTo>
                  <a:lnTo>
                    <a:pt x="171" y="0"/>
                  </a:lnTo>
                  <a:lnTo>
                    <a:pt x="167" y="9"/>
                  </a:lnTo>
                  <a:lnTo>
                    <a:pt x="186" y="34"/>
                  </a:lnTo>
                  <a:lnTo>
                    <a:pt x="182" y="40"/>
                  </a:lnTo>
                  <a:lnTo>
                    <a:pt x="192" y="53"/>
                  </a:lnTo>
                  <a:lnTo>
                    <a:pt x="190" y="55"/>
                  </a:lnTo>
                  <a:lnTo>
                    <a:pt x="182" y="58"/>
                  </a:lnTo>
                  <a:lnTo>
                    <a:pt x="177" y="64"/>
                  </a:lnTo>
                  <a:lnTo>
                    <a:pt x="177" y="70"/>
                  </a:lnTo>
                  <a:lnTo>
                    <a:pt x="177" y="72"/>
                  </a:lnTo>
                  <a:lnTo>
                    <a:pt x="177" y="72"/>
                  </a:lnTo>
                  <a:lnTo>
                    <a:pt x="177" y="73"/>
                  </a:lnTo>
                  <a:lnTo>
                    <a:pt x="171" y="75"/>
                  </a:lnTo>
                  <a:lnTo>
                    <a:pt x="165" y="79"/>
                  </a:lnTo>
                  <a:lnTo>
                    <a:pt x="158" y="83"/>
                  </a:lnTo>
                  <a:lnTo>
                    <a:pt x="149" y="85"/>
                  </a:lnTo>
                  <a:lnTo>
                    <a:pt x="147" y="89"/>
                  </a:lnTo>
                  <a:lnTo>
                    <a:pt x="124" y="92"/>
                  </a:lnTo>
                  <a:lnTo>
                    <a:pt x="124" y="92"/>
                  </a:lnTo>
                  <a:lnTo>
                    <a:pt x="120" y="94"/>
                  </a:lnTo>
                  <a:lnTo>
                    <a:pt x="117" y="100"/>
                  </a:lnTo>
                  <a:lnTo>
                    <a:pt x="111" y="106"/>
                  </a:lnTo>
                  <a:lnTo>
                    <a:pt x="109" y="106"/>
                  </a:lnTo>
                  <a:lnTo>
                    <a:pt x="109" y="104"/>
                  </a:lnTo>
                  <a:lnTo>
                    <a:pt x="105" y="106"/>
                  </a:lnTo>
                  <a:lnTo>
                    <a:pt x="103" y="107"/>
                  </a:lnTo>
                  <a:lnTo>
                    <a:pt x="100" y="106"/>
                  </a:lnTo>
                  <a:lnTo>
                    <a:pt x="100" y="104"/>
                  </a:lnTo>
                  <a:lnTo>
                    <a:pt x="92" y="109"/>
                  </a:lnTo>
                  <a:lnTo>
                    <a:pt x="92" y="113"/>
                  </a:lnTo>
                  <a:lnTo>
                    <a:pt x="88" y="115"/>
                  </a:lnTo>
                  <a:lnTo>
                    <a:pt x="81" y="115"/>
                  </a:lnTo>
                  <a:lnTo>
                    <a:pt x="73" y="119"/>
                  </a:lnTo>
                  <a:lnTo>
                    <a:pt x="69" y="119"/>
                  </a:lnTo>
                  <a:lnTo>
                    <a:pt x="69" y="115"/>
                  </a:lnTo>
                  <a:lnTo>
                    <a:pt x="64" y="115"/>
                  </a:lnTo>
                  <a:lnTo>
                    <a:pt x="62" y="115"/>
                  </a:lnTo>
                  <a:lnTo>
                    <a:pt x="60" y="115"/>
                  </a:lnTo>
                  <a:lnTo>
                    <a:pt x="56" y="115"/>
                  </a:lnTo>
                  <a:lnTo>
                    <a:pt x="54" y="119"/>
                  </a:lnTo>
                  <a:lnTo>
                    <a:pt x="51" y="124"/>
                  </a:lnTo>
                  <a:lnTo>
                    <a:pt x="49" y="124"/>
                  </a:lnTo>
                  <a:lnTo>
                    <a:pt x="45" y="128"/>
                  </a:lnTo>
                  <a:lnTo>
                    <a:pt x="41" y="130"/>
                  </a:lnTo>
                  <a:lnTo>
                    <a:pt x="39" y="128"/>
                  </a:lnTo>
                  <a:lnTo>
                    <a:pt x="36" y="128"/>
                  </a:lnTo>
                  <a:lnTo>
                    <a:pt x="32" y="134"/>
                  </a:lnTo>
                  <a:lnTo>
                    <a:pt x="30" y="134"/>
                  </a:lnTo>
                  <a:lnTo>
                    <a:pt x="24" y="130"/>
                  </a:lnTo>
                  <a:lnTo>
                    <a:pt x="24" y="134"/>
                  </a:lnTo>
                  <a:lnTo>
                    <a:pt x="21" y="134"/>
                  </a:lnTo>
                  <a:lnTo>
                    <a:pt x="19" y="128"/>
                  </a:lnTo>
                  <a:lnTo>
                    <a:pt x="19" y="124"/>
                  </a:lnTo>
                  <a:lnTo>
                    <a:pt x="13" y="121"/>
                  </a:lnTo>
                  <a:lnTo>
                    <a:pt x="13" y="115"/>
                  </a:lnTo>
                  <a:lnTo>
                    <a:pt x="13" y="115"/>
                  </a:lnTo>
                  <a:lnTo>
                    <a:pt x="13" y="109"/>
                  </a:lnTo>
                  <a:lnTo>
                    <a:pt x="7" y="104"/>
                  </a:lnTo>
                  <a:lnTo>
                    <a:pt x="7" y="89"/>
                  </a:lnTo>
                  <a:lnTo>
                    <a:pt x="4" y="79"/>
                  </a:lnTo>
                  <a:lnTo>
                    <a:pt x="2" y="79"/>
                  </a:lnTo>
                  <a:lnTo>
                    <a:pt x="0" y="79"/>
                  </a:lnTo>
                  <a:lnTo>
                    <a:pt x="0" y="75"/>
                  </a:lnTo>
                  <a:lnTo>
                    <a:pt x="2" y="75"/>
                  </a:lnTo>
                  <a:lnTo>
                    <a:pt x="2" y="75"/>
                  </a:lnTo>
                  <a:lnTo>
                    <a:pt x="5" y="75"/>
                  </a:lnTo>
                  <a:lnTo>
                    <a:pt x="5" y="68"/>
                  </a:lnTo>
                  <a:lnTo>
                    <a:pt x="4" y="58"/>
                  </a:lnTo>
                  <a:lnTo>
                    <a:pt x="2" y="55"/>
                  </a:lnTo>
                  <a:lnTo>
                    <a:pt x="2" y="55"/>
                  </a:lnTo>
                  <a:lnTo>
                    <a:pt x="2" y="55"/>
                  </a:lnTo>
                  <a:lnTo>
                    <a:pt x="2" y="55"/>
                  </a:lnTo>
                  <a:close/>
                  <a:moveTo>
                    <a:pt x="177" y="141"/>
                  </a:moveTo>
                  <a:lnTo>
                    <a:pt x="181" y="141"/>
                  </a:lnTo>
                  <a:lnTo>
                    <a:pt x="184" y="141"/>
                  </a:lnTo>
                  <a:lnTo>
                    <a:pt x="181" y="143"/>
                  </a:lnTo>
                  <a:lnTo>
                    <a:pt x="177" y="141"/>
                  </a:lnTo>
                  <a:lnTo>
                    <a:pt x="177" y="141"/>
                  </a:lnTo>
                  <a:lnTo>
                    <a:pt x="177" y="141"/>
                  </a:lnTo>
                  <a:lnTo>
                    <a:pt x="177" y="141"/>
                  </a:lnTo>
                  <a:close/>
                  <a:moveTo>
                    <a:pt x="197" y="136"/>
                  </a:moveTo>
                  <a:lnTo>
                    <a:pt x="201" y="134"/>
                  </a:lnTo>
                  <a:lnTo>
                    <a:pt x="201" y="134"/>
                  </a:lnTo>
                  <a:lnTo>
                    <a:pt x="203" y="130"/>
                  </a:lnTo>
                  <a:lnTo>
                    <a:pt x="205" y="130"/>
                  </a:lnTo>
                  <a:lnTo>
                    <a:pt x="207" y="134"/>
                  </a:lnTo>
                  <a:lnTo>
                    <a:pt x="209" y="134"/>
                  </a:lnTo>
                  <a:lnTo>
                    <a:pt x="213" y="134"/>
                  </a:lnTo>
                  <a:lnTo>
                    <a:pt x="216" y="130"/>
                  </a:lnTo>
                  <a:lnTo>
                    <a:pt x="216" y="134"/>
                  </a:lnTo>
                  <a:lnTo>
                    <a:pt x="220" y="134"/>
                  </a:lnTo>
                  <a:lnTo>
                    <a:pt x="220" y="134"/>
                  </a:lnTo>
                  <a:lnTo>
                    <a:pt x="220" y="136"/>
                  </a:lnTo>
                  <a:lnTo>
                    <a:pt x="216" y="136"/>
                  </a:lnTo>
                  <a:lnTo>
                    <a:pt x="213" y="139"/>
                  </a:lnTo>
                  <a:lnTo>
                    <a:pt x="207" y="139"/>
                  </a:lnTo>
                  <a:lnTo>
                    <a:pt x="203" y="139"/>
                  </a:lnTo>
                  <a:lnTo>
                    <a:pt x="201" y="138"/>
                  </a:lnTo>
                  <a:lnTo>
                    <a:pt x="197" y="136"/>
                  </a:lnTo>
                  <a:lnTo>
                    <a:pt x="197" y="136"/>
                  </a:lnTo>
                  <a:lnTo>
                    <a:pt x="197" y="13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 name="Freeform 97">
              <a:extLst>
                <a:ext uri="{FF2B5EF4-FFF2-40B4-BE49-F238E27FC236}">
                  <a16:creationId xmlns:a16="http://schemas.microsoft.com/office/drawing/2014/main" id="{DB413998-AA18-7A4A-90C1-6573FFCD73A7}"/>
                </a:ext>
              </a:extLst>
            </p:cNvPr>
            <p:cNvSpPr>
              <a:spLocks/>
            </p:cNvSpPr>
            <p:nvPr/>
          </p:nvSpPr>
          <p:spPr bwMode="auto">
            <a:xfrm>
              <a:off x="6504158" y="2518830"/>
              <a:ext cx="197974" cy="150334"/>
            </a:xfrm>
            <a:custGeom>
              <a:avLst/>
              <a:gdLst/>
              <a:ahLst/>
              <a:cxnLst>
                <a:cxn ang="0">
                  <a:pos x="187" y="36"/>
                </a:cxn>
                <a:cxn ang="0">
                  <a:pos x="173" y="11"/>
                </a:cxn>
                <a:cxn ang="0">
                  <a:pos x="166" y="8"/>
                </a:cxn>
                <a:cxn ang="0">
                  <a:pos x="140" y="11"/>
                </a:cxn>
                <a:cxn ang="0">
                  <a:pos x="134" y="11"/>
                </a:cxn>
                <a:cxn ang="0">
                  <a:pos x="128" y="9"/>
                </a:cxn>
                <a:cxn ang="0">
                  <a:pos x="128" y="4"/>
                </a:cxn>
                <a:cxn ang="0">
                  <a:pos x="115" y="0"/>
                </a:cxn>
                <a:cxn ang="0">
                  <a:pos x="117" y="4"/>
                </a:cxn>
                <a:cxn ang="0">
                  <a:pos x="106" y="6"/>
                </a:cxn>
                <a:cxn ang="0">
                  <a:pos x="108" y="4"/>
                </a:cxn>
                <a:cxn ang="0">
                  <a:pos x="102" y="2"/>
                </a:cxn>
                <a:cxn ang="0">
                  <a:pos x="92" y="8"/>
                </a:cxn>
                <a:cxn ang="0">
                  <a:pos x="83" y="15"/>
                </a:cxn>
                <a:cxn ang="0">
                  <a:pos x="66" y="11"/>
                </a:cxn>
                <a:cxn ang="0">
                  <a:pos x="51" y="8"/>
                </a:cxn>
                <a:cxn ang="0">
                  <a:pos x="38" y="4"/>
                </a:cxn>
                <a:cxn ang="0">
                  <a:pos x="8" y="0"/>
                </a:cxn>
                <a:cxn ang="0">
                  <a:pos x="4" y="4"/>
                </a:cxn>
                <a:cxn ang="0">
                  <a:pos x="4" y="21"/>
                </a:cxn>
                <a:cxn ang="0">
                  <a:pos x="4" y="40"/>
                </a:cxn>
                <a:cxn ang="0">
                  <a:pos x="232" y="194"/>
                </a:cxn>
                <a:cxn ang="0">
                  <a:pos x="224" y="190"/>
                </a:cxn>
                <a:cxn ang="0">
                  <a:pos x="217" y="181"/>
                </a:cxn>
                <a:cxn ang="0">
                  <a:pos x="207" y="177"/>
                </a:cxn>
                <a:cxn ang="0">
                  <a:pos x="204" y="160"/>
                </a:cxn>
                <a:cxn ang="0">
                  <a:pos x="205" y="156"/>
                </a:cxn>
                <a:cxn ang="0">
                  <a:pos x="205" y="155"/>
                </a:cxn>
                <a:cxn ang="0">
                  <a:pos x="202" y="151"/>
                </a:cxn>
                <a:cxn ang="0">
                  <a:pos x="190" y="132"/>
                </a:cxn>
                <a:cxn ang="0">
                  <a:pos x="175" y="107"/>
                </a:cxn>
                <a:cxn ang="0">
                  <a:pos x="172" y="94"/>
                </a:cxn>
                <a:cxn ang="0">
                  <a:pos x="166" y="81"/>
                </a:cxn>
                <a:cxn ang="0">
                  <a:pos x="162" y="74"/>
                </a:cxn>
                <a:cxn ang="0">
                  <a:pos x="145" y="55"/>
                </a:cxn>
                <a:cxn ang="0">
                  <a:pos x="141" y="41"/>
                </a:cxn>
                <a:cxn ang="0">
                  <a:pos x="141" y="40"/>
                </a:cxn>
                <a:cxn ang="0">
                  <a:pos x="147" y="45"/>
                </a:cxn>
                <a:cxn ang="0">
                  <a:pos x="153" y="57"/>
                </a:cxn>
                <a:cxn ang="0">
                  <a:pos x="162" y="68"/>
                </a:cxn>
                <a:cxn ang="0">
                  <a:pos x="177" y="81"/>
                </a:cxn>
                <a:cxn ang="0">
                  <a:pos x="183" y="70"/>
                </a:cxn>
                <a:cxn ang="0">
                  <a:pos x="183" y="57"/>
                </a:cxn>
                <a:cxn ang="0">
                  <a:pos x="187" y="47"/>
                </a:cxn>
              </a:cxnLst>
              <a:rect l="0" t="0" r="r" b="b"/>
              <a:pathLst>
                <a:path w="232" h="196">
                  <a:moveTo>
                    <a:pt x="187" y="47"/>
                  </a:moveTo>
                  <a:lnTo>
                    <a:pt x="185" y="40"/>
                  </a:lnTo>
                  <a:lnTo>
                    <a:pt x="187" y="36"/>
                  </a:lnTo>
                  <a:lnTo>
                    <a:pt x="181" y="25"/>
                  </a:lnTo>
                  <a:lnTo>
                    <a:pt x="175" y="19"/>
                  </a:lnTo>
                  <a:lnTo>
                    <a:pt x="173" y="11"/>
                  </a:lnTo>
                  <a:lnTo>
                    <a:pt x="170" y="6"/>
                  </a:lnTo>
                  <a:lnTo>
                    <a:pt x="168" y="4"/>
                  </a:lnTo>
                  <a:lnTo>
                    <a:pt x="166" y="8"/>
                  </a:lnTo>
                  <a:lnTo>
                    <a:pt x="162" y="9"/>
                  </a:lnTo>
                  <a:lnTo>
                    <a:pt x="149" y="8"/>
                  </a:lnTo>
                  <a:lnTo>
                    <a:pt x="140" y="11"/>
                  </a:lnTo>
                  <a:lnTo>
                    <a:pt x="132" y="6"/>
                  </a:lnTo>
                  <a:lnTo>
                    <a:pt x="132" y="9"/>
                  </a:lnTo>
                  <a:lnTo>
                    <a:pt x="134" y="11"/>
                  </a:lnTo>
                  <a:lnTo>
                    <a:pt x="134" y="15"/>
                  </a:lnTo>
                  <a:lnTo>
                    <a:pt x="132" y="11"/>
                  </a:lnTo>
                  <a:lnTo>
                    <a:pt x="128" y="9"/>
                  </a:lnTo>
                  <a:lnTo>
                    <a:pt x="128" y="6"/>
                  </a:lnTo>
                  <a:lnTo>
                    <a:pt x="128" y="6"/>
                  </a:lnTo>
                  <a:lnTo>
                    <a:pt x="128" y="4"/>
                  </a:lnTo>
                  <a:lnTo>
                    <a:pt x="123" y="4"/>
                  </a:lnTo>
                  <a:lnTo>
                    <a:pt x="121" y="2"/>
                  </a:lnTo>
                  <a:lnTo>
                    <a:pt x="115" y="0"/>
                  </a:lnTo>
                  <a:lnTo>
                    <a:pt x="113" y="2"/>
                  </a:lnTo>
                  <a:lnTo>
                    <a:pt x="117" y="2"/>
                  </a:lnTo>
                  <a:lnTo>
                    <a:pt x="117" y="4"/>
                  </a:lnTo>
                  <a:lnTo>
                    <a:pt x="113" y="4"/>
                  </a:lnTo>
                  <a:lnTo>
                    <a:pt x="109" y="4"/>
                  </a:lnTo>
                  <a:lnTo>
                    <a:pt x="106" y="6"/>
                  </a:lnTo>
                  <a:lnTo>
                    <a:pt x="104" y="4"/>
                  </a:lnTo>
                  <a:lnTo>
                    <a:pt x="104" y="4"/>
                  </a:lnTo>
                  <a:lnTo>
                    <a:pt x="108" y="4"/>
                  </a:lnTo>
                  <a:lnTo>
                    <a:pt x="111" y="2"/>
                  </a:lnTo>
                  <a:lnTo>
                    <a:pt x="108" y="2"/>
                  </a:lnTo>
                  <a:lnTo>
                    <a:pt x="102" y="2"/>
                  </a:lnTo>
                  <a:lnTo>
                    <a:pt x="98" y="4"/>
                  </a:lnTo>
                  <a:lnTo>
                    <a:pt x="96" y="8"/>
                  </a:lnTo>
                  <a:lnTo>
                    <a:pt x="92" y="8"/>
                  </a:lnTo>
                  <a:lnTo>
                    <a:pt x="89" y="9"/>
                  </a:lnTo>
                  <a:lnTo>
                    <a:pt x="83" y="11"/>
                  </a:lnTo>
                  <a:lnTo>
                    <a:pt x="83" y="15"/>
                  </a:lnTo>
                  <a:lnTo>
                    <a:pt x="77" y="15"/>
                  </a:lnTo>
                  <a:lnTo>
                    <a:pt x="72" y="11"/>
                  </a:lnTo>
                  <a:lnTo>
                    <a:pt x="66" y="11"/>
                  </a:lnTo>
                  <a:lnTo>
                    <a:pt x="60" y="11"/>
                  </a:lnTo>
                  <a:lnTo>
                    <a:pt x="55" y="8"/>
                  </a:lnTo>
                  <a:lnTo>
                    <a:pt x="51" y="8"/>
                  </a:lnTo>
                  <a:lnTo>
                    <a:pt x="49" y="9"/>
                  </a:lnTo>
                  <a:lnTo>
                    <a:pt x="44" y="6"/>
                  </a:lnTo>
                  <a:lnTo>
                    <a:pt x="38" y="4"/>
                  </a:lnTo>
                  <a:lnTo>
                    <a:pt x="25" y="2"/>
                  </a:lnTo>
                  <a:lnTo>
                    <a:pt x="17" y="0"/>
                  </a:lnTo>
                  <a:lnTo>
                    <a:pt x="8" y="0"/>
                  </a:lnTo>
                  <a:lnTo>
                    <a:pt x="4" y="2"/>
                  </a:lnTo>
                  <a:lnTo>
                    <a:pt x="4" y="2"/>
                  </a:lnTo>
                  <a:lnTo>
                    <a:pt x="4" y="4"/>
                  </a:lnTo>
                  <a:lnTo>
                    <a:pt x="4" y="11"/>
                  </a:lnTo>
                  <a:lnTo>
                    <a:pt x="4" y="19"/>
                  </a:lnTo>
                  <a:lnTo>
                    <a:pt x="4" y="21"/>
                  </a:lnTo>
                  <a:lnTo>
                    <a:pt x="4" y="30"/>
                  </a:lnTo>
                  <a:lnTo>
                    <a:pt x="0" y="34"/>
                  </a:lnTo>
                  <a:lnTo>
                    <a:pt x="4" y="40"/>
                  </a:lnTo>
                  <a:lnTo>
                    <a:pt x="4" y="49"/>
                  </a:lnTo>
                  <a:lnTo>
                    <a:pt x="10" y="196"/>
                  </a:lnTo>
                  <a:lnTo>
                    <a:pt x="232" y="194"/>
                  </a:lnTo>
                  <a:lnTo>
                    <a:pt x="232" y="194"/>
                  </a:lnTo>
                  <a:lnTo>
                    <a:pt x="230" y="194"/>
                  </a:lnTo>
                  <a:lnTo>
                    <a:pt x="224" y="190"/>
                  </a:lnTo>
                  <a:lnTo>
                    <a:pt x="224" y="187"/>
                  </a:lnTo>
                  <a:lnTo>
                    <a:pt x="220" y="187"/>
                  </a:lnTo>
                  <a:lnTo>
                    <a:pt x="217" y="181"/>
                  </a:lnTo>
                  <a:lnTo>
                    <a:pt x="217" y="181"/>
                  </a:lnTo>
                  <a:lnTo>
                    <a:pt x="213" y="181"/>
                  </a:lnTo>
                  <a:lnTo>
                    <a:pt x="207" y="177"/>
                  </a:lnTo>
                  <a:lnTo>
                    <a:pt x="204" y="168"/>
                  </a:lnTo>
                  <a:lnTo>
                    <a:pt x="204" y="164"/>
                  </a:lnTo>
                  <a:lnTo>
                    <a:pt x="204" y="160"/>
                  </a:lnTo>
                  <a:lnTo>
                    <a:pt x="204" y="156"/>
                  </a:lnTo>
                  <a:lnTo>
                    <a:pt x="204" y="156"/>
                  </a:lnTo>
                  <a:lnTo>
                    <a:pt x="205" y="156"/>
                  </a:lnTo>
                  <a:lnTo>
                    <a:pt x="211" y="156"/>
                  </a:lnTo>
                  <a:lnTo>
                    <a:pt x="207" y="155"/>
                  </a:lnTo>
                  <a:lnTo>
                    <a:pt x="205" y="155"/>
                  </a:lnTo>
                  <a:lnTo>
                    <a:pt x="204" y="151"/>
                  </a:lnTo>
                  <a:lnTo>
                    <a:pt x="202" y="151"/>
                  </a:lnTo>
                  <a:lnTo>
                    <a:pt x="202" y="151"/>
                  </a:lnTo>
                  <a:lnTo>
                    <a:pt x="200" y="149"/>
                  </a:lnTo>
                  <a:lnTo>
                    <a:pt x="198" y="143"/>
                  </a:lnTo>
                  <a:lnTo>
                    <a:pt x="190" y="132"/>
                  </a:lnTo>
                  <a:lnTo>
                    <a:pt x="187" y="130"/>
                  </a:lnTo>
                  <a:lnTo>
                    <a:pt x="187" y="124"/>
                  </a:lnTo>
                  <a:lnTo>
                    <a:pt x="175" y="107"/>
                  </a:lnTo>
                  <a:lnTo>
                    <a:pt x="175" y="104"/>
                  </a:lnTo>
                  <a:lnTo>
                    <a:pt x="173" y="100"/>
                  </a:lnTo>
                  <a:lnTo>
                    <a:pt x="172" y="94"/>
                  </a:lnTo>
                  <a:lnTo>
                    <a:pt x="170" y="90"/>
                  </a:lnTo>
                  <a:lnTo>
                    <a:pt x="170" y="90"/>
                  </a:lnTo>
                  <a:lnTo>
                    <a:pt x="166" y="81"/>
                  </a:lnTo>
                  <a:lnTo>
                    <a:pt x="166" y="81"/>
                  </a:lnTo>
                  <a:lnTo>
                    <a:pt x="166" y="77"/>
                  </a:lnTo>
                  <a:lnTo>
                    <a:pt x="162" y="74"/>
                  </a:lnTo>
                  <a:lnTo>
                    <a:pt x="153" y="64"/>
                  </a:lnTo>
                  <a:lnTo>
                    <a:pt x="153" y="60"/>
                  </a:lnTo>
                  <a:lnTo>
                    <a:pt x="145" y="55"/>
                  </a:lnTo>
                  <a:lnTo>
                    <a:pt x="145" y="49"/>
                  </a:lnTo>
                  <a:lnTo>
                    <a:pt x="140" y="45"/>
                  </a:lnTo>
                  <a:lnTo>
                    <a:pt x="141" y="41"/>
                  </a:lnTo>
                  <a:lnTo>
                    <a:pt x="141" y="40"/>
                  </a:lnTo>
                  <a:lnTo>
                    <a:pt x="141" y="38"/>
                  </a:lnTo>
                  <a:lnTo>
                    <a:pt x="141" y="40"/>
                  </a:lnTo>
                  <a:lnTo>
                    <a:pt x="143" y="40"/>
                  </a:lnTo>
                  <a:lnTo>
                    <a:pt x="145" y="43"/>
                  </a:lnTo>
                  <a:lnTo>
                    <a:pt x="147" y="45"/>
                  </a:lnTo>
                  <a:lnTo>
                    <a:pt x="147" y="49"/>
                  </a:lnTo>
                  <a:lnTo>
                    <a:pt x="153" y="55"/>
                  </a:lnTo>
                  <a:lnTo>
                    <a:pt x="153" y="57"/>
                  </a:lnTo>
                  <a:lnTo>
                    <a:pt x="156" y="60"/>
                  </a:lnTo>
                  <a:lnTo>
                    <a:pt x="162" y="64"/>
                  </a:lnTo>
                  <a:lnTo>
                    <a:pt x="162" y="68"/>
                  </a:lnTo>
                  <a:lnTo>
                    <a:pt x="172" y="77"/>
                  </a:lnTo>
                  <a:lnTo>
                    <a:pt x="177" y="79"/>
                  </a:lnTo>
                  <a:lnTo>
                    <a:pt x="177" y="81"/>
                  </a:lnTo>
                  <a:lnTo>
                    <a:pt x="177" y="79"/>
                  </a:lnTo>
                  <a:lnTo>
                    <a:pt x="181" y="75"/>
                  </a:lnTo>
                  <a:lnTo>
                    <a:pt x="183" y="70"/>
                  </a:lnTo>
                  <a:lnTo>
                    <a:pt x="181" y="68"/>
                  </a:lnTo>
                  <a:lnTo>
                    <a:pt x="183" y="62"/>
                  </a:lnTo>
                  <a:lnTo>
                    <a:pt x="183" y="57"/>
                  </a:lnTo>
                  <a:lnTo>
                    <a:pt x="187" y="49"/>
                  </a:lnTo>
                  <a:lnTo>
                    <a:pt x="187" y="47"/>
                  </a:lnTo>
                  <a:lnTo>
                    <a:pt x="187" y="47"/>
                  </a:lnTo>
                  <a:lnTo>
                    <a:pt x="187" y="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 name="Freeform 98">
              <a:extLst>
                <a:ext uri="{FF2B5EF4-FFF2-40B4-BE49-F238E27FC236}">
                  <a16:creationId xmlns:a16="http://schemas.microsoft.com/office/drawing/2014/main" id="{3DE08777-C209-A348-89DC-3DC8029CE13A}"/>
                </a:ext>
              </a:extLst>
            </p:cNvPr>
            <p:cNvSpPr>
              <a:spLocks/>
            </p:cNvSpPr>
            <p:nvPr/>
          </p:nvSpPr>
          <p:spPr bwMode="auto">
            <a:xfrm>
              <a:off x="6467464" y="2669164"/>
              <a:ext cx="261975" cy="266920"/>
            </a:xfrm>
            <a:custGeom>
              <a:avLst/>
              <a:gdLst/>
              <a:ahLst/>
              <a:cxnLst>
                <a:cxn ang="0">
                  <a:pos x="275" y="6"/>
                </a:cxn>
                <a:cxn ang="0">
                  <a:pos x="277" y="15"/>
                </a:cxn>
                <a:cxn ang="0">
                  <a:pos x="277" y="15"/>
                </a:cxn>
                <a:cxn ang="0">
                  <a:pos x="282" y="47"/>
                </a:cxn>
                <a:cxn ang="0">
                  <a:pos x="297" y="73"/>
                </a:cxn>
                <a:cxn ang="0">
                  <a:pos x="305" y="79"/>
                </a:cxn>
                <a:cxn ang="0">
                  <a:pos x="290" y="87"/>
                </a:cxn>
                <a:cxn ang="0">
                  <a:pos x="282" y="94"/>
                </a:cxn>
                <a:cxn ang="0">
                  <a:pos x="282" y="105"/>
                </a:cxn>
                <a:cxn ang="0">
                  <a:pos x="273" y="128"/>
                </a:cxn>
                <a:cxn ang="0">
                  <a:pos x="275" y="147"/>
                </a:cxn>
                <a:cxn ang="0">
                  <a:pos x="263" y="175"/>
                </a:cxn>
                <a:cxn ang="0">
                  <a:pos x="252" y="188"/>
                </a:cxn>
                <a:cxn ang="0">
                  <a:pos x="239" y="211"/>
                </a:cxn>
                <a:cxn ang="0">
                  <a:pos x="235" y="230"/>
                </a:cxn>
                <a:cxn ang="0">
                  <a:pos x="228" y="256"/>
                </a:cxn>
                <a:cxn ang="0">
                  <a:pos x="215" y="256"/>
                </a:cxn>
                <a:cxn ang="0">
                  <a:pos x="215" y="269"/>
                </a:cxn>
                <a:cxn ang="0">
                  <a:pos x="228" y="279"/>
                </a:cxn>
                <a:cxn ang="0">
                  <a:pos x="241" y="288"/>
                </a:cxn>
                <a:cxn ang="0">
                  <a:pos x="250" y="307"/>
                </a:cxn>
                <a:cxn ang="0">
                  <a:pos x="235" y="330"/>
                </a:cxn>
                <a:cxn ang="0">
                  <a:pos x="228" y="339"/>
                </a:cxn>
                <a:cxn ang="0">
                  <a:pos x="205" y="345"/>
                </a:cxn>
                <a:cxn ang="0">
                  <a:pos x="194" y="348"/>
                </a:cxn>
                <a:cxn ang="0">
                  <a:pos x="183" y="347"/>
                </a:cxn>
                <a:cxn ang="0">
                  <a:pos x="173" y="348"/>
                </a:cxn>
                <a:cxn ang="0">
                  <a:pos x="164" y="347"/>
                </a:cxn>
                <a:cxn ang="0">
                  <a:pos x="154" y="335"/>
                </a:cxn>
                <a:cxn ang="0">
                  <a:pos x="143" y="324"/>
                </a:cxn>
                <a:cxn ang="0">
                  <a:pos x="134" y="330"/>
                </a:cxn>
                <a:cxn ang="0">
                  <a:pos x="122" y="333"/>
                </a:cxn>
                <a:cxn ang="0">
                  <a:pos x="109" y="324"/>
                </a:cxn>
                <a:cxn ang="0">
                  <a:pos x="103" y="316"/>
                </a:cxn>
                <a:cxn ang="0">
                  <a:pos x="90" y="303"/>
                </a:cxn>
                <a:cxn ang="0">
                  <a:pos x="85" y="294"/>
                </a:cxn>
                <a:cxn ang="0">
                  <a:pos x="71" y="281"/>
                </a:cxn>
                <a:cxn ang="0">
                  <a:pos x="64" y="275"/>
                </a:cxn>
                <a:cxn ang="0">
                  <a:pos x="58" y="267"/>
                </a:cxn>
                <a:cxn ang="0">
                  <a:pos x="45" y="258"/>
                </a:cxn>
                <a:cxn ang="0">
                  <a:pos x="38" y="254"/>
                </a:cxn>
                <a:cxn ang="0">
                  <a:pos x="32" y="239"/>
                </a:cxn>
                <a:cxn ang="0">
                  <a:pos x="24" y="217"/>
                </a:cxn>
                <a:cxn ang="0">
                  <a:pos x="19" y="207"/>
                </a:cxn>
                <a:cxn ang="0">
                  <a:pos x="11" y="192"/>
                </a:cxn>
                <a:cxn ang="0">
                  <a:pos x="9" y="179"/>
                </a:cxn>
                <a:cxn ang="0">
                  <a:pos x="0" y="175"/>
                </a:cxn>
                <a:cxn ang="0">
                  <a:pos x="6" y="156"/>
                </a:cxn>
                <a:cxn ang="0">
                  <a:pos x="11" y="143"/>
                </a:cxn>
                <a:cxn ang="0">
                  <a:pos x="21" y="122"/>
                </a:cxn>
                <a:cxn ang="0">
                  <a:pos x="38" y="119"/>
                </a:cxn>
                <a:cxn ang="0">
                  <a:pos x="51" y="2"/>
                </a:cxn>
              </a:cxnLst>
              <a:rect l="0" t="0" r="r" b="b"/>
              <a:pathLst>
                <a:path w="307" h="348">
                  <a:moveTo>
                    <a:pt x="51" y="2"/>
                  </a:moveTo>
                  <a:lnTo>
                    <a:pt x="273" y="0"/>
                  </a:lnTo>
                  <a:lnTo>
                    <a:pt x="273" y="2"/>
                  </a:lnTo>
                  <a:lnTo>
                    <a:pt x="273" y="4"/>
                  </a:lnTo>
                  <a:lnTo>
                    <a:pt x="275" y="6"/>
                  </a:lnTo>
                  <a:lnTo>
                    <a:pt x="273" y="6"/>
                  </a:lnTo>
                  <a:lnTo>
                    <a:pt x="275" y="7"/>
                  </a:lnTo>
                  <a:lnTo>
                    <a:pt x="275" y="7"/>
                  </a:lnTo>
                  <a:lnTo>
                    <a:pt x="275" y="9"/>
                  </a:lnTo>
                  <a:lnTo>
                    <a:pt x="277" y="15"/>
                  </a:lnTo>
                  <a:lnTo>
                    <a:pt x="280" y="19"/>
                  </a:lnTo>
                  <a:lnTo>
                    <a:pt x="280" y="19"/>
                  </a:lnTo>
                  <a:lnTo>
                    <a:pt x="279" y="19"/>
                  </a:lnTo>
                  <a:lnTo>
                    <a:pt x="279" y="19"/>
                  </a:lnTo>
                  <a:lnTo>
                    <a:pt x="277" y="15"/>
                  </a:lnTo>
                  <a:lnTo>
                    <a:pt x="277" y="19"/>
                  </a:lnTo>
                  <a:lnTo>
                    <a:pt x="277" y="21"/>
                  </a:lnTo>
                  <a:lnTo>
                    <a:pt x="282" y="34"/>
                  </a:lnTo>
                  <a:lnTo>
                    <a:pt x="282" y="39"/>
                  </a:lnTo>
                  <a:lnTo>
                    <a:pt x="282" y="47"/>
                  </a:lnTo>
                  <a:lnTo>
                    <a:pt x="282" y="56"/>
                  </a:lnTo>
                  <a:lnTo>
                    <a:pt x="286" y="62"/>
                  </a:lnTo>
                  <a:lnTo>
                    <a:pt x="290" y="64"/>
                  </a:lnTo>
                  <a:lnTo>
                    <a:pt x="297" y="68"/>
                  </a:lnTo>
                  <a:lnTo>
                    <a:pt x="297" y="73"/>
                  </a:lnTo>
                  <a:lnTo>
                    <a:pt x="301" y="73"/>
                  </a:lnTo>
                  <a:lnTo>
                    <a:pt x="307" y="73"/>
                  </a:lnTo>
                  <a:lnTo>
                    <a:pt x="307" y="75"/>
                  </a:lnTo>
                  <a:lnTo>
                    <a:pt x="307" y="75"/>
                  </a:lnTo>
                  <a:lnTo>
                    <a:pt x="305" y="79"/>
                  </a:lnTo>
                  <a:lnTo>
                    <a:pt x="301" y="81"/>
                  </a:lnTo>
                  <a:lnTo>
                    <a:pt x="299" y="83"/>
                  </a:lnTo>
                  <a:lnTo>
                    <a:pt x="297" y="85"/>
                  </a:lnTo>
                  <a:lnTo>
                    <a:pt x="292" y="85"/>
                  </a:lnTo>
                  <a:lnTo>
                    <a:pt x="290" y="87"/>
                  </a:lnTo>
                  <a:lnTo>
                    <a:pt x="286" y="87"/>
                  </a:lnTo>
                  <a:lnTo>
                    <a:pt x="286" y="88"/>
                  </a:lnTo>
                  <a:lnTo>
                    <a:pt x="286" y="92"/>
                  </a:lnTo>
                  <a:lnTo>
                    <a:pt x="286" y="94"/>
                  </a:lnTo>
                  <a:lnTo>
                    <a:pt x="282" y="94"/>
                  </a:lnTo>
                  <a:lnTo>
                    <a:pt x="280" y="94"/>
                  </a:lnTo>
                  <a:lnTo>
                    <a:pt x="280" y="98"/>
                  </a:lnTo>
                  <a:lnTo>
                    <a:pt x="279" y="102"/>
                  </a:lnTo>
                  <a:lnTo>
                    <a:pt x="280" y="104"/>
                  </a:lnTo>
                  <a:lnTo>
                    <a:pt x="282" y="105"/>
                  </a:lnTo>
                  <a:lnTo>
                    <a:pt x="280" y="107"/>
                  </a:lnTo>
                  <a:lnTo>
                    <a:pt x="279" y="113"/>
                  </a:lnTo>
                  <a:lnTo>
                    <a:pt x="277" y="122"/>
                  </a:lnTo>
                  <a:lnTo>
                    <a:pt x="273" y="126"/>
                  </a:lnTo>
                  <a:lnTo>
                    <a:pt x="273" y="128"/>
                  </a:lnTo>
                  <a:lnTo>
                    <a:pt x="271" y="132"/>
                  </a:lnTo>
                  <a:lnTo>
                    <a:pt x="271" y="136"/>
                  </a:lnTo>
                  <a:lnTo>
                    <a:pt x="273" y="143"/>
                  </a:lnTo>
                  <a:lnTo>
                    <a:pt x="273" y="147"/>
                  </a:lnTo>
                  <a:lnTo>
                    <a:pt x="275" y="147"/>
                  </a:lnTo>
                  <a:lnTo>
                    <a:pt x="273" y="149"/>
                  </a:lnTo>
                  <a:lnTo>
                    <a:pt x="271" y="154"/>
                  </a:lnTo>
                  <a:lnTo>
                    <a:pt x="271" y="160"/>
                  </a:lnTo>
                  <a:lnTo>
                    <a:pt x="265" y="168"/>
                  </a:lnTo>
                  <a:lnTo>
                    <a:pt x="263" y="175"/>
                  </a:lnTo>
                  <a:lnTo>
                    <a:pt x="262" y="175"/>
                  </a:lnTo>
                  <a:lnTo>
                    <a:pt x="258" y="175"/>
                  </a:lnTo>
                  <a:lnTo>
                    <a:pt x="258" y="179"/>
                  </a:lnTo>
                  <a:lnTo>
                    <a:pt x="256" y="186"/>
                  </a:lnTo>
                  <a:lnTo>
                    <a:pt x="252" y="188"/>
                  </a:lnTo>
                  <a:lnTo>
                    <a:pt x="250" y="192"/>
                  </a:lnTo>
                  <a:lnTo>
                    <a:pt x="247" y="200"/>
                  </a:lnTo>
                  <a:lnTo>
                    <a:pt x="243" y="213"/>
                  </a:lnTo>
                  <a:lnTo>
                    <a:pt x="241" y="211"/>
                  </a:lnTo>
                  <a:lnTo>
                    <a:pt x="239" y="211"/>
                  </a:lnTo>
                  <a:lnTo>
                    <a:pt x="239" y="215"/>
                  </a:lnTo>
                  <a:lnTo>
                    <a:pt x="235" y="220"/>
                  </a:lnTo>
                  <a:lnTo>
                    <a:pt x="233" y="224"/>
                  </a:lnTo>
                  <a:lnTo>
                    <a:pt x="233" y="226"/>
                  </a:lnTo>
                  <a:lnTo>
                    <a:pt x="235" y="230"/>
                  </a:lnTo>
                  <a:lnTo>
                    <a:pt x="231" y="234"/>
                  </a:lnTo>
                  <a:lnTo>
                    <a:pt x="231" y="239"/>
                  </a:lnTo>
                  <a:lnTo>
                    <a:pt x="231" y="245"/>
                  </a:lnTo>
                  <a:lnTo>
                    <a:pt x="231" y="254"/>
                  </a:lnTo>
                  <a:lnTo>
                    <a:pt x="228" y="256"/>
                  </a:lnTo>
                  <a:lnTo>
                    <a:pt x="228" y="258"/>
                  </a:lnTo>
                  <a:lnTo>
                    <a:pt x="226" y="258"/>
                  </a:lnTo>
                  <a:lnTo>
                    <a:pt x="222" y="256"/>
                  </a:lnTo>
                  <a:lnTo>
                    <a:pt x="218" y="256"/>
                  </a:lnTo>
                  <a:lnTo>
                    <a:pt x="215" y="256"/>
                  </a:lnTo>
                  <a:lnTo>
                    <a:pt x="215" y="260"/>
                  </a:lnTo>
                  <a:lnTo>
                    <a:pt x="213" y="262"/>
                  </a:lnTo>
                  <a:lnTo>
                    <a:pt x="209" y="266"/>
                  </a:lnTo>
                  <a:lnTo>
                    <a:pt x="211" y="269"/>
                  </a:lnTo>
                  <a:lnTo>
                    <a:pt x="215" y="269"/>
                  </a:lnTo>
                  <a:lnTo>
                    <a:pt x="222" y="269"/>
                  </a:lnTo>
                  <a:lnTo>
                    <a:pt x="222" y="271"/>
                  </a:lnTo>
                  <a:lnTo>
                    <a:pt x="228" y="275"/>
                  </a:lnTo>
                  <a:lnTo>
                    <a:pt x="228" y="279"/>
                  </a:lnTo>
                  <a:lnTo>
                    <a:pt x="228" y="279"/>
                  </a:lnTo>
                  <a:lnTo>
                    <a:pt x="231" y="284"/>
                  </a:lnTo>
                  <a:lnTo>
                    <a:pt x="235" y="286"/>
                  </a:lnTo>
                  <a:lnTo>
                    <a:pt x="235" y="288"/>
                  </a:lnTo>
                  <a:lnTo>
                    <a:pt x="237" y="288"/>
                  </a:lnTo>
                  <a:lnTo>
                    <a:pt x="241" y="288"/>
                  </a:lnTo>
                  <a:lnTo>
                    <a:pt x="243" y="292"/>
                  </a:lnTo>
                  <a:lnTo>
                    <a:pt x="245" y="296"/>
                  </a:lnTo>
                  <a:lnTo>
                    <a:pt x="248" y="299"/>
                  </a:lnTo>
                  <a:lnTo>
                    <a:pt x="248" y="303"/>
                  </a:lnTo>
                  <a:lnTo>
                    <a:pt x="250" y="307"/>
                  </a:lnTo>
                  <a:lnTo>
                    <a:pt x="252" y="313"/>
                  </a:lnTo>
                  <a:lnTo>
                    <a:pt x="247" y="320"/>
                  </a:lnTo>
                  <a:lnTo>
                    <a:pt x="241" y="328"/>
                  </a:lnTo>
                  <a:lnTo>
                    <a:pt x="239" y="328"/>
                  </a:lnTo>
                  <a:lnTo>
                    <a:pt x="235" y="330"/>
                  </a:lnTo>
                  <a:lnTo>
                    <a:pt x="233" y="331"/>
                  </a:lnTo>
                  <a:lnTo>
                    <a:pt x="231" y="331"/>
                  </a:lnTo>
                  <a:lnTo>
                    <a:pt x="231" y="335"/>
                  </a:lnTo>
                  <a:lnTo>
                    <a:pt x="231" y="335"/>
                  </a:lnTo>
                  <a:lnTo>
                    <a:pt x="228" y="339"/>
                  </a:lnTo>
                  <a:lnTo>
                    <a:pt x="222" y="341"/>
                  </a:lnTo>
                  <a:lnTo>
                    <a:pt x="218" y="343"/>
                  </a:lnTo>
                  <a:lnTo>
                    <a:pt x="216" y="343"/>
                  </a:lnTo>
                  <a:lnTo>
                    <a:pt x="209" y="343"/>
                  </a:lnTo>
                  <a:lnTo>
                    <a:pt x="205" y="345"/>
                  </a:lnTo>
                  <a:lnTo>
                    <a:pt x="201" y="345"/>
                  </a:lnTo>
                  <a:lnTo>
                    <a:pt x="201" y="345"/>
                  </a:lnTo>
                  <a:lnTo>
                    <a:pt x="198" y="345"/>
                  </a:lnTo>
                  <a:lnTo>
                    <a:pt x="194" y="347"/>
                  </a:lnTo>
                  <a:lnTo>
                    <a:pt x="194" y="348"/>
                  </a:lnTo>
                  <a:lnTo>
                    <a:pt x="194" y="348"/>
                  </a:lnTo>
                  <a:lnTo>
                    <a:pt x="188" y="348"/>
                  </a:lnTo>
                  <a:lnTo>
                    <a:pt x="188" y="347"/>
                  </a:lnTo>
                  <a:lnTo>
                    <a:pt x="186" y="345"/>
                  </a:lnTo>
                  <a:lnTo>
                    <a:pt x="183" y="347"/>
                  </a:lnTo>
                  <a:lnTo>
                    <a:pt x="177" y="345"/>
                  </a:lnTo>
                  <a:lnTo>
                    <a:pt x="173" y="343"/>
                  </a:lnTo>
                  <a:lnTo>
                    <a:pt x="173" y="345"/>
                  </a:lnTo>
                  <a:lnTo>
                    <a:pt x="173" y="347"/>
                  </a:lnTo>
                  <a:lnTo>
                    <a:pt x="173" y="348"/>
                  </a:lnTo>
                  <a:lnTo>
                    <a:pt x="173" y="348"/>
                  </a:lnTo>
                  <a:lnTo>
                    <a:pt x="169" y="348"/>
                  </a:lnTo>
                  <a:lnTo>
                    <a:pt x="167" y="348"/>
                  </a:lnTo>
                  <a:lnTo>
                    <a:pt x="164" y="348"/>
                  </a:lnTo>
                  <a:lnTo>
                    <a:pt x="164" y="347"/>
                  </a:lnTo>
                  <a:lnTo>
                    <a:pt x="164" y="345"/>
                  </a:lnTo>
                  <a:lnTo>
                    <a:pt x="164" y="343"/>
                  </a:lnTo>
                  <a:lnTo>
                    <a:pt x="162" y="339"/>
                  </a:lnTo>
                  <a:lnTo>
                    <a:pt x="160" y="337"/>
                  </a:lnTo>
                  <a:lnTo>
                    <a:pt x="154" y="335"/>
                  </a:lnTo>
                  <a:lnTo>
                    <a:pt x="154" y="333"/>
                  </a:lnTo>
                  <a:lnTo>
                    <a:pt x="152" y="331"/>
                  </a:lnTo>
                  <a:lnTo>
                    <a:pt x="149" y="328"/>
                  </a:lnTo>
                  <a:lnTo>
                    <a:pt x="149" y="328"/>
                  </a:lnTo>
                  <a:lnTo>
                    <a:pt x="143" y="324"/>
                  </a:lnTo>
                  <a:lnTo>
                    <a:pt x="143" y="328"/>
                  </a:lnTo>
                  <a:lnTo>
                    <a:pt x="139" y="330"/>
                  </a:lnTo>
                  <a:lnTo>
                    <a:pt x="137" y="331"/>
                  </a:lnTo>
                  <a:lnTo>
                    <a:pt x="134" y="331"/>
                  </a:lnTo>
                  <a:lnTo>
                    <a:pt x="134" y="330"/>
                  </a:lnTo>
                  <a:lnTo>
                    <a:pt x="132" y="330"/>
                  </a:lnTo>
                  <a:lnTo>
                    <a:pt x="128" y="330"/>
                  </a:lnTo>
                  <a:lnTo>
                    <a:pt x="126" y="331"/>
                  </a:lnTo>
                  <a:lnTo>
                    <a:pt x="124" y="333"/>
                  </a:lnTo>
                  <a:lnTo>
                    <a:pt x="122" y="333"/>
                  </a:lnTo>
                  <a:lnTo>
                    <a:pt x="119" y="331"/>
                  </a:lnTo>
                  <a:lnTo>
                    <a:pt x="113" y="330"/>
                  </a:lnTo>
                  <a:lnTo>
                    <a:pt x="113" y="328"/>
                  </a:lnTo>
                  <a:lnTo>
                    <a:pt x="109" y="328"/>
                  </a:lnTo>
                  <a:lnTo>
                    <a:pt x="109" y="324"/>
                  </a:lnTo>
                  <a:lnTo>
                    <a:pt x="109" y="322"/>
                  </a:lnTo>
                  <a:lnTo>
                    <a:pt x="107" y="322"/>
                  </a:lnTo>
                  <a:lnTo>
                    <a:pt x="107" y="322"/>
                  </a:lnTo>
                  <a:lnTo>
                    <a:pt x="105" y="318"/>
                  </a:lnTo>
                  <a:lnTo>
                    <a:pt x="103" y="316"/>
                  </a:lnTo>
                  <a:lnTo>
                    <a:pt x="100" y="315"/>
                  </a:lnTo>
                  <a:lnTo>
                    <a:pt x="100" y="309"/>
                  </a:lnTo>
                  <a:lnTo>
                    <a:pt x="100" y="307"/>
                  </a:lnTo>
                  <a:lnTo>
                    <a:pt x="98" y="305"/>
                  </a:lnTo>
                  <a:lnTo>
                    <a:pt x="90" y="303"/>
                  </a:lnTo>
                  <a:lnTo>
                    <a:pt x="88" y="303"/>
                  </a:lnTo>
                  <a:lnTo>
                    <a:pt x="88" y="299"/>
                  </a:lnTo>
                  <a:lnTo>
                    <a:pt x="88" y="298"/>
                  </a:lnTo>
                  <a:lnTo>
                    <a:pt x="85" y="296"/>
                  </a:lnTo>
                  <a:lnTo>
                    <a:pt x="85" y="294"/>
                  </a:lnTo>
                  <a:lnTo>
                    <a:pt x="81" y="288"/>
                  </a:lnTo>
                  <a:lnTo>
                    <a:pt x="81" y="286"/>
                  </a:lnTo>
                  <a:lnTo>
                    <a:pt x="75" y="282"/>
                  </a:lnTo>
                  <a:lnTo>
                    <a:pt x="73" y="282"/>
                  </a:lnTo>
                  <a:lnTo>
                    <a:pt x="71" y="281"/>
                  </a:lnTo>
                  <a:lnTo>
                    <a:pt x="70" y="282"/>
                  </a:lnTo>
                  <a:lnTo>
                    <a:pt x="66" y="281"/>
                  </a:lnTo>
                  <a:lnTo>
                    <a:pt x="62" y="279"/>
                  </a:lnTo>
                  <a:lnTo>
                    <a:pt x="64" y="275"/>
                  </a:lnTo>
                  <a:lnTo>
                    <a:pt x="64" y="275"/>
                  </a:lnTo>
                  <a:lnTo>
                    <a:pt x="68" y="273"/>
                  </a:lnTo>
                  <a:lnTo>
                    <a:pt x="68" y="271"/>
                  </a:lnTo>
                  <a:lnTo>
                    <a:pt x="66" y="269"/>
                  </a:lnTo>
                  <a:lnTo>
                    <a:pt x="62" y="269"/>
                  </a:lnTo>
                  <a:lnTo>
                    <a:pt x="58" y="267"/>
                  </a:lnTo>
                  <a:lnTo>
                    <a:pt x="58" y="264"/>
                  </a:lnTo>
                  <a:lnTo>
                    <a:pt x="55" y="262"/>
                  </a:lnTo>
                  <a:lnTo>
                    <a:pt x="51" y="262"/>
                  </a:lnTo>
                  <a:lnTo>
                    <a:pt x="49" y="260"/>
                  </a:lnTo>
                  <a:lnTo>
                    <a:pt x="45" y="258"/>
                  </a:lnTo>
                  <a:lnTo>
                    <a:pt x="45" y="254"/>
                  </a:lnTo>
                  <a:lnTo>
                    <a:pt x="45" y="250"/>
                  </a:lnTo>
                  <a:lnTo>
                    <a:pt x="45" y="250"/>
                  </a:lnTo>
                  <a:lnTo>
                    <a:pt x="38" y="250"/>
                  </a:lnTo>
                  <a:lnTo>
                    <a:pt x="38" y="254"/>
                  </a:lnTo>
                  <a:lnTo>
                    <a:pt x="32" y="250"/>
                  </a:lnTo>
                  <a:lnTo>
                    <a:pt x="30" y="250"/>
                  </a:lnTo>
                  <a:lnTo>
                    <a:pt x="28" y="245"/>
                  </a:lnTo>
                  <a:lnTo>
                    <a:pt x="30" y="241"/>
                  </a:lnTo>
                  <a:lnTo>
                    <a:pt x="32" y="239"/>
                  </a:lnTo>
                  <a:lnTo>
                    <a:pt x="32" y="235"/>
                  </a:lnTo>
                  <a:lnTo>
                    <a:pt x="32" y="232"/>
                  </a:lnTo>
                  <a:lnTo>
                    <a:pt x="28" y="226"/>
                  </a:lnTo>
                  <a:lnTo>
                    <a:pt x="24" y="217"/>
                  </a:lnTo>
                  <a:lnTo>
                    <a:pt x="24" y="217"/>
                  </a:lnTo>
                  <a:lnTo>
                    <a:pt x="19" y="215"/>
                  </a:lnTo>
                  <a:lnTo>
                    <a:pt x="21" y="213"/>
                  </a:lnTo>
                  <a:lnTo>
                    <a:pt x="21" y="209"/>
                  </a:lnTo>
                  <a:lnTo>
                    <a:pt x="19" y="207"/>
                  </a:lnTo>
                  <a:lnTo>
                    <a:pt x="19" y="207"/>
                  </a:lnTo>
                  <a:lnTo>
                    <a:pt x="19" y="205"/>
                  </a:lnTo>
                  <a:lnTo>
                    <a:pt x="21" y="201"/>
                  </a:lnTo>
                  <a:lnTo>
                    <a:pt x="19" y="200"/>
                  </a:lnTo>
                  <a:lnTo>
                    <a:pt x="11" y="196"/>
                  </a:lnTo>
                  <a:lnTo>
                    <a:pt x="11" y="192"/>
                  </a:lnTo>
                  <a:lnTo>
                    <a:pt x="11" y="188"/>
                  </a:lnTo>
                  <a:lnTo>
                    <a:pt x="9" y="186"/>
                  </a:lnTo>
                  <a:lnTo>
                    <a:pt x="9" y="183"/>
                  </a:lnTo>
                  <a:lnTo>
                    <a:pt x="7" y="181"/>
                  </a:lnTo>
                  <a:lnTo>
                    <a:pt x="9" y="179"/>
                  </a:lnTo>
                  <a:lnTo>
                    <a:pt x="9" y="177"/>
                  </a:lnTo>
                  <a:lnTo>
                    <a:pt x="7" y="177"/>
                  </a:lnTo>
                  <a:lnTo>
                    <a:pt x="2" y="179"/>
                  </a:lnTo>
                  <a:lnTo>
                    <a:pt x="0" y="177"/>
                  </a:lnTo>
                  <a:lnTo>
                    <a:pt x="0" y="175"/>
                  </a:lnTo>
                  <a:lnTo>
                    <a:pt x="6" y="168"/>
                  </a:lnTo>
                  <a:lnTo>
                    <a:pt x="7" y="164"/>
                  </a:lnTo>
                  <a:lnTo>
                    <a:pt x="7" y="160"/>
                  </a:lnTo>
                  <a:lnTo>
                    <a:pt x="4" y="158"/>
                  </a:lnTo>
                  <a:lnTo>
                    <a:pt x="6" y="156"/>
                  </a:lnTo>
                  <a:lnTo>
                    <a:pt x="9" y="154"/>
                  </a:lnTo>
                  <a:lnTo>
                    <a:pt x="11" y="149"/>
                  </a:lnTo>
                  <a:lnTo>
                    <a:pt x="9" y="147"/>
                  </a:lnTo>
                  <a:lnTo>
                    <a:pt x="9" y="147"/>
                  </a:lnTo>
                  <a:lnTo>
                    <a:pt x="11" y="143"/>
                  </a:lnTo>
                  <a:lnTo>
                    <a:pt x="15" y="143"/>
                  </a:lnTo>
                  <a:lnTo>
                    <a:pt x="21" y="134"/>
                  </a:lnTo>
                  <a:lnTo>
                    <a:pt x="21" y="130"/>
                  </a:lnTo>
                  <a:lnTo>
                    <a:pt x="21" y="128"/>
                  </a:lnTo>
                  <a:lnTo>
                    <a:pt x="21" y="122"/>
                  </a:lnTo>
                  <a:lnTo>
                    <a:pt x="24" y="119"/>
                  </a:lnTo>
                  <a:lnTo>
                    <a:pt x="28" y="119"/>
                  </a:lnTo>
                  <a:lnTo>
                    <a:pt x="30" y="122"/>
                  </a:lnTo>
                  <a:lnTo>
                    <a:pt x="34" y="119"/>
                  </a:lnTo>
                  <a:lnTo>
                    <a:pt x="38" y="119"/>
                  </a:lnTo>
                  <a:lnTo>
                    <a:pt x="36" y="45"/>
                  </a:lnTo>
                  <a:lnTo>
                    <a:pt x="36" y="45"/>
                  </a:lnTo>
                  <a:lnTo>
                    <a:pt x="36" y="39"/>
                  </a:lnTo>
                  <a:lnTo>
                    <a:pt x="55" y="39"/>
                  </a:lnTo>
                  <a:lnTo>
                    <a:pt x="51" y="2"/>
                  </a:lnTo>
                  <a:lnTo>
                    <a:pt x="51" y="2"/>
                  </a:lnTo>
                  <a:lnTo>
                    <a:pt x="51"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 name="Freeform 99">
              <a:extLst>
                <a:ext uri="{FF2B5EF4-FFF2-40B4-BE49-F238E27FC236}">
                  <a16:creationId xmlns:a16="http://schemas.microsoft.com/office/drawing/2014/main" id="{DBD4024E-4B57-8E4A-B8EB-E76EB4C5DA0E}"/>
                </a:ext>
              </a:extLst>
            </p:cNvPr>
            <p:cNvSpPr>
              <a:spLocks/>
            </p:cNvSpPr>
            <p:nvPr/>
          </p:nvSpPr>
          <p:spPr bwMode="auto">
            <a:xfrm>
              <a:off x="6647518" y="2774246"/>
              <a:ext cx="238935" cy="161839"/>
            </a:xfrm>
            <a:custGeom>
              <a:avLst/>
              <a:gdLst/>
              <a:ahLst/>
              <a:cxnLst>
                <a:cxn ang="0">
                  <a:pos x="39" y="168"/>
                </a:cxn>
                <a:cxn ang="0">
                  <a:pos x="34" y="157"/>
                </a:cxn>
                <a:cxn ang="0">
                  <a:pos x="28" y="153"/>
                </a:cxn>
                <a:cxn ang="0">
                  <a:pos x="20" y="142"/>
                </a:cxn>
                <a:cxn ang="0">
                  <a:pos x="15" y="134"/>
                </a:cxn>
                <a:cxn ang="0">
                  <a:pos x="4" y="134"/>
                </a:cxn>
                <a:cxn ang="0">
                  <a:pos x="5" y="125"/>
                </a:cxn>
                <a:cxn ang="0">
                  <a:pos x="15" y="121"/>
                </a:cxn>
                <a:cxn ang="0">
                  <a:pos x="20" y="121"/>
                </a:cxn>
                <a:cxn ang="0">
                  <a:pos x="22" y="104"/>
                </a:cxn>
                <a:cxn ang="0">
                  <a:pos x="24" y="89"/>
                </a:cxn>
                <a:cxn ang="0">
                  <a:pos x="30" y="80"/>
                </a:cxn>
                <a:cxn ang="0">
                  <a:pos x="34" y="76"/>
                </a:cxn>
                <a:cxn ang="0">
                  <a:pos x="43" y="51"/>
                </a:cxn>
                <a:cxn ang="0">
                  <a:pos x="49" y="40"/>
                </a:cxn>
                <a:cxn ang="0">
                  <a:pos x="56" y="32"/>
                </a:cxn>
                <a:cxn ang="0">
                  <a:pos x="64" y="14"/>
                </a:cxn>
                <a:cxn ang="0">
                  <a:pos x="71" y="14"/>
                </a:cxn>
                <a:cxn ang="0">
                  <a:pos x="81" y="0"/>
                </a:cxn>
                <a:cxn ang="0">
                  <a:pos x="92" y="8"/>
                </a:cxn>
                <a:cxn ang="0">
                  <a:pos x="101" y="2"/>
                </a:cxn>
                <a:cxn ang="0">
                  <a:pos x="109" y="2"/>
                </a:cxn>
                <a:cxn ang="0">
                  <a:pos x="116" y="8"/>
                </a:cxn>
                <a:cxn ang="0">
                  <a:pos x="128" y="12"/>
                </a:cxn>
                <a:cxn ang="0">
                  <a:pos x="141" y="21"/>
                </a:cxn>
                <a:cxn ang="0">
                  <a:pos x="145" y="25"/>
                </a:cxn>
                <a:cxn ang="0">
                  <a:pos x="160" y="32"/>
                </a:cxn>
                <a:cxn ang="0">
                  <a:pos x="164" y="44"/>
                </a:cxn>
                <a:cxn ang="0">
                  <a:pos x="169" y="51"/>
                </a:cxn>
                <a:cxn ang="0">
                  <a:pos x="165" y="64"/>
                </a:cxn>
                <a:cxn ang="0">
                  <a:pos x="160" y="74"/>
                </a:cxn>
                <a:cxn ang="0">
                  <a:pos x="173" y="74"/>
                </a:cxn>
                <a:cxn ang="0">
                  <a:pos x="180" y="76"/>
                </a:cxn>
                <a:cxn ang="0">
                  <a:pos x="190" y="97"/>
                </a:cxn>
                <a:cxn ang="0">
                  <a:pos x="197" y="110"/>
                </a:cxn>
                <a:cxn ang="0">
                  <a:pos x="280" y="129"/>
                </a:cxn>
                <a:cxn ang="0">
                  <a:pos x="201" y="187"/>
                </a:cxn>
                <a:cxn ang="0">
                  <a:pos x="188" y="189"/>
                </a:cxn>
                <a:cxn ang="0">
                  <a:pos x="180" y="198"/>
                </a:cxn>
                <a:cxn ang="0">
                  <a:pos x="165" y="206"/>
                </a:cxn>
                <a:cxn ang="0">
                  <a:pos x="154" y="208"/>
                </a:cxn>
                <a:cxn ang="0">
                  <a:pos x="147" y="198"/>
                </a:cxn>
                <a:cxn ang="0">
                  <a:pos x="133" y="202"/>
                </a:cxn>
                <a:cxn ang="0">
                  <a:pos x="122" y="211"/>
                </a:cxn>
                <a:cxn ang="0">
                  <a:pos x="115" y="211"/>
                </a:cxn>
                <a:cxn ang="0">
                  <a:pos x="98" y="211"/>
                </a:cxn>
                <a:cxn ang="0">
                  <a:pos x="88" y="204"/>
                </a:cxn>
                <a:cxn ang="0">
                  <a:pos x="68" y="194"/>
                </a:cxn>
                <a:cxn ang="0">
                  <a:pos x="54" y="194"/>
                </a:cxn>
                <a:cxn ang="0">
                  <a:pos x="49" y="179"/>
                </a:cxn>
                <a:cxn ang="0">
                  <a:pos x="43" y="178"/>
                </a:cxn>
              </a:cxnLst>
              <a:rect l="0" t="0" r="r" b="b"/>
              <a:pathLst>
                <a:path w="280" h="211">
                  <a:moveTo>
                    <a:pt x="43" y="178"/>
                  </a:moveTo>
                  <a:lnTo>
                    <a:pt x="41" y="172"/>
                  </a:lnTo>
                  <a:lnTo>
                    <a:pt x="39" y="168"/>
                  </a:lnTo>
                  <a:lnTo>
                    <a:pt x="39" y="162"/>
                  </a:lnTo>
                  <a:lnTo>
                    <a:pt x="36" y="159"/>
                  </a:lnTo>
                  <a:lnTo>
                    <a:pt x="34" y="157"/>
                  </a:lnTo>
                  <a:lnTo>
                    <a:pt x="32" y="153"/>
                  </a:lnTo>
                  <a:lnTo>
                    <a:pt x="28" y="153"/>
                  </a:lnTo>
                  <a:lnTo>
                    <a:pt x="28" y="153"/>
                  </a:lnTo>
                  <a:lnTo>
                    <a:pt x="28" y="151"/>
                  </a:lnTo>
                  <a:lnTo>
                    <a:pt x="24" y="149"/>
                  </a:lnTo>
                  <a:lnTo>
                    <a:pt x="20" y="142"/>
                  </a:lnTo>
                  <a:lnTo>
                    <a:pt x="20" y="142"/>
                  </a:lnTo>
                  <a:lnTo>
                    <a:pt x="19" y="138"/>
                  </a:lnTo>
                  <a:lnTo>
                    <a:pt x="15" y="134"/>
                  </a:lnTo>
                  <a:lnTo>
                    <a:pt x="13" y="134"/>
                  </a:lnTo>
                  <a:lnTo>
                    <a:pt x="5" y="134"/>
                  </a:lnTo>
                  <a:lnTo>
                    <a:pt x="4" y="134"/>
                  </a:lnTo>
                  <a:lnTo>
                    <a:pt x="0" y="130"/>
                  </a:lnTo>
                  <a:lnTo>
                    <a:pt x="4" y="127"/>
                  </a:lnTo>
                  <a:lnTo>
                    <a:pt x="5" y="125"/>
                  </a:lnTo>
                  <a:lnTo>
                    <a:pt x="5" y="121"/>
                  </a:lnTo>
                  <a:lnTo>
                    <a:pt x="11" y="121"/>
                  </a:lnTo>
                  <a:lnTo>
                    <a:pt x="15" y="121"/>
                  </a:lnTo>
                  <a:lnTo>
                    <a:pt x="17" y="123"/>
                  </a:lnTo>
                  <a:lnTo>
                    <a:pt x="19" y="123"/>
                  </a:lnTo>
                  <a:lnTo>
                    <a:pt x="20" y="121"/>
                  </a:lnTo>
                  <a:lnTo>
                    <a:pt x="22" y="119"/>
                  </a:lnTo>
                  <a:lnTo>
                    <a:pt x="22" y="110"/>
                  </a:lnTo>
                  <a:lnTo>
                    <a:pt x="22" y="104"/>
                  </a:lnTo>
                  <a:lnTo>
                    <a:pt x="24" y="98"/>
                  </a:lnTo>
                  <a:lnTo>
                    <a:pt x="28" y="93"/>
                  </a:lnTo>
                  <a:lnTo>
                    <a:pt x="24" y="89"/>
                  </a:lnTo>
                  <a:lnTo>
                    <a:pt x="24" y="89"/>
                  </a:lnTo>
                  <a:lnTo>
                    <a:pt x="28" y="85"/>
                  </a:lnTo>
                  <a:lnTo>
                    <a:pt x="30" y="80"/>
                  </a:lnTo>
                  <a:lnTo>
                    <a:pt x="30" y="76"/>
                  </a:lnTo>
                  <a:lnTo>
                    <a:pt x="32" y="76"/>
                  </a:lnTo>
                  <a:lnTo>
                    <a:pt x="34" y="76"/>
                  </a:lnTo>
                  <a:lnTo>
                    <a:pt x="37" y="64"/>
                  </a:lnTo>
                  <a:lnTo>
                    <a:pt x="41" y="57"/>
                  </a:lnTo>
                  <a:lnTo>
                    <a:pt x="43" y="51"/>
                  </a:lnTo>
                  <a:lnTo>
                    <a:pt x="47" y="51"/>
                  </a:lnTo>
                  <a:lnTo>
                    <a:pt x="49" y="44"/>
                  </a:lnTo>
                  <a:lnTo>
                    <a:pt x="49" y="40"/>
                  </a:lnTo>
                  <a:lnTo>
                    <a:pt x="52" y="40"/>
                  </a:lnTo>
                  <a:lnTo>
                    <a:pt x="54" y="40"/>
                  </a:lnTo>
                  <a:lnTo>
                    <a:pt x="56" y="32"/>
                  </a:lnTo>
                  <a:lnTo>
                    <a:pt x="62" y="25"/>
                  </a:lnTo>
                  <a:lnTo>
                    <a:pt x="62" y="19"/>
                  </a:lnTo>
                  <a:lnTo>
                    <a:pt x="64" y="14"/>
                  </a:lnTo>
                  <a:lnTo>
                    <a:pt x="66" y="12"/>
                  </a:lnTo>
                  <a:lnTo>
                    <a:pt x="68" y="12"/>
                  </a:lnTo>
                  <a:lnTo>
                    <a:pt x="71" y="14"/>
                  </a:lnTo>
                  <a:lnTo>
                    <a:pt x="71" y="12"/>
                  </a:lnTo>
                  <a:lnTo>
                    <a:pt x="75" y="12"/>
                  </a:lnTo>
                  <a:lnTo>
                    <a:pt x="81" y="0"/>
                  </a:lnTo>
                  <a:lnTo>
                    <a:pt x="83" y="2"/>
                  </a:lnTo>
                  <a:lnTo>
                    <a:pt x="84" y="2"/>
                  </a:lnTo>
                  <a:lnTo>
                    <a:pt x="92" y="8"/>
                  </a:lnTo>
                  <a:lnTo>
                    <a:pt x="96" y="8"/>
                  </a:lnTo>
                  <a:lnTo>
                    <a:pt x="98" y="2"/>
                  </a:lnTo>
                  <a:lnTo>
                    <a:pt x="101" y="2"/>
                  </a:lnTo>
                  <a:lnTo>
                    <a:pt x="103" y="6"/>
                  </a:lnTo>
                  <a:lnTo>
                    <a:pt x="105" y="2"/>
                  </a:lnTo>
                  <a:lnTo>
                    <a:pt x="109" y="2"/>
                  </a:lnTo>
                  <a:lnTo>
                    <a:pt x="115" y="8"/>
                  </a:lnTo>
                  <a:lnTo>
                    <a:pt x="115" y="8"/>
                  </a:lnTo>
                  <a:lnTo>
                    <a:pt x="116" y="8"/>
                  </a:lnTo>
                  <a:lnTo>
                    <a:pt x="120" y="8"/>
                  </a:lnTo>
                  <a:lnTo>
                    <a:pt x="124" y="12"/>
                  </a:lnTo>
                  <a:lnTo>
                    <a:pt x="128" y="12"/>
                  </a:lnTo>
                  <a:lnTo>
                    <a:pt x="133" y="17"/>
                  </a:lnTo>
                  <a:lnTo>
                    <a:pt x="135" y="19"/>
                  </a:lnTo>
                  <a:lnTo>
                    <a:pt x="141" y="21"/>
                  </a:lnTo>
                  <a:lnTo>
                    <a:pt x="141" y="21"/>
                  </a:lnTo>
                  <a:lnTo>
                    <a:pt x="145" y="23"/>
                  </a:lnTo>
                  <a:lnTo>
                    <a:pt x="145" y="25"/>
                  </a:lnTo>
                  <a:lnTo>
                    <a:pt x="150" y="27"/>
                  </a:lnTo>
                  <a:lnTo>
                    <a:pt x="156" y="32"/>
                  </a:lnTo>
                  <a:lnTo>
                    <a:pt x="160" y="32"/>
                  </a:lnTo>
                  <a:lnTo>
                    <a:pt x="164" y="36"/>
                  </a:lnTo>
                  <a:lnTo>
                    <a:pt x="164" y="40"/>
                  </a:lnTo>
                  <a:lnTo>
                    <a:pt x="164" y="44"/>
                  </a:lnTo>
                  <a:lnTo>
                    <a:pt x="165" y="44"/>
                  </a:lnTo>
                  <a:lnTo>
                    <a:pt x="171" y="51"/>
                  </a:lnTo>
                  <a:lnTo>
                    <a:pt x="169" y="51"/>
                  </a:lnTo>
                  <a:lnTo>
                    <a:pt x="165" y="57"/>
                  </a:lnTo>
                  <a:lnTo>
                    <a:pt x="164" y="61"/>
                  </a:lnTo>
                  <a:lnTo>
                    <a:pt x="165" y="64"/>
                  </a:lnTo>
                  <a:lnTo>
                    <a:pt x="164" y="66"/>
                  </a:lnTo>
                  <a:lnTo>
                    <a:pt x="164" y="70"/>
                  </a:lnTo>
                  <a:lnTo>
                    <a:pt x="160" y="74"/>
                  </a:lnTo>
                  <a:lnTo>
                    <a:pt x="164" y="76"/>
                  </a:lnTo>
                  <a:lnTo>
                    <a:pt x="169" y="76"/>
                  </a:lnTo>
                  <a:lnTo>
                    <a:pt x="173" y="74"/>
                  </a:lnTo>
                  <a:lnTo>
                    <a:pt x="179" y="72"/>
                  </a:lnTo>
                  <a:lnTo>
                    <a:pt x="182" y="74"/>
                  </a:lnTo>
                  <a:lnTo>
                    <a:pt x="180" y="76"/>
                  </a:lnTo>
                  <a:lnTo>
                    <a:pt x="182" y="85"/>
                  </a:lnTo>
                  <a:lnTo>
                    <a:pt x="184" y="93"/>
                  </a:lnTo>
                  <a:lnTo>
                    <a:pt x="190" y="97"/>
                  </a:lnTo>
                  <a:lnTo>
                    <a:pt x="188" y="102"/>
                  </a:lnTo>
                  <a:lnTo>
                    <a:pt x="192" y="106"/>
                  </a:lnTo>
                  <a:lnTo>
                    <a:pt x="197" y="110"/>
                  </a:lnTo>
                  <a:lnTo>
                    <a:pt x="203" y="113"/>
                  </a:lnTo>
                  <a:lnTo>
                    <a:pt x="256" y="129"/>
                  </a:lnTo>
                  <a:lnTo>
                    <a:pt x="280" y="129"/>
                  </a:lnTo>
                  <a:lnTo>
                    <a:pt x="224" y="187"/>
                  </a:lnTo>
                  <a:lnTo>
                    <a:pt x="212" y="183"/>
                  </a:lnTo>
                  <a:lnTo>
                    <a:pt x="201" y="187"/>
                  </a:lnTo>
                  <a:lnTo>
                    <a:pt x="197" y="187"/>
                  </a:lnTo>
                  <a:lnTo>
                    <a:pt x="194" y="187"/>
                  </a:lnTo>
                  <a:lnTo>
                    <a:pt x="188" y="189"/>
                  </a:lnTo>
                  <a:lnTo>
                    <a:pt x="188" y="194"/>
                  </a:lnTo>
                  <a:lnTo>
                    <a:pt x="184" y="196"/>
                  </a:lnTo>
                  <a:lnTo>
                    <a:pt x="180" y="198"/>
                  </a:lnTo>
                  <a:lnTo>
                    <a:pt x="173" y="200"/>
                  </a:lnTo>
                  <a:lnTo>
                    <a:pt x="169" y="202"/>
                  </a:lnTo>
                  <a:lnTo>
                    <a:pt x="165" y="206"/>
                  </a:lnTo>
                  <a:lnTo>
                    <a:pt x="165" y="206"/>
                  </a:lnTo>
                  <a:lnTo>
                    <a:pt x="160" y="206"/>
                  </a:lnTo>
                  <a:lnTo>
                    <a:pt x="154" y="208"/>
                  </a:lnTo>
                  <a:lnTo>
                    <a:pt x="150" y="206"/>
                  </a:lnTo>
                  <a:lnTo>
                    <a:pt x="148" y="200"/>
                  </a:lnTo>
                  <a:lnTo>
                    <a:pt x="147" y="198"/>
                  </a:lnTo>
                  <a:lnTo>
                    <a:pt x="139" y="200"/>
                  </a:lnTo>
                  <a:lnTo>
                    <a:pt x="135" y="202"/>
                  </a:lnTo>
                  <a:lnTo>
                    <a:pt x="133" y="202"/>
                  </a:lnTo>
                  <a:lnTo>
                    <a:pt x="130" y="204"/>
                  </a:lnTo>
                  <a:lnTo>
                    <a:pt x="128" y="206"/>
                  </a:lnTo>
                  <a:lnTo>
                    <a:pt x="122" y="211"/>
                  </a:lnTo>
                  <a:lnTo>
                    <a:pt x="120" y="211"/>
                  </a:lnTo>
                  <a:lnTo>
                    <a:pt x="116" y="211"/>
                  </a:lnTo>
                  <a:lnTo>
                    <a:pt x="115" y="211"/>
                  </a:lnTo>
                  <a:lnTo>
                    <a:pt x="109" y="211"/>
                  </a:lnTo>
                  <a:lnTo>
                    <a:pt x="105" y="211"/>
                  </a:lnTo>
                  <a:lnTo>
                    <a:pt x="98" y="211"/>
                  </a:lnTo>
                  <a:lnTo>
                    <a:pt x="96" y="211"/>
                  </a:lnTo>
                  <a:lnTo>
                    <a:pt x="92" y="208"/>
                  </a:lnTo>
                  <a:lnTo>
                    <a:pt x="88" y="204"/>
                  </a:lnTo>
                  <a:lnTo>
                    <a:pt x="81" y="196"/>
                  </a:lnTo>
                  <a:lnTo>
                    <a:pt x="77" y="193"/>
                  </a:lnTo>
                  <a:lnTo>
                    <a:pt x="68" y="194"/>
                  </a:lnTo>
                  <a:lnTo>
                    <a:pt x="64" y="193"/>
                  </a:lnTo>
                  <a:lnTo>
                    <a:pt x="58" y="194"/>
                  </a:lnTo>
                  <a:lnTo>
                    <a:pt x="54" y="194"/>
                  </a:lnTo>
                  <a:lnTo>
                    <a:pt x="52" y="189"/>
                  </a:lnTo>
                  <a:lnTo>
                    <a:pt x="52" y="179"/>
                  </a:lnTo>
                  <a:lnTo>
                    <a:pt x="49" y="179"/>
                  </a:lnTo>
                  <a:lnTo>
                    <a:pt x="47" y="179"/>
                  </a:lnTo>
                  <a:lnTo>
                    <a:pt x="43" y="176"/>
                  </a:lnTo>
                  <a:lnTo>
                    <a:pt x="43" y="178"/>
                  </a:lnTo>
                  <a:lnTo>
                    <a:pt x="43" y="178"/>
                  </a:lnTo>
                  <a:lnTo>
                    <a:pt x="43" y="17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 name="Freeform 100">
              <a:extLst>
                <a:ext uri="{FF2B5EF4-FFF2-40B4-BE49-F238E27FC236}">
                  <a16:creationId xmlns:a16="http://schemas.microsoft.com/office/drawing/2014/main" id="{0233AF98-B8A9-3E4F-A257-AE07D6A31A35}"/>
                </a:ext>
              </a:extLst>
            </p:cNvPr>
            <p:cNvSpPr>
              <a:spLocks/>
            </p:cNvSpPr>
            <p:nvPr/>
          </p:nvSpPr>
          <p:spPr bwMode="auto">
            <a:xfrm>
              <a:off x="6702132" y="2725157"/>
              <a:ext cx="102400" cy="85905"/>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 name="Freeform 101">
              <a:extLst>
                <a:ext uri="{FF2B5EF4-FFF2-40B4-BE49-F238E27FC236}">
                  <a16:creationId xmlns:a16="http://schemas.microsoft.com/office/drawing/2014/main" id="{5EAA570F-8E59-2641-B538-753720536A7F}"/>
                </a:ext>
              </a:extLst>
            </p:cNvPr>
            <p:cNvSpPr>
              <a:spLocks/>
            </p:cNvSpPr>
            <p:nvPr/>
          </p:nvSpPr>
          <p:spPr bwMode="auto">
            <a:xfrm>
              <a:off x="6702132" y="2725157"/>
              <a:ext cx="102400" cy="85905"/>
            </a:xfrm>
            <a:custGeom>
              <a:avLst/>
              <a:gdLst/>
              <a:ahLst/>
              <a:cxnLst>
                <a:cxn ang="0">
                  <a:pos x="103" y="106"/>
                </a:cxn>
                <a:cxn ang="0">
                  <a:pos x="100" y="102"/>
                </a:cxn>
                <a:cxn ang="0">
                  <a:pos x="96" y="95"/>
                </a:cxn>
                <a:cxn ang="0">
                  <a:pos x="88" y="87"/>
                </a:cxn>
                <a:cxn ang="0">
                  <a:pos x="83" y="83"/>
                </a:cxn>
                <a:cxn ang="0">
                  <a:pos x="77" y="83"/>
                </a:cxn>
                <a:cxn ang="0">
                  <a:pos x="71" y="80"/>
                </a:cxn>
                <a:cxn ang="0">
                  <a:pos x="62" y="72"/>
                </a:cxn>
                <a:cxn ang="0">
                  <a:pos x="54" y="68"/>
                </a:cxn>
                <a:cxn ang="0">
                  <a:pos x="52" y="70"/>
                </a:cxn>
                <a:cxn ang="0">
                  <a:pos x="43" y="64"/>
                </a:cxn>
                <a:cxn ang="0">
                  <a:pos x="39" y="64"/>
                </a:cxn>
                <a:cxn ang="0">
                  <a:pos x="34" y="68"/>
                </a:cxn>
                <a:cxn ang="0">
                  <a:pos x="22" y="64"/>
                </a:cxn>
                <a:cxn ang="0">
                  <a:pos x="19" y="63"/>
                </a:cxn>
                <a:cxn ang="0">
                  <a:pos x="9" y="72"/>
                </a:cxn>
                <a:cxn ang="0">
                  <a:pos x="5" y="74"/>
                </a:cxn>
                <a:cxn ang="0">
                  <a:pos x="2" y="70"/>
                </a:cxn>
                <a:cxn ang="0">
                  <a:pos x="0" y="59"/>
                </a:cxn>
                <a:cxn ang="0">
                  <a:pos x="2" y="53"/>
                </a:cxn>
                <a:cxn ang="0">
                  <a:pos x="5" y="38"/>
                </a:cxn>
                <a:cxn ang="0">
                  <a:pos x="9" y="32"/>
                </a:cxn>
                <a:cxn ang="0">
                  <a:pos x="5" y="29"/>
                </a:cxn>
                <a:cxn ang="0">
                  <a:pos x="9" y="19"/>
                </a:cxn>
                <a:cxn ang="0">
                  <a:pos x="15" y="19"/>
                </a:cxn>
                <a:cxn ang="0">
                  <a:pos x="15" y="15"/>
                </a:cxn>
                <a:cxn ang="0">
                  <a:pos x="19" y="14"/>
                </a:cxn>
                <a:cxn ang="0">
                  <a:pos x="24" y="10"/>
                </a:cxn>
                <a:cxn ang="0">
                  <a:pos x="30" y="8"/>
                </a:cxn>
                <a:cxn ang="0">
                  <a:pos x="34" y="0"/>
                </a:cxn>
                <a:cxn ang="0">
                  <a:pos x="39" y="8"/>
                </a:cxn>
                <a:cxn ang="0">
                  <a:pos x="49" y="40"/>
                </a:cxn>
                <a:cxn ang="0">
                  <a:pos x="52" y="46"/>
                </a:cxn>
                <a:cxn ang="0">
                  <a:pos x="52" y="47"/>
                </a:cxn>
                <a:cxn ang="0">
                  <a:pos x="56" y="59"/>
                </a:cxn>
                <a:cxn ang="0">
                  <a:pos x="60" y="53"/>
                </a:cxn>
                <a:cxn ang="0">
                  <a:pos x="58" y="49"/>
                </a:cxn>
                <a:cxn ang="0">
                  <a:pos x="64" y="55"/>
                </a:cxn>
                <a:cxn ang="0">
                  <a:pos x="64" y="59"/>
                </a:cxn>
                <a:cxn ang="0">
                  <a:pos x="69" y="63"/>
                </a:cxn>
                <a:cxn ang="0">
                  <a:pos x="73" y="63"/>
                </a:cxn>
                <a:cxn ang="0">
                  <a:pos x="79" y="64"/>
                </a:cxn>
                <a:cxn ang="0">
                  <a:pos x="86" y="66"/>
                </a:cxn>
                <a:cxn ang="0">
                  <a:pos x="92" y="74"/>
                </a:cxn>
                <a:cxn ang="0">
                  <a:pos x="98" y="83"/>
                </a:cxn>
                <a:cxn ang="0">
                  <a:pos x="103" y="87"/>
                </a:cxn>
                <a:cxn ang="0">
                  <a:pos x="105" y="87"/>
                </a:cxn>
                <a:cxn ang="0">
                  <a:pos x="111" y="95"/>
                </a:cxn>
                <a:cxn ang="0">
                  <a:pos x="113" y="100"/>
                </a:cxn>
                <a:cxn ang="0">
                  <a:pos x="116" y="104"/>
                </a:cxn>
                <a:cxn ang="0">
                  <a:pos x="120" y="102"/>
                </a:cxn>
                <a:cxn ang="0">
                  <a:pos x="120" y="104"/>
                </a:cxn>
                <a:cxn ang="0">
                  <a:pos x="115" y="108"/>
                </a:cxn>
                <a:cxn ang="0">
                  <a:pos x="109" y="112"/>
                </a:cxn>
                <a:cxn ang="0">
                  <a:pos x="109" y="112"/>
                </a:cxn>
              </a:cxnLst>
              <a:rect l="0" t="0" r="r" b="b"/>
              <a:pathLst>
                <a:path w="120" h="112">
                  <a:moveTo>
                    <a:pt x="109" y="112"/>
                  </a:moveTo>
                  <a:lnTo>
                    <a:pt x="103" y="106"/>
                  </a:lnTo>
                  <a:lnTo>
                    <a:pt x="100" y="106"/>
                  </a:lnTo>
                  <a:lnTo>
                    <a:pt x="100" y="102"/>
                  </a:lnTo>
                  <a:lnTo>
                    <a:pt x="100" y="98"/>
                  </a:lnTo>
                  <a:lnTo>
                    <a:pt x="96" y="95"/>
                  </a:lnTo>
                  <a:lnTo>
                    <a:pt x="92" y="93"/>
                  </a:lnTo>
                  <a:lnTo>
                    <a:pt x="88" y="87"/>
                  </a:lnTo>
                  <a:lnTo>
                    <a:pt x="83" y="87"/>
                  </a:lnTo>
                  <a:lnTo>
                    <a:pt x="83" y="83"/>
                  </a:lnTo>
                  <a:lnTo>
                    <a:pt x="79" y="83"/>
                  </a:lnTo>
                  <a:lnTo>
                    <a:pt x="77" y="83"/>
                  </a:lnTo>
                  <a:lnTo>
                    <a:pt x="73" y="81"/>
                  </a:lnTo>
                  <a:lnTo>
                    <a:pt x="71" y="80"/>
                  </a:lnTo>
                  <a:lnTo>
                    <a:pt x="64" y="72"/>
                  </a:lnTo>
                  <a:lnTo>
                    <a:pt x="62" y="72"/>
                  </a:lnTo>
                  <a:lnTo>
                    <a:pt x="58" y="68"/>
                  </a:lnTo>
                  <a:lnTo>
                    <a:pt x="54" y="68"/>
                  </a:lnTo>
                  <a:lnTo>
                    <a:pt x="52" y="68"/>
                  </a:lnTo>
                  <a:lnTo>
                    <a:pt x="52" y="70"/>
                  </a:lnTo>
                  <a:lnTo>
                    <a:pt x="47" y="64"/>
                  </a:lnTo>
                  <a:lnTo>
                    <a:pt x="43" y="64"/>
                  </a:lnTo>
                  <a:lnTo>
                    <a:pt x="41" y="66"/>
                  </a:lnTo>
                  <a:lnTo>
                    <a:pt x="39" y="64"/>
                  </a:lnTo>
                  <a:lnTo>
                    <a:pt x="36" y="64"/>
                  </a:lnTo>
                  <a:lnTo>
                    <a:pt x="34" y="68"/>
                  </a:lnTo>
                  <a:lnTo>
                    <a:pt x="30" y="68"/>
                  </a:lnTo>
                  <a:lnTo>
                    <a:pt x="22" y="64"/>
                  </a:lnTo>
                  <a:lnTo>
                    <a:pt x="20" y="63"/>
                  </a:lnTo>
                  <a:lnTo>
                    <a:pt x="19" y="63"/>
                  </a:lnTo>
                  <a:lnTo>
                    <a:pt x="13" y="72"/>
                  </a:lnTo>
                  <a:lnTo>
                    <a:pt x="9" y="72"/>
                  </a:lnTo>
                  <a:lnTo>
                    <a:pt x="9" y="74"/>
                  </a:lnTo>
                  <a:lnTo>
                    <a:pt x="5" y="74"/>
                  </a:lnTo>
                  <a:lnTo>
                    <a:pt x="2" y="74"/>
                  </a:lnTo>
                  <a:lnTo>
                    <a:pt x="2" y="70"/>
                  </a:lnTo>
                  <a:lnTo>
                    <a:pt x="0" y="63"/>
                  </a:lnTo>
                  <a:lnTo>
                    <a:pt x="0" y="59"/>
                  </a:lnTo>
                  <a:lnTo>
                    <a:pt x="2" y="55"/>
                  </a:lnTo>
                  <a:lnTo>
                    <a:pt x="2" y="53"/>
                  </a:lnTo>
                  <a:lnTo>
                    <a:pt x="5" y="47"/>
                  </a:lnTo>
                  <a:lnTo>
                    <a:pt x="5" y="38"/>
                  </a:lnTo>
                  <a:lnTo>
                    <a:pt x="9" y="34"/>
                  </a:lnTo>
                  <a:lnTo>
                    <a:pt x="9" y="32"/>
                  </a:lnTo>
                  <a:lnTo>
                    <a:pt x="9" y="29"/>
                  </a:lnTo>
                  <a:lnTo>
                    <a:pt x="5" y="29"/>
                  </a:lnTo>
                  <a:lnTo>
                    <a:pt x="9" y="25"/>
                  </a:lnTo>
                  <a:lnTo>
                    <a:pt x="9" y="19"/>
                  </a:lnTo>
                  <a:lnTo>
                    <a:pt x="9" y="19"/>
                  </a:lnTo>
                  <a:lnTo>
                    <a:pt x="15" y="19"/>
                  </a:lnTo>
                  <a:lnTo>
                    <a:pt x="15" y="17"/>
                  </a:lnTo>
                  <a:lnTo>
                    <a:pt x="15" y="15"/>
                  </a:lnTo>
                  <a:lnTo>
                    <a:pt x="15" y="14"/>
                  </a:lnTo>
                  <a:lnTo>
                    <a:pt x="19" y="14"/>
                  </a:lnTo>
                  <a:lnTo>
                    <a:pt x="20" y="10"/>
                  </a:lnTo>
                  <a:lnTo>
                    <a:pt x="24" y="10"/>
                  </a:lnTo>
                  <a:lnTo>
                    <a:pt x="28" y="10"/>
                  </a:lnTo>
                  <a:lnTo>
                    <a:pt x="30" y="8"/>
                  </a:lnTo>
                  <a:lnTo>
                    <a:pt x="34" y="4"/>
                  </a:lnTo>
                  <a:lnTo>
                    <a:pt x="34" y="0"/>
                  </a:lnTo>
                  <a:lnTo>
                    <a:pt x="34" y="0"/>
                  </a:lnTo>
                  <a:lnTo>
                    <a:pt x="39" y="8"/>
                  </a:lnTo>
                  <a:lnTo>
                    <a:pt x="47" y="25"/>
                  </a:lnTo>
                  <a:lnTo>
                    <a:pt x="49" y="40"/>
                  </a:lnTo>
                  <a:lnTo>
                    <a:pt x="52" y="40"/>
                  </a:lnTo>
                  <a:lnTo>
                    <a:pt x="52" y="46"/>
                  </a:lnTo>
                  <a:lnTo>
                    <a:pt x="52" y="47"/>
                  </a:lnTo>
                  <a:lnTo>
                    <a:pt x="52" y="47"/>
                  </a:lnTo>
                  <a:lnTo>
                    <a:pt x="54" y="53"/>
                  </a:lnTo>
                  <a:lnTo>
                    <a:pt x="56" y="59"/>
                  </a:lnTo>
                  <a:lnTo>
                    <a:pt x="60" y="59"/>
                  </a:lnTo>
                  <a:lnTo>
                    <a:pt x="60" y="53"/>
                  </a:lnTo>
                  <a:lnTo>
                    <a:pt x="58" y="53"/>
                  </a:lnTo>
                  <a:lnTo>
                    <a:pt x="58" y="49"/>
                  </a:lnTo>
                  <a:lnTo>
                    <a:pt x="60" y="49"/>
                  </a:lnTo>
                  <a:lnTo>
                    <a:pt x="64" y="55"/>
                  </a:lnTo>
                  <a:lnTo>
                    <a:pt x="62" y="57"/>
                  </a:lnTo>
                  <a:lnTo>
                    <a:pt x="64" y="59"/>
                  </a:lnTo>
                  <a:lnTo>
                    <a:pt x="68" y="63"/>
                  </a:lnTo>
                  <a:lnTo>
                    <a:pt x="69" y="63"/>
                  </a:lnTo>
                  <a:lnTo>
                    <a:pt x="73" y="59"/>
                  </a:lnTo>
                  <a:lnTo>
                    <a:pt x="73" y="63"/>
                  </a:lnTo>
                  <a:lnTo>
                    <a:pt x="77" y="59"/>
                  </a:lnTo>
                  <a:lnTo>
                    <a:pt x="79" y="64"/>
                  </a:lnTo>
                  <a:lnTo>
                    <a:pt x="81" y="66"/>
                  </a:lnTo>
                  <a:lnTo>
                    <a:pt x="86" y="66"/>
                  </a:lnTo>
                  <a:lnTo>
                    <a:pt x="86" y="70"/>
                  </a:lnTo>
                  <a:lnTo>
                    <a:pt x="92" y="74"/>
                  </a:lnTo>
                  <a:lnTo>
                    <a:pt x="96" y="81"/>
                  </a:lnTo>
                  <a:lnTo>
                    <a:pt x="98" y="83"/>
                  </a:lnTo>
                  <a:lnTo>
                    <a:pt x="101" y="87"/>
                  </a:lnTo>
                  <a:lnTo>
                    <a:pt x="103" y="87"/>
                  </a:lnTo>
                  <a:lnTo>
                    <a:pt x="103" y="83"/>
                  </a:lnTo>
                  <a:lnTo>
                    <a:pt x="105" y="87"/>
                  </a:lnTo>
                  <a:lnTo>
                    <a:pt x="107" y="95"/>
                  </a:lnTo>
                  <a:lnTo>
                    <a:pt x="111" y="95"/>
                  </a:lnTo>
                  <a:lnTo>
                    <a:pt x="113" y="98"/>
                  </a:lnTo>
                  <a:lnTo>
                    <a:pt x="113" y="100"/>
                  </a:lnTo>
                  <a:lnTo>
                    <a:pt x="115" y="104"/>
                  </a:lnTo>
                  <a:lnTo>
                    <a:pt x="116" y="104"/>
                  </a:lnTo>
                  <a:lnTo>
                    <a:pt x="116" y="104"/>
                  </a:lnTo>
                  <a:lnTo>
                    <a:pt x="120" y="102"/>
                  </a:lnTo>
                  <a:lnTo>
                    <a:pt x="120" y="104"/>
                  </a:lnTo>
                  <a:lnTo>
                    <a:pt x="120" y="104"/>
                  </a:lnTo>
                  <a:lnTo>
                    <a:pt x="116" y="108"/>
                  </a:lnTo>
                  <a:lnTo>
                    <a:pt x="115" y="108"/>
                  </a:lnTo>
                  <a:lnTo>
                    <a:pt x="113" y="112"/>
                  </a:lnTo>
                  <a:lnTo>
                    <a:pt x="109" y="112"/>
                  </a:lnTo>
                  <a:lnTo>
                    <a:pt x="109" y="112"/>
                  </a:lnTo>
                  <a:lnTo>
                    <a:pt x="109" y="11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 name="Freeform 102">
              <a:extLst>
                <a:ext uri="{FF2B5EF4-FFF2-40B4-BE49-F238E27FC236}">
                  <a16:creationId xmlns:a16="http://schemas.microsoft.com/office/drawing/2014/main" id="{AFE7AE53-0347-024C-ACCD-18ABAED0B97C}"/>
                </a:ext>
              </a:extLst>
            </p:cNvPr>
            <p:cNvSpPr>
              <a:spLocks/>
            </p:cNvSpPr>
            <p:nvPr/>
          </p:nvSpPr>
          <p:spPr bwMode="auto">
            <a:xfrm>
              <a:off x="6787465" y="2807993"/>
              <a:ext cx="22186" cy="23010"/>
            </a:xfrm>
            <a:custGeom>
              <a:avLst/>
              <a:gdLst/>
              <a:ahLst/>
              <a:cxnLst>
                <a:cxn ang="0">
                  <a:pos x="20" y="28"/>
                </a:cxn>
                <a:cxn ang="0">
                  <a:pos x="16" y="26"/>
                </a:cxn>
                <a:cxn ang="0">
                  <a:pos x="11" y="28"/>
                </a:cxn>
                <a:cxn ang="0">
                  <a:pos x="9" y="30"/>
                </a:cxn>
                <a:cxn ang="0">
                  <a:pos x="1" y="30"/>
                </a:cxn>
                <a:cxn ang="0">
                  <a:pos x="0" y="28"/>
                </a:cxn>
                <a:cxn ang="0">
                  <a:pos x="1" y="24"/>
                </a:cxn>
                <a:cxn ang="0">
                  <a:pos x="3" y="20"/>
                </a:cxn>
                <a:cxn ang="0">
                  <a:pos x="5" y="19"/>
                </a:cxn>
                <a:cxn ang="0">
                  <a:pos x="3" y="15"/>
                </a:cxn>
                <a:cxn ang="0">
                  <a:pos x="5" y="11"/>
                </a:cxn>
                <a:cxn ang="0">
                  <a:pos x="7" y="7"/>
                </a:cxn>
                <a:cxn ang="0">
                  <a:pos x="13" y="5"/>
                </a:cxn>
                <a:cxn ang="0">
                  <a:pos x="15" y="4"/>
                </a:cxn>
                <a:cxn ang="0">
                  <a:pos x="18" y="2"/>
                </a:cxn>
                <a:cxn ang="0">
                  <a:pos x="22" y="0"/>
                </a:cxn>
                <a:cxn ang="0">
                  <a:pos x="22" y="0"/>
                </a:cxn>
                <a:cxn ang="0">
                  <a:pos x="22" y="2"/>
                </a:cxn>
                <a:cxn ang="0">
                  <a:pos x="26" y="4"/>
                </a:cxn>
                <a:cxn ang="0">
                  <a:pos x="26" y="4"/>
                </a:cxn>
                <a:cxn ang="0">
                  <a:pos x="26" y="5"/>
                </a:cxn>
                <a:cxn ang="0">
                  <a:pos x="26" y="11"/>
                </a:cxn>
                <a:cxn ang="0">
                  <a:pos x="26" y="11"/>
                </a:cxn>
                <a:cxn ang="0">
                  <a:pos x="22" y="15"/>
                </a:cxn>
                <a:cxn ang="0">
                  <a:pos x="18" y="15"/>
                </a:cxn>
                <a:cxn ang="0">
                  <a:pos x="16" y="19"/>
                </a:cxn>
                <a:cxn ang="0">
                  <a:pos x="13" y="19"/>
                </a:cxn>
                <a:cxn ang="0">
                  <a:pos x="15" y="20"/>
                </a:cxn>
                <a:cxn ang="0">
                  <a:pos x="16" y="20"/>
                </a:cxn>
                <a:cxn ang="0">
                  <a:pos x="20" y="20"/>
                </a:cxn>
                <a:cxn ang="0">
                  <a:pos x="22" y="20"/>
                </a:cxn>
                <a:cxn ang="0">
                  <a:pos x="26" y="20"/>
                </a:cxn>
                <a:cxn ang="0">
                  <a:pos x="20" y="28"/>
                </a:cxn>
                <a:cxn ang="0">
                  <a:pos x="20" y="28"/>
                </a:cxn>
                <a:cxn ang="0">
                  <a:pos x="20" y="28"/>
                </a:cxn>
                <a:cxn ang="0">
                  <a:pos x="20" y="28"/>
                </a:cxn>
              </a:cxnLst>
              <a:rect l="0" t="0" r="r" b="b"/>
              <a:pathLst>
                <a:path w="26" h="30">
                  <a:moveTo>
                    <a:pt x="20" y="28"/>
                  </a:moveTo>
                  <a:lnTo>
                    <a:pt x="16" y="26"/>
                  </a:lnTo>
                  <a:lnTo>
                    <a:pt x="11" y="28"/>
                  </a:lnTo>
                  <a:lnTo>
                    <a:pt x="9" y="30"/>
                  </a:lnTo>
                  <a:lnTo>
                    <a:pt x="1" y="30"/>
                  </a:lnTo>
                  <a:lnTo>
                    <a:pt x="0" y="28"/>
                  </a:lnTo>
                  <a:lnTo>
                    <a:pt x="1" y="24"/>
                  </a:lnTo>
                  <a:lnTo>
                    <a:pt x="3" y="20"/>
                  </a:lnTo>
                  <a:lnTo>
                    <a:pt x="5" y="19"/>
                  </a:lnTo>
                  <a:lnTo>
                    <a:pt x="3" y="15"/>
                  </a:lnTo>
                  <a:lnTo>
                    <a:pt x="5" y="11"/>
                  </a:lnTo>
                  <a:lnTo>
                    <a:pt x="7" y="7"/>
                  </a:lnTo>
                  <a:lnTo>
                    <a:pt x="13" y="5"/>
                  </a:lnTo>
                  <a:lnTo>
                    <a:pt x="15" y="4"/>
                  </a:lnTo>
                  <a:lnTo>
                    <a:pt x="18" y="2"/>
                  </a:lnTo>
                  <a:lnTo>
                    <a:pt x="22" y="0"/>
                  </a:lnTo>
                  <a:lnTo>
                    <a:pt x="22" y="0"/>
                  </a:lnTo>
                  <a:lnTo>
                    <a:pt x="22" y="2"/>
                  </a:lnTo>
                  <a:lnTo>
                    <a:pt x="26" y="4"/>
                  </a:lnTo>
                  <a:lnTo>
                    <a:pt x="26" y="4"/>
                  </a:lnTo>
                  <a:lnTo>
                    <a:pt x="26" y="5"/>
                  </a:lnTo>
                  <a:lnTo>
                    <a:pt x="26" y="11"/>
                  </a:lnTo>
                  <a:lnTo>
                    <a:pt x="26" y="11"/>
                  </a:lnTo>
                  <a:lnTo>
                    <a:pt x="22" y="15"/>
                  </a:lnTo>
                  <a:lnTo>
                    <a:pt x="18" y="15"/>
                  </a:lnTo>
                  <a:lnTo>
                    <a:pt x="16" y="19"/>
                  </a:lnTo>
                  <a:lnTo>
                    <a:pt x="13" y="19"/>
                  </a:lnTo>
                  <a:lnTo>
                    <a:pt x="15" y="20"/>
                  </a:lnTo>
                  <a:lnTo>
                    <a:pt x="16" y="20"/>
                  </a:lnTo>
                  <a:lnTo>
                    <a:pt x="20" y="20"/>
                  </a:lnTo>
                  <a:lnTo>
                    <a:pt x="22" y="20"/>
                  </a:lnTo>
                  <a:lnTo>
                    <a:pt x="26" y="20"/>
                  </a:lnTo>
                  <a:lnTo>
                    <a:pt x="20" y="28"/>
                  </a:lnTo>
                  <a:lnTo>
                    <a:pt x="20" y="28"/>
                  </a:lnTo>
                  <a:lnTo>
                    <a:pt x="20" y="28"/>
                  </a:lnTo>
                  <a:lnTo>
                    <a:pt x="20" y="2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 name="Freeform 103">
              <a:extLst>
                <a:ext uri="{FF2B5EF4-FFF2-40B4-BE49-F238E27FC236}">
                  <a16:creationId xmlns:a16="http://schemas.microsoft.com/office/drawing/2014/main" id="{9B1B00FC-FB57-9C45-B23F-9B2E8C6EF053}"/>
                </a:ext>
              </a:extLst>
            </p:cNvPr>
            <p:cNvSpPr>
              <a:spLocks/>
            </p:cNvSpPr>
            <p:nvPr/>
          </p:nvSpPr>
          <p:spPr bwMode="auto">
            <a:xfrm>
              <a:off x="6773812" y="2814897"/>
              <a:ext cx="162987" cy="194821"/>
            </a:xfrm>
            <a:custGeom>
              <a:avLst/>
              <a:gdLst/>
              <a:ahLst/>
              <a:cxnLst>
                <a:cxn ang="0">
                  <a:pos x="19" y="149"/>
                </a:cxn>
                <a:cxn ang="0">
                  <a:pos x="36" y="143"/>
                </a:cxn>
                <a:cxn ang="0">
                  <a:pos x="46" y="134"/>
                </a:cxn>
                <a:cxn ang="0">
                  <a:pos x="64" y="130"/>
                </a:cxn>
                <a:cxn ang="0">
                  <a:pos x="110" y="74"/>
                </a:cxn>
                <a:cxn ang="0">
                  <a:pos x="44" y="51"/>
                </a:cxn>
                <a:cxn ang="0">
                  <a:pos x="36" y="38"/>
                </a:cxn>
                <a:cxn ang="0">
                  <a:pos x="34" y="19"/>
                </a:cxn>
                <a:cxn ang="0">
                  <a:pos x="40" y="13"/>
                </a:cxn>
                <a:cxn ang="0">
                  <a:pos x="55" y="30"/>
                </a:cxn>
                <a:cxn ang="0">
                  <a:pos x="70" y="34"/>
                </a:cxn>
                <a:cxn ang="0">
                  <a:pos x="80" y="30"/>
                </a:cxn>
                <a:cxn ang="0">
                  <a:pos x="89" y="25"/>
                </a:cxn>
                <a:cxn ang="0">
                  <a:pos x="100" y="25"/>
                </a:cxn>
                <a:cxn ang="0">
                  <a:pos x="119" y="17"/>
                </a:cxn>
                <a:cxn ang="0">
                  <a:pos x="130" y="19"/>
                </a:cxn>
                <a:cxn ang="0">
                  <a:pos x="144" y="17"/>
                </a:cxn>
                <a:cxn ang="0">
                  <a:pos x="159" y="11"/>
                </a:cxn>
                <a:cxn ang="0">
                  <a:pos x="164" y="11"/>
                </a:cxn>
                <a:cxn ang="0">
                  <a:pos x="176" y="8"/>
                </a:cxn>
                <a:cxn ang="0">
                  <a:pos x="177" y="2"/>
                </a:cxn>
                <a:cxn ang="0">
                  <a:pos x="181" y="2"/>
                </a:cxn>
                <a:cxn ang="0">
                  <a:pos x="191" y="4"/>
                </a:cxn>
                <a:cxn ang="0">
                  <a:pos x="185" y="13"/>
                </a:cxn>
                <a:cxn ang="0">
                  <a:pos x="189" y="17"/>
                </a:cxn>
                <a:cxn ang="0">
                  <a:pos x="185" y="25"/>
                </a:cxn>
                <a:cxn ang="0">
                  <a:pos x="185" y="34"/>
                </a:cxn>
                <a:cxn ang="0">
                  <a:pos x="191" y="30"/>
                </a:cxn>
                <a:cxn ang="0">
                  <a:pos x="189" y="34"/>
                </a:cxn>
                <a:cxn ang="0">
                  <a:pos x="183" y="38"/>
                </a:cxn>
                <a:cxn ang="0">
                  <a:pos x="181" y="47"/>
                </a:cxn>
                <a:cxn ang="0">
                  <a:pos x="170" y="70"/>
                </a:cxn>
                <a:cxn ang="0">
                  <a:pos x="164" y="77"/>
                </a:cxn>
                <a:cxn ang="0">
                  <a:pos x="160" y="85"/>
                </a:cxn>
                <a:cxn ang="0">
                  <a:pos x="144" y="121"/>
                </a:cxn>
                <a:cxn ang="0">
                  <a:pos x="130" y="145"/>
                </a:cxn>
                <a:cxn ang="0">
                  <a:pos x="95" y="181"/>
                </a:cxn>
                <a:cxn ang="0">
                  <a:pos x="74" y="194"/>
                </a:cxn>
                <a:cxn ang="0">
                  <a:pos x="51" y="213"/>
                </a:cxn>
                <a:cxn ang="0">
                  <a:pos x="36" y="228"/>
                </a:cxn>
                <a:cxn ang="0">
                  <a:pos x="29" y="236"/>
                </a:cxn>
                <a:cxn ang="0">
                  <a:pos x="0" y="243"/>
                </a:cxn>
                <a:cxn ang="0">
                  <a:pos x="17" y="153"/>
                </a:cxn>
              </a:cxnLst>
              <a:rect l="0" t="0" r="r" b="b"/>
              <a:pathLst>
                <a:path w="191" h="254">
                  <a:moveTo>
                    <a:pt x="17" y="153"/>
                  </a:moveTo>
                  <a:lnTo>
                    <a:pt x="17" y="153"/>
                  </a:lnTo>
                  <a:lnTo>
                    <a:pt x="19" y="149"/>
                  </a:lnTo>
                  <a:lnTo>
                    <a:pt x="25" y="147"/>
                  </a:lnTo>
                  <a:lnTo>
                    <a:pt x="31" y="145"/>
                  </a:lnTo>
                  <a:lnTo>
                    <a:pt x="36" y="143"/>
                  </a:lnTo>
                  <a:lnTo>
                    <a:pt x="40" y="141"/>
                  </a:lnTo>
                  <a:lnTo>
                    <a:pt x="40" y="136"/>
                  </a:lnTo>
                  <a:lnTo>
                    <a:pt x="46" y="134"/>
                  </a:lnTo>
                  <a:lnTo>
                    <a:pt x="49" y="134"/>
                  </a:lnTo>
                  <a:lnTo>
                    <a:pt x="53" y="134"/>
                  </a:lnTo>
                  <a:lnTo>
                    <a:pt x="64" y="130"/>
                  </a:lnTo>
                  <a:lnTo>
                    <a:pt x="76" y="134"/>
                  </a:lnTo>
                  <a:lnTo>
                    <a:pt x="134" y="74"/>
                  </a:lnTo>
                  <a:lnTo>
                    <a:pt x="110" y="74"/>
                  </a:lnTo>
                  <a:lnTo>
                    <a:pt x="55" y="59"/>
                  </a:lnTo>
                  <a:lnTo>
                    <a:pt x="49" y="55"/>
                  </a:lnTo>
                  <a:lnTo>
                    <a:pt x="44" y="51"/>
                  </a:lnTo>
                  <a:lnTo>
                    <a:pt x="40" y="47"/>
                  </a:lnTo>
                  <a:lnTo>
                    <a:pt x="42" y="42"/>
                  </a:lnTo>
                  <a:lnTo>
                    <a:pt x="36" y="38"/>
                  </a:lnTo>
                  <a:lnTo>
                    <a:pt x="34" y="30"/>
                  </a:lnTo>
                  <a:lnTo>
                    <a:pt x="31" y="21"/>
                  </a:lnTo>
                  <a:lnTo>
                    <a:pt x="34" y="19"/>
                  </a:lnTo>
                  <a:lnTo>
                    <a:pt x="40" y="10"/>
                  </a:lnTo>
                  <a:lnTo>
                    <a:pt x="40" y="13"/>
                  </a:lnTo>
                  <a:lnTo>
                    <a:pt x="40" y="13"/>
                  </a:lnTo>
                  <a:lnTo>
                    <a:pt x="51" y="25"/>
                  </a:lnTo>
                  <a:lnTo>
                    <a:pt x="53" y="27"/>
                  </a:lnTo>
                  <a:lnTo>
                    <a:pt x="55" y="30"/>
                  </a:lnTo>
                  <a:lnTo>
                    <a:pt x="61" y="34"/>
                  </a:lnTo>
                  <a:lnTo>
                    <a:pt x="64" y="34"/>
                  </a:lnTo>
                  <a:lnTo>
                    <a:pt x="70" y="34"/>
                  </a:lnTo>
                  <a:lnTo>
                    <a:pt x="70" y="30"/>
                  </a:lnTo>
                  <a:lnTo>
                    <a:pt x="76" y="30"/>
                  </a:lnTo>
                  <a:lnTo>
                    <a:pt x="80" y="30"/>
                  </a:lnTo>
                  <a:lnTo>
                    <a:pt x="85" y="25"/>
                  </a:lnTo>
                  <a:lnTo>
                    <a:pt x="87" y="25"/>
                  </a:lnTo>
                  <a:lnTo>
                    <a:pt x="89" y="25"/>
                  </a:lnTo>
                  <a:lnTo>
                    <a:pt x="95" y="25"/>
                  </a:lnTo>
                  <a:lnTo>
                    <a:pt x="95" y="25"/>
                  </a:lnTo>
                  <a:lnTo>
                    <a:pt x="100" y="25"/>
                  </a:lnTo>
                  <a:lnTo>
                    <a:pt x="104" y="25"/>
                  </a:lnTo>
                  <a:lnTo>
                    <a:pt x="115" y="17"/>
                  </a:lnTo>
                  <a:lnTo>
                    <a:pt x="119" y="17"/>
                  </a:lnTo>
                  <a:lnTo>
                    <a:pt x="123" y="19"/>
                  </a:lnTo>
                  <a:lnTo>
                    <a:pt x="125" y="17"/>
                  </a:lnTo>
                  <a:lnTo>
                    <a:pt x="130" y="19"/>
                  </a:lnTo>
                  <a:lnTo>
                    <a:pt x="136" y="15"/>
                  </a:lnTo>
                  <a:lnTo>
                    <a:pt x="142" y="15"/>
                  </a:lnTo>
                  <a:lnTo>
                    <a:pt x="144" y="17"/>
                  </a:lnTo>
                  <a:lnTo>
                    <a:pt x="145" y="17"/>
                  </a:lnTo>
                  <a:lnTo>
                    <a:pt x="155" y="15"/>
                  </a:lnTo>
                  <a:lnTo>
                    <a:pt x="159" y="11"/>
                  </a:lnTo>
                  <a:lnTo>
                    <a:pt x="164" y="11"/>
                  </a:lnTo>
                  <a:lnTo>
                    <a:pt x="164" y="11"/>
                  </a:lnTo>
                  <a:lnTo>
                    <a:pt x="164" y="11"/>
                  </a:lnTo>
                  <a:lnTo>
                    <a:pt x="170" y="10"/>
                  </a:lnTo>
                  <a:lnTo>
                    <a:pt x="174" y="6"/>
                  </a:lnTo>
                  <a:lnTo>
                    <a:pt x="176" y="8"/>
                  </a:lnTo>
                  <a:lnTo>
                    <a:pt x="176" y="4"/>
                  </a:lnTo>
                  <a:lnTo>
                    <a:pt x="176" y="4"/>
                  </a:lnTo>
                  <a:lnTo>
                    <a:pt x="177" y="2"/>
                  </a:lnTo>
                  <a:lnTo>
                    <a:pt x="179" y="2"/>
                  </a:lnTo>
                  <a:lnTo>
                    <a:pt x="179" y="0"/>
                  </a:lnTo>
                  <a:lnTo>
                    <a:pt x="181" y="2"/>
                  </a:lnTo>
                  <a:lnTo>
                    <a:pt x="185" y="4"/>
                  </a:lnTo>
                  <a:lnTo>
                    <a:pt x="189" y="4"/>
                  </a:lnTo>
                  <a:lnTo>
                    <a:pt x="191" y="4"/>
                  </a:lnTo>
                  <a:lnTo>
                    <a:pt x="189" y="8"/>
                  </a:lnTo>
                  <a:lnTo>
                    <a:pt x="185" y="10"/>
                  </a:lnTo>
                  <a:lnTo>
                    <a:pt x="185" y="13"/>
                  </a:lnTo>
                  <a:lnTo>
                    <a:pt x="185" y="15"/>
                  </a:lnTo>
                  <a:lnTo>
                    <a:pt x="185" y="17"/>
                  </a:lnTo>
                  <a:lnTo>
                    <a:pt x="189" y="17"/>
                  </a:lnTo>
                  <a:lnTo>
                    <a:pt x="189" y="19"/>
                  </a:lnTo>
                  <a:lnTo>
                    <a:pt x="185" y="21"/>
                  </a:lnTo>
                  <a:lnTo>
                    <a:pt x="185" y="25"/>
                  </a:lnTo>
                  <a:lnTo>
                    <a:pt x="185" y="25"/>
                  </a:lnTo>
                  <a:lnTo>
                    <a:pt x="189" y="30"/>
                  </a:lnTo>
                  <a:lnTo>
                    <a:pt x="185" y="34"/>
                  </a:lnTo>
                  <a:lnTo>
                    <a:pt x="189" y="30"/>
                  </a:lnTo>
                  <a:lnTo>
                    <a:pt x="189" y="30"/>
                  </a:lnTo>
                  <a:lnTo>
                    <a:pt x="191" y="30"/>
                  </a:lnTo>
                  <a:lnTo>
                    <a:pt x="191" y="34"/>
                  </a:lnTo>
                  <a:lnTo>
                    <a:pt x="191" y="34"/>
                  </a:lnTo>
                  <a:lnTo>
                    <a:pt x="189" y="34"/>
                  </a:lnTo>
                  <a:lnTo>
                    <a:pt x="185" y="34"/>
                  </a:lnTo>
                  <a:lnTo>
                    <a:pt x="185" y="34"/>
                  </a:lnTo>
                  <a:lnTo>
                    <a:pt x="183" y="38"/>
                  </a:lnTo>
                  <a:lnTo>
                    <a:pt x="183" y="40"/>
                  </a:lnTo>
                  <a:lnTo>
                    <a:pt x="183" y="45"/>
                  </a:lnTo>
                  <a:lnTo>
                    <a:pt x="181" y="47"/>
                  </a:lnTo>
                  <a:lnTo>
                    <a:pt x="183" y="51"/>
                  </a:lnTo>
                  <a:lnTo>
                    <a:pt x="176" y="60"/>
                  </a:lnTo>
                  <a:lnTo>
                    <a:pt x="170" y="70"/>
                  </a:lnTo>
                  <a:lnTo>
                    <a:pt x="168" y="74"/>
                  </a:lnTo>
                  <a:lnTo>
                    <a:pt x="166" y="74"/>
                  </a:lnTo>
                  <a:lnTo>
                    <a:pt x="164" y="77"/>
                  </a:lnTo>
                  <a:lnTo>
                    <a:pt x="164" y="79"/>
                  </a:lnTo>
                  <a:lnTo>
                    <a:pt x="164" y="83"/>
                  </a:lnTo>
                  <a:lnTo>
                    <a:pt x="160" y="85"/>
                  </a:lnTo>
                  <a:lnTo>
                    <a:pt x="151" y="104"/>
                  </a:lnTo>
                  <a:lnTo>
                    <a:pt x="151" y="111"/>
                  </a:lnTo>
                  <a:lnTo>
                    <a:pt x="144" y="121"/>
                  </a:lnTo>
                  <a:lnTo>
                    <a:pt x="144" y="125"/>
                  </a:lnTo>
                  <a:lnTo>
                    <a:pt x="130" y="140"/>
                  </a:lnTo>
                  <a:lnTo>
                    <a:pt x="130" y="145"/>
                  </a:lnTo>
                  <a:lnTo>
                    <a:pt x="125" y="151"/>
                  </a:lnTo>
                  <a:lnTo>
                    <a:pt x="115" y="164"/>
                  </a:lnTo>
                  <a:lnTo>
                    <a:pt x="95" y="181"/>
                  </a:lnTo>
                  <a:lnTo>
                    <a:pt x="85" y="189"/>
                  </a:lnTo>
                  <a:lnTo>
                    <a:pt x="80" y="190"/>
                  </a:lnTo>
                  <a:lnTo>
                    <a:pt x="74" y="194"/>
                  </a:lnTo>
                  <a:lnTo>
                    <a:pt x="66" y="200"/>
                  </a:lnTo>
                  <a:lnTo>
                    <a:pt x="55" y="211"/>
                  </a:lnTo>
                  <a:lnTo>
                    <a:pt x="51" y="213"/>
                  </a:lnTo>
                  <a:lnTo>
                    <a:pt x="40" y="224"/>
                  </a:lnTo>
                  <a:lnTo>
                    <a:pt x="40" y="226"/>
                  </a:lnTo>
                  <a:lnTo>
                    <a:pt x="36" y="228"/>
                  </a:lnTo>
                  <a:lnTo>
                    <a:pt x="34" y="230"/>
                  </a:lnTo>
                  <a:lnTo>
                    <a:pt x="31" y="234"/>
                  </a:lnTo>
                  <a:lnTo>
                    <a:pt x="29" y="236"/>
                  </a:lnTo>
                  <a:lnTo>
                    <a:pt x="14" y="254"/>
                  </a:lnTo>
                  <a:lnTo>
                    <a:pt x="12" y="254"/>
                  </a:lnTo>
                  <a:lnTo>
                    <a:pt x="0" y="243"/>
                  </a:lnTo>
                  <a:lnTo>
                    <a:pt x="0" y="170"/>
                  </a:lnTo>
                  <a:lnTo>
                    <a:pt x="17" y="153"/>
                  </a:lnTo>
                  <a:lnTo>
                    <a:pt x="17" y="153"/>
                  </a:lnTo>
                  <a:lnTo>
                    <a:pt x="17" y="153"/>
                  </a:lnTo>
                  <a:lnTo>
                    <a:pt x="17" y="15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 name="Freeform 104">
              <a:extLst>
                <a:ext uri="{FF2B5EF4-FFF2-40B4-BE49-F238E27FC236}">
                  <a16:creationId xmlns:a16="http://schemas.microsoft.com/office/drawing/2014/main" id="{67FC2B94-A89F-6444-B652-C64367013724}"/>
                </a:ext>
              </a:extLst>
            </p:cNvPr>
            <p:cNvSpPr>
              <a:spLocks noEditPoints="1"/>
            </p:cNvSpPr>
            <p:nvPr/>
          </p:nvSpPr>
          <p:spPr bwMode="auto">
            <a:xfrm>
              <a:off x="6624478" y="2909239"/>
              <a:ext cx="167254" cy="145732"/>
            </a:xfrm>
            <a:custGeom>
              <a:avLst/>
              <a:gdLst/>
              <a:ahLst/>
              <a:cxnLst>
                <a:cxn ang="0">
                  <a:pos x="51" y="22"/>
                </a:cxn>
                <a:cxn ang="0">
                  <a:pos x="55" y="18"/>
                </a:cxn>
                <a:cxn ang="0">
                  <a:pos x="61" y="17"/>
                </a:cxn>
                <a:cxn ang="0">
                  <a:pos x="72" y="0"/>
                </a:cxn>
                <a:cxn ang="0">
                  <a:pos x="78" y="3"/>
                </a:cxn>
                <a:cxn ang="0">
                  <a:pos x="81" y="13"/>
                </a:cxn>
                <a:cxn ang="0">
                  <a:pos x="87" y="18"/>
                </a:cxn>
                <a:cxn ang="0">
                  <a:pos x="95" y="18"/>
                </a:cxn>
                <a:cxn ang="0">
                  <a:pos x="110" y="22"/>
                </a:cxn>
                <a:cxn ang="0">
                  <a:pos x="121" y="32"/>
                </a:cxn>
                <a:cxn ang="0">
                  <a:pos x="127" y="35"/>
                </a:cxn>
                <a:cxn ang="0">
                  <a:pos x="138" y="37"/>
                </a:cxn>
                <a:cxn ang="0">
                  <a:pos x="147" y="37"/>
                </a:cxn>
                <a:cxn ang="0">
                  <a:pos x="151" y="37"/>
                </a:cxn>
                <a:cxn ang="0">
                  <a:pos x="159" y="28"/>
                </a:cxn>
                <a:cxn ang="0">
                  <a:pos x="166" y="26"/>
                </a:cxn>
                <a:cxn ang="0">
                  <a:pos x="177" y="22"/>
                </a:cxn>
                <a:cxn ang="0">
                  <a:pos x="181" y="30"/>
                </a:cxn>
                <a:cxn ang="0">
                  <a:pos x="191" y="30"/>
                </a:cxn>
                <a:cxn ang="0">
                  <a:pos x="179" y="47"/>
                </a:cxn>
                <a:cxn ang="0">
                  <a:pos x="191" y="131"/>
                </a:cxn>
                <a:cxn ang="0">
                  <a:pos x="185" y="141"/>
                </a:cxn>
                <a:cxn ang="0">
                  <a:pos x="183" y="145"/>
                </a:cxn>
                <a:cxn ang="0">
                  <a:pos x="177" y="147"/>
                </a:cxn>
                <a:cxn ang="0">
                  <a:pos x="168" y="152"/>
                </a:cxn>
                <a:cxn ang="0">
                  <a:pos x="164" y="154"/>
                </a:cxn>
                <a:cxn ang="0">
                  <a:pos x="164" y="160"/>
                </a:cxn>
                <a:cxn ang="0">
                  <a:pos x="160" y="165"/>
                </a:cxn>
                <a:cxn ang="0">
                  <a:pos x="157" y="175"/>
                </a:cxn>
                <a:cxn ang="0">
                  <a:pos x="149" y="186"/>
                </a:cxn>
                <a:cxn ang="0">
                  <a:pos x="143" y="190"/>
                </a:cxn>
                <a:cxn ang="0">
                  <a:pos x="119" y="171"/>
                </a:cxn>
                <a:cxn ang="0">
                  <a:pos x="119" y="169"/>
                </a:cxn>
                <a:cxn ang="0">
                  <a:pos x="46" y="122"/>
                </a:cxn>
                <a:cxn ang="0">
                  <a:pos x="46" y="105"/>
                </a:cxn>
                <a:cxn ang="0">
                  <a:pos x="49" y="96"/>
                </a:cxn>
                <a:cxn ang="0">
                  <a:pos x="55" y="88"/>
                </a:cxn>
                <a:cxn ang="0">
                  <a:pos x="57" y="83"/>
                </a:cxn>
                <a:cxn ang="0">
                  <a:pos x="64" y="81"/>
                </a:cxn>
                <a:cxn ang="0">
                  <a:pos x="66" y="75"/>
                </a:cxn>
                <a:cxn ang="0">
                  <a:pos x="70" y="66"/>
                </a:cxn>
                <a:cxn ang="0">
                  <a:pos x="66" y="58"/>
                </a:cxn>
                <a:cxn ang="0">
                  <a:pos x="66" y="56"/>
                </a:cxn>
                <a:cxn ang="0">
                  <a:pos x="61" y="47"/>
                </a:cxn>
                <a:cxn ang="0">
                  <a:pos x="57" y="41"/>
                </a:cxn>
                <a:cxn ang="0">
                  <a:pos x="55" y="35"/>
                </a:cxn>
                <a:cxn ang="0">
                  <a:pos x="51" y="32"/>
                </a:cxn>
                <a:cxn ang="0">
                  <a:pos x="49" y="24"/>
                </a:cxn>
                <a:cxn ang="0">
                  <a:pos x="49" y="24"/>
                </a:cxn>
                <a:cxn ang="0">
                  <a:pos x="49" y="24"/>
                </a:cxn>
                <a:cxn ang="0">
                  <a:pos x="0" y="124"/>
                </a:cxn>
                <a:cxn ang="0">
                  <a:pos x="15" y="124"/>
                </a:cxn>
                <a:cxn ang="0">
                  <a:pos x="0" y="124"/>
                </a:cxn>
                <a:cxn ang="0">
                  <a:pos x="0" y="124"/>
                </a:cxn>
              </a:cxnLst>
              <a:rect l="0" t="0" r="r" b="b"/>
              <a:pathLst>
                <a:path w="196" h="190">
                  <a:moveTo>
                    <a:pt x="49" y="24"/>
                  </a:moveTo>
                  <a:lnTo>
                    <a:pt x="51" y="22"/>
                  </a:lnTo>
                  <a:lnTo>
                    <a:pt x="51" y="22"/>
                  </a:lnTo>
                  <a:lnTo>
                    <a:pt x="55" y="18"/>
                  </a:lnTo>
                  <a:lnTo>
                    <a:pt x="57" y="17"/>
                  </a:lnTo>
                  <a:lnTo>
                    <a:pt x="61" y="17"/>
                  </a:lnTo>
                  <a:lnTo>
                    <a:pt x="64" y="9"/>
                  </a:lnTo>
                  <a:lnTo>
                    <a:pt x="72" y="0"/>
                  </a:lnTo>
                  <a:lnTo>
                    <a:pt x="74" y="3"/>
                  </a:lnTo>
                  <a:lnTo>
                    <a:pt x="78" y="3"/>
                  </a:lnTo>
                  <a:lnTo>
                    <a:pt x="81" y="3"/>
                  </a:lnTo>
                  <a:lnTo>
                    <a:pt x="81" y="13"/>
                  </a:lnTo>
                  <a:lnTo>
                    <a:pt x="81" y="18"/>
                  </a:lnTo>
                  <a:lnTo>
                    <a:pt x="87" y="18"/>
                  </a:lnTo>
                  <a:lnTo>
                    <a:pt x="91" y="17"/>
                  </a:lnTo>
                  <a:lnTo>
                    <a:pt x="95" y="18"/>
                  </a:lnTo>
                  <a:lnTo>
                    <a:pt x="106" y="17"/>
                  </a:lnTo>
                  <a:lnTo>
                    <a:pt x="110" y="22"/>
                  </a:lnTo>
                  <a:lnTo>
                    <a:pt x="117" y="28"/>
                  </a:lnTo>
                  <a:lnTo>
                    <a:pt x="121" y="32"/>
                  </a:lnTo>
                  <a:lnTo>
                    <a:pt x="125" y="35"/>
                  </a:lnTo>
                  <a:lnTo>
                    <a:pt x="127" y="35"/>
                  </a:lnTo>
                  <a:lnTo>
                    <a:pt x="134" y="35"/>
                  </a:lnTo>
                  <a:lnTo>
                    <a:pt x="138" y="37"/>
                  </a:lnTo>
                  <a:lnTo>
                    <a:pt x="143" y="37"/>
                  </a:lnTo>
                  <a:lnTo>
                    <a:pt x="147" y="37"/>
                  </a:lnTo>
                  <a:lnTo>
                    <a:pt x="149" y="37"/>
                  </a:lnTo>
                  <a:lnTo>
                    <a:pt x="151" y="37"/>
                  </a:lnTo>
                  <a:lnTo>
                    <a:pt x="157" y="30"/>
                  </a:lnTo>
                  <a:lnTo>
                    <a:pt x="159" y="28"/>
                  </a:lnTo>
                  <a:lnTo>
                    <a:pt x="164" y="26"/>
                  </a:lnTo>
                  <a:lnTo>
                    <a:pt x="166" y="26"/>
                  </a:lnTo>
                  <a:lnTo>
                    <a:pt x="168" y="24"/>
                  </a:lnTo>
                  <a:lnTo>
                    <a:pt x="177" y="22"/>
                  </a:lnTo>
                  <a:lnTo>
                    <a:pt x="179" y="24"/>
                  </a:lnTo>
                  <a:lnTo>
                    <a:pt x="181" y="30"/>
                  </a:lnTo>
                  <a:lnTo>
                    <a:pt x="185" y="32"/>
                  </a:lnTo>
                  <a:lnTo>
                    <a:pt x="191" y="30"/>
                  </a:lnTo>
                  <a:lnTo>
                    <a:pt x="196" y="30"/>
                  </a:lnTo>
                  <a:lnTo>
                    <a:pt x="179" y="47"/>
                  </a:lnTo>
                  <a:lnTo>
                    <a:pt x="179" y="120"/>
                  </a:lnTo>
                  <a:lnTo>
                    <a:pt x="191" y="131"/>
                  </a:lnTo>
                  <a:lnTo>
                    <a:pt x="191" y="131"/>
                  </a:lnTo>
                  <a:lnTo>
                    <a:pt x="185" y="141"/>
                  </a:lnTo>
                  <a:lnTo>
                    <a:pt x="185" y="141"/>
                  </a:lnTo>
                  <a:lnTo>
                    <a:pt x="183" y="145"/>
                  </a:lnTo>
                  <a:lnTo>
                    <a:pt x="183" y="145"/>
                  </a:lnTo>
                  <a:lnTo>
                    <a:pt x="177" y="147"/>
                  </a:lnTo>
                  <a:lnTo>
                    <a:pt x="174" y="152"/>
                  </a:lnTo>
                  <a:lnTo>
                    <a:pt x="168" y="152"/>
                  </a:lnTo>
                  <a:lnTo>
                    <a:pt x="166" y="152"/>
                  </a:lnTo>
                  <a:lnTo>
                    <a:pt x="164" y="154"/>
                  </a:lnTo>
                  <a:lnTo>
                    <a:pt x="164" y="158"/>
                  </a:lnTo>
                  <a:lnTo>
                    <a:pt x="164" y="160"/>
                  </a:lnTo>
                  <a:lnTo>
                    <a:pt x="164" y="160"/>
                  </a:lnTo>
                  <a:lnTo>
                    <a:pt x="160" y="165"/>
                  </a:lnTo>
                  <a:lnTo>
                    <a:pt x="157" y="169"/>
                  </a:lnTo>
                  <a:lnTo>
                    <a:pt x="157" y="175"/>
                  </a:lnTo>
                  <a:lnTo>
                    <a:pt x="155" y="179"/>
                  </a:lnTo>
                  <a:lnTo>
                    <a:pt x="149" y="186"/>
                  </a:lnTo>
                  <a:lnTo>
                    <a:pt x="143" y="190"/>
                  </a:lnTo>
                  <a:lnTo>
                    <a:pt x="143" y="190"/>
                  </a:lnTo>
                  <a:lnTo>
                    <a:pt x="121" y="175"/>
                  </a:lnTo>
                  <a:lnTo>
                    <a:pt x="119" y="171"/>
                  </a:lnTo>
                  <a:lnTo>
                    <a:pt x="117" y="169"/>
                  </a:lnTo>
                  <a:lnTo>
                    <a:pt x="119" y="169"/>
                  </a:lnTo>
                  <a:lnTo>
                    <a:pt x="115" y="162"/>
                  </a:lnTo>
                  <a:lnTo>
                    <a:pt x="46" y="122"/>
                  </a:lnTo>
                  <a:lnTo>
                    <a:pt x="40" y="122"/>
                  </a:lnTo>
                  <a:lnTo>
                    <a:pt x="46" y="105"/>
                  </a:lnTo>
                  <a:lnTo>
                    <a:pt x="46" y="99"/>
                  </a:lnTo>
                  <a:lnTo>
                    <a:pt x="49" y="96"/>
                  </a:lnTo>
                  <a:lnTo>
                    <a:pt x="51" y="90"/>
                  </a:lnTo>
                  <a:lnTo>
                    <a:pt x="55" y="88"/>
                  </a:lnTo>
                  <a:lnTo>
                    <a:pt x="57" y="84"/>
                  </a:lnTo>
                  <a:lnTo>
                    <a:pt x="57" y="83"/>
                  </a:lnTo>
                  <a:lnTo>
                    <a:pt x="57" y="81"/>
                  </a:lnTo>
                  <a:lnTo>
                    <a:pt x="64" y="81"/>
                  </a:lnTo>
                  <a:lnTo>
                    <a:pt x="66" y="77"/>
                  </a:lnTo>
                  <a:lnTo>
                    <a:pt x="66" y="75"/>
                  </a:lnTo>
                  <a:lnTo>
                    <a:pt x="70" y="67"/>
                  </a:lnTo>
                  <a:lnTo>
                    <a:pt x="70" y="66"/>
                  </a:lnTo>
                  <a:lnTo>
                    <a:pt x="70" y="62"/>
                  </a:lnTo>
                  <a:lnTo>
                    <a:pt x="66" y="58"/>
                  </a:lnTo>
                  <a:lnTo>
                    <a:pt x="68" y="56"/>
                  </a:lnTo>
                  <a:lnTo>
                    <a:pt x="66" y="56"/>
                  </a:lnTo>
                  <a:lnTo>
                    <a:pt x="63" y="52"/>
                  </a:lnTo>
                  <a:lnTo>
                    <a:pt x="61" y="47"/>
                  </a:lnTo>
                  <a:lnTo>
                    <a:pt x="57" y="43"/>
                  </a:lnTo>
                  <a:lnTo>
                    <a:pt x="57" y="41"/>
                  </a:lnTo>
                  <a:lnTo>
                    <a:pt x="57" y="37"/>
                  </a:lnTo>
                  <a:lnTo>
                    <a:pt x="55" y="35"/>
                  </a:lnTo>
                  <a:lnTo>
                    <a:pt x="55" y="32"/>
                  </a:lnTo>
                  <a:lnTo>
                    <a:pt x="51" y="32"/>
                  </a:lnTo>
                  <a:lnTo>
                    <a:pt x="51" y="26"/>
                  </a:lnTo>
                  <a:lnTo>
                    <a:pt x="49" y="24"/>
                  </a:lnTo>
                  <a:lnTo>
                    <a:pt x="49" y="24"/>
                  </a:lnTo>
                  <a:lnTo>
                    <a:pt x="49" y="24"/>
                  </a:lnTo>
                  <a:lnTo>
                    <a:pt x="49" y="24"/>
                  </a:lnTo>
                  <a:lnTo>
                    <a:pt x="49" y="24"/>
                  </a:lnTo>
                  <a:lnTo>
                    <a:pt x="49" y="24"/>
                  </a:lnTo>
                  <a:close/>
                  <a:moveTo>
                    <a:pt x="0" y="124"/>
                  </a:moveTo>
                  <a:lnTo>
                    <a:pt x="8" y="124"/>
                  </a:lnTo>
                  <a:lnTo>
                    <a:pt x="15" y="124"/>
                  </a:lnTo>
                  <a:lnTo>
                    <a:pt x="0" y="124"/>
                  </a:lnTo>
                  <a:lnTo>
                    <a:pt x="0" y="124"/>
                  </a:lnTo>
                  <a:lnTo>
                    <a:pt x="0" y="124"/>
                  </a:lnTo>
                  <a:lnTo>
                    <a:pt x="0" y="1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 name="Freeform 105">
              <a:extLst>
                <a:ext uri="{FF2B5EF4-FFF2-40B4-BE49-F238E27FC236}">
                  <a16:creationId xmlns:a16="http://schemas.microsoft.com/office/drawing/2014/main" id="{FD749CAD-9FBE-BF46-9EBB-BDAE03CCA3DD}"/>
                </a:ext>
              </a:extLst>
            </p:cNvPr>
            <p:cNvSpPr>
              <a:spLocks/>
            </p:cNvSpPr>
            <p:nvPr/>
          </p:nvSpPr>
          <p:spPr bwMode="auto">
            <a:xfrm>
              <a:off x="6589492" y="2929181"/>
              <a:ext cx="94720" cy="80536"/>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 name="Freeform 106">
              <a:extLst>
                <a:ext uri="{FF2B5EF4-FFF2-40B4-BE49-F238E27FC236}">
                  <a16:creationId xmlns:a16="http://schemas.microsoft.com/office/drawing/2014/main" id="{64D7976D-270B-5C41-B23F-300867838B62}"/>
                </a:ext>
              </a:extLst>
            </p:cNvPr>
            <p:cNvSpPr>
              <a:spLocks/>
            </p:cNvSpPr>
            <p:nvPr/>
          </p:nvSpPr>
          <p:spPr bwMode="auto">
            <a:xfrm>
              <a:off x="6589492" y="2929181"/>
              <a:ext cx="94720" cy="80536"/>
            </a:xfrm>
            <a:custGeom>
              <a:avLst/>
              <a:gdLst/>
              <a:ahLst/>
              <a:cxnLst>
                <a:cxn ang="0">
                  <a:pos x="85" y="75"/>
                </a:cxn>
                <a:cxn ang="0">
                  <a:pos x="92" y="66"/>
                </a:cxn>
                <a:cxn ang="0">
                  <a:pos x="96" y="60"/>
                </a:cxn>
                <a:cxn ang="0">
                  <a:pos x="98" y="57"/>
                </a:cxn>
                <a:cxn ang="0">
                  <a:pos x="107" y="51"/>
                </a:cxn>
                <a:cxn ang="0">
                  <a:pos x="111" y="43"/>
                </a:cxn>
                <a:cxn ang="0">
                  <a:pos x="111" y="38"/>
                </a:cxn>
                <a:cxn ang="0">
                  <a:pos x="109" y="32"/>
                </a:cxn>
                <a:cxn ang="0">
                  <a:pos x="102" y="28"/>
                </a:cxn>
                <a:cxn ang="0">
                  <a:pos x="98" y="19"/>
                </a:cxn>
                <a:cxn ang="0">
                  <a:pos x="96" y="13"/>
                </a:cxn>
                <a:cxn ang="0">
                  <a:pos x="94" y="8"/>
                </a:cxn>
                <a:cxn ang="0">
                  <a:pos x="90" y="2"/>
                </a:cxn>
                <a:cxn ang="0">
                  <a:pos x="85" y="4"/>
                </a:cxn>
                <a:cxn ang="0">
                  <a:pos x="77" y="8"/>
                </a:cxn>
                <a:cxn ang="0">
                  <a:pos x="66" y="8"/>
                </a:cxn>
                <a:cxn ang="0">
                  <a:pos x="60" y="9"/>
                </a:cxn>
                <a:cxn ang="0">
                  <a:pos x="56" y="9"/>
                </a:cxn>
                <a:cxn ang="0">
                  <a:pos x="53" y="13"/>
                </a:cxn>
                <a:cxn ang="0">
                  <a:pos x="47" y="13"/>
                </a:cxn>
                <a:cxn ang="0">
                  <a:pos x="43" y="9"/>
                </a:cxn>
                <a:cxn ang="0">
                  <a:pos x="34" y="9"/>
                </a:cxn>
                <a:cxn ang="0">
                  <a:pos x="28" y="9"/>
                </a:cxn>
                <a:cxn ang="0">
                  <a:pos x="28" y="13"/>
                </a:cxn>
                <a:cxn ang="0">
                  <a:pos x="28" y="13"/>
                </a:cxn>
                <a:cxn ang="0">
                  <a:pos x="26" y="19"/>
                </a:cxn>
                <a:cxn ang="0">
                  <a:pos x="24" y="32"/>
                </a:cxn>
                <a:cxn ang="0">
                  <a:pos x="26" y="38"/>
                </a:cxn>
                <a:cxn ang="0">
                  <a:pos x="30" y="41"/>
                </a:cxn>
                <a:cxn ang="0">
                  <a:pos x="21" y="57"/>
                </a:cxn>
                <a:cxn ang="0">
                  <a:pos x="13" y="66"/>
                </a:cxn>
                <a:cxn ang="0">
                  <a:pos x="4" y="81"/>
                </a:cxn>
                <a:cxn ang="0">
                  <a:pos x="4" y="92"/>
                </a:cxn>
                <a:cxn ang="0">
                  <a:pos x="2" y="104"/>
                </a:cxn>
                <a:cxn ang="0">
                  <a:pos x="2" y="105"/>
                </a:cxn>
                <a:cxn ang="0">
                  <a:pos x="6" y="102"/>
                </a:cxn>
                <a:cxn ang="0">
                  <a:pos x="11" y="104"/>
                </a:cxn>
                <a:cxn ang="0">
                  <a:pos x="15" y="104"/>
                </a:cxn>
                <a:cxn ang="0">
                  <a:pos x="19" y="100"/>
                </a:cxn>
                <a:cxn ang="0">
                  <a:pos x="21" y="100"/>
                </a:cxn>
                <a:cxn ang="0">
                  <a:pos x="24" y="100"/>
                </a:cxn>
                <a:cxn ang="0">
                  <a:pos x="40" y="100"/>
                </a:cxn>
                <a:cxn ang="0">
                  <a:pos x="79" y="96"/>
                </a:cxn>
                <a:cxn ang="0">
                  <a:pos x="85" y="79"/>
                </a:cxn>
              </a:cxnLst>
              <a:rect l="0" t="0" r="r" b="b"/>
              <a:pathLst>
                <a:path w="111" h="105">
                  <a:moveTo>
                    <a:pt x="85" y="79"/>
                  </a:moveTo>
                  <a:lnTo>
                    <a:pt x="85" y="75"/>
                  </a:lnTo>
                  <a:lnTo>
                    <a:pt x="88" y="70"/>
                  </a:lnTo>
                  <a:lnTo>
                    <a:pt x="92" y="66"/>
                  </a:lnTo>
                  <a:lnTo>
                    <a:pt x="94" y="62"/>
                  </a:lnTo>
                  <a:lnTo>
                    <a:pt x="96" y="60"/>
                  </a:lnTo>
                  <a:lnTo>
                    <a:pt x="98" y="58"/>
                  </a:lnTo>
                  <a:lnTo>
                    <a:pt x="98" y="57"/>
                  </a:lnTo>
                  <a:lnTo>
                    <a:pt x="105" y="57"/>
                  </a:lnTo>
                  <a:lnTo>
                    <a:pt x="107" y="51"/>
                  </a:lnTo>
                  <a:lnTo>
                    <a:pt x="107" y="49"/>
                  </a:lnTo>
                  <a:lnTo>
                    <a:pt x="111" y="43"/>
                  </a:lnTo>
                  <a:lnTo>
                    <a:pt x="111" y="41"/>
                  </a:lnTo>
                  <a:lnTo>
                    <a:pt x="111" y="38"/>
                  </a:lnTo>
                  <a:lnTo>
                    <a:pt x="107" y="34"/>
                  </a:lnTo>
                  <a:lnTo>
                    <a:pt x="109" y="32"/>
                  </a:lnTo>
                  <a:lnTo>
                    <a:pt x="107" y="30"/>
                  </a:lnTo>
                  <a:lnTo>
                    <a:pt x="102" y="28"/>
                  </a:lnTo>
                  <a:lnTo>
                    <a:pt x="102" y="23"/>
                  </a:lnTo>
                  <a:lnTo>
                    <a:pt x="98" y="19"/>
                  </a:lnTo>
                  <a:lnTo>
                    <a:pt x="98" y="17"/>
                  </a:lnTo>
                  <a:lnTo>
                    <a:pt x="96" y="13"/>
                  </a:lnTo>
                  <a:lnTo>
                    <a:pt x="94" y="11"/>
                  </a:lnTo>
                  <a:lnTo>
                    <a:pt x="94" y="8"/>
                  </a:lnTo>
                  <a:lnTo>
                    <a:pt x="92" y="8"/>
                  </a:lnTo>
                  <a:lnTo>
                    <a:pt x="90" y="2"/>
                  </a:lnTo>
                  <a:lnTo>
                    <a:pt x="88" y="0"/>
                  </a:lnTo>
                  <a:lnTo>
                    <a:pt x="85" y="4"/>
                  </a:lnTo>
                  <a:lnTo>
                    <a:pt x="81" y="6"/>
                  </a:lnTo>
                  <a:lnTo>
                    <a:pt x="77" y="8"/>
                  </a:lnTo>
                  <a:lnTo>
                    <a:pt x="75" y="8"/>
                  </a:lnTo>
                  <a:lnTo>
                    <a:pt x="66" y="8"/>
                  </a:lnTo>
                  <a:lnTo>
                    <a:pt x="64" y="9"/>
                  </a:lnTo>
                  <a:lnTo>
                    <a:pt x="60" y="9"/>
                  </a:lnTo>
                  <a:lnTo>
                    <a:pt x="58" y="9"/>
                  </a:lnTo>
                  <a:lnTo>
                    <a:pt x="56" y="9"/>
                  </a:lnTo>
                  <a:lnTo>
                    <a:pt x="53" y="11"/>
                  </a:lnTo>
                  <a:lnTo>
                    <a:pt x="53" y="13"/>
                  </a:lnTo>
                  <a:lnTo>
                    <a:pt x="51" y="13"/>
                  </a:lnTo>
                  <a:lnTo>
                    <a:pt x="47" y="13"/>
                  </a:lnTo>
                  <a:lnTo>
                    <a:pt x="47" y="11"/>
                  </a:lnTo>
                  <a:lnTo>
                    <a:pt x="43" y="9"/>
                  </a:lnTo>
                  <a:lnTo>
                    <a:pt x="40" y="11"/>
                  </a:lnTo>
                  <a:lnTo>
                    <a:pt x="34" y="9"/>
                  </a:lnTo>
                  <a:lnTo>
                    <a:pt x="30" y="8"/>
                  </a:lnTo>
                  <a:lnTo>
                    <a:pt x="28" y="9"/>
                  </a:lnTo>
                  <a:lnTo>
                    <a:pt x="28" y="11"/>
                  </a:lnTo>
                  <a:lnTo>
                    <a:pt x="28" y="13"/>
                  </a:lnTo>
                  <a:lnTo>
                    <a:pt x="28" y="13"/>
                  </a:lnTo>
                  <a:lnTo>
                    <a:pt x="28" y="13"/>
                  </a:lnTo>
                  <a:lnTo>
                    <a:pt x="28" y="17"/>
                  </a:lnTo>
                  <a:lnTo>
                    <a:pt x="26" y="19"/>
                  </a:lnTo>
                  <a:lnTo>
                    <a:pt x="26" y="24"/>
                  </a:lnTo>
                  <a:lnTo>
                    <a:pt x="24" y="32"/>
                  </a:lnTo>
                  <a:lnTo>
                    <a:pt x="24" y="36"/>
                  </a:lnTo>
                  <a:lnTo>
                    <a:pt x="26" y="38"/>
                  </a:lnTo>
                  <a:lnTo>
                    <a:pt x="28" y="38"/>
                  </a:lnTo>
                  <a:lnTo>
                    <a:pt x="30" y="41"/>
                  </a:lnTo>
                  <a:lnTo>
                    <a:pt x="30" y="43"/>
                  </a:lnTo>
                  <a:lnTo>
                    <a:pt x="21" y="57"/>
                  </a:lnTo>
                  <a:lnTo>
                    <a:pt x="15" y="62"/>
                  </a:lnTo>
                  <a:lnTo>
                    <a:pt x="13" y="66"/>
                  </a:lnTo>
                  <a:lnTo>
                    <a:pt x="6" y="79"/>
                  </a:lnTo>
                  <a:lnTo>
                    <a:pt x="4" y="81"/>
                  </a:lnTo>
                  <a:lnTo>
                    <a:pt x="4" y="87"/>
                  </a:lnTo>
                  <a:lnTo>
                    <a:pt x="4" y="92"/>
                  </a:lnTo>
                  <a:lnTo>
                    <a:pt x="0" y="100"/>
                  </a:lnTo>
                  <a:lnTo>
                    <a:pt x="2" y="104"/>
                  </a:lnTo>
                  <a:lnTo>
                    <a:pt x="0" y="105"/>
                  </a:lnTo>
                  <a:lnTo>
                    <a:pt x="2" y="105"/>
                  </a:lnTo>
                  <a:lnTo>
                    <a:pt x="4" y="104"/>
                  </a:lnTo>
                  <a:lnTo>
                    <a:pt x="6" y="102"/>
                  </a:lnTo>
                  <a:lnTo>
                    <a:pt x="9" y="104"/>
                  </a:lnTo>
                  <a:lnTo>
                    <a:pt x="11" y="104"/>
                  </a:lnTo>
                  <a:lnTo>
                    <a:pt x="15" y="104"/>
                  </a:lnTo>
                  <a:lnTo>
                    <a:pt x="15" y="104"/>
                  </a:lnTo>
                  <a:lnTo>
                    <a:pt x="15" y="100"/>
                  </a:lnTo>
                  <a:lnTo>
                    <a:pt x="19" y="100"/>
                  </a:lnTo>
                  <a:lnTo>
                    <a:pt x="21" y="100"/>
                  </a:lnTo>
                  <a:lnTo>
                    <a:pt x="21" y="100"/>
                  </a:lnTo>
                  <a:lnTo>
                    <a:pt x="21" y="100"/>
                  </a:lnTo>
                  <a:lnTo>
                    <a:pt x="24" y="100"/>
                  </a:lnTo>
                  <a:lnTo>
                    <a:pt x="40" y="100"/>
                  </a:lnTo>
                  <a:lnTo>
                    <a:pt x="40" y="100"/>
                  </a:lnTo>
                  <a:lnTo>
                    <a:pt x="55" y="100"/>
                  </a:lnTo>
                  <a:lnTo>
                    <a:pt x="79" y="96"/>
                  </a:lnTo>
                  <a:lnTo>
                    <a:pt x="85" y="79"/>
                  </a:lnTo>
                  <a:lnTo>
                    <a:pt x="85" y="79"/>
                  </a:lnTo>
                  <a:lnTo>
                    <a:pt x="85" y="7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 name="Freeform 107">
              <a:extLst>
                <a:ext uri="{FF2B5EF4-FFF2-40B4-BE49-F238E27FC236}">
                  <a16:creationId xmlns:a16="http://schemas.microsoft.com/office/drawing/2014/main" id="{3301B595-0A53-6B49-BF5F-A2CEB7218093}"/>
                </a:ext>
              </a:extLst>
            </p:cNvPr>
            <p:cNvSpPr>
              <a:spLocks/>
            </p:cNvSpPr>
            <p:nvPr/>
          </p:nvSpPr>
          <p:spPr bwMode="auto">
            <a:xfrm>
              <a:off x="6354825" y="2827936"/>
              <a:ext cx="207361" cy="125790"/>
            </a:xfrm>
            <a:custGeom>
              <a:avLst/>
              <a:gdLst/>
              <a:ahLst/>
              <a:cxnLst>
                <a:cxn ang="0">
                  <a:pos x="155" y="8"/>
                </a:cxn>
                <a:cxn ang="0">
                  <a:pos x="168" y="25"/>
                </a:cxn>
                <a:cxn ang="0">
                  <a:pos x="164" y="38"/>
                </a:cxn>
                <a:cxn ang="0">
                  <a:pos x="173" y="43"/>
                </a:cxn>
                <a:cxn ang="0">
                  <a:pos x="181" y="51"/>
                </a:cxn>
                <a:cxn ang="0">
                  <a:pos x="194" y="57"/>
                </a:cxn>
                <a:cxn ang="0">
                  <a:pos x="203" y="64"/>
                </a:cxn>
                <a:cxn ang="0">
                  <a:pos x="198" y="72"/>
                </a:cxn>
                <a:cxn ang="0">
                  <a:pos x="209" y="77"/>
                </a:cxn>
                <a:cxn ang="0">
                  <a:pos x="220" y="87"/>
                </a:cxn>
                <a:cxn ang="0">
                  <a:pos x="224" y="96"/>
                </a:cxn>
                <a:cxn ang="0">
                  <a:pos x="235" y="104"/>
                </a:cxn>
                <a:cxn ang="0">
                  <a:pos x="243" y="117"/>
                </a:cxn>
                <a:cxn ang="0">
                  <a:pos x="235" y="111"/>
                </a:cxn>
                <a:cxn ang="0">
                  <a:pos x="217" y="113"/>
                </a:cxn>
                <a:cxn ang="0">
                  <a:pos x="207" y="111"/>
                </a:cxn>
                <a:cxn ang="0">
                  <a:pos x="203" y="111"/>
                </a:cxn>
                <a:cxn ang="0">
                  <a:pos x="192" y="117"/>
                </a:cxn>
                <a:cxn ang="0">
                  <a:pos x="185" y="117"/>
                </a:cxn>
                <a:cxn ang="0">
                  <a:pos x="173" y="119"/>
                </a:cxn>
                <a:cxn ang="0">
                  <a:pos x="160" y="121"/>
                </a:cxn>
                <a:cxn ang="0">
                  <a:pos x="147" y="126"/>
                </a:cxn>
                <a:cxn ang="0">
                  <a:pos x="141" y="132"/>
                </a:cxn>
                <a:cxn ang="0">
                  <a:pos x="130" y="128"/>
                </a:cxn>
                <a:cxn ang="0">
                  <a:pos x="117" y="126"/>
                </a:cxn>
                <a:cxn ang="0">
                  <a:pos x="106" y="121"/>
                </a:cxn>
                <a:cxn ang="0">
                  <a:pos x="92" y="113"/>
                </a:cxn>
                <a:cxn ang="0">
                  <a:pos x="85" y="117"/>
                </a:cxn>
                <a:cxn ang="0">
                  <a:pos x="81" y="126"/>
                </a:cxn>
                <a:cxn ang="0">
                  <a:pos x="79" y="134"/>
                </a:cxn>
                <a:cxn ang="0">
                  <a:pos x="75" y="141"/>
                </a:cxn>
                <a:cxn ang="0">
                  <a:pos x="66" y="138"/>
                </a:cxn>
                <a:cxn ang="0">
                  <a:pos x="51" y="141"/>
                </a:cxn>
                <a:cxn ang="0">
                  <a:pos x="32" y="164"/>
                </a:cxn>
                <a:cxn ang="0">
                  <a:pos x="30" y="155"/>
                </a:cxn>
                <a:cxn ang="0">
                  <a:pos x="15" y="138"/>
                </a:cxn>
                <a:cxn ang="0">
                  <a:pos x="4" y="124"/>
                </a:cxn>
                <a:cxn ang="0">
                  <a:pos x="2" y="104"/>
                </a:cxn>
                <a:cxn ang="0">
                  <a:pos x="4" y="92"/>
                </a:cxn>
                <a:cxn ang="0">
                  <a:pos x="15" y="72"/>
                </a:cxn>
                <a:cxn ang="0">
                  <a:pos x="23" y="68"/>
                </a:cxn>
                <a:cxn ang="0">
                  <a:pos x="34" y="68"/>
                </a:cxn>
                <a:cxn ang="0">
                  <a:pos x="42" y="62"/>
                </a:cxn>
                <a:cxn ang="0">
                  <a:pos x="51" y="64"/>
                </a:cxn>
                <a:cxn ang="0">
                  <a:pos x="79" y="55"/>
                </a:cxn>
                <a:cxn ang="0">
                  <a:pos x="85" y="47"/>
                </a:cxn>
                <a:cxn ang="0">
                  <a:pos x="87" y="38"/>
                </a:cxn>
                <a:cxn ang="0">
                  <a:pos x="104" y="38"/>
                </a:cxn>
                <a:cxn ang="0">
                  <a:pos x="117" y="32"/>
                </a:cxn>
                <a:cxn ang="0">
                  <a:pos x="121" y="21"/>
                </a:cxn>
                <a:cxn ang="0">
                  <a:pos x="130" y="13"/>
                </a:cxn>
                <a:cxn ang="0">
                  <a:pos x="138" y="4"/>
                </a:cxn>
                <a:cxn ang="0">
                  <a:pos x="151" y="2"/>
                </a:cxn>
              </a:cxnLst>
              <a:rect l="0" t="0" r="r" b="b"/>
              <a:pathLst>
                <a:path w="243" h="164">
                  <a:moveTo>
                    <a:pt x="155" y="0"/>
                  </a:moveTo>
                  <a:lnTo>
                    <a:pt x="155" y="2"/>
                  </a:lnTo>
                  <a:lnTo>
                    <a:pt x="155" y="4"/>
                  </a:lnTo>
                  <a:lnTo>
                    <a:pt x="155" y="8"/>
                  </a:lnTo>
                  <a:lnTo>
                    <a:pt x="160" y="8"/>
                  </a:lnTo>
                  <a:lnTo>
                    <a:pt x="160" y="10"/>
                  </a:lnTo>
                  <a:lnTo>
                    <a:pt x="164" y="17"/>
                  </a:lnTo>
                  <a:lnTo>
                    <a:pt x="168" y="25"/>
                  </a:lnTo>
                  <a:lnTo>
                    <a:pt x="168" y="28"/>
                  </a:lnTo>
                  <a:lnTo>
                    <a:pt x="168" y="32"/>
                  </a:lnTo>
                  <a:lnTo>
                    <a:pt x="166" y="34"/>
                  </a:lnTo>
                  <a:lnTo>
                    <a:pt x="164" y="38"/>
                  </a:lnTo>
                  <a:lnTo>
                    <a:pt x="166" y="43"/>
                  </a:lnTo>
                  <a:lnTo>
                    <a:pt x="168" y="43"/>
                  </a:lnTo>
                  <a:lnTo>
                    <a:pt x="173" y="47"/>
                  </a:lnTo>
                  <a:lnTo>
                    <a:pt x="173" y="43"/>
                  </a:lnTo>
                  <a:lnTo>
                    <a:pt x="181" y="43"/>
                  </a:lnTo>
                  <a:lnTo>
                    <a:pt x="181" y="43"/>
                  </a:lnTo>
                  <a:lnTo>
                    <a:pt x="181" y="47"/>
                  </a:lnTo>
                  <a:lnTo>
                    <a:pt x="181" y="51"/>
                  </a:lnTo>
                  <a:lnTo>
                    <a:pt x="185" y="53"/>
                  </a:lnTo>
                  <a:lnTo>
                    <a:pt x="187" y="55"/>
                  </a:lnTo>
                  <a:lnTo>
                    <a:pt x="190" y="55"/>
                  </a:lnTo>
                  <a:lnTo>
                    <a:pt x="194" y="57"/>
                  </a:lnTo>
                  <a:lnTo>
                    <a:pt x="194" y="60"/>
                  </a:lnTo>
                  <a:lnTo>
                    <a:pt x="198" y="62"/>
                  </a:lnTo>
                  <a:lnTo>
                    <a:pt x="202" y="62"/>
                  </a:lnTo>
                  <a:lnTo>
                    <a:pt x="203" y="64"/>
                  </a:lnTo>
                  <a:lnTo>
                    <a:pt x="203" y="66"/>
                  </a:lnTo>
                  <a:lnTo>
                    <a:pt x="200" y="68"/>
                  </a:lnTo>
                  <a:lnTo>
                    <a:pt x="200" y="68"/>
                  </a:lnTo>
                  <a:lnTo>
                    <a:pt x="198" y="72"/>
                  </a:lnTo>
                  <a:lnTo>
                    <a:pt x="202" y="74"/>
                  </a:lnTo>
                  <a:lnTo>
                    <a:pt x="205" y="77"/>
                  </a:lnTo>
                  <a:lnTo>
                    <a:pt x="207" y="74"/>
                  </a:lnTo>
                  <a:lnTo>
                    <a:pt x="209" y="77"/>
                  </a:lnTo>
                  <a:lnTo>
                    <a:pt x="211" y="77"/>
                  </a:lnTo>
                  <a:lnTo>
                    <a:pt x="217" y="79"/>
                  </a:lnTo>
                  <a:lnTo>
                    <a:pt x="217" y="81"/>
                  </a:lnTo>
                  <a:lnTo>
                    <a:pt x="220" y="87"/>
                  </a:lnTo>
                  <a:lnTo>
                    <a:pt x="220" y="89"/>
                  </a:lnTo>
                  <a:lnTo>
                    <a:pt x="224" y="91"/>
                  </a:lnTo>
                  <a:lnTo>
                    <a:pt x="224" y="92"/>
                  </a:lnTo>
                  <a:lnTo>
                    <a:pt x="224" y="96"/>
                  </a:lnTo>
                  <a:lnTo>
                    <a:pt x="226" y="98"/>
                  </a:lnTo>
                  <a:lnTo>
                    <a:pt x="234" y="100"/>
                  </a:lnTo>
                  <a:lnTo>
                    <a:pt x="235" y="102"/>
                  </a:lnTo>
                  <a:lnTo>
                    <a:pt x="235" y="104"/>
                  </a:lnTo>
                  <a:lnTo>
                    <a:pt x="235" y="108"/>
                  </a:lnTo>
                  <a:lnTo>
                    <a:pt x="239" y="111"/>
                  </a:lnTo>
                  <a:lnTo>
                    <a:pt x="241" y="111"/>
                  </a:lnTo>
                  <a:lnTo>
                    <a:pt x="243" y="117"/>
                  </a:lnTo>
                  <a:lnTo>
                    <a:pt x="243" y="117"/>
                  </a:lnTo>
                  <a:lnTo>
                    <a:pt x="243" y="117"/>
                  </a:lnTo>
                  <a:lnTo>
                    <a:pt x="239" y="113"/>
                  </a:lnTo>
                  <a:lnTo>
                    <a:pt x="235" y="111"/>
                  </a:lnTo>
                  <a:lnTo>
                    <a:pt x="228" y="117"/>
                  </a:lnTo>
                  <a:lnTo>
                    <a:pt x="228" y="117"/>
                  </a:lnTo>
                  <a:lnTo>
                    <a:pt x="220" y="117"/>
                  </a:lnTo>
                  <a:lnTo>
                    <a:pt x="217" y="113"/>
                  </a:lnTo>
                  <a:lnTo>
                    <a:pt x="215" y="111"/>
                  </a:lnTo>
                  <a:lnTo>
                    <a:pt x="215" y="111"/>
                  </a:lnTo>
                  <a:lnTo>
                    <a:pt x="211" y="111"/>
                  </a:lnTo>
                  <a:lnTo>
                    <a:pt x="207" y="111"/>
                  </a:lnTo>
                  <a:lnTo>
                    <a:pt x="205" y="111"/>
                  </a:lnTo>
                  <a:lnTo>
                    <a:pt x="203" y="111"/>
                  </a:lnTo>
                  <a:lnTo>
                    <a:pt x="203" y="111"/>
                  </a:lnTo>
                  <a:lnTo>
                    <a:pt x="203" y="111"/>
                  </a:lnTo>
                  <a:lnTo>
                    <a:pt x="202" y="117"/>
                  </a:lnTo>
                  <a:lnTo>
                    <a:pt x="200" y="117"/>
                  </a:lnTo>
                  <a:lnTo>
                    <a:pt x="196" y="117"/>
                  </a:lnTo>
                  <a:lnTo>
                    <a:pt x="192" y="117"/>
                  </a:lnTo>
                  <a:lnTo>
                    <a:pt x="190" y="119"/>
                  </a:lnTo>
                  <a:lnTo>
                    <a:pt x="187" y="119"/>
                  </a:lnTo>
                  <a:lnTo>
                    <a:pt x="187" y="117"/>
                  </a:lnTo>
                  <a:lnTo>
                    <a:pt x="185" y="117"/>
                  </a:lnTo>
                  <a:lnTo>
                    <a:pt x="185" y="113"/>
                  </a:lnTo>
                  <a:lnTo>
                    <a:pt x="185" y="113"/>
                  </a:lnTo>
                  <a:lnTo>
                    <a:pt x="175" y="117"/>
                  </a:lnTo>
                  <a:lnTo>
                    <a:pt x="173" y="119"/>
                  </a:lnTo>
                  <a:lnTo>
                    <a:pt x="171" y="121"/>
                  </a:lnTo>
                  <a:lnTo>
                    <a:pt x="162" y="121"/>
                  </a:lnTo>
                  <a:lnTo>
                    <a:pt x="160" y="123"/>
                  </a:lnTo>
                  <a:lnTo>
                    <a:pt x="160" y="121"/>
                  </a:lnTo>
                  <a:lnTo>
                    <a:pt x="155" y="119"/>
                  </a:lnTo>
                  <a:lnTo>
                    <a:pt x="151" y="119"/>
                  </a:lnTo>
                  <a:lnTo>
                    <a:pt x="149" y="123"/>
                  </a:lnTo>
                  <a:lnTo>
                    <a:pt x="147" y="126"/>
                  </a:lnTo>
                  <a:lnTo>
                    <a:pt x="147" y="128"/>
                  </a:lnTo>
                  <a:lnTo>
                    <a:pt x="149" y="130"/>
                  </a:lnTo>
                  <a:lnTo>
                    <a:pt x="147" y="132"/>
                  </a:lnTo>
                  <a:lnTo>
                    <a:pt x="141" y="132"/>
                  </a:lnTo>
                  <a:lnTo>
                    <a:pt x="141" y="132"/>
                  </a:lnTo>
                  <a:lnTo>
                    <a:pt x="138" y="130"/>
                  </a:lnTo>
                  <a:lnTo>
                    <a:pt x="134" y="128"/>
                  </a:lnTo>
                  <a:lnTo>
                    <a:pt x="130" y="128"/>
                  </a:lnTo>
                  <a:lnTo>
                    <a:pt x="128" y="130"/>
                  </a:lnTo>
                  <a:lnTo>
                    <a:pt x="124" y="130"/>
                  </a:lnTo>
                  <a:lnTo>
                    <a:pt x="121" y="130"/>
                  </a:lnTo>
                  <a:lnTo>
                    <a:pt x="117" y="126"/>
                  </a:lnTo>
                  <a:lnTo>
                    <a:pt x="111" y="128"/>
                  </a:lnTo>
                  <a:lnTo>
                    <a:pt x="111" y="126"/>
                  </a:lnTo>
                  <a:lnTo>
                    <a:pt x="107" y="123"/>
                  </a:lnTo>
                  <a:lnTo>
                    <a:pt x="106" y="121"/>
                  </a:lnTo>
                  <a:lnTo>
                    <a:pt x="98" y="117"/>
                  </a:lnTo>
                  <a:lnTo>
                    <a:pt x="96" y="117"/>
                  </a:lnTo>
                  <a:lnTo>
                    <a:pt x="94" y="113"/>
                  </a:lnTo>
                  <a:lnTo>
                    <a:pt x="92" y="113"/>
                  </a:lnTo>
                  <a:lnTo>
                    <a:pt x="91" y="117"/>
                  </a:lnTo>
                  <a:lnTo>
                    <a:pt x="91" y="117"/>
                  </a:lnTo>
                  <a:lnTo>
                    <a:pt x="87" y="117"/>
                  </a:lnTo>
                  <a:lnTo>
                    <a:pt x="85" y="117"/>
                  </a:lnTo>
                  <a:lnTo>
                    <a:pt x="81" y="119"/>
                  </a:lnTo>
                  <a:lnTo>
                    <a:pt x="81" y="121"/>
                  </a:lnTo>
                  <a:lnTo>
                    <a:pt x="81" y="124"/>
                  </a:lnTo>
                  <a:lnTo>
                    <a:pt x="81" y="126"/>
                  </a:lnTo>
                  <a:lnTo>
                    <a:pt x="79" y="128"/>
                  </a:lnTo>
                  <a:lnTo>
                    <a:pt x="77" y="128"/>
                  </a:lnTo>
                  <a:lnTo>
                    <a:pt x="77" y="130"/>
                  </a:lnTo>
                  <a:lnTo>
                    <a:pt x="79" y="134"/>
                  </a:lnTo>
                  <a:lnTo>
                    <a:pt x="77" y="136"/>
                  </a:lnTo>
                  <a:lnTo>
                    <a:pt x="77" y="138"/>
                  </a:lnTo>
                  <a:lnTo>
                    <a:pt x="77" y="141"/>
                  </a:lnTo>
                  <a:lnTo>
                    <a:pt x="75" y="141"/>
                  </a:lnTo>
                  <a:lnTo>
                    <a:pt x="74" y="141"/>
                  </a:lnTo>
                  <a:lnTo>
                    <a:pt x="70" y="141"/>
                  </a:lnTo>
                  <a:lnTo>
                    <a:pt x="68" y="138"/>
                  </a:lnTo>
                  <a:lnTo>
                    <a:pt x="66" y="138"/>
                  </a:lnTo>
                  <a:lnTo>
                    <a:pt x="62" y="138"/>
                  </a:lnTo>
                  <a:lnTo>
                    <a:pt x="60" y="141"/>
                  </a:lnTo>
                  <a:lnTo>
                    <a:pt x="57" y="138"/>
                  </a:lnTo>
                  <a:lnTo>
                    <a:pt x="51" y="141"/>
                  </a:lnTo>
                  <a:lnTo>
                    <a:pt x="47" y="143"/>
                  </a:lnTo>
                  <a:lnTo>
                    <a:pt x="45" y="147"/>
                  </a:lnTo>
                  <a:lnTo>
                    <a:pt x="40" y="149"/>
                  </a:lnTo>
                  <a:lnTo>
                    <a:pt x="32" y="164"/>
                  </a:lnTo>
                  <a:lnTo>
                    <a:pt x="30" y="164"/>
                  </a:lnTo>
                  <a:lnTo>
                    <a:pt x="30" y="162"/>
                  </a:lnTo>
                  <a:lnTo>
                    <a:pt x="30" y="160"/>
                  </a:lnTo>
                  <a:lnTo>
                    <a:pt x="30" y="155"/>
                  </a:lnTo>
                  <a:lnTo>
                    <a:pt x="23" y="151"/>
                  </a:lnTo>
                  <a:lnTo>
                    <a:pt x="21" y="149"/>
                  </a:lnTo>
                  <a:lnTo>
                    <a:pt x="21" y="143"/>
                  </a:lnTo>
                  <a:lnTo>
                    <a:pt x="15" y="138"/>
                  </a:lnTo>
                  <a:lnTo>
                    <a:pt x="11" y="134"/>
                  </a:lnTo>
                  <a:lnTo>
                    <a:pt x="11" y="128"/>
                  </a:lnTo>
                  <a:lnTo>
                    <a:pt x="6" y="126"/>
                  </a:lnTo>
                  <a:lnTo>
                    <a:pt x="4" y="124"/>
                  </a:lnTo>
                  <a:lnTo>
                    <a:pt x="4" y="117"/>
                  </a:lnTo>
                  <a:lnTo>
                    <a:pt x="2" y="113"/>
                  </a:lnTo>
                  <a:lnTo>
                    <a:pt x="2" y="108"/>
                  </a:lnTo>
                  <a:lnTo>
                    <a:pt x="2" y="104"/>
                  </a:lnTo>
                  <a:lnTo>
                    <a:pt x="0" y="100"/>
                  </a:lnTo>
                  <a:lnTo>
                    <a:pt x="0" y="94"/>
                  </a:lnTo>
                  <a:lnTo>
                    <a:pt x="2" y="92"/>
                  </a:lnTo>
                  <a:lnTo>
                    <a:pt x="4" y="92"/>
                  </a:lnTo>
                  <a:lnTo>
                    <a:pt x="8" y="87"/>
                  </a:lnTo>
                  <a:lnTo>
                    <a:pt x="10" y="81"/>
                  </a:lnTo>
                  <a:lnTo>
                    <a:pt x="11" y="77"/>
                  </a:lnTo>
                  <a:lnTo>
                    <a:pt x="15" y="72"/>
                  </a:lnTo>
                  <a:lnTo>
                    <a:pt x="17" y="72"/>
                  </a:lnTo>
                  <a:lnTo>
                    <a:pt x="21" y="66"/>
                  </a:lnTo>
                  <a:lnTo>
                    <a:pt x="21" y="64"/>
                  </a:lnTo>
                  <a:lnTo>
                    <a:pt x="23" y="68"/>
                  </a:lnTo>
                  <a:lnTo>
                    <a:pt x="23" y="72"/>
                  </a:lnTo>
                  <a:lnTo>
                    <a:pt x="27" y="72"/>
                  </a:lnTo>
                  <a:lnTo>
                    <a:pt x="30" y="68"/>
                  </a:lnTo>
                  <a:lnTo>
                    <a:pt x="34" y="68"/>
                  </a:lnTo>
                  <a:lnTo>
                    <a:pt x="38" y="66"/>
                  </a:lnTo>
                  <a:lnTo>
                    <a:pt x="38" y="62"/>
                  </a:lnTo>
                  <a:lnTo>
                    <a:pt x="40" y="60"/>
                  </a:lnTo>
                  <a:lnTo>
                    <a:pt x="42" y="62"/>
                  </a:lnTo>
                  <a:lnTo>
                    <a:pt x="43" y="66"/>
                  </a:lnTo>
                  <a:lnTo>
                    <a:pt x="45" y="68"/>
                  </a:lnTo>
                  <a:lnTo>
                    <a:pt x="47" y="68"/>
                  </a:lnTo>
                  <a:lnTo>
                    <a:pt x="51" y="64"/>
                  </a:lnTo>
                  <a:lnTo>
                    <a:pt x="57" y="60"/>
                  </a:lnTo>
                  <a:lnTo>
                    <a:pt x="62" y="59"/>
                  </a:lnTo>
                  <a:lnTo>
                    <a:pt x="74" y="55"/>
                  </a:lnTo>
                  <a:lnTo>
                    <a:pt x="79" y="55"/>
                  </a:lnTo>
                  <a:lnTo>
                    <a:pt x="81" y="53"/>
                  </a:lnTo>
                  <a:lnTo>
                    <a:pt x="87" y="49"/>
                  </a:lnTo>
                  <a:lnTo>
                    <a:pt x="87" y="47"/>
                  </a:lnTo>
                  <a:lnTo>
                    <a:pt x="85" y="47"/>
                  </a:lnTo>
                  <a:lnTo>
                    <a:pt x="81" y="43"/>
                  </a:lnTo>
                  <a:lnTo>
                    <a:pt x="81" y="38"/>
                  </a:lnTo>
                  <a:lnTo>
                    <a:pt x="85" y="38"/>
                  </a:lnTo>
                  <a:lnTo>
                    <a:pt x="87" y="38"/>
                  </a:lnTo>
                  <a:lnTo>
                    <a:pt x="91" y="38"/>
                  </a:lnTo>
                  <a:lnTo>
                    <a:pt x="92" y="38"/>
                  </a:lnTo>
                  <a:lnTo>
                    <a:pt x="98" y="42"/>
                  </a:lnTo>
                  <a:lnTo>
                    <a:pt x="104" y="38"/>
                  </a:lnTo>
                  <a:lnTo>
                    <a:pt x="111" y="38"/>
                  </a:lnTo>
                  <a:lnTo>
                    <a:pt x="115" y="34"/>
                  </a:lnTo>
                  <a:lnTo>
                    <a:pt x="117" y="34"/>
                  </a:lnTo>
                  <a:lnTo>
                    <a:pt x="117" y="32"/>
                  </a:lnTo>
                  <a:lnTo>
                    <a:pt x="117" y="28"/>
                  </a:lnTo>
                  <a:lnTo>
                    <a:pt x="117" y="25"/>
                  </a:lnTo>
                  <a:lnTo>
                    <a:pt x="121" y="23"/>
                  </a:lnTo>
                  <a:lnTo>
                    <a:pt x="121" y="21"/>
                  </a:lnTo>
                  <a:lnTo>
                    <a:pt x="123" y="17"/>
                  </a:lnTo>
                  <a:lnTo>
                    <a:pt x="124" y="19"/>
                  </a:lnTo>
                  <a:lnTo>
                    <a:pt x="126" y="19"/>
                  </a:lnTo>
                  <a:lnTo>
                    <a:pt x="130" y="13"/>
                  </a:lnTo>
                  <a:lnTo>
                    <a:pt x="132" y="13"/>
                  </a:lnTo>
                  <a:lnTo>
                    <a:pt x="132" y="10"/>
                  </a:lnTo>
                  <a:lnTo>
                    <a:pt x="132" y="8"/>
                  </a:lnTo>
                  <a:lnTo>
                    <a:pt x="138" y="4"/>
                  </a:lnTo>
                  <a:lnTo>
                    <a:pt x="141" y="2"/>
                  </a:lnTo>
                  <a:lnTo>
                    <a:pt x="145" y="2"/>
                  </a:lnTo>
                  <a:lnTo>
                    <a:pt x="149" y="4"/>
                  </a:lnTo>
                  <a:lnTo>
                    <a:pt x="151" y="2"/>
                  </a:lnTo>
                  <a:lnTo>
                    <a:pt x="155" y="0"/>
                  </a:lnTo>
                  <a:lnTo>
                    <a:pt x="155" y="0"/>
                  </a:lnTo>
                  <a:lnTo>
                    <a:pt x="155"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 name="Freeform 108">
              <a:extLst>
                <a:ext uri="{FF2B5EF4-FFF2-40B4-BE49-F238E27FC236}">
                  <a16:creationId xmlns:a16="http://schemas.microsoft.com/office/drawing/2014/main" id="{96A14C2C-C772-8641-965B-B2AF9E7957ED}"/>
                </a:ext>
              </a:extLst>
            </p:cNvPr>
            <p:cNvSpPr>
              <a:spLocks/>
            </p:cNvSpPr>
            <p:nvPr/>
          </p:nvSpPr>
          <p:spPr bwMode="auto">
            <a:xfrm>
              <a:off x="6269491" y="2498888"/>
              <a:ext cx="243201" cy="203258"/>
            </a:xfrm>
            <a:custGeom>
              <a:avLst/>
              <a:gdLst/>
              <a:ahLst/>
              <a:cxnLst>
                <a:cxn ang="0">
                  <a:pos x="285" y="258"/>
                </a:cxn>
                <a:cxn ang="0">
                  <a:pos x="271" y="62"/>
                </a:cxn>
                <a:cxn ang="0">
                  <a:pos x="277" y="47"/>
                </a:cxn>
                <a:cxn ang="0">
                  <a:pos x="277" y="30"/>
                </a:cxn>
                <a:cxn ang="0">
                  <a:pos x="271" y="20"/>
                </a:cxn>
                <a:cxn ang="0">
                  <a:pos x="253" y="19"/>
                </a:cxn>
                <a:cxn ang="0">
                  <a:pos x="239" y="13"/>
                </a:cxn>
                <a:cxn ang="0">
                  <a:pos x="234" y="5"/>
                </a:cxn>
                <a:cxn ang="0">
                  <a:pos x="223" y="3"/>
                </a:cxn>
                <a:cxn ang="0">
                  <a:pos x="213" y="3"/>
                </a:cxn>
                <a:cxn ang="0">
                  <a:pos x="192" y="11"/>
                </a:cxn>
                <a:cxn ang="0">
                  <a:pos x="183" y="20"/>
                </a:cxn>
                <a:cxn ang="0">
                  <a:pos x="189" y="43"/>
                </a:cxn>
                <a:cxn ang="0">
                  <a:pos x="181" y="54"/>
                </a:cxn>
                <a:cxn ang="0">
                  <a:pos x="164" y="58"/>
                </a:cxn>
                <a:cxn ang="0">
                  <a:pos x="143" y="43"/>
                </a:cxn>
                <a:cxn ang="0">
                  <a:pos x="121" y="39"/>
                </a:cxn>
                <a:cxn ang="0">
                  <a:pos x="102" y="24"/>
                </a:cxn>
                <a:cxn ang="0">
                  <a:pos x="85" y="11"/>
                </a:cxn>
                <a:cxn ang="0">
                  <a:pos x="64" y="3"/>
                </a:cxn>
                <a:cxn ang="0">
                  <a:pos x="40" y="3"/>
                </a:cxn>
                <a:cxn ang="0">
                  <a:pos x="36" y="9"/>
                </a:cxn>
                <a:cxn ang="0">
                  <a:pos x="21" y="22"/>
                </a:cxn>
                <a:cxn ang="0">
                  <a:pos x="15" y="30"/>
                </a:cxn>
                <a:cxn ang="0">
                  <a:pos x="12" y="37"/>
                </a:cxn>
                <a:cxn ang="0">
                  <a:pos x="12" y="49"/>
                </a:cxn>
                <a:cxn ang="0">
                  <a:pos x="8" y="54"/>
                </a:cxn>
                <a:cxn ang="0">
                  <a:pos x="2" y="56"/>
                </a:cxn>
                <a:cxn ang="0">
                  <a:pos x="0" y="64"/>
                </a:cxn>
                <a:cxn ang="0">
                  <a:pos x="6" y="83"/>
                </a:cxn>
                <a:cxn ang="0">
                  <a:pos x="6" y="101"/>
                </a:cxn>
                <a:cxn ang="0">
                  <a:pos x="6" y="116"/>
                </a:cxn>
                <a:cxn ang="0">
                  <a:pos x="6" y="130"/>
                </a:cxn>
                <a:cxn ang="0">
                  <a:pos x="0" y="137"/>
                </a:cxn>
                <a:cxn ang="0">
                  <a:pos x="12" y="152"/>
                </a:cxn>
                <a:cxn ang="0">
                  <a:pos x="12" y="162"/>
                </a:cxn>
                <a:cxn ang="0">
                  <a:pos x="15" y="171"/>
                </a:cxn>
                <a:cxn ang="0">
                  <a:pos x="32" y="175"/>
                </a:cxn>
                <a:cxn ang="0">
                  <a:pos x="40" y="188"/>
                </a:cxn>
                <a:cxn ang="0">
                  <a:pos x="47" y="196"/>
                </a:cxn>
                <a:cxn ang="0">
                  <a:pos x="119" y="190"/>
                </a:cxn>
                <a:cxn ang="0">
                  <a:pos x="268" y="265"/>
                </a:cxn>
              </a:cxnLst>
              <a:rect l="0" t="0" r="r" b="b"/>
              <a:pathLst>
                <a:path w="285" h="265">
                  <a:moveTo>
                    <a:pt x="268" y="265"/>
                  </a:moveTo>
                  <a:lnTo>
                    <a:pt x="268" y="258"/>
                  </a:lnTo>
                  <a:lnTo>
                    <a:pt x="285" y="258"/>
                  </a:lnTo>
                  <a:lnTo>
                    <a:pt x="277" y="77"/>
                  </a:lnTo>
                  <a:lnTo>
                    <a:pt x="275" y="67"/>
                  </a:lnTo>
                  <a:lnTo>
                    <a:pt x="271" y="62"/>
                  </a:lnTo>
                  <a:lnTo>
                    <a:pt x="275" y="56"/>
                  </a:lnTo>
                  <a:lnTo>
                    <a:pt x="277" y="49"/>
                  </a:lnTo>
                  <a:lnTo>
                    <a:pt x="277" y="47"/>
                  </a:lnTo>
                  <a:lnTo>
                    <a:pt x="275" y="39"/>
                  </a:lnTo>
                  <a:lnTo>
                    <a:pt x="277" y="32"/>
                  </a:lnTo>
                  <a:lnTo>
                    <a:pt x="277" y="30"/>
                  </a:lnTo>
                  <a:lnTo>
                    <a:pt x="275" y="24"/>
                  </a:lnTo>
                  <a:lnTo>
                    <a:pt x="275" y="20"/>
                  </a:lnTo>
                  <a:lnTo>
                    <a:pt x="271" y="20"/>
                  </a:lnTo>
                  <a:lnTo>
                    <a:pt x="268" y="20"/>
                  </a:lnTo>
                  <a:lnTo>
                    <a:pt x="255" y="19"/>
                  </a:lnTo>
                  <a:lnTo>
                    <a:pt x="253" y="19"/>
                  </a:lnTo>
                  <a:lnTo>
                    <a:pt x="247" y="19"/>
                  </a:lnTo>
                  <a:lnTo>
                    <a:pt x="241" y="15"/>
                  </a:lnTo>
                  <a:lnTo>
                    <a:pt x="239" y="13"/>
                  </a:lnTo>
                  <a:lnTo>
                    <a:pt x="241" y="13"/>
                  </a:lnTo>
                  <a:lnTo>
                    <a:pt x="241" y="11"/>
                  </a:lnTo>
                  <a:lnTo>
                    <a:pt x="234" y="5"/>
                  </a:lnTo>
                  <a:lnTo>
                    <a:pt x="228" y="5"/>
                  </a:lnTo>
                  <a:lnTo>
                    <a:pt x="223" y="3"/>
                  </a:lnTo>
                  <a:lnTo>
                    <a:pt x="223" y="3"/>
                  </a:lnTo>
                  <a:lnTo>
                    <a:pt x="219" y="5"/>
                  </a:lnTo>
                  <a:lnTo>
                    <a:pt x="217" y="3"/>
                  </a:lnTo>
                  <a:lnTo>
                    <a:pt x="213" y="3"/>
                  </a:lnTo>
                  <a:lnTo>
                    <a:pt x="209" y="5"/>
                  </a:lnTo>
                  <a:lnTo>
                    <a:pt x="198" y="7"/>
                  </a:lnTo>
                  <a:lnTo>
                    <a:pt x="192" y="11"/>
                  </a:lnTo>
                  <a:lnTo>
                    <a:pt x="187" y="15"/>
                  </a:lnTo>
                  <a:lnTo>
                    <a:pt x="187" y="19"/>
                  </a:lnTo>
                  <a:lnTo>
                    <a:pt x="183" y="20"/>
                  </a:lnTo>
                  <a:lnTo>
                    <a:pt x="183" y="32"/>
                  </a:lnTo>
                  <a:lnTo>
                    <a:pt x="187" y="37"/>
                  </a:lnTo>
                  <a:lnTo>
                    <a:pt x="189" y="43"/>
                  </a:lnTo>
                  <a:lnTo>
                    <a:pt x="187" y="49"/>
                  </a:lnTo>
                  <a:lnTo>
                    <a:pt x="183" y="52"/>
                  </a:lnTo>
                  <a:lnTo>
                    <a:pt x="181" y="54"/>
                  </a:lnTo>
                  <a:lnTo>
                    <a:pt x="177" y="60"/>
                  </a:lnTo>
                  <a:lnTo>
                    <a:pt x="172" y="62"/>
                  </a:lnTo>
                  <a:lnTo>
                    <a:pt x="164" y="58"/>
                  </a:lnTo>
                  <a:lnTo>
                    <a:pt x="157" y="52"/>
                  </a:lnTo>
                  <a:lnTo>
                    <a:pt x="151" y="49"/>
                  </a:lnTo>
                  <a:lnTo>
                    <a:pt x="143" y="43"/>
                  </a:lnTo>
                  <a:lnTo>
                    <a:pt x="128" y="37"/>
                  </a:lnTo>
                  <a:lnTo>
                    <a:pt x="123" y="37"/>
                  </a:lnTo>
                  <a:lnTo>
                    <a:pt x="121" y="39"/>
                  </a:lnTo>
                  <a:lnTo>
                    <a:pt x="115" y="39"/>
                  </a:lnTo>
                  <a:lnTo>
                    <a:pt x="108" y="35"/>
                  </a:lnTo>
                  <a:lnTo>
                    <a:pt x="102" y="24"/>
                  </a:lnTo>
                  <a:lnTo>
                    <a:pt x="102" y="19"/>
                  </a:lnTo>
                  <a:lnTo>
                    <a:pt x="96" y="13"/>
                  </a:lnTo>
                  <a:lnTo>
                    <a:pt x="85" y="11"/>
                  </a:lnTo>
                  <a:lnTo>
                    <a:pt x="79" y="7"/>
                  </a:lnTo>
                  <a:lnTo>
                    <a:pt x="68" y="7"/>
                  </a:lnTo>
                  <a:lnTo>
                    <a:pt x="64" y="3"/>
                  </a:lnTo>
                  <a:lnTo>
                    <a:pt x="51" y="7"/>
                  </a:lnTo>
                  <a:lnTo>
                    <a:pt x="42" y="5"/>
                  </a:lnTo>
                  <a:lnTo>
                    <a:pt x="40" y="3"/>
                  </a:lnTo>
                  <a:lnTo>
                    <a:pt x="32" y="0"/>
                  </a:lnTo>
                  <a:lnTo>
                    <a:pt x="32" y="3"/>
                  </a:lnTo>
                  <a:lnTo>
                    <a:pt x="36" y="9"/>
                  </a:lnTo>
                  <a:lnTo>
                    <a:pt x="36" y="11"/>
                  </a:lnTo>
                  <a:lnTo>
                    <a:pt x="32" y="15"/>
                  </a:lnTo>
                  <a:lnTo>
                    <a:pt x="21" y="22"/>
                  </a:lnTo>
                  <a:lnTo>
                    <a:pt x="21" y="28"/>
                  </a:lnTo>
                  <a:lnTo>
                    <a:pt x="17" y="30"/>
                  </a:lnTo>
                  <a:lnTo>
                    <a:pt x="15" y="30"/>
                  </a:lnTo>
                  <a:lnTo>
                    <a:pt x="12" y="32"/>
                  </a:lnTo>
                  <a:lnTo>
                    <a:pt x="12" y="34"/>
                  </a:lnTo>
                  <a:lnTo>
                    <a:pt x="12" y="37"/>
                  </a:lnTo>
                  <a:lnTo>
                    <a:pt x="12" y="43"/>
                  </a:lnTo>
                  <a:lnTo>
                    <a:pt x="12" y="47"/>
                  </a:lnTo>
                  <a:lnTo>
                    <a:pt x="12" y="49"/>
                  </a:lnTo>
                  <a:lnTo>
                    <a:pt x="12" y="49"/>
                  </a:lnTo>
                  <a:lnTo>
                    <a:pt x="12" y="52"/>
                  </a:lnTo>
                  <a:lnTo>
                    <a:pt x="8" y="54"/>
                  </a:lnTo>
                  <a:lnTo>
                    <a:pt x="6" y="56"/>
                  </a:lnTo>
                  <a:lnTo>
                    <a:pt x="2" y="56"/>
                  </a:lnTo>
                  <a:lnTo>
                    <a:pt x="2" y="56"/>
                  </a:lnTo>
                  <a:lnTo>
                    <a:pt x="2" y="56"/>
                  </a:lnTo>
                  <a:lnTo>
                    <a:pt x="0" y="58"/>
                  </a:lnTo>
                  <a:lnTo>
                    <a:pt x="0" y="64"/>
                  </a:lnTo>
                  <a:lnTo>
                    <a:pt x="2" y="64"/>
                  </a:lnTo>
                  <a:lnTo>
                    <a:pt x="6" y="71"/>
                  </a:lnTo>
                  <a:lnTo>
                    <a:pt x="6" y="83"/>
                  </a:lnTo>
                  <a:lnTo>
                    <a:pt x="6" y="88"/>
                  </a:lnTo>
                  <a:lnTo>
                    <a:pt x="6" y="92"/>
                  </a:lnTo>
                  <a:lnTo>
                    <a:pt x="6" y="101"/>
                  </a:lnTo>
                  <a:lnTo>
                    <a:pt x="8" y="105"/>
                  </a:lnTo>
                  <a:lnTo>
                    <a:pt x="6" y="116"/>
                  </a:lnTo>
                  <a:lnTo>
                    <a:pt x="6" y="116"/>
                  </a:lnTo>
                  <a:lnTo>
                    <a:pt x="6" y="122"/>
                  </a:lnTo>
                  <a:lnTo>
                    <a:pt x="8" y="128"/>
                  </a:lnTo>
                  <a:lnTo>
                    <a:pt x="6" y="130"/>
                  </a:lnTo>
                  <a:lnTo>
                    <a:pt x="2" y="133"/>
                  </a:lnTo>
                  <a:lnTo>
                    <a:pt x="0" y="135"/>
                  </a:lnTo>
                  <a:lnTo>
                    <a:pt x="0" y="137"/>
                  </a:lnTo>
                  <a:lnTo>
                    <a:pt x="2" y="141"/>
                  </a:lnTo>
                  <a:lnTo>
                    <a:pt x="6" y="147"/>
                  </a:lnTo>
                  <a:lnTo>
                    <a:pt x="12" y="152"/>
                  </a:lnTo>
                  <a:lnTo>
                    <a:pt x="12" y="154"/>
                  </a:lnTo>
                  <a:lnTo>
                    <a:pt x="12" y="158"/>
                  </a:lnTo>
                  <a:lnTo>
                    <a:pt x="12" y="162"/>
                  </a:lnTo>
                  <a:lnTo>
                    <a:pt x="12" y="165"/>
                  </a:lnTo>
                  <a:lnTo>
                    <a:pt x="15" y="169"/>
                  </a:lnTo>
                  <a:lnTo>
                    <a:pt x="15" y="171"/>
                  </a:lnTo>
                  <a:lnTo>
                    <a:pt x="17" y="175"/>
                  </a:lnTo>
                  <a:lnTo>
                    <a:pt x="25" y="175"/>
                  </a:lnTo>
                  <a:lnTo>
                    <a:pt x="32" y="175"/>
                  </a:lnTo>
                  <a:lnTo>
                    <a:pt x="32" y="175"/>
                  </a:lnTo>
                  <a:lnTo>
                    <a:pt x="36" y="181"/>
                  </a:lnTo>
                  <a:lnTo>
                    <a:pt x="40" y="188"/>
                  </a:lnTo>
                  <a:lnTo>
                    <a:pt x="42" y="190"/>
                  </a:lnTo>
                  <a:lnTo>
                    <a:pt x="44" y="194"/>
                  </a:lnTo>
                  <a:lnTo>
                    <a:pt x="47" y="196"/>
                  </a:lnTo>
                  <a:lnTo>
                    <a:pt x="79" y="201"/>
                  </a:lnTo>
                  <a:lnTo>
                    <a:pt x="83" y="205"/>
                  </a:lnTo>
                  <a:lnTo>
                    <a:pt x="119" y="190"/>
                  </a:lnTo>
                  <a:lnTo>
                    <a:pt x="268" y="265"/>
                  </a:lnTo>
                  <a:lnTo>
                    <a:pt x="268" y="265"/>
                  </a:lnTo>
                  <a:lnTo>
                    <a:pt x="268" y="265"/>
                  </a:lnTo>
                  <a:lnTo>
                    <a:pt x="268" y="265"/>
                  </a:lnTo>
                  <a:lnTo>
                    <a:pt x="268" y="26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 name="Freeform 109">
              <a:extLst>
                <a:ext uri="{FF2B5EF4-FFF2-40B4-BE49-F238E27FC236}">
                  <a16:creationId xmlns:a16="http://schemas.microsoft.com/office/drawing/2014/main" id="{A15A7D9B-7354-1D4D-9E92-829F541A15EB}"/>
                </a:ext>
              </a:extLst>
            </p:cNvPr>
            <p:cNvSpPr>
              <a:spLocks noEditPoints="1"/>
            </p:cNvSpPr>
            <p:nvPr/>
          </p:nvSpPr>
          <p:spPr bwMode="auto">
            <a:xfrm>
              <a:off x="6237916" y="2433693"/>
              <a:ext cx="64000" cy="109683"/>
            </a:xfrm>
            <a:custGeom>
              <a:avLst/>
              <a:gdLst/>
              <a:ahLst/>
              <a:cxnLst>
                <a:cxn ang="0">
                  <a:pos x="41" y="143"/>
                </a:cxn>
                <a:cxn ang="0">
                  <a:pos x="47" y="141"/>
                </a:cxn>
                <a:cxn ang="0">
                  <a:pos x="49" y="136"/>
                </a:cxn>
                <a:cxn ang="0">
                  <a:pos x="51" y="134"/>
                </a:cxn>
                <a:cxn ang="0">
                  <a:pos x="49" y="124"/>
                </a:cxn>
                <a:cxn ang="0">
                  <a:pos x="49" y="119"/>
                </a:cxn>
                <a:cxn ang="0">
                  <a:pos x="56" y="117"/>
                </a:cxn>
                <a:cxn ang="0">
                  <a:pos x="60" y="109"/>
                </a:cxn>
                <a:cxn ang="0">
                  <a:pos x="75" y="96"/>
                </a:cxn>
                <a:cxn ang="0">
                  <a:pos x="71" y="88"/>
                </a:cxn>
                <a:cxn ang="0">
                  <a:pos x="71" y="87"/>
                </a:cxn>
                <a:cxn ang="0">
                  <a:pos x="66" y="81"/>
                </a:cxn>
                <a:cxn ang="0">
                  <a:pos x="62" y="77"/>
                </a:cxn>
                <a:cxn ang="0">
                  <a:pos x="60" y="79"/>
                </a:cxn>
                <a:cxn ang="0">
                  <a:pos x="56" y="79"/>
                </a:cxn>
                <a:cxn ang="0">
                  <a:pos x="52" y="77"/>
                </a:cxn>
                <a:cxn ang="0">
                  <a:pos x="45" y="66"/>
                </a:cxn>
                <a:cxn ang="0">
                  <a:pos x="56" y="56"/>
                </a:cxn>
                <a:cxn ang="0">
                  <a:pos x="62" y="49"/>
                </a:cxn>
                <a:cxn ang="0">
                  <a:pos x="64" y="45"/>
                </a:cxn>
                <a:cxn ang="0">
                  <a:pos x="60" y="41"/>
                </a:cxn>
                <a:cxn ang="0">
                  <a:pos x="54" y="32"/>
                </a:cxn>
                <a:cxn ang="0">
                  <a:pos x="51" y="21"/>
                </a:cxn>
                <a:cxn ang="0">
                  <a:pos x="56" y="17"/>
                </a:cxn>
                <a:cxn ang="0">
                  <a:pos x="60" y="7"/>
                </a:cxn>
                <a:cxn ang="0">
                  <a:pos x="51" y="11"/>
                </a:cxn>
                <a:cxn ang="0">
                  <a:pos x="47" y="11"/>
                </a:cxn>
                <a:cxn ang="0">
                  <a:pos x="41" y="6"/>
                </a:cxn>
                <a:cxn ang="0">
                  <a:pos x="39" y="0"/>
                </a:cxn>
                <a:cxn ang="0">
                  <a:pos x="36" y="4"/>
                </a:cxn>
                <a:cxn ang="0">
                  <a:pos x="30" y="2"/>
                </a:cxn>
                <a:cxn ang="0">
                  <a:pos x="19" y="7"/>
                </a:cxn>
                <a:cxn ang="0">
                  <a:pos x="17" y="11"/>
                </a:cxn>
                <a:cxn ang="0">
                  <a:pos x="17" y="21"/>
                </a:cxn>
                <a:cxn ang="0">
                  <a:pos x="13" y="32"/>
                </a:cxn>
                <a:cxn ang="0">
                  <a:pos x="17" y="41"/>
                </a:cxn>
                <a:cxn ang="0">
                  <a:pos x="17" y="45"/>
                </a:cxn>
                <a:cxn ang="0">
                  <a:pos x="17" y="49"/>
                </a:cxn>
                <a:cxn ang="0">
                  <a:pos x="15" y="58"/>
                </a:cxn>
                <a:cxn ang="0">
                  <a:pos x="9" y="62"/>
                </a:cxn>
                <a:cxn ang="0">
                  <a:pos x="5" y="66"/>
                </a:cxn>
                <a:cxn ang="0">
                  <a:pos x="2" y="77"/>
                </a:cxn>
                <a:cxn ang="0">
                  <a:pos x="5" y="85"/>
                </a:cxn>
                <a:cxn ang="0">
                  <a:pos x="9" y="88"/>
                </a:cxn>
                <a:cxn ang="0">
                  <a:pos x="15" y="96"/>
                </a:cxn>
                <a:cxn ang="0">
                  <a:pos x="20" y="100"/>
                </a:cxn>
                <a:cxn ang="0">
                  <a:pos x="30" y="105"/>
                </a:cxn>
                <a:cxn ang="0">
                  <a:pos x="39" y="143"/>
                </a:cxn>
                <a:cxn ang="0">
                  <a:pos x="39" y="143"/>
                </a:cxn>
                <a:cxn ang="0">
                  <a:pos x="58" y="71"/>
                </a:cxn>
                <a:cxn ang="0">
                  <a:pos x="62" y="75"/>
                </a:cxn>
                <a:cxn ang="0">
                  <a:pos x="56" y="75"/>
                </a:cxn>
                <a:cxn ang="0">
                  <a:pos x="56" y="75"/>
                </a:cxn>
              </a:cxnLst>
              <a:rect l="0" t="0" r="r" b="b"/>
              <a:pathLst>
                <a:path w="75" h="143">
                  <a:moveTo>
                    <a:pt x="39" y="143"/>
                  </a:moveTo>
                  <a:lnTo>
                    <a:pt x="41" y="143"/>
                  </a:lnTo>
                  <a:lnTo>
                    <a:pt x="45" y="143"/>
                  </a:lnTo>
                  <a:lnTo>
                    <a:pt x="47" y="141"/>
                  </a:lnTo>
                  <a:lnTo>
                    <a:pt x="49" y="137"/>
                  </a:lnTo>
                  <a:lnTo>
                    <a:pt x="49" y="136"/>
                  </a:lnTo>
                  <a:lnTo>
                    <a:pt x="49" y="134"/>
                  </a:lnTo>
                  <a:lnTo>
                    <a:pt x="51" y="134"/>
                  </a:lnTo>
                  <a:lnTo>
                    <a:pt x="51" y="128"/>
                  </a:lnTo>
                  <a:lnTo>
                    <a:pt x="49" y="124"/>
                  </a:lnTo>
                  <a:lnTo>
                    <a:pt x="49" y="120"/>
                  </a:lnTo>
                  <a:lnTo>
                    <a:pt x="49" y="119"/>
                  </a:lnTo>
                  <a:lnTo>
                    <a:pt x="52" y="117"/>
                  </a:lnTo>
                  <a:lnTo>
                    <a:pt x="56" y="117"/>
                  </a:lnTo>
                  <a:lnTo>
                    <a:pt x="60" y="113"/>
                  </a:lnTo>
                  <a:lnTo>
                    <a:pt x="60" y="109"/>
                  </a:lnTo>
                  <a:lnTo>
                    <a:pt x="71" y="102"/>
                  </a:lnTo>
                  <a:lnTo>
                    <a:pt x="75" y="96"/>
                  </a:lnTo>
                  <a:lnTo>
                    <a:pt x="75" y="96"/>
                  </a:lnTo>
                  <a:lnTo>
                    <a:pt x="71" y="88"/>
                  </a:lnTo>
                  <a:lnTo>
                    <a:pt x="71" y="87"/>
                  </a:lnTo>
                  <a:lnTo>
                    <a:pt x="71" y="87"/>
                  </a:lnTo>
                  <a:lnTo>
                    <a:pt x="66" y="83"/>
                  </a:lnTo>
                  <a:lnTo>
                    <a:pt x="66" y="81"/>
                  </a:lnTo>
                  <a:lnTo>
                    <a:pt x="66" y="77"/>
                  </a:lnTo>
                  <a:lnTo>
                    <a:pt x="62" y="77"/>
                  </a:lnTo>
                  <a:lnTo>
                    <a:pt x="60" y="77"/>
                  </a:lnTo>
                  <a:lnTo>
                    <a:pt x="60" y="79"/>
                  </a:lnTo>
                  <a:lnTo>
                    <a:pt x="60" y="79"/>
                  </a:lnTo>
                  <a:lnTo>
                    <a:pt x="56" y="79"/>
                  </a:lnTo>
                  <a:lnTo>
                    <a:pt x="56" y="75"/>
                  </a:lnTo>
                  <a:lnTo>
                    <a:pt x="52" y="77"/>
                  </a:lnTo>
                  <a:lnTo>
                    <a:pt x="47" y="71"/>
                  </a:lnTo>
                  <a:lnTo>
                    <a:pt x="45" y="66"/>
                  </a:lnTo>
                  <a:lnTo>
                    <a:pt x="45" y="62"/>
                  </a:lnTo>
                  <a:lnTo>
                    <a:pt x="56" y="56"/>
                  </a:lnTo>
                  <a:lnTo>
                    <a:pt x="62" y="49"/>
                  </a:lnTo>
                  <a:lnTo>
                    <a:pt x="62" y="49"/>
                  </a:lnTo>
                  <a:lnTo>
                    <a:pt x="60" y="45"/>
                  </a:lnTo>
                  <a:lnTo>
                    <a:pt x="64" y="45"/>
                  </a:lnTo>
                  <a:lnTo>
                    <a:pt x="62" y="41"/>
                  </a:lnTo>
                  <a:lnTo>
                    <a:pt x="60" y="41"/>
                  </a:lnTo>
                  <a:lnTo>
                    <a:pt x="60" y="36"/>
                  </a:lnTo>
                  <a:lnTo>
                    <a:pt x="54" y="32"/>
                  </a:lnTo>
                  <a:lnTo>
                    <a:pt x="51" y="26"/>
                  </a:lnTo>
                  <a:lnTo>
                    <a:pt x="51" y="21"/>
                  </a:lnTo>
                  <a:lnTo>
                    <a:pt x="56" y="21"/>
                  </a:lnTo>
                  <a:lnTo>
                    <a:pt x="56" y="17"/>
                  </a:lnTo>
                  <a:lnTo>
                    <a:pt x="60" y="11"/>
                  </a:lnTo>
                  <a:lnTo>
                    <a:pt x="60" y="7"/>
                  </a:lnTo>
                  <a:lnTo>
                    <a:pt x="58" y="6"/>
                  </a:lnTo>
                  <a:lnTo>
                    <a:pt x="51" y="11"/>
                  </a:lnTo>
                  <a:lnTo>
                    <a:pt x="49" y="13"/>
                  </a:lnTo>
                  <a:lnTo>
                    <a:pt x="47" y="11"/>
                  </a:lnTo>
                  <a:lnTo>
                    <a:pt x="45" y="6"/>
                  </a:lnTo>
                  <a:lnTo>
                    <a:pt x="41" y="6"/>
                  </a:lnTo>
                  <a:lnTo>
                    <a:pt x="45" y="2"/>
                  </a:lnTo>
                  <a:lnTo>
                    <a:pt x="39" y="0"/>
                  </a:lnTo>
                  <a:lnTo>
                    <a:pt x="36" y="0"/>
                  </a:lnTo>
                  <a:lnTo>
                    <a:pt x="36" y="4"/>
                  </a:lnTo>
                  <a:lnTo>
                    <a:pt x="36" y="0"/>
                  </a:lnTo>
                  <a:lnTo>
                    <a:pt x="30" y="2"/>
                  </a:lnTo>
                  <a:lnTo>
                    <a:pt x="22" y="6"/>
                  </a:lnTo>
                  <a:lnTo>
                    <a:pt x="19" y="7"/>
                  </a:lnTo>
                  <a:lnTo>
                    <a:pt x="19" y="7"/>
                  </a:lnTo>
                  <a:lnTo>
                    <a:pt x="17" y="11"/>
                  </a:lnTo>
                  <a:lnTo>
                    <a:pt x="19" y="13"/>
                  </a:lnTo>
                  <a:lnTo>
                    <a:pt x="17" y="21"/>
                  </a:lnTo>
                  <a:lnTo>
                    <a:pt x="17" y="24"/>
                  </a:lnTo>
                  <a:lnTo>
                    <a:pt x="13" y="32"/>
                  </a:lnTo>
                  <a:lnTo>
                    <a:pt x="15" y="39"/>
                  </a:lnTo>
                  <a:lnTo>
                    <a:pt x="17" y="41"/>
                  </a:lnTo>
                  <a:lnTo>
                    <a:pt x="19" y="41"/>
                  </a:lnTo>
                  <a:lnTo>
                    <a:pt x="17" y="45"/>
                  </a:lnTo>
                  <a:lnTo>
                    <a:pt x="15" y="45"/>
                  </a:lnTo>
                  <a:lnTo>
                    <a:pt x="17" y="49"/>
                  </a:lnTo>
                  <a:lnTo>
                    <a:pt x="15" y="51"/>
                  </a:lnTo>
                  <a:lnTo>
                    <a:pt x="15" y="58"/>
                  </a:lnTo>
                  <a:lnTo>
                    <a:pt x="11" y="60"/>
                  </a:lnTo>
                  <a:lnTo>
                    <a:pt x="9" y="62"/>
                  </a:lnTo>
                  <a:lnTo>
                    <a:pt x="9" y="62"/>
                  </a:lnTo>
                  <a:lnTo>
                    <a:pt x="5" y="66"/>
                  </a:lnTo>
                  <a:lnTo>
                    <a:pt x="0" y="75"/>
                  </a:lnTo>
                  <a:lnTo>
                    <a:pt x="2" y="77"/>
                  </a:lnTo>
                  <a:lnTo>
                    <a:pt x="5" y="81"/>
                  </a:lnTo>
                  <a:lnTo>
                    <a:pt x="5" y="85"/>
                  </a:lnTo>
                  <a:lnTo>
                    <a:pt x="5" y="88"/>
                  </a:lnTo>
                  <a:lnTo>
                    <a:pt x="9" y="88"/>
                  </a:lnTo>
                  <a:lnTo>
                    <a:pt x="13" y="90"/>
                  </a:lnTo>
                  <a:lnTo>
                    <a:pt x="15" y="96"/>
                  </a:lnTo>
                  <a:lnTo>
                    <a:pt x="19" y="100"/>
                  </a:lnTo>
                  <a:lnTo>
                    <a:pt x="20" y="100"/>
                  </a:lnTo>
                  <a:lnTo>
                    <a:pt x="24" y="102"/>
                  </a:lnTo>
                  <a:lnTo>
                    <a:pt x="30" y="105"/>
                  </a:lnTo>
                  <a:lnTo>
                    <a:pt x="39" y="143"/>
                  </a:lnTo>
                  <a:lnTo>
                    <a:pt x="39" y="143"/>
                  </a:lnTo>
                  <a:lnTo>
                    <a:pt x="39" y="143"/>
                  </a:lnTo>
                  <a:lnTo>
                    <a:pt x="39" y="143"/>
                  </a:lnTo>
                  <a:close/>
                  <a:moveTo>
                    <a:pt x="56" y="75"/>
                  </a:moveTo>
                  <a:lnTo>
                    <a:pt x="58" y="71"/>
                  </a:lnTo>
                  <a:lnTo>
                    <a:pt x="62" y="71"/>
                  </a:lnTo>
                  <a:lnTo>
                    <a:pt x="62" y="75"/>
                  </a:lnTo>
                  <a:lnTo>
                    <a:pt x="60" y="75"/>
                  </a:lnTo>
                  <a:lnTo>
                    <a:pt x="56" y="75"/>
                  </a:lnTo>
                  <a:lnTo>
                    <a:pt x="56" y="75"/>
                  </a:lnTo>
                  <a:lnTo>
                    <a:pt x="56" y="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 name="Freeform 110">
              <a:extLst>
                <a:ext uri="{FF2B5EF4-FFF2-40B4-BE49-F238E27FC236}">
                  <a16:creationId xmlns:a16="http://schemas.microsoft.com/office/drawing/2014/main" id="{5E29A3A2-C936-C547-92AA-A9802096288E}"/>
                </a:ext>
              </a:extLst>
            </p:cNvPr>
            <p:cNvSpPr>
              <a:spLocks/>
            </p:cNvSpPr>
            <p:nvPr/>
          </p:nvSpPr>
          <p:spPr bwMode="auto">
            <a:xfrm>
              <a:off x="5995569" y="2438294"/>
              <a:ext cx="314027" cy="271522"/>
            </a:xfrm>
            <a:custGeom>
              <a:avLst/>
              <a:gdLst/>
              <a:ahLst/>
              <a:cxnLst>
                <a:cxn ang="0">
                  <a:pos x="363" y="269"/>
                </a:cxn>
                <a:cxn ang="0">
                  <a:pos x="355" y="254"/>
                </a:cxn>
                <a:cxn ang="0">
                  <a:pos x="338" y="254"/>
                </a:cxn>
                <a:cxn ang="0">
                  <a:pos x="335" y="244"/>
                </a:cxn>
                <a:cxn ang="0">
                  <a:pos x="333" y="235"/>
                </a:cxn>
                <a:cxn ang="0">
                  <a:pos x="323" y="220"/>
                </a:cxn>
                <a:cxn ang="0">
                  <a:pos x="323" y="212"/>
                </a:cxn>
                <a:cxn ang="0">
                  <a:pos x="329" y="201"/>
                </a:cxn>
                <a:cxn ang="0">
                  <a:pos x="331" y="186"/>
                </a:cxn>
                <a:cxn ang="0">
                  <a:pos x="327" y="169"/>
                </a:cxn>
                <a:cxn ang="0">
                  <a:pos x="323" y="145"/>
                </a:cxn>
                <a:cxn ang="0">
                  <a:pos x="323" y="137"/>
                </a:cxn>
                <a:cxn ang="0">
                  <a:pos x="304" y="94"/>
                </a:cxn>
                <a:cxn ang="0">
                  <a:pos x="297" y="84"/>
                </a:cxn>
                <a:cxn ang="0">
                  <a:pos x="289" y="79"/>
                </a:cxn>
                <a:cxn ang="0">
                  <a:pos x="286" y="69"/>
                </a:cxn>
                <a:cxn ang="0">
                  <a:pos x="293" y="54"/>
                </a:cxn>
                <a:cxn ang="0">
                  <a:pos x="299" y="45"/>
                </a:cxn>
                <a:cxn ang="0">
                  <a:pos x="301" y="39"/>
                </a:cxn>
                <a:cxn ang="0">
                  <a:pos x="299" y="33"/>
                </a:cxn>
                <a:cxn ang="0">
                  <a:pos x="301" y="15"/>
                </a:cxn>
                <a:cxn ang="0">
                  <a:pos x="303" y="1"/>
                </a:cxn>
                <a:cxn ang="0">
                  <a:pos x="293" y="1"/>
                </a:cxn>
                <a:cxn ang="0">
                  <a:pos x="276" y="0"/>
                </a:cxn>
                <a:cxn ang="0">
                  <a:pos x="269" y="1"/>
                </a:cxn>
                <a:cxn ang="0">
                  <a:pos x="259" y="0"/>
                </a:cxn>
                <a:cxn ang="0">
                  <a:pos x="254" y="5"/>
                </a:cxn>
                <a:cxn ang="0">
                  <a:pos x="244" y="7"/>
                </a:cxn>
                <a:cxn ang="0">
                  <a:pos x="231" y="1"/>
                </a:cxn>
                <a:cxn ang="0">
                  <a:pos x="222" y="1"/>
                </a:cxn>
                <a:cxn ang="0">
                  <a:pos x="214" y="1"/>
                </a:cxn>
                <a:cxn ang="0">
                  <a:pos x="207" y="5"/>
                </a:cxn>
                <a:cxn ang="0">
                  <a:pos x="193" y="7"/>
                </a:cxn>
                <a:cxn ang="0">
                  <a:pos x="176" y="7"/>
                </a:cxn>
                <a:cxn ang="0">
                  <a:pos x="161" y="17"/>
                </a:cxn>
                <a:cxn ang="0">
                  <a:pos x="156" y="24"/>
                </a:cxn>
                <a:cxn ang="0">
                  <a:pos x="150" y="24"/>
                </a:cxn>
                <a:cxn ang="0">
                  <a:pos x="141" y="26"/>
                </a:cxn>
                <a:cxn ang="0">
                  <a:pos x="133" y="33"/>
                </a:cxn>
                <a:cxn ang="0">
                  <a:pos x="118" y="39"/>
                </a:cxn>
                <a:cxn ang="0">
                  <a:pos x="124" y="47"/>
                </a:cxn>
                <a:cxn ang="0">
                  <a:pos x="124" y="58"/>
                </a:cxn>
                <a:cxn ang="0">
                  <a:pos x="128" y="79"/>
                </a:cxn>
                <a:cxn ang="0">
                  <a:pos x="133" y="90"/>
                </a:cxn>
                <a:cxn ang="0">
                  <a:pos x="139" y="92"/>
                </a:cxn>
                <a:cxn ang="0">
                  <a:pos x="135" y="103"/>
                </a:cxn>
                <a:cxn ang="0">
                  <a:pos x="103" y="113"/>
                </a:cxn>
                <a:cxn ang="0">
                  <a:pos x="97" y="124"/>
                </a:cxn>
                <a:cxn ang="0">
                  <a:pos x="65" y="148"/>
                </a:cxn>
                <a:cxn ang="0">
                  <a:pos x="35" y="158"/>
                </a:cxn>
                <a:cxn ang="0">
                  <a:pos x="18" y="162"/>
                </a:cxn>
                <a:cxn ang="0">
                  <a:pos x="0" y="177"/>
                </a:cxn>
                <a:cxn ang="0">
                  <a:pos x="0" y="195"/>
                </a:cxn>
                <a:cxn ang="0">
                  <a:pos x="67" y="241"/>
                </a:cxn>
                <a:cxn ang="0">
                  <a:pos x="188" y="327"/>
                </a:cxn>
                <a:cxn ang="0">
                  <a:pos x="205" y="333"/>
                </a:cxn>
                <a:cxn ang="0">
                  <a:pos x="216" y="342"/>
                </a:cxn>
                <a:cxn ang="0">
                  <a:pos x="214" y="354"/>
                </a:cxn>
                <a:cxn ang="0">
                  <a:pos x="235" y="352"/>
                </a:cxn>
                <a:cxn ang="0">
                  <a:pos x="263" y="346"/>
                </a:cxn>
                <a:cxn ang="0">
                  <a:pos x="368" y="275"/>
                </a:cxn>
              </a:cxnLst>
              <a:rect l="0" t="0" r="r" b="b"/>
              <a:pathLst>
                <a:path w="368" h="354">
                  <a:moveTo>
                    <a:pt x="368" y="275"/>
                  </a:moveTo>
                  <a:lnTo>
                    <a:pt x="367" y="273"/>
                  </a:lnTo>
                  <a:lnTo>
                    <a:pt x="363" y="269"/>
                  </a:lnTo>
                  <a:lnTo>
                    <a:pt x="363" y="267"/>
                  </a:lnTo>
                  <a:lnTo>
                    <a:pt x="359" y="260"/>
                  </a:lnTo>
                  <a:lnTo>
                    <a:pt x="355" y="254"/>
                  </a:lnTo>
                  <a:lnTo>
                    <a:pt x="353" y="254"/>
                  </a:lnTo>
                  <a:lnTo>
                    <a:pt x="348" y="254"/>
                  </a:lnTo>
                  <a:lnTo>
                    <a:pt x="338" y="254"/>
                  </a:lnTo>
                  <a:lnTo>
                    <a:pt x="336" y="250"/>
                  </a:lnTo>
                  <a:lnTo>
                    <a:pt x="336" y="248"/>
                  </a:lnTo>
                  <a:lnTo>
                    <a:pt x="335" y="244"/>
                  </a:lnTo>
                  <a:lnTo>
                    <a:pt x="333" y="241"/>
                  </a:lnTo>
                  <a:lnTo>
                    <a:pt x="335" y="237"/>
                  </a:lnTo>
                  <a:lnTo>
                    <a:pt x="333" y="235"/>
                  </a:lnTo>
                  <a:lnTo>
                    <a:pt x="333" y="231"/>
                  </a:lnTo>
                  <a:lnTo>
                    <a:pt x="329" y="226"/>
                  </a:lnTo>
                  <a:lnTo>
                    <a:pt x="323" y="220"/>
                  </a:lnTo>
                  <a:lnTo>
                    <a:pt x="321" y="216"/>
                  </a:lnTo>
                  <a:lnTo>
                    <a:pt x="321" y="214"/>
                  </a:lnTo>
                  <a:lnTo>
                    <a:pt x="323" y="212"/>
                  </a:lnTo>
                  <a:lnTo>
                    <a:pt x="329" y="211"/>
                  </a:lnTo>
                  <a:lnTo>
                    <a:pt x="331" y="207"/>
                  </a:lnTo>
                  <a:lnTo>
                    <a:pt x="329" y="201"/>
                  </a:lnTo>
                  <a:lnTo>
                    <a:pt x="327" y="197"/>
                  </a:lnTo>
                  <a:lnTo>
                    <a:pt x="329" y="195"/>
                  </a:lnTo>
                  <a:lnTo>
                    <a:pt x="331" y="186"/>
                  </a:lnTo>
                  <a:lnTo>
                    <a:pt x="327" y="180"/>
                  </a:lnTo>
                  <a:lnTo>
                    <a:pt x="327" y="171"/>
                  </a:lnTo>
                  <a:lnTo>
                    <a:pt x="327" y="169"/>
                  </a:lnTo>
                  <a:lnTo>
                    <a:pt x="327" y="162"/>
                  </a:lnTo>
                  <a:lnTo>
                    <a:pt x="327" y="150"/>
                  </a:lnTo>
                  <a:lnTo>
                    <a:pt x="323" y="145"/>
                  </a:lnTo>
                  <a:lnTo>
                    <a:pt x="321" y="145"/>
                  </a:lnTo>
                  <a:lnTo>
                    <a:pt x="321" y="137"/>
                  </a:lnTo>
                  <a:lnTo>
                    <a:pt x="323" y="137"/>
                  </a:lnTo>
                  <a:lnTo>
                    <a:pt x="314" y="99"/>
                  </a:lnTo>
                  <a:lnTo>
                    <a:pt x="308" y="96"/>
                  </a:lnTo>
                  <a:lnTo>
                    <a:pt x="304" y="94"/>
                  </a:lnTo>
                  <a:lnTo>
                    <a:pt x="303" y="92"/>
                  </a:lnTo>
                  <a:lnTo>
                    <a:pt x="299" y="90"/>
                  </a:lnTo>
                  <a:lnTo>
                    <a:pt x="297" y="84"/>
                  </a:lnTo>
                  <a:lnTo>
                    <a:pt x="293" y="82"/>
                  </a:lnTo>
                  <a:lnTo>
                    <a:pt x="289" y="82"/>
                  </a:lnTo>
                  <a:lnTo>
                    <a:pt x="289" y="79"/>
                  </a:lnTo>
                  <a:lnTo>
                    <a:pt x="289" y="75"/>
                  </a:lnTo>
                  <a:lnTo>
                    <a:pt x="286" y="71"/>
                  </a:lnTo>
                  <a:lnTo>
                    <a:pt x="286" y="69"/>
                  </a:lnTo>
                  <a:lnTo>
                    <a:pt x="289" y="60"/>
                  </a:lnTo>
                  <a:lnTo>
                    <a:pt x="293" y="54"/>
                  </a:lnTo>
                  <a:lnTo>
                    <a:pt x="293" y="54"/>
                  </a:lnTo>
                  <a:lnTo>
                    <a:pt x="295" y="54"/>
                  </a:lnTo>
                  <a:lnTo>
                    <a:pt x="299" y="50"/>
                  </a:lnTo>
                  <a:lnTo>
                    <a:pt x="299" y="45"/>
                  </a:lnTo>
                  <a:lnTo>
                    <a:pt x="301" y="43"/>
                  </a:lnTo>
                  <a:lnTo>
                    <a:pt x="299" y="39"/>
                  </a:lnTo>
                  <a:lnTo>
                    <a:pt x="301" y="39"/>
                  </a:lnTo>
                  <a:lnTo>
                    <a:pt x="303" y="35"/>
                  </a:lnTo>
                  <a:lnTo>
                    <a:pt x="301" y="35"/>
                  </a:lnTo>
                  <a:lnTo>
                    <a:pt x="299" y="33"/>
                  </a:lnTo>
                  <a:lnTo>
                    <a:pt x="297" y="26"/>
                  </a:lnTo>
                  <a:lnTo>
                    <a:pt x="301" y="18"/>
                  </a:lnTo>
                  <a:lnTo>
                    <a:pt x="301" y="15"/>
                  </a:lnTo>
                  <a:lnTo>
                    <a:pt x="303" y="7"/>
                  </a:lnTo>
                  <a:lnTo>
                    <a:pt x="301" y="5"/>
                  </a:lnTo>
                  <a:lnTo>
                    <a:pt x="303" y="1"/>
                  </a:lnTo>
                  <a:lnTo>
                    <a:pt x="301" y="1"/>
                  </a:lnTo>
                  <a:lnTo>
                    <a:pt x="295" y="1"/>
                  </a:lnTo>
                  <a:lnTo>
                    <a:pt x="293" y="1"/>
                  </a:lnTo>
                  <a:lnTo>
                    <a:pt x="286" y="5"/>
                  </a:lnTo>
                  <a:lnTo>
                    <a:pt x="280" y="1"/>
                  </a:lnTo>
                  <a:lnTo>
                    <a:pt x="276" y="0"/>
                  </a:lnTo>
                  <a:lnTo>
                    <a:pt x="276" y="1"/>
                  </a:lnTo>
                  <a:lnTo>
                    <a:pt x="272" y="5"/>
                  </a:lnTo>
                  <a:lnTo>
                    <a:pt x="269" y="1"/>
                  </a:lnTo>
                  <a:lnTo>
                    <a:pt x="265" y="1"/>
                  </a:lnTo>
                  <a:lnTo>
                    <a:pt x="263" y="0"/>
                  </a:lnTo>
                  <a:lnTo>
                    <a:pt x="259" y="0"/>
                  </a:lnTo>
                  <a:lnTo>
                    <a:pt x="259" y="1"/>
                  </a:lnTo>
                  <a:lnTo>
                    <a:pt x="256" y="1"/>
                  </a:lnTo>
                  <a:lnTo>
                    <a:pt x="254" y="5"/>
                  </a:lnTo>
                  <a:lnTo>
                    <a:pt x="252" y="5"/>
                  </a:lnTo>
                  <a:lnTo>
                    <a:pt x="248" y="5"/>
                  </a:lnTo>
                  <a:lnTo>
                    <a:pt x="244" y="7"/>
                  </a:lnTo>
                  <a:lnTo>
                    <a:pt x="240" y="7"/>
                  </a:lnTo>
                  <a:lnTo>
                    <a:pt x="237" y="5"/>
                  </a:lnTo>
                  <a:lnTo>
                    <a:pt x="231" y="1"/>
                  </a:lnTo>
                  <a:lnTo>
                    <a:pt x="231" y="1"/>
                  </a:lnTo>
                  <a:lnTo>
                    <a:pt x="225" y="5"/>
                  </a:lnTo>
                  <a:lnTo>
                    <a:pt x="222" y="1"/>
                  </a:lnTo>
                  <a:lnTo>
                    <a:pt x="220" y="1"/>
                  </a:lnTo>
                  <a:lnTo>
                    <a:pt x="216" y="1"/>
                  </a:lnTo>
                  <a:lnTo>
                    <a:pt x="214" y="1"/>
                  </a:lnTo>
                  <a:lnTo>
                    <a:pt x="212" y="5"/>
                  </a:lnTo>
                  <a:lnTo>
                    <a:pt x="210" y="5"/>
                  </a:lnTo>
                  <a:lnTo>
                    <a:pt x="207" y="5"/>
                  </a:lnTo>
                  <a:lnTo>
                    <a:pt x="201" y="11"/>
                  </a:lnTo>
                  <a:lnTo>
                    <a:pt x="197" y="11"/>
                  </a:lnTo>
                  <a:lnTo>
                    <a:pt x="193" y="7"/>
                  </a:lnTo>
                  <a:lnTo>
                    <a:pt x="190" y="7"/>
                  </a:lnTo>
                  <a:lnTo>
                    <a:pt x="182" y="11"/>
                  </a:lnTo>
                  <a:lnTo>
                    <a:pt x="176" y="7"/>
                  </a:lnTo>
                  <a:lnTo>
                    <a:pt x="169" y="15"/>
                  </a:lnTo>
                  <a:lnTo>
                    <a:pt x="163" y="17"/>
                  </a:lnTo>
                  <a:lnTo>
                    <a:pt x="161" y="17"/>
                  </a:lnTo>
                  <a:lnTo>
                    <a:pt x="156" y="18"/>
                  </a:lnTo>
                  <a:lnTo>
                    <a:pt x="156" y="22"/>
                  </a:lnTo>
                  <a:lnTo>
                    <a:pt x="156" y="24"/>
                  </a:lnTo>
                  <a:lnTo>
                    <a:pt x="152" y="24"/>
                  </a:lnTo>
                  <a:lnTo>
                    <a:pt x="152" y="24"/>
                  </a:lnTo>
                  <a:lnTo>
                    <a:pt x="150" y="24"/>
                  </a:lnTo>
                  <a:lnTo>
                    <a:pt x="148" y="26"/>
                  </a:lnTo>
                  <a:lnTo>
                    <a:pt x="146" y="26"/>
                  </a:lnTo>
                  <a:lnTo>
                    <a:pt x="141" y="26"/>
                  </a:lnTo>
                  <a:lnTo>
                    <a:pt x="135" y="30"/>
                  </a:lnTo>
                  <a:lnTo>
                    <a:pt x="133" y="30"/>
                  </a:lnTo>
                  <a:lnTo>
                    <a:pt x="133" y="33"/>
                  </a:lnTo>
                  <a:lnTo>
                    <a:pt x="131" y="39"/>
                  </a:lnTo>
                  <a:lnTo>
                    <a:pt x="124" y="39"/>
                  </a:lnTo>
                  <a:lnTo>
                    <a:pt x="118" y="39"/>
                  </a:lnTo>
                  <a:lnTo>
                    <a:pt x="122" y="41"/>
                  </a:lnTo>
                  <a:lnTo>
                    <a:pt x="122" y="43"/>
                  </a:lnTo>
                  <a:lnTo>
                    <a:pt x="124" y="47"/>
                  </a:lnTo>
                  <a:lnTo>
                    <a:pt x="124" y="50"/>
                  </a:lnTo>
                  <a:lnTo>
                    <a:pt x="124" y="50"/>
                  </a:lnTo>
                  <a:lnTo>
                    <a:pt x="124" y="58"/>
                  </a:lnTo>
                  <a:lnTo>
                    <a:pt x="124" y="64"/>
                  </a:lnTo>
                  <a:lnTo>
                    <a:pt x="124" y="65"/>
                  </a:lnTo>
                  <a:lnTo>
                    <a:pt x="128" y="79"/>
                  </a:lnTo>
                  <a:lnTo>
                    <a:pt x="131" y="84"/>
                  </a:lnTo>
                  <a:lnTo>
                    <a:pt x="131" y="88"/>
                  </a:lnTo>
                  <a:lnTo>
                    <a:pt x="133" y="90"/>
                  </a:lnTo>
                  <a:lnTo>
                    <a:pt x="135" y="92"/>
                  </a:lnTo>
                  <a:lnTo>
                    <a:pt x="137" y="92"/>
                  </a:lnTo>
                  <a:lnTo>
                    <a:pt x="139" y="92"/>
                  </a:lnTo>
                  <a:lnTo>
                    <a:pt x="137" y="98"/>
                  </a:lnTo>
                  <a:lnTo>
                    <a:pt x="137" y="99"/>
                  </a:lnTo>
                  <a:lnTo>
                    <a:pt x="135" y="103"/>
                  </a:lnTo>
                  <a:lnTo>
                    <a:pt x="112" y="103"/>
                  </a:lnTo>
                  <a:lnTo>
                    <a:pt x="109" y="103"/>
                  </a:lnTo>
                  <a:lnTo>
                    <a:pt x="103" y="113"/>
                  </a:lnTo>
                  <a:lnTo>
                    <a:pt x="99" y="113"/>
                  </a:lnTo>
                  <a:lnTo>
                    <a:pt x="97" y="118"/>
                  </a:lnTo>
                  <a:lnTo>
                    <a:pt x="97" y="124"/>
                  </a:lnTo>
                  <a:lnTo>
                    <a:pt x="97" y="128"/>
                  </a:lnTo>
                  <a:lnTo>
                    <a:pt x="84" y="137"/>
                  </a:lnTo>
                  <a:lnTo>
                    <a:pt x="65" y="148"/>
                  </a:lnTo>
                  <a:lnTo>
                    <a:pt x="48" y="158"/>
                  </a:lnTo>
                  <a:lnTo>
                    <a:pt x="43" y="158"/>
                  </a:lnTo>
                  <a:lnTo>
                    <a:pt x="35" y="158"/>
                  </a:lnTo>
                  <a:lnTo>
                    <a:pt x="32" y="158"/>
                  </a:lnTo>
                  <a:lnTo>
                    <a:pt x="26" y="158"/>
                  </a:lnTo>
                  <a:lnTo>
                    <a:pt x="18" y="162"/>
                  </a:lnTo>
                  <a:lnTo>
                    <a:pt x="13" y="163"/>
                  </a:lnTo>
                  <a:lnTo>
                    <a:pt x="9" y="169"/>
                  </a:lnTo>
                  <a:lnTo>
                    <a:pt x="0" y="177"/>
                  </a:lnTo>
                  <a:lnTo>
                    <a:pt x="0" y="190"/>
                  </a:lnTo>
                  <a:lnTo>
                    <a:pt x="0" y="192"/>
                  </a:lnTo>
                  <a:lnTo>
                    <a:pt x="0" y="195"/>
                  </a:lnTo>
                  <a:lnTo>
                    <a:pt x="0" y="197"/>
                  </a:lnTo>
                  <a:lnTo>
                    <a:pt x="0" y="195"/>
                  </a:lnTo>
                  <a:lnTo>
                    <a:pt x="67" y="241"/>
                  </a:lnTo>
                  <a:lnTo>
                    <a:pt x="67" y="241"/>
                  </a:lnTo>
                  <a:lnTo>
                    <a:pt x="186" y="320"/>
                  </a:lnTo>
                  <a:lnTo>
                    <a:pt x="188" y="327"/>
                  </a:lnTo>
                  <a:lnTo>
                    <a:pt x="192" y="333"/>
                  </a:lnTo>
                  <a:lnTo>
                    <a:pt x="199" y="333"/>
                  </a:lnTo>
                  <a:lnTo>
                    <a:pt x="205" y="333"/>
                  </a:lnTo>
                  <a:lnTo>
                    <a:pt x="207" y="339"/>
                  </a:lnTo>
                  <a:lnTo>
                    <a:pt x="212" y="339"/>
                  </a:lnTo>
                  <a:lnTo>
                    <a:pt x="216" y="342"/>
                  </a:lnTo>
                  <a:lnTo>
                    <a:pt x="216" y="346"/>
                  </a:lnTo>
                  <a:lnTo>
                    <a:pt x="214" y="352"/>
                  </a:lnTo>
                  <a:lnTo>
                    <a:pt x="214" y="354"/>
                  </a:lnTo>
                  <a:lnTo>
                    <a:pt x="220" y="354"/>
                  </a:lnTo>
                  <a:lnTo>
                    <a:pt x="229" y="354"/>
                  </a:lnTo>
                  <a:lnTo>
                    <a:pt x="235" y="352"/>
                  </a:lnTo>
                  <a:lnTo>
                    <a:pt x="235" y="352"/>
                  </a:lnTo>
                  <a:lnTo>
                    <a:pt x="235" y="352"/>
                  </a:lnTo>
                  <a:lnTo>
                    <a:pt x="263" y="346"/>
                  </a:lnTo>
                  <a:lnTo>
                    <a:pt x="286" y="324"/>
                  </a:lnTo>
                  <a:lnTo>
                    <a:pt x="368" y="275"/>
                  </a:lnTo>
                  <a:lnTo>
                    <a:pt x="368" y="275"/>
                  </a:lnTo>
                  <a:lnTo>
                    <a:pt x="368" y="275"/>
                  </a:lnTo>
                  <a:lnTo>
                    <a:pt x="368" y="27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 name="Freeform 111">
              <a:extLst>
                <a:ext uri="{FF2B5EF4-FFF2-40B4-BE49-F238E27FC236}">
                  <a16:creationId xmlns:a16="http://schemas.microsoft.com/office/drawing/2014/main" id="{B19A94AC-B385-264F-A36C-38EAC06B7B69}"/>
                </a:ext>
              </a:extLst>
            </p:cNvPr>
            <p:cNvSpPr>
              <a:spLocks/>
            </p:cNvSpPr>
            <p:nvPr/>
          </p:nvSpPr>
          <p:spPr bwMode="auto">
            <a:xfrm>
              <a:off x="5865009" y="2587861"/>
              <a:ext cx="189441" cy="186384"/>
            </a:xfrm>
            <a:custGeom>
              <a:avLst/>
              <a:gdLst/>
              <a:ahLst/>
              <a:cxnLst>
                <a:cxn ang="0">
                  <a:pos x="75" y="117"/>
                </a:cxn>
                <a:cxn ang="0">
                  <a:pos x="77" y="80"/>
                </a:cxn>
                <a:cxn ang="0">
                  <a:pos x="87" y="76"/>
                </a:cxn>
                <a:cxn ang="0">
                  <a:pos x="94" y="27"/>
                </a:cxn>
                <a:cxn ang="0">
                  <a:pos x="154" y="0"/>
                </a:cxn>
                <a:cxn ang="0">
                  <a:pos x="222" y="46"/>
                </a:cxn>
                <a:cxn ang="0">
                  <a:pos x="198" y="46"/>
                </a:cxn>
                <a:cxn ang="0">
                  <a:pos x="217" y="215"/>
                </a:cxn>
                <a:cxn ang="0">
                  <a:pos x="145" y="230"/>
                </a:cxn>
                <a:cxn ang="0">
                  <a:pos x="141" y="228"/>
                </a:cxn>
                <a:cxn ang="0">
                  <a:pos x="136" y="230"/>
                </a:cxn>
                <a:cxn ang="0">
                  <a:pos x="134" y="225"/>
                </a:cxn>
                <a:cxn ang="0">
                  <a:pos x="121" y="225"/>
                </a:cxn>
                <a:cxn ang="0">
                  <a:pos x="113" y="234"/>
                </a:cxn>
                <a:cxn ang="0">
                  <a:pos x="109" y="223"/>
                </a:cxn>
                <a:cxn ang="0">
                  <a:pos x="100" y="225"/>
                </a:cxn>
                <a:cxn ang="0">
                  <a:pos x="100" y="234"/>
                </a:cxn>
                <a:cxn ang="0">
                  <a:pos x="90" y="240"/>
                </a:cxn>
                <a:cxn ang="0">
                  <a:pos x="89" y="243"/>
                </a:cxn>
                <a:cxn ang="0">
                  <a:pos x="81" y="238"/>
                </a:cxn>
                <a:cxn ang="0">
                  <a:pos x="77" y="234"/>
                </a:cxn>
                <a:cxn ang="0">
                  <a:pos x="73" y="228"/>
                </a:cxn>
                <a:cxn ang="0">
                  <a:pos x="70" y="219"/>
                </a:cxn>
                <a:cxn ang="0">
                  <a:pos x="64" y="219"/>
                </a:cxn>
                <a:cxn ang="0">
                  <a:pos x="60" y="219"/>
                </a:cxn>
                <a:cxn ang="0">
                  <a:pos x="57" y="215"/>
                </a:cxn>
                <a:cxn ang="0">
                  <a:pos x="49" y="210"/>
                </a:cxn>
                <a:cxn ang="0">
                  <a:pos x="36" y="206"/>
                </a:cxn>
                <a:cxn ang="0">
                  <a:pos x="17" y="211"/>
                </a:cxn>
                <a:cxn ang="0">
                  <a:pos x="9" y="215"/>
                </a:cxn>
                <a:cxn ang="0">
                  <a:pos x="9" y="210"/>
                </a:cxn>
                <a:cxn ang="0">
                  <a:pos x="15" y="193"/>
                </a:cxn>
                <a:cxn ang="0">
                  <a:pos x="15" y="161"/>
                </a:cxn>
                <a:cxn ang="0">
                  <a:pos x="9" y="149"/>
                </a:cxn>
                <a:cxn ang="0">
                  <a:pos x="15" y="144"/>
                </a:cxn>
                <a:cxn ang="0">
                  <a:pos x="15" y="136"/>
                </a:cxn>
                <a:cxn ang="0">
                  <a:pos x="6" y="130"/>
                </a:cxn>
                <a:cxn ang="0">
                  <a:pos x="6" y="127"/>
                </a:cxn>
                <a:cxn ang="0">
                  <a:pos x="0" y="123"/>
                </a:cxn>
                <a:cxn ang="0">
                  <a:pos x="2" y="119"/>
                </a:cxn>
                <a:cxn ang="0">
                  <a:pos x="2" y="119"/>
                </a:cxn>
              </a:cxnLst>
              <a:rect l="0" t="0" r="r" b="b"/>
              <a:pathLst>
                <a:path w="222" h="243">
                  <a:moveTo>
                    <a:pt x="2" y="119"/>
                  </a:moveTo>
                  <a:lnTo>
                    <a:pt x="75" y="117"/>
                  </a:lnTo>
                  <a:lnTo>
                    <a:pt x="75" y="83"/>
                  </a:lnTo>
                  <a:lnTo>
                    <a:pt x="77" y="80"/>
                  </a:lnTo>
                  <a:lnTo>
                    <a:pt x="81" y="76"/>
                  </a:lnTo>
                  <a:lnTo>
                    <a:pt x="87" y="76"/>
                  </a:lnTo>
                  <a:lnTo>
                    <a:pt x="94" y="76"/>
                  </a:lnTo>
                  <a:lnTo>
                    <a:pt x="94" y="27"/>
                  </a:lnTo>
                  <a:lnTo>
                    <a:pt x="153" y="27"/>
                  </a:lnTo>
                  <a:lnTo>
                    <a:pt x="154" y="0"/>
                  </a:lnTo>
                  <a:lnTo>
                    <a:pt x="222" y="46"/>
                  </a:lnTo>
                  <a:lnTo>
                    <a:pt x="222" y="46"/>
                  </a:lnTo>
                  <a:lnTo>
                    <a:pt x="218" y="46"/>
                  </a:lnTo>
                  <a:lnTo>
                    <a:pt x="198" y="46"/>
                  </a:lnTo>
                  <a:lnTo>
                    <a:pt x="213" y="210"/>
                  </a:lnTo>
                  <a:lnTo>
                    <a:pt x="217" y="215"/>
                  </a:lnTo>
                  <a:lnTo>
                    <a:pt x="213" y="230"/>
                  </a:lnTo>
                  <a:lnTo>
                    <a:pt x="145" y="230"/>
                  </a:lnTo>
                  <a:lnTo>
                    <a:pt x="143" y="230"/>
                  </a:lnTo>
                  <a:lnTo>
                    <a:pt x="141" y="228"/>
                  </a:lnTo>
                  <a:lnTo>
                    <a:pt x="139" y="228"/>
                  </a:lnTo>
                  <a:lnTo>
                    <a:pt x="136" y="230"/>
                  </a:lnTo>
                  <a:lnTo>
                    <a:pt x="134" y="228"/>
                  </a:lnTo>
                  <a:lnTo>
                    <a:pt x="134" y="225"/>
                  </a:lnTo>
                  <a:lnTo>
                    <a:pt x="128" y="223"/>
                  </a:lnTo>
                  <a:lnTo>
                    <a:pt x="121" y="225"/>
                  </a:lnTo>
                  <a:lnTo>
                    <a:pt x="115" y="234"/>
                  </a:lnTo>
                  <a:lnTo>
                    <a:pt x="113" y="234"/>
                  </a:lnTo>
                  <a:lnTo>
                    <a:pt x="109" y="228"/>
                  </a:lnTo>
                  <a:lnTo>
                    <a:pt x="109" y="223"/>
                  </a:lnTo>
                  <a:lnTo>
                    <a:pt x="105" y="223"/>
                  </a:lnTo>
                  <a:lnTo>
                    <a:pt x="100" y="225"/>
                  </a:lnTo>
                  <a:lnTo>
                    <a:pt x="100" y="230"/>
                  </a:lnTo>
                  <a:lnTo>
                    <a:pt x="100" y="234"/>
                  </a:lnTo>
                  <a:lnTo>
                    <a:pt x="98" y="240"/>
                  </a:lnTo>
                  <a:lnTo>
                    <a:pt x="90" y="240"/>
                  </a:lnTo>
                  <a:lnTo>
                    <a:pt x="89" y="243"/>
                  </a:lnTo>
                  <a:lnTo>
                    <a:pt x="89" y="243"/>
                  </a:lnTo>
                  <a:lnTo>
                    <a:pt x="87" y="240"/>
                  </a:lnTo>
                  <a:lnTo>
                    <a:pt x="81" y="238"/>
                  </a:lnTo>
                  <a:lnTo>
                    <a:pt x="79" y="238"/>
                  </a:lnTo>
                  <a:lnTo>
                    <a:pt x="77" y="234"/>
                  </a:lnTo>
                  <a:lnTo>
                    <a:pt x="73" y="230"/>
                  </a:lnTo>
                  <a:lnTo>
                    <a:pt x="73" y="228"/>
                  </a:lnTo>
                  <a:lnTo>
                    <a:pt x="70" y="225"/>
                  </a:lnTo>
                  <a:lnTo>
                    <a:pt x="70" y="219"/>
                  </a:lnTo>
                  <a:lnTo>
                    <a:pt x="66" y="217"/>
                  </a:lnTo>
                  <a:lnTo>
                    <a:pt x="64" y="219"/>
                  </a:lnTo>
                  <a:lnTo>
                    <a:pt x="64" y="217"/>
                  </a:lnTo>
                  <a:lnTo>
                    <a:pt x="60" y="219"/>
                  </a:lnTo>
                  <a:lnTo>
                    <a:pt x="57" y="217"/>
                  </a:lnTo>
                  <a:lnTo>
                    <a:pt x="57" y="215"/>
                  </a:lnTo>
                  <a:lnTo>
                    <a:pt x="53" y="210"/>
                  </a:lnTo>
                  <a:lnTo>
                    <a:pt x="49" y="210"/>
                  </a:lnTo>
                  <a:lnTo>
                    <a:pt x="40" y="206"/>
                  </a:lnTo>
                  <a:lnTo>
                    <a:pt x="36" y="206"/>
                  </a:lnTo>
                  <a:lnTo>
                    <a:pt x="26" y="210"/>
                  </a:lnTo>
                  <a:lnTo>
                    <a:pt x="17" y="211"/>
                  </a:lnTo>
                  <a:lnTo>
                    <a:pt x="15" y="215"/>
                  </a:lnTo>
                  <a:lnTo>
                    <a:pt x="9" y="215"/>
                  </a:lnTo>
                  <a:lnTo>
                    <a:pt x="6" y="217"/>
                  </a:lnTo>
                  <a:lnTo>
                    <a:pt x="9" y="210"/>
                  </a:lnTo>
                  <a:lnTo>
                    <a:pt x="11" y="198"/>
                  </a:lnTo>
                  <a:lnTo>
                    <a:pt x="15" y="193"/>
                  </a:lnTo>
                  <a:lnTo>
                    <a:pt x="17" y="179"/>
                  </a:lnTo>
                  <a:lnTo>
                    <a:pt x="15" y="161"/>
                  </a:lnTo>
                  <a:lnTo>
                    <a:pt x="9" y="151"/>
                  </a:lnTo>
                  <a:lnTo>
                    <a:pt x="9" y="149"/>
                  </a:lnTo>
                  <a:lnTo>
                    <a:pt x="11" y="149"/>
                  </a:lnTo>
                  <a:lnTo>
                    <a:pt x="15" y="144"/>
                  </a:lnTo>
                  <a:lnTo>
                    <a:pt x="11" y="140"/>
                  </a:lnTo>
                  <a:lnTo>
                    <a:pt x="15" y="136"/>
                  </a:lnTo>
                  <a:lnTo>
                    <a:pt x="9" y="130"/>
                  </a:lnTo>
                  <a:lnTo>
                    <a:pt x="6" y="130"/>
                  </a:lnTo>
                  <a:lnTo>
                    <a:pt x="6" y="130"/>
                  </a:lnTo>
                  <a:lnTo>
                    <a:pt x="6" y="127"/>
                  </a:lnTo>
                  <a:lnTo>
                    <a:pt x="0" y="130"/>
                  </a:lnTo>
                  <a:lnTo>
                    <a:pt x="0" y="123"/>
                  </a:lnTo>
                  <a:lnTo>
                    <a:pt x="2" y="119"/>
                  </a:lnTo>
                  <a:lnTo>
                    <a:pt x="2" y="119"/>
                  </a:lnTo>
                  <a:lnTo>
                    <a:pt x="2" y="119"/>
                  </a:lnTo>
                  <a:lnTo>
                    <a:pt x="2" y="1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1" name="Freeform 112">
              <a:extLst>
                <a:ext uri="{FF2B5EF4-FFF2-40B4-BE49-F238E27FC236}">
                  <a16:creationId xmlns:a16="http://schemas.microsoft.com/office/drawing/2014/main" id="{6D201D90-4DD4-E642-B2EA-7B74C0B15060}"/>
                </a:ext>
              </a:extLst>
            </p:cNvPr>
            <p:cNvSpPr>
              <a:spLocks/>
            </p:cNvSpPr>
            <p:nvPr/>
          </p:nvSpPr>
          <p:spPr bwMode="auto">
            <a:xfrm>
              <a:off x="5941809" y="2624679"/>
              <a:ext cx="256001" cy="214763"/>
            </a:xfrm>
            <a:custGeom>
              <a:avLst/>
              <a:gdLst/>
              <a:ahLst/>
              <a:cxnLst>
                <a:cxn ang="0">
                  <a:pos x="8" y="192"/>
                </a:cxn>
                <a:cxn ang="0">
                  <a:pos x="10" y="177"/>
                </a:cxn>
                <a:cxn ang="0">
                  <a:pos x="21" y="180"/>
                </a:cxn>
                <a:cxn ang="0">
                  <a:pos x="31" y="178"/>
                </a:cxn>
                <a:cxn ang="0">
                  <a:pos x="46" y="182"/>
                </a:cxn>
                <a:cxn ang="0">
                  <a:pos x="53" y="180"/>
                </a:cxn>
                <a:cxn ang="0">
                  <a:pos x="123" y="182"/>
                </a:cxn>
                <a:cxn ang="0">
                  <a:pos x="108" y="0"/>
                </a:cxn>
                <a:cxn ang="0">
                  <a:pos x="253" y="88"/>
                </a:cxn>
                <a:cxn ang="0">
                  <a:pos x="270" y="94"/>
                </a:cxn>
                <a:cxn ang="0">
                  <a:pos x="281" y="103"/>
                </a:cxn>
                <a:cxn ang="0">
                  <a:pos x="279" y="114"/>
                </a:cxn>
                <a:cxn ang="0">
                  <a:pos x="300" y="113"/>
                </a:cxn>
                <a:cxn ang="0">
                  <a:pos x="296" y="165"/>
                </a:cxn>
                <a:cxn ang="0">
                  <a:pos x="294" y="177"/>
                </a:cxn>
                <a:cxn ang="0">
                  <a:pos x="271" y="186"/>
                </a:cxn>
                <a:cxn ang="0">
                  <a:pos x="256" y="190"/>
                </a:cxn>
                <a:cxn ang="0">
                  <a:pos x="232" y="192"/>
                </a:cxn>
                <a:cxn ang="0">
                  <a:pos x="228" y="190"/>
                </a:cxn>
                <a:cxn ang="0">
                  <a:pos x="215" y="190"/>
                </a:cxn>
                <a:cxn ang="0">
                  <a:pos x="194" y="197"/>
                </a:cxn>
                <a:cxn ang="0">
                  <a:pos x="170" y="216"/>
                </a:cxn>
                <a:cxn ang="0">
                  <a:pos x="153" y="220"/>
                </a:cxn>
                <a:cxn ang="0">
                  <a:pos x="145" y="229"/>
                </a:cxn>
                <a:cxn ang="0">
                  <a:pos x="134" y="246"/>
                </a:cxn>
                <a:cxn ang="0">
                  <a:pos x="128" y="256"/>
                </a:cxn>
                <a:cxn ang="0">
                  <a:pos x="127" y="265"/>
                </a:cxn>
                <a:cxn ang="0">
                  <a:pos x="125" y="275"/>
                </a:cxn>
                <a:cxn ang="0">
                  <a:pos x="113" y="276"/>
                </a:cxn>
                <a:cxn ang="0">
                  <a:pos x="104" y="275"/>
                </a:cxn>
                <a:cxn ang="0">
                  <a:pos x="95" y="278"/>
                </a:cxn>
                <a:cxn ang="0">
                  <a:pos x="83" y="278"/>
                </a:cxn>
                <a:cxn ang="0">
                  <a:pos x="74" y="275"/>
                </a:cxn>
                <a:cxn ang="0">
                  <a:pos x="74" y="265"/>
                </a:cxn>
                <a:cxn ang="0">
                  <a:pos x="66" y="271"/>
                </a:cxn>
                <a:cxn ang="0">
                  <a:pos x="70" y="258"/>
                </a:cxn>
                <a:cxn ang="0">
                  <a:pos x="66" y="250"/>
                </a:cxn>
                <a:cxn ang="0">
                  <a:pos x="61" y="241"/>
                </a:cxn>
                <a:cxn ang="0">
                  <a:pos x="49" y="241"/>
                </a:cxn>
                <a:cxn ang="0">
                  <a:pos x="42" y="246"/>
                </a:cxn>
                <a:cxn ang="0">
                  <a:pos x="29" y="246"/>
                </a:cxn>
                <a:cxn ang="0">
                  <a:pos x="21" y="246"/>
                </a:cxn>
                <a:cxn ang="0">
                  <a:pos x="21" y="241"/>
                </a:cxn>
                <a:cxn ang="0">
                  <a:pos x="15" y="233"/>
                </a:cxn>
                <a:cxn ang="0">
                  <a:pos x="14" y="226"/>
                </a:cxn>
                <a:cxn ang="0">
                  <a:pos x="8" y="222"/>
                </a:cxn>
                <a:cxn ang="0">
                  <a:pos x="0" y="212"/>
                </a:cxn>
                <a:cxn ang="0">
                  <a:pos x="0" y="197"/>
                </a:cxn>
                <a:cxn ang="0">
                  <a:pos x="0" y="195"/>
                </a:cxn>
              </a:cxnLst>
              <a:rect l="0" t="0" r="r" b="b"/>
              <a:pathLst>
                <a:path w="300" h="280">
                  <a:moveTo>
                    <a:pt x="0" y="195"/>
                  </a:moveTo>
                  <a:lnTo>
                    <a:pt x="2" y="192"/>
                  </a:lnTo>
                  <a:lnTo>
                    <a:pt x="8" y="192"/>
                  </a:lnTo>
                  <a:lnTo>
                    <a:pt x="10" y="186"/>
                  </a:lnTo>
                  <a:lnTo>
                    <a:pt x="10" y="182"/>
                  </a:lnTo>
                  <a:lnTo>
                    <a:pt x="10" y="177"/>
                  </a:lnTo>
                  <a:lnTo>
                    <a:pt x="15" y="175"/>
                  </a:lnTo>
                  <a:lnTo>
                    <a:pt x="21" y="175"/>
                  </a:lnTo>
                  <a:lnTo>
                    <a:pt x="21" y="180"/>
                  </a:lnTo>
                  <a:lnTo>
                    <a:pt x="25" y="186"/>
                  </a:lnTo>
                  <a:lnTo>
                    <a:pt x="25" y="186"/>
                  </a:lnTo>
                  <a:lnTo>
                    <a:pt x="31" y="178"/>
                  </a:lnTo>
                  <a:lnTo>
                    <a:pt x="40" y="175"/>
                  </a:lnTo>
                  <a:lnTo>
                    <a:pt x="46" y="177"/>
                  </a:lnTo>
                  <a:lnTo>
                    <a:pt x="46" y="182"/>
                  </a:lnTo>
                  <a:lnTo>
                    <a:pt x="46" y="182"/>
                  </a:lnTo>
                  <a:lnTo>
                    <a:pt x="49" y="180"/>
                  </a:lnTo>
                  <a:lnTo>
                    <a:pt x="53" y="180"/>
                  </a:lnTo>
                  <a:lnTo>
                    <a:pt x="53" y="182"/>
                  </a:lnTo>
                  <a:lnTo>
                    <a:pt x="55" y="182"/>
                  </a:lnTo>
                  <a:lnTo>
                    <a:pt x="123" y="182"/>
                  </a:lnTo>
                  <a:lnTo>
                    <a:pt x="128" y="167"/>
                  </a:lnTo>
                  <a:lnTo>
                    <a:pt x="123" y="162"/>
                  </a:lnTo>
                  <a:lnTo>
                    <a:pt x="108" y="0"/>
                  </a:lnTo>
                  <a:lnTo>
                    <a:pt x="128" y="0"/>
                  </a:lnTo>
                  <a:lnTo>
                    <a:pt x="251" y="79"/>
                  </a:lnTo>
                  <a:lnTo>
                    <a:pt x="253" y="88"/>
                  </a:lnTo>
                  <a:lnTo>
                    <a:pt x="256" y="92"/>
                  </a:lnTo>
                  <a:lnTo>
                    <a:pt x="264" y="92"/>
                  </a:lnTo>
                  <a:lnTo>
                    <a:pt x="270" y="94"/>
                  </a:lnTo>
                  <a:lnTo>
                    <a:pt x="271" y="99"/>
                  </a:lnTo>
                  <a:lnTo>
                    <a:pt x="277" y="99"/>
                  </a:lnTo>
                  <a:lnTo>
                    <a:pt x="281" y="103"/>
                  </a:lnTo>
                  <a:lnTo>
                    <a:pt x="281" y="107"/>
                  </a:lnTo>
                  <a:lnTo>
                    <a:pt x="279" y="111"/>
                  </a:lnTo>
                  <a:lnTo>
                    <a:pt x="279" y="114"/>
                  </a:lnTo>
                  <a:lnTo>
                    <a:pt x="285" y="114"/>
                  </a:lnTo>
                  <a:lnTo>
                    <a:pt x="294" y="114"/>
                  </a:lnTo>
                  <a:lnTo>
                    <a:pt x="300" y="113"/>
                  </a:lnTo>
                  <a:lnTo>
                    <a:pt x="300" y="113"/>
                  </a:lnTo>
                  <a:lnTo>
                    <a:pt x="300" y="148"/>
                  </a:lnTo>
                  <a:lnTo>
                    <a:pt x="296" y="165"/>
                  </a:lnTo>
                  <a:lnTo>
                    <a:pt x="294" y="165"/>
                  </a:lnTo>
                  <a:lnTo>
                    <a:pt x="294" y="173"/>
                  </a:lnTo>
                  <a:lnTo>
                    <a:pt x="294" y="177"/>
                  </a:lnTo>
                  <a:lnTo>
                    <a:pt x="283" y="182"/>
                  </a:lnTo>
                  <a:lnTo>
                    <a:pt x="277" y="186"/>
                  </a:lnTo>
                  <a:lnTo>
                    <a:pt x="271" y="186"/>
                  </a:lnTo>
                  <a:lnTo>
                    <a:pt x="266" y="190"/>
                  </a:lnTo>
                  <a:lnTo>
                    <a:pt x="264" y="190"/>
                  </a:lnTo>
                  <a:lnTo>
                    <a:pt x="256" y="190"/>
                  </a:lnTo>
                  <a:lnTo>
                    <a:pt x="251" y="190"/>
                  </a:lnTo>
                  <a:lnTo>
                    <a:pt x="245" y="190"/>
                  </a:lnTo>
                  <a:lnTo>
                    <a:pt x="232" y="192"/>
                  </a:lnTo>
                  <a:lnTo>
                    <a:pt x="230" y="190"/>
                  </a:lnTo>
                  <a:lnTo>
                    <a:pt x="228" y="192"/>
                  </a:lnTo>
                  <a:lnTo>
                    <a:pt x="228" y="190"/>
                  </a:lnTo>
                  <a:lnTo>
                    <a:pt x="224" y="190"/>
                  </a:lnTo>
                  <a:lnTo>
                    <a:pt x="221" y="190"/>
                  </a:lnTo>
                  <a:lnTo>
                    <a:pt x="215" y="190"/>
                  </a:lnTo>
                  <a:lnTo>
                    <a:pt x="206" y="190"/>
                  </a:lnTo>
                  <a:lnTo>
                    <a:pt x="200" y="195"/>
                  </a:lnTo>
                  <a:lnTo>
                    <a:pt x="194" y="197"/>
                  </a:lnTo>
                  <a:lnTo>
                    <a:pt x="181" y="205"/>
                  </a:lnTo>
                  <a:lnTo>
                    <a:pt x="172" y="212"/>
                  </a:lnTo>
                  <a:lnTo>
                    <a:pt x="170" y="216"/>
                  </a:lnTo>
                  <a:lnTo>
                    <a:pt x="159" y="220"/>
                  </a:lnTo>
                  <a:lnTo>
                    <a:pt x="157" y="220"/>
                  </a:lnTo>
                  <a:lnTo>
                    <a:pt x="153" y="220"/>
                  </a:lnTo>
                  <a:lnTo>
                    <a:pt x="153" y="220"/>
                  </a:lnTo>
                  <a:lnTo>
                    <a:pt x="149" y="222"/>
                  </a:lnTo>
                  <a:lnTo>
                    <a:pt x="145" y="229"/>
                  </a:lnTo>
                  <a:lnTo>
                    <a:pt x="145" y="231"/>
                  </a:lnTo>
                  <a:lnTo>
                    <a:pt x="140" y="237"/>
                  </a:lnTo>
                  <a:lnTo>
                    <a:pt x="134" y="246"/>
                  </a:lnTo>
                  <a:lnTo>
                    <a:pt x="132" y="250"/>
                  </a:lnTo>
                  <a:lnTo>
                    <a:pt x="128" y="252"/>
                  </a:lnTo>
                  <a:lnTo>
                    <a:pt x="128" y="256"/>
                  </a:lnTo>
                  <a:lnTo>
                    <a:pt x="128" y="261"/>
                  </a:lnTo>
                  <a:lnTo>
                    <a:pt x="127" y="263"/>
                  </a:lnTo>
                  <a:lnTo>
                    <a:pt x="127" y="265"/>
                  </a:lnTo>
                  <a:lnTo>
                    <a:pt x="128" y="269"/>
                  </a:lnTo>
                  <a:lnTo>
                    <a:pt x="127" y="275"/>
                  </a:lnTo>
                  <a:lnTo>
                    <a:pt x="125" y="275"/>
                  </a:lnTo>
                  <a:lnTo>
                    <a:pt x="121" y="280"/>
                  </a:lnTo>
                  <a:lnTo>
                    <a:pt x="115" y="278"/>
                  </a:lnTo>
                  <a:lnTo>
                    <a:pt x="113" y="276"/>
                  </a:lnTo>
                  <a:lnTo>
                    <a:pt x="113" y="275"/>
                  </a:lnTo>
                  <a:lnTo>
                    <a:pt x="110" y="275"/>
                  </a:lnTo>
                  <a:lnTo>
                    <a:pt x="104" y="275"/>
                  </a:lnTo>
                  <a:lnTo>
                    <a:pt x="104" y="276"/>
                  </a:lnTo>
                  <a:lnTo>
                    <a:pt x="102" y="278"/>
                  </a:lnTo>
                  <a:lnTo>
                    <a:pt x="95" y="278"/>
                  </a:lnTo>
                  <a:lnTo>
                    <a:pt x="89" y="275"/>
                  </a:lnTo>
                  <a:lnTo>
                    <a:pt x="87" y="275"/>
                  </a:lnTo>
                  <a:lnTo>
                    <a:pt x="83" y="278"/>
                  </a:lnTo>
                  <a:lnTo>
                    <a:pt x="83" y="276"/>
                  </a:lnTo>
                  <a:lnTo>
                    <a:pt x="79" y="275"/>
                  </a:lnTo>
                  <a:lnTo>
                    <a:pt x="74" y="275"/>
                  </a:lnTo>
                  <a:lnTo>
                    <a:pt x="74" y="271"/>
                  </a:lnTo>
                  <a:lnTo>
                    <a:pt x="74" y="271"/>
                  </a:lnTo>
                  <a:lnTo>
                    <a:pt x="74" y="265"/>
                  </a:lnTo>
                  <a:lnTo>
                    <a:pt x="70" y="265"/>
                  </a:lnTo>
                  <a:lnTo>
                    <a:pt x="70" y="271"/>
                  </a:lnTo>
                  <a:lnTo>
                    <a:pt x="66" y="271"/>
                  </a:lnTo>
                  <a:lnTo>
                    <a:pt x="68" y="265"/>
                  </a:lnTo>
                  <a:lnTo>
                    <a:pt x="70" y="259"/>
                  </a:lnTo>
                  <a:lnTo>
                    <a:pt x="70" y="258"/>
                  </a:lnTo>
                  <a:lnTo>
                    <a:pt x="68" y="258"/>
                  </a:lnTo>
                  <a:lnTo>
                    <a:pt x="66" y="256"/>
                  </a:lnTo>
                  <a:lnTo>
                    <a:pt x="66" y="250"/>
                  </a:lnTo>
                  <a:lnTo>
                    <a:pt x="64" y="246"/>
                  </a:lnTo>
                  <a:lnTo>
                    <a:pt x="61" y="244"/>
                  </a:lnTo>
                  <a:lnTo>
                    <a:pt x="61" y="241"/>
                  </a:lnTo>
                  <a:lnTo>
                    <a:pt x="59" y="241"/>
                  </a:lnTo>
                  <a:lnTo>
                    <a:pt x="55" y="244"/>
                  </a:lnTo>
                  <a:lnTo>
                    <a:pt x="49" y="241"/>
                  </a:lnTo>
                  <a:lnTo>
                    <a:pt x="46" y="241"/>
                  </a:lnTo>
                  <a:lnTo>
                    <a:pt x="44" y="246"/>
                  </a:lnTo>
                  <a:lnTo>
                    <a:pt x="42" y="246"/>
                  </a:lnTo>
                  <a:lnTo>
                    <a:pt x="36" y="248"/>
                  </a:lnTo>
                  <a:lnTo>
                    <a:pt x="32" y="248"/>
                  </a:lnTo>
                  <a:lnTo>
                    <a:pt x="29" y="246"/>
                  </a:lnTo>
                  <a:lnTo>
                    <a:pt x="25" y="244"/>
                  </a:lnTo>
                  <a:lnTo>
                    <a:pt x="21" y="246"/>
                  </a:lnTo>
                  <a:lnTo>
                    <a:pt x="21" y="246"/>
                  </a:lnTo>
                  <a:lnTo>
                    <a:pt x="21" y="246"/>
                  </a:lnTo>
                  <a:lnTo>
                    <a:pt x="21" y="244"/>
                  </a:lnTo>
                  <a:lnTo>
                    <a:pt x="21" y="241"/>
                  </a:lnTo>
                  <a:lnTo>
                    <a:pt x="15" y="239"/>
                  </a:lnTo>
                  <a:lnTo>
                    <a:pt x="15" y="235"/>
                  </a:lnTo>
                  <a:lnTo>
                    <a:pt x="15" y="233"/>
                  </a:lnTo>
                  <a:lnTo>
                    <a:pt x="15" y="231"/>
                  </a:lnTo>
                  <a:lnTo>
                    <a:pt x="15" y="227"/>
                  </a:lnTo>
                  <a:lnTo>
                    <a:pt x="14" y="226"/>
                  </a:lnTo>
                  <a:lnTo>
                    <a:pt x="12" y="224"/>
                  </a:lnTo>
                  <a:lnTo>
                    <a:pt x="10" y="224"/>
                  </a:lnTo>
                  <a:lnTo>
                    <a:pt x="8" y="222"/>
                  </a:lnTo>
                  <a:lnTo>
                    <a:pt x="4" y="216"/>
                  </a:lnTo>
                  <a:lnTo>
                    <a:pt x="0" y="214"/>
                  </a:lnTo>
                  <a:lnTo>
                    <a:pt x="0" y="212"/>
                  </a:lnTo>
                  <a:lnTo>
                    <a:pt x="2" y="203"/>
                  </a:lnTo>
                  <a:lnTo>
                    <a:pt x="0" y="201"/>
                  </a:lnTo>
                  <a:lnTo>
                    <a:pt x="0" y="197"/>
                  </a:lnTo>
                  <a:lnTo>
                    <a:pt x="0" y="195"/>
                  </a:lnTo>
                  <a:lnTo>
                    <a:pt x="0" y="195"/>
                  </a:lnTo>
                  <a:lnTo>
                    <a:pt x="0" y="19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2" name="Freeform 113">
              <a:extLst>
                <a:ext uri="{FF2B5EF4-FFF2-40B4-BE49-F238E27FC236}">
                  <a16:creationId xmlns:a16="http://schemas.microsoft.com/office/drawing/2014/main" id="{C5FE3E5F-94C2-4E48-BABE-599731DBA6C8}"/>
                </a:ext>
              </a:extLst>
            </p:cNvPr>
            <p:cNvSpPr>
              <a:spLocks/>
            </p:cNvSpPr>
            <p:nvPr/>
          </p:nvSpPr>
          <p:spPr bwMode="auto">
            <a:xfrm>
              <a:off x="6050182" y="2770411"/>
              <a:ext cx="116907" cy="78235"/>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3" name="Freeform 114">
              <a:extLst>
                <a:ext uri="{FF2B5EF4-FFF2-40B4-BE49-F238E27FC236}">
                  <a16:creationId xmlns:a16="http://schemas.microsoft.com/office/drawing/2014/main" id="{B868165F-DAA9-AA41-AEC2-CA7AFB78BEE5}"/>
                </a:ext>
              </a:extLst>
            </p:cNvPr>
            <p:cNvSpPr>
              <a:spLocks/>
            </p:cNvSpPr>
            <p:nvPr/>
          </p:nvSpPr>
          <p:spPr bwMode="auto">
            <a:xfrm>
              <a:off x="6050182" y="2770411"/>
              <a:ext cx="116907" cy="78235"/>
            </a:xfrm>
            <a:custGeom>
              <a:avLst/>
              <a:gdLst/>
              <a:ahLst/>
              <a:cxnLst>
                <a:cxn ang="0">
                  <a:pos x="0" y="81"/>
                </a:cxn>
                <a:cxn ang="0">
                  <a:pos x="0" y="75"/>
                </a:cxn>
                <a:cxn ang="0">
                  <a:pos x="1" y="68"/>
                </a:cxn>
                <a:cxn ang="0">
                  <a:pos x="3" y="62"/>
                </a:cxn>
                <a:cxn ang="0">
                  <a:pos x="13" y="47"/>
                </a:cxn>
                <a:cxn ang="0">
                  <a:pos x="18" y="41"/>
                </a:cxn>
                <a:cxn ang="0">
                  <a:pos x="24" y="32"/>
                </a:cxn>
                <a:cxn ang="0">
                  <a:pos x="30" y="30"/>
                </a:cxn>
                <a:cxn ang="0">
                  <a:pos x="43" y="26"/>
                </a:cxn>
                <a:cxn ang="0">
                  <a:pos x="52" y="17"/>
                </a:cxn>
                <a:cxn ang="0">
                  <a:pos x="73" y="5"/>
                </a:cxn>
                <a:cxn ang="0">
                  <a:pos x="86" y="0"/>
                </a:cxn>
                <a:cxn ang="0">
                  <a:pos x="96" y="2"/>
                </a:cxn>
                <a:cxn ang="0">
                  <a:pos x="99" y="4"/>
                </a:cxn>
                <a:cxn ang="0">
                  <a:pos x="99" y="7"/>
                </a:cxn>
                <a:cxn ang="0">
                  <a:pos x="96" y="19"/>
                </a:cxn>
                <a:cxn ang="0">
                  <a:pos x="116" y="37"/>
                </a:cxn>
                <a:cxn ang="0">
                  <a:pos x="129" y="37"/>
                </a:cxn>
                <a:cxn ang="0">
                  <a:pos x="131" y="41"/>
                </a:cxn>
                <a:cxn ang="0">
                  <a:pos x="133" y="47"/>
                </a:cxn>
                <a:cxn ang="0">
                  <a:pos x="135" y="54"/>
                </a:cxn>
                <a:cxn ang="0">
                  <a:pos x="137" y="58"/>
                </a:cxn>
                <a:cxn ang="0">
                  <a:pos x="129" y="64"/>
                </a:cxn>
                <a:cxn ang="0">
                  <a:pos x="120" y="66"/>
                </a:cxn>
                <a:cxn ang="0">
                  <a:pos x="116" y="71"/>
                </a:cxn>
                <a:cxn ang="0">
                  <a:pos x="116" y="75"/>
                </a:cxn>
                <a:cxn ang="0">
                  <a:pos x="111" y="81"/>
                </a:cxn>
                <a:cxn ang="0">
                  <a:pos x="88" y="75"/>
                </a:cxn>
                <a:cxn ang="0">
                  <a:pos x="88" y="75"/>
                </a:cxn>
                <a:cxn ang="0">
                  <a:pos x="80" y="75"/>
                </a:cxn>
                <a:cxn ang="0">
                  <a:pos x="64" y="77"/>
                </a:cxn>
                <a:cxn ang="0">
                  <a:pos x="48" y="77"/>
                </a:cxn>
                <a:cxn ang="0">
                  <a:pos x="43" y="83"/>
                </a:cxn>
                <a:cxn ang="0">
                  <a:pos x="45" y="90"/>
                </a:cxn>
                <a:cxn ang="0">
                  <a:pos x="48" y="102"/>
                </a:cxn>
                <a:cxn ang="0">
                  <a:pos x="41" y="100"/>
                </a:cxn>
                <a:cxn ang="0">
                  <a:pos x="35" y="102"/>
                </a:cxn>
                <a:cxn ang="0">
                  <a:pos x="24" y="100"/>
                </a:cxn>
                <a:cxn ang="0">
                  <a:pos x="20" y="94"/>
                </a:cxn>
                <a:cxn ang="0">
                  <a:pos x="15" y="92"/>
                </a:cxn>
                <a:cxn ang="0">
                  <a:pos x="3" y="88"/>
                </a:cxn>
                <a:cxn ang="0">
                  <a:pos x="0" y="85"/>
                </a:cxn>
                <a:cxn ang="0">
                  <a:pos x="0" y="85"/>
                </a:cxn>
              </a:cxnLst>
              <a:rect l="0" t="0" r="r" b="b"/>
              <a:pathLst>
                <a:path w="137" h="102">
                  <a:moveTo>
                    <a:pt x="0" y="85"/>
                  </a:moveTo>
                  <a:lnTo>
                    <a:pt x="0" y="81"/>
                  </a:lnTo>
                  <a:lnTo>
                    <a:pt x="0" y="77"/>
                  </a:lnTo>
                  <a:lnTo>
                    <a:pt x="0" y="75"/>
                  </a:lnTo>
                  <a:lnTo>
                    <a:pt x="1" y="71"/>
                  </a:lnTo>
                  <a:lnTo>
                    <a:pt x="1" y="68"/>
                  </a:lnTo>
                  <a:lnTo>
                    <a:pt x="0" y="64"/>
                  </a:lnTo>
                  <a:lnTo>
                    <a:pt x="3" y="62"/>
                  </a:lnTo>
                  <a:lnTo>
                    <a:pt x="7" y="58"/>
                  </a:lnTo>
                  <a:lnTo>
                    <a:pt x="13" y="47"/>
                  </a:lnTo>
                  <a:lnTo>
                    <a:pt x="18" y="41"/>
                  </a:lnTo>
                  <a:lnTo>
                    <a:pt x="18" y="41"/>
                  </a:lnTo>
                  <a:lnTo>
                    <a:pt x="20" y="34"/>
                  </a:lnTo>
                  <a:lnTo>
                    <a:pt x="24" y="32"/>
                  </a:lnTo>
                  <a:lnTo>
                    <a:pt x="24" y="30"/>
                  </a:lnTo>
                  <a:lnTo>
                    <a:pt x="30" y="30"/>
                  </a:lnTo>
                  <a:lnTo>
                    <a:pt x="32" y="30"/>
                  </a:lnTo>
                  <a:lnTo>
                    <a:pt x="43" y="26"/>
                  </a:lnTo>
                  <a:lnTo>
                    <a:pt x="45" y="22"/>
                  </a:lnTo>
                  <a:lnTo>
                    <a:pt x="52" y="17"/>
                  </a:lnTo>
                  <a:lnTo>
                    <a:pt x="67" y="7"/>
                  </a:lnTo>
                  <a:lnTo>
                    <a:pt x="73" y="5"/>
                  </a:lnTo>
                  <a:lnTo>
                    <a:pt x="77" y="2"/>
                  </a:lnTo>
                  <a:lnTo>
                    <a:pt x="86" y="0"/>
                  </a:lnTo>
                  <a:lnTo>
                    <a:pt x="92" y="0"/>
                  </a:lnTo>
                  <a:lnTo>
                    <a:pt x="96" y="2"/>
                  </a:lnTo>
                  <a:lnTo>
                    <a:pt x="99" y="2"/>
                  </a:lnTo>
                  <a:lnTo>
                    <a:pt x="99" y="4"/>
                  </a:lnTo>
                  <a:lnTo>
                    <a:pt x="99" y="5"/>
                  </a:lnTo>
                  <a:lnTo>
                    <a:pt x="99" y="7"/>
                  </a:lnTo>
                  <a:lnTo>
                    <a:pt x="96" y="13"/>
                  </a:lnTo>
                  <a:lnTo>
                    <a:pt x="96" y="19"/>
                  </a:lnTo>
                  <a:lnTo>
                    <a:pt x="112" y="30"/>
                  </a:lnTo>
                  <a:lnTo>
                    <a:pt x="116" y="37"/>
                  </a:lnTo>
                  <a:lnTo>
                    <a:pt x="120" y="41"/>
                  </a:lnTo>
                  <a:lnTo>
                    <a:pt x="129" y="37"/>
                  </a:lnTo>
                  <a:lnTo>
                    <a:pt x="131" y="37"/>
                  </a:lnTo>
                  <a:lnTo>
                    <a:pt x="131" y="41"/>
                  </a:lnTo>
                  <a:lnTo>
                    <a:pt x="133" y="45"/>
                  </a:lnTo>
                  <a:lnTo>
                    <a:pt x="133" y="47"/>
                  </a:lnTo>
                  <a:lnTo>
                    <a:pt x="131" y="51"/>
                  </a:lnTo>
                  <a:lnTo>
                    <a:pt x="135" y="54"/>
                  </a:lnTo>
                  <a:lnTo>
                    <a:pt x="137" y="54"/>
                  </a:lnTo>
                  <a:lnTo>
                    <a:pt x="137" y="58"/>
                  </a:lnTo>
                  <a:lnTo>
                    <a:pt x="133" y="64"/>
                  </a:lnTo>
                  <a:lnTo>
                    <a:pt x="129" y="64"/>
                  </a:lnTo>
                  <a:lnTo>
                    <a:pt x="122" y="66"/>
                  </a:lnTo>
                  <a:lnTo>
                    <a:pt x="120" y="66"/>
                  </a:lnTo>
                  <a:lnTo>
                    <a:pt x="116" y="68"/>
                  </a:lnTo>
                  <a:lnTo>
                    <a:pt x="116" y="71"/>
                  </a:lnTo>
                  <a:lnTo>
                    <a:pt x="116" y="71"/>
                  </a:lnTo>
                  <a:lnTo>
                    <a:pt x="116" y="75"/>
                  </a:lnTo>
                  <a:lnTo>
                    <a:pt x="111" y="77"/>
                  </a:lnTo>
                  <a:lnTo>
                    <a:pt x="111" y="81"/>
                  </a:lnTo>
                  <a:lnTo>
                    <a:pt x="92" y="75"/>
                  </a:lnTo>
                  <a:lnTo>
                    <a:pt x="88" y="75"/>
                  </a:lnTo>
                  <a:lnTo>
                    <a:pt x="88" y="75"/>
                  </a:lnTo>
                  <a:lnTo>
                    <a:pt x="88" y="75"/>
                  </a:lnTo>
                  <a:lnTo>
                    <a:pt x="84" y="75"/>
                  </a:lnTo>
                  <a:lnTo>
                    <a:pt x="80" y="75"/>
                  </a:lnTo>
                  <a:lnTo>
                    <a:pt x="73" y="77"/>
                  </a:lnTo>
                  <a:lnTo>
                    <a:pt x="64" y="77"/>
                  </a:lnTo>
                  <a:lnTo>
                    <a:pt x="60" y="77"/>
                  </a:lnTo>
                  <a:lnTo>
                    <a:pt x="48" y="77"/>
                  </a:lnTo>
                  <a:lnTo>
                    <a:pt x="43" y="77"/>
                  </a:lnTo>
                  <a:lnTo>
                    <a:pt x="43" y="83"/>
                  </a:lnTo>
                  <a:lnTo>
                    <a:pt x="43" y="88"/>
                  </a:lnTo>
                  <a:lnTo>
                    <a:pt x="45" y="90"/>
                  </a:lnTo>
                  <a:lnTo>
                    <a:pt x="48" y="96"/>
                  </a:lnTo>
                  <a:lnTo>
                    <a:pt x="48" y="102"/>
                  </a:lnTo>
                  <a:lnTo>
                    <a:pt x="45" y="102"/>
                  </a:lnTo>
                  <a:lnTo>
                    <a:pt x="41" y="100"/>
                  </a:lnTo>
                  <a:lnTo>
                    <a:pt x="39" y="98"/>
                  </a:lnTo>
                  <a:lnTo>
                    <a:pt x="35" y="102"/>
                  </a:lnTo>
                  <a:lnTo>
                    <a:pt x="30" y="102"/>
                  </a:lnTo>
                  <a:lnTo>
                    <a:pt x="24" y="100"/>
                  </a:lnTo>
                  <a:lnTo>
                    <a:pt x="24" y="96"/>
                  </a:lnTo>
                  <a:lnTo>
                    <a:pt x="20" y="94"/>
                  </a:lnTo>
                  <a:lnTo>
                    <a:pt x="16" y="94"/>
                  </a:lnTo>
                  <a:lnTo>
                    <a:pt x="15" y="92"/>
                  </a:lnTo>
                  <a:lnTo>
                    <a:pt x="11" y="92"/>
                  </a:lnTo>
                  <a:lnTo>
                    <a:pt x="3" y="88"/>
                  </a:lnTo>
                  <a:lnTo>
                    <a:pt x="0" y="85"/>
                  </a:lnTo>
                  <a:lnTo>
                    <a:pt x="0" y="85"/>
                  </a:lnTo>
                  <a:lnTo>
                    <a:pt x="0" y="85"/>
                  </a:lnTo>
                  <a:lnTo>
                    <a:pt x="0"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4" name="Freeform 115">
              <a:extLst>
                <a:ext uri="{FF2B5EF4-FFF2-40B4-BE49-F238E27FC236}">
                  <a16:creationId xmlns:a16="http://schemas.microsoft.com/office/drawing/2014/main" id="{CBEF6034-679F-3F45-8BF9-E007BF257FF8}"/>
                </a:ext>
              </a:extLst>
            </p:cNvPr>
            <p:cNvSpPr>
              <a:spLocks/>
            </p:cNvSpPr>
            <p:nvPr/>
          </p:nvSpPr>
          <p:spPr bwMode="auto">
            <a:xfrm>
              <a:off x="5855622" y="2745866"/>
              <a:ext cx="104107" cy="69031"/>
            </a:xfrm>
            <a:custGeom>
              <a:avLst/>
              <a:gdLst/>
              <a:ahLst/>
              <a:cxnLst>
                <a:cxn ang="0">
                  <a:pos x="20" y="9"/>
                </a:cxn>
                <a:cxn ang="0">
                  <a:pos x="26" y="7"/>
                </a:cxn>
                <a:cxn ang="0">
                  <a:pos x="47" y="0"/>
                </a:cxn>
                <a:cxn ang="0">
                  <a:pos x="60" y="5"/>
                </a:cxn>
                <a:cxn ang="0">
                  <a:pos x="68" y="9"/>
                </a:cxn>
                <a:cxn ang="0">
                  <a:pos x="71" y="13"/>
                </a:cxn>
                <a:cxn ang="0">
                  <a:pos x="75" y="13"/>
                </a:cxn>
                <a:cxn ang="0">
                  <a:pos x="81" y="13"/>
                </a:cxn>
                <a:cxn ang="0">
                  <a:pos x="86" y="22"/>
                </a:cxn>
                <a:cxn ang="0">
                  <a:pos x="90" y="28"/>
                </a:cxn>
                <a:cxn ang="0">
                  <a:pos x="92" y="32"/>
                </a:cxn>
                <a:cxn ang="0">
                  <a:pos x="100" y="39"/>
                </a:cxn>
                <a:cxn ang="0">
                  <a:pos x="101" y="45"/>
                </a:cxn>
                <a:cxn ang="0">
                  <a:pos x="101" y="54"/>
                </a:cxn>
                <a:cxn ang="0">
                  <a:pos x="105" y="60"/>
                </a:cxn>
                <a:cxn ang="0">
                  <a:pos x="111" y="68"/>
                </a:cxn>
                <a:cxn ang="0">
                  <a:pos x="115" y="69"/>
                </a:cxn>
                <a:cxn ang="0">
                  <a:pos x="118" y="75"/>
                </a:cxn>
                <a:cxn ang="0">
                  <a:pos x="116" y="79"/>
                </a:cxn>
                <a:cxn ang="0">
                  <a:pos x="122" y="85"/>
                </a:cxn>
                <a:cxn ang="0">
                  <a:pos x="122" y="90"/>
                </a:cxn>
                <a:cxn ang="0">
                  <a:pos x="116" y="88"/>
                </a:cxn>
                <a:cxn ang="0">
                  <a:pos x="111" y="85"/>
                </a:cxn>
                <a:cxn ang="0">
                  <a:pos x="101" y="85"/>
                </a:cxn>
                <a:cxn ang="0">
                  <a:pos x="92" y="83"/>
                </a:cxn>
                <a:cxn ang="0">
                  <a:pos x="73" y="79"/>
                </a:cxn>
                <a:cxn ang="0">
                  <a:pos x="69" y="79"/>
                </a:cxn>
                <a:cxn ang="0">
                  <a:pos x="47" y="77"/>
                </a:cxn>
                <a:cxn ang="0">
                  <a:pos x="36" y="85"/>
                </a:cxn>
                <a:cxn ang="0">
                  <a:pos x="19" y="88"/>
                </a:cxn>
                <a:cxn ang="0">
                  <a:pos x="15" y="83"/>
                </a:cxn>
                <a:cxn ang="0">
                  <a:pos x="15" y="81"/>
                </a:cxn>
                <a:cxn ang="0">
                  <a:pos x="22" y="79"/>
                </a:cxn>
                <a:cxn ang="0">
                  <a:pos x="11" y="79"/>
                </a:cxn>
                <a:cxn ang="0">
                  <a:pos x="11" y="77"/>
                </a:cxn>
                <a:cxn ang="0">
                  <a:pos x="13" y="69"/>
                </a:cxn>
                <a:cxn ang="0">
                  <a:pos x="30" y="66"/>
                </a:cxn>
                <a:cxn ang="0">
                  <a:pos x="36" y="62"/>
                </a:cxn>
                <a:cxn ang="0">
                  <a:pos x="41" y="64"/>
                </a:cxn>
                <a:cxn ang="0">
                  <a:pos x="45" y="60"/>
                </a:cxn>
                <a:cxn ang="0">
                  <a:pos x="52" y="64"/>
                </a:cxn>
                <a:cxn ang="0">
                  <a:pos x="64" y="68"/>
                </a:cxn>
                <a:cxn ang="0">
                  <a:pos x="69" y="66"/>
                </a:cxn>
                <a:cxn ang="0">
                  <a:pos x="68" y="64"/>
                </a:cxn>
                <a:cxn ang="0">
                  <a:pos x="54" y="58"/>
                </a:cxn>
                <a:cxn ang="0">
                  <a:pos x="45" y="54"/>
                </a:cxn>
                <a:cxn ang="0">
                  <a:pos x="36" y="54"/>
                </a:cxn>
                <a:cxn ang="0">
                  <a:pos x="26" y="60"/>
                </a:cxn>
                <a:cxn ang="0">
                  <a:pos x="15" y="62"/>
                </a:cxn>
                <a:cxn ang="0">
                  <a:pos x="17" y="58"/>
                </a:cxn>
                <a:cxn ang="0">
                  <a:pos x="13" y="54"/>
                </a:cxn>
                <a:cxn ang="0">
                  <a:pos x="9" y="51"/>
                </a:cxn>
                <a:cxn ang="0">
                  <a:pos x="0" y="39"/>
                </a:cxn>
                <a:cxn ang="0">
                  <a:pos x="17" y="19"/>
                </a:cxn>
                <a:cxn ang="0">
                  <a:pos x="17" y="13"/>
                </a:cxn>
              </a:cxnLst>
              <a:rect l="0" t="0" r="r" b="b"/>
              <a:pathLst>
                <a:path w="122" h="90">
                  <a:moveTo>
                    <a:pt x="17" y="13"/>
                  </a:moveTo>
                  <a:lnTo>
                    <a:pt x="20" y="9"/>
                  </a:lnTo>
                  <a:lnTo>
                    <a:pt x="24" y="9"/>
                  </a:lnTo>
                  <a:lnTo>
                    <a:pt x="26" y="7"/>
                  </a:lnTo>
                  <a:lnTo>
                    <a:pt x="36" y="5"/>
                  </a:lnTo>
                  <a:lnTo>
                    <a:pt x="47" y="0"/>
                  </a:lnTo>
                  <a:lnTo>
                    <a:pt x="51" y="0"/>
                  </a:lnTo>
                  <a:lnTo>
                    <a:pt x="60" y="5"/>
                  </a:lnTo>
                  <a:lnTo>
                    <a:pt x="64" y="5"/>
                  </a:lnTo>
                  <a:lnTo>
                    <a:pt x="68" y="9"/>
                  </a:lnTo>
                  <a:lnTo>
                    <a:pt x="68" y="13"/>
                  </a:lnTo>
                  <a:lnTo>
                    <a:pt x="71" y="13"/>
                  </a:lnTo>
                  <a:lnTo>
                    <a:pt x="75" y="13"/>
                  </a:lnTo>
                  <a:lnTo>
                    <a:pt x="75" y="13"/>
                  </a:lnTo>
                  <a:lnTo>
                    <a:pt x="77" y="13"/>
                  </a:lnTo>
                  <a:lnTo>
                    <a:pt x="81" y="13"/>
                  </a:lnTo>
                  <a:lnTo>
                    <a:pt x="81" y="19"/>
                  </a:lnTo>
                  <a:lnTo>
                    <a:pt x="86" y="22"/>
                  </a:lnTo>
                  <a:lnTo>
                    <a:pt x="86" y="26"/>
                  </a:lnTo>
                  <a:lnTo>
                    <a:pt x="90" y="28"/>
                  </a:lnTo>
                  <a:lnTo>
                    <a:pt x="90" y="32"/>
                  </a:lnTo>
                  <a:lnTo>
                    <a:pt x="92" y="32"/>
                  </a:lnTo>
                  <a:lnTo>
                    <a:pt x="98" y="36"/>
                  </a:lnTo>
                  <a:lnTo>
                    <a:pt x="100" y="39"/>
                  </a:lnTo>
                  <a:lnTo>
                    <a:pt x="101" y="39"/>
                  </a:lnTo>
                  <a:lnTo>
                    <a:pt x="101" y="45"/>
                  </a:lnTo>
                  <a:lnTo>
                    <a:pt x="103" y="45"/>
                  </a:lnTo>
                  <a:lnTo>
                    <a:pt x="101" y="54"/>
                  </a:lnTo>
                  <a:lnTo>
                    <a:pt x="101" y="58"/>
                  </a:lnTo>
                  <a:lnTo>
                    <a:pt x="105" y="60"/>
                  </a:lnTo>
                  <a:lnTo>
                    <a:pt x="109" y="66"/>
                  </a:lnTo>
                  <a:lnTo>
                    <a:pt x="111" y="68"/>
                  </a:lnTo>
                  <a:lnTo>
                    <a:pt x="113" y="68"/>
                  </a:lnTo>
                  <a:lnTo>
                    <a:pt x="115" y="69"/>
                  </a:lnTo>
                  <a:lnTo>
                    <a:pt x="116" y="71"/>
                  </a:lnTo>
                  <a:lnTo>
                    <a:pt x="118" y="75"/>
                  </a:lnTo>
                  <a:lnTo>
                    <a:pt x="118" y="77"/>
                  </a:lnTo>
                  <a:lnTo>
                    <a:pt x="116" y="79"/>
                  </a:lnTo>
                  <a:lnTo>
                    <a:pt x="118" y="83"/>
                  </a:lnTo>
                  <a:lnTo>
                    <a:pt x="122" y="85"/>
                  </a:lnTo>
                  <a:lnTo>
                    <a:pt x="122" y="88"/>
                  </a:lnTo>
                  <a:lnTo>
                    <a:pt x="122" y="90"/>
                  </a:lnTo>
                  <a:lnTo>
                    <a:pt x="120" y="88"/>
                  </a:lnTo>
                  <a:lnTo>
                    <a:pt x="116" y="88"/>
                  </a:lnTo>
                  <a:lnTo>
                    <a:pt x="115" y="85"/>
                  </a:lnTo>
                  <a:lnTo>
                    <a:pt x="111" y="85"/>
                  </a:lnTo>
                  <a:lnTo>
                    <a:pt x="107" y="88"/>
                  </a:lnTo>
                  <a:lnTo>
                    <a:pt x="101" y="85"/>
                  </a:lnTo>
                  <a:lnTo>
                    <a:pt x="96" y="85"/>
                  </a:lnTo>
                  <a:lnTo>
                    <a:pt x="92" y="83"/>
                  </a:lnTo>
                  <a:lnTo>
                    <a:pt x="86" y="79"/>
                  </a:lnTo>
                  <a:lnTo>
                    <a:pt x="73" y="79"/>
                  </a:lnTo>
                  <a:lnTo>
                    <a:pt x="69" y="79"/>
                  </a:lnTo>
                  <a:lnTo>
                    <a:pt x="69" y="79"/>
                  </a:lnTo>
                  <a:lnTo>
                    <a:pt x="66" y="77"/>
                  </a:lnTo>
                  <a:lnTo>
                    <a:pt x="47" y="77"/>
                  </a:lnTo>
                  <a:lnTo>
                    <a:pt x="41" y="81"/>
                  </a:lnTo>
                  <a:lnTo>
                    <a:pt x="36" y="85"/>
                  </a:lnTo>
                  <a:lnTo>
                    <a:pt x="24" y="85"/>
                  </a:lnTo>
                  <a:lnTo>
                    <a:pt x="19" y="88"/>
                  </a:lnTo>
                  <a:lnTo>
                    <a:pt x="13" y="85"/>
                  </a:lnTo>
                  <a:lnTo>
                    <a:pt x="15" y="83"/>
                  </a:lnTo>
                  <a:lnTo>
                    <a:pt x="13" y="81"/>
                  </a:lnTo>
                  <a:lnTo>
                    <a:pt x="15" y="81"/>
                  </a:lnTo>
                  <a:lnTo>
                    <a:pt x="19" y="83"/>
                  </a:lnTo>
                  <a:lnTo>
                    <a:pt x="22" y="79"/>
                  </a:lnTo>
                  <a:lnTo>
                    <a:pt x="15" y="77"/>
                  </a:lnTo>
                  <a:lnTo>
                    <a:pt x="11" y="79"/>
                  </a:lnTo>
                  <a:lnTo>
                    <a:pt x="9" y="79"/>
                  </a:lnTo>
                  <a:lnTo>
                    <a:pt x="11" y="77"/>
                  </a:lnTo>
                  <a:lnTo>
                    <a:pt x="11" y="71"/>
                  </a:lnTo>
                  <a:lnTo>
                    <a:pt x="13" y="69"/>
                  </a:lnTo>
                  <a:lnTo>
                    <a:pt x="26" y="69"/>
                  </a:lnTo>
                  <a:lnTo>
                    <a:pt x="30" y="66"/>
                  </a:lnTo>
                  <a:lnTo>
                    <a:pt x="34" y="66"/>
                  </a:lnTo>
                  <a:lnTo>
                    <a:pt x="36" y="62"/>
                  </a:lnTo>
                  <a:lnTo>
                    <a:pt x="39" y="62"/>
                  </a:lnTo>
                  <a:lnTo>
                    <a:pt x="41" y="64"/>
                  </a:lnTo>
                  <a:lnTo>
                    <a:pt x="45" y="62"/>
                  </a:lnTo>
                  <a:lnTo>
                    <a:pt x="45" y="60"/>
                  </a:lnTo>
                  <a:lnTo>
                    <a:pt x="51" y="64"/>
                  </a:lnTo>
                  <a:lnTo>
                    <a:pt x="52" y="64"/>
                  </a:lnTo>
                  <a:lnTo>
                    <a:pt x="58" y="66"/>
                  </a:lnTo>
                  <a:lnTo>
                    <a:pt x="64" y="68"/>
                  </a:lnTo>
                  <a:lnTo>
                    <a:pt x="69" y="68"/>
                  </a:lnTo>
                  <a:lnTo>
                    <a:pt x="69" y="66"/>
                  </a:lnTo>
                  <a:lnTo>
                    <a:pt x="69" y="64"/>
                  </a:lnTo>
                  <a:lnTo>
                    <a:pt x="68" y="64"/>
                  </a:lnTo>
                  <a:lnTo>
                    <a:pt x="58" y="58"/>
                  </a:lnTo>
                  <a:lnTo>
                    <a:pt x="54" y="58"/>
                  </a:lnTo>
                  <a:lnTo>
                    <a:pt x="51" y="54"/>
                  </a:lnTo>
                  <a:lnTo>
                    <a:pt x="45" y="54"/>
                  </a:lnTo>
                  <a:lnTo>
                    <a:pt x="41" y="54"/>
                  </a:lnTo>
                  <a:lnTo>
                    <a:pt x="36" y="54"/>
                  </a:lnTo>
                  <a:lnTo>
                    <a:pt x="30" y="60"/>
                  </a:lnTo>
                  <a:lnTo>
                    <a:pt x="26" y="60"/>
                  </a:lnTo>
                  <a:lnTo>
                    <a:pt x="24" y="62"/>
                  </a:lnTo>
                  <a:lnTo>
                    <a:pt x="15" y="62"/>
                  </a:lnTo>
                  <a:lnTo>
                    <a:pt x="15" y="60"/>
                  </a:lnTo>
                  <a:lnTo>
                    <a:pt x="17" y="58"/>
                  </a:lnTo>
                  <a:lnTo>
                    <a:pt x="13" y="54"/>
                  </a:lnTo>
                  <a:lnTo>
                    <a:pt x="13" y="54"/>
                  </a:lnTo>
                  <a:lnTo>
                    <a:pt x="13" y="51"/>
                  </a:lnTo>
                  <a:lnTo>
                    <a:pt x="9" y="51"/>
                  </a:lnTo>
                  <a:lnTo>
                    <a:pt x="5" y="45"/>
                  </a:lnTo>
                  <a:lnTo>
                    <a:pt x="0" y="39"/>
                  </a:lnTo>
                  <a:lnTo>
                    <a:pt x="11" y="28"/>
                  </a:lnTo>
                  <a:lnTo>
                    <a:pt x="17" y="19"/>
                  </a:lnTo>
                  <a:lnTo>
                    <a:pt x="17" y="13"/>
                  </a:lnTo>
                  <a:lnTo>
                    <a:pt x="17" y="13"/>
                  </a:lnTo>
                  <a:lnTo>
                    <a:pt x="17" y="1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5" name="Freeform 116">
              <a:extLst>
                <a:ext uri="{FF2B5EF4-FFF2-40B4-BE49-F238E27FC236}">
                  <a16:creationId xmlns:a16="http://schemas.microsoft.com/office/drawing/2014/main" id="{EF57CF7E-8394-D343-9640-8B152E13B597}"/>
                </a:ext>
              </a:extLst>
            </p:cNvPr>
            <p:cNvSpPr>
              <a:spLocks/>
            </p:cNvSpPr>
            <p:nvPr/>
          </p:nvSpPr>
          <p:spPr bwMode="auto">
            <a:xfrm>
              <a:off x="5865009" y="2787285"/>
              <a:ext cx="49494" cy="11505"/>
            </a:xfrm>
            <a:custGeom>
              <a:avLst/>
              <a:gdLst/>
              <a:ahLst/>
              <a:cxnLst>
                <a:cxn ang="0">
                  <a:pos x="2" y="15"/>
                </a:cxn>
                <a:cxn ang="0">
                  <a:pos x="4" y="14"/>
                </a:cxn>
                <a:cxn ang="0">
                  <a:pos x="15" y="14"/>
                </a:cxn>
                <a:cxn ang="0">
                  <a:pos x="19" y="10"/>
                </a:cxn>
                <a:cxn ang="0">
                  <a:pos x="23" y="10"/>
                </a:cxn>
                <a:cxn ang="0">
                  <a:pos x="26" y="8"/>
                </a:cxn>
                <a:cxn ang="0">
                  <a:pos x="28" y="8"/>
                </a:cxn>
                <a:cxn ang="0">
                  <a:pos x="30" y="10"/>
                </a:cxn>
                <a:cxn ang="0">
                  <a:pos x="34" y="8"/>
                </a:cxn>
                <a:cxn ang="0">
                  <a:pos x="34" y="6"/>
                </a:cxn>
                <a:cxn ang="0">
                  <a:pos x="38" y="10"/>
                </a:cxn>
                <a:cxn ang="0">
                  <a:pos x="41" y="10"/>
                </a:cxn>
                <a:cxn ang="0">
                  <a:pos x="47" y="10"/>
                </a:cxn>
                <a:cxn ang="0">
                  <a:pos x="53" y="14"/>
                </a:cxn>
                <a:cxn ang="0">
                  <a:pos x="58" y="14"/>
                </a:cxn>
                <a:cxn ang="0">
                  <a:pos x="58" y="10"/>
                </a:cxn>
                <a:cxn ang="0">
                  <a:pos x="58" y="10"/>
                </a:cxn>
                <a:cxn ang="0">
                  <a:pos x="55" y="10"/>
                </a:cxn>
                <a:cxn ang="0">
                  <a:pos x="47" y="4"/>
                </a:cxn>
                <a:cxn ang="0">
                  <a:pos x="43" y="4"/>
                </a:cxn>
                <a:cxn ang="0">
                  <a:pos x="38" y="0"/>
                </a:cxn>
                <a:cxn ang="0">
                  <a:pos x="34" y="0"/>
                </a:cxn>
                <a:cxn ang="0">
                  <a:pos x="30" y="0"/>
                </a:cxn>
                <a:cxn ang="0">
                  <a:pos x="26" y="0"/>
                </a:cxn>
                <a:cxn ang="0">
                  <a:pos x="19" y="6"/>
                </a:cxn>
                <a:cxn ang="0">
                  <a:pos x="15" y="6"/>
                </a:cxn>
                <a:cxn ang="0">
                  <a:pos x="13" y="8"/>
                </a:cxn>
                <a:cxn ang="0">
                  <a:pos x="6" y="8"/>
                </a:cxn>
                <a:cxn ang="0">
                  <a:pos x="6" y="10"/>
                </a:cxn>
                <a:cxn ang="0">
                  <a:pos x="9" y="14"/>
                </a:cxn>
                <a:cxn ang="0">
                  <a:pos x="15" y="10"/>
                </a:cxn>
                <a:cxn ang="0">
                  <a:pos x="11" y="14"/>
                </a:cxn>
                <a:cxn ang="0">
                  <a:pos x="6" y="14"/>
                </a:cxn>
                <a:cxn ang="0">
                  <a:pos x="4" y="10"/>
                </a:cxn>
                <a:cxn ang="0">
                  <a:pos x="0" y="14"/>
                </a:cxn>
                <a:cxn ang="0">
                  <a:pos x="2" y="14"/>
                </a:cxn>
                <a:cxn ang="0">
                  <a:pos x="2" y="15"/>
                </a:cxn>
                <a:cxn ang="0">
                  <a:pos x="2" y="15"/>
                </a:cxn>
                <a:cxn ang="0">
                  <a:pos x="2" y="15"/>
                </a:cxn>
              </a:cxnLst>
              <a:rect l="0" t="0" r="r" b="b"/>
              <a:pathLst>
                <a:path w="58" h="15">
                  <a:moveTo>
                    <a:pt x="2" y="15"/>
                  </a:moveTo>
                  <a:lnTo>
                    <a:pt x="4" y="14"/>
                  </a:lnTo>
                  <a:lnTo>
                    <a:pt x="15" y="14"/>
                  </a:lnTo>
                  <a:lnTo>
                    <a:pt x="19" y="10"/>
                  </a:lnTo>
                  <a:lnTo>
                    <a:pt x="23" y="10"/>
                  </a:lnTo>
                  <a:lnTo>
                    <a:pt x="26" y="8"/>
                  </a:lnTo>
                  <a:lnTo>
                    <a:pt x="28" y="8"/>
                  </a:lnTo>
                  <a:lnTo>
                    <a:pt x="30" y="10"/>
                  </a:lnTo>
                  <a:lnTo>
                    <a:pt x="34" y="8"/>
                  </a:lnTo>
                  <a:lnTo>
                    <a:pt x="34" y="6"/>
                  </a:lnTo>
                  <a:lnTo>
                    <a:pt x="38" y="10"/>
                  </a:lnTo>
                  <a:lnTo>
                    <a:pt x="41" y="10"/>
                  </a:lnTo>
                  <a:lnTo>
                    <a:pt x="47" y="10"/>
                  </a:lnTo>
                  <a:lnTo>
                    <a:pt x="53" y="14"/>
                  </a:lnTo>
                  <a:lnTo>
                    <a:pt x="58" y="14"/>
                  </a:lnTo>
                  <a:lnTo>
                    <a:pt x="58" y="10"/>
                  </a:lnTo>
                  <a:lnTo>
                    <a:pt x="58" y="10"/>
                  </a:lnTo>
                  <a:lnTo>
                    <a:pt x="55" y="10"/>
                  </a:lnTo>
                  <a:lnTo>
                    <a:pt x="47" y="4"/>
                  </a:lnTo>
                  <a:lnTo>
                    <a:pt x="43" y="4"/>
                  </a:lnTo>
                  <a:lnTo>
                    <a:pt x="38" y="0"/>
                  </a:lnTo>
                  <a:lnTo>
                    <a:pt x="34" y="0"/>
                  </a:lnTo>
                  <a:lnTo>
                    <a:pt x="30" y="0"/>
                  </a:lnTo>
                  <a:lnTo>
                    <a:pt x="26" y="0"/>
                  </a:lnTo>
                  <a:lnTo>
                    <a:pt x="19" y="6"/>
                  </a:lnTo>
                  <a:lnTo>
                    <a:pt x="15" y="6"/>
                  </a:lnTo>
                  <a:lnTo>
                    <a:pt x="13" y="8"/>
                  </a:lnTo>
                  <a:lnTo>
                    <a:pt x="6" y="8"/>
                  </a:lnTo>
                  <a:lnTo>
                    <a:pt x="6" y="10"/>
                  </a:lnTo>
                  <a:lnTo>
                    <a:pt x="9" y="14"/>
                  </a:lnTo>
                  <a:lnTo>
                    <a:pt x="15" y="10"/>
                  </a:lnTo>
                  <a:lnTo>
                    <a:pt x="11" y="14"/>
                  </a:lnTo>
                  <a:lnTo>
                    <a:pt x="6" y="14"/>
                  </a:lnTo>
                  <a:lnTo>
                    <a:pt x="4" y="10"/>
                  </a:lnTo>
                  <a:lnTo>
                    <a:pt x="0" y="14"/>
                  </a:lnTo>
                  <a:lnTo>
                    <a:pt x="2" y="14"/>
                  </a:lnTo>
                  <a:lnTo>
                    <a:pt x="2" y="15"/>
                  </a:lnTo>
                  <a:lnTo>
                    <a:pt x="2" y="15"/>
                  </a:lnTo>
                  <a:lnTo>
                    <a:pt x="2" y="1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6" name="Freeform 117">
              <a:extLst>
                <a:ext uri="{FF2B5EF4-FFF2-40B4-BE49-F238E27FC236}">
                  <a16:creationId xmlns:a16="http://schemas.microsoft.com/office/drawing/2014/main" id="{6C797B0F-C556-FC49-B7F1-D4C59EE180D0}"/>
                </a:ext>
              </a:extLst>
            </p:cNvPr>
            <p:cNvSpPr>
              <a:spLocks/>
            </p:cNvSpPr>
            <p:nvPr/>
          </p:nvSpPr>
          <p:spPr bwMode="auto">
            <a:xfrm>
              <a:off x="5870129" y="2803391"/>
              <a:ext cx="44374" cy="27612"/>
            </a:xfrm>
            <a:custGeom>
              <a:avLst/>
              <a:gdLst/>
              <a:ahLst/>
              <a:cxnLst>
                <a:cxn ang="0">
                  <a:pos x="0" y="8"/>
                </a:cxn>
                <a:cxn ang="0">
                  <a:pos x="3" y="11"/>
                </a:cxn>
                <a:cxn ang="0">
                  <a:pos x="9" y="6"/>
                </a:cxn>
                <a:cxn ang="0">
                  <a:pos x="20" y="6"/>
                </a:cxn>
                <a:cxn ang="0">
                  <a:pos x="24" y="2"/>
                </a:cxn>
                <a:cxn ang="0">
                  <a:pos x="30" y="0"/>
                </a:cxn>
                <a:cxn ang="0">
                  <a:pos x="47" y="0"/>
                </a:cxn>
                <a:cxn ang="0">
                  <a:pos x="51" y="0"/>
                </a:cxn>
                <a:cxn ang="0">
                  <a:pos x="52" y="6"/>
                </a:cxn>
                <a:cxn ang="0">
                  <a:pos x="51" y="11"/>
                </a:cxn>
                <a:cxn ang="0">
                  <a:pos x="51" y="17"/>
                </a:cxn>
                <a:cxn ang="0">
                  <a:pos x="52" y="19"/>
                </a:cxn>
                <a:cxn ang="0">
                  <a:pos x="52" y="23"/>
                </a:cxn>
                <a:cxn ang="0">
                  <a:pos x="51" y="26"/>
                </a:cxn>
                <a:cxn ang="0">
                  <a:pos x="43" y="26"/>
                </a:cxn>
                <a:cxn ang="0">
                  <a:pos x="39" y="28"/>
                </a:cxn>
                <a:cxn ang="0">
                  <a:pos x="35" y="30"/>
                </a:cxn>
                <a:cxn ang="0">
                  <a:pos x="34" y="34"/>
                </a:cxn>
                <a:cxn ang="0">
                  <a:pos x="28" y="36"/>
                </a:cxn>
                <a:cxn ang="0">
                  <a:pos x="28" y="34"/>
                </a:cxn>
                <a:cxn ang="0">
                  <a:pos x="28" y="32"/>
                </a:cxn>
                <a:cxn ang="0">
                  <a:pos x="22" y="32"/>
                </a:cxn>
                <a:cxn ang="0">
                  <a:pos x="24" y="26"/>
                </a:cxn>
                <a:cxn ang="0">
                  <a:pos x="24" y="26"/>
                </a:cxn>
                <a:cxn ang="0">
                  <a:pos x="24" y="26"/>
                </a:cxn>
                <a:cxn ang="0">
                  <a:pos x="22" y="23"/>
                </a:cxn>
                <a:cxn ang="0">
                  <a:pos x="20" y="23"/>
                </a:cxn>
                <a:cxn ang="0">
                  <a:pos x="19" y="21"/>
                </a:cxn>
                <a:cxn ang="0">
                  <a:pos x="28" y="21"/>
                </a:cxn>
                <a:cxn ang="0">
                  <a:pos x="28" y="21"/>
                </a:cxn>
                <a:cxn ang="0">
                  <a:pos x="24" y="17"/>
                </a:cxn>
                <a:cxn ang="0">
                  <a:pos x="20" y="19"/>
                </a:cxn>
                <a:cxn ang="0">
                  <a:pos x="15" y="19"/>
                </a:cxn>
                <a:cxn ang="0">
                  <a:pos x="15" y="19"/>
                </a:cxn>
                <a:cxn ang="0">
                  <a:pos x="11" y="17"/>
                </a:cxn>
                <a:cxn ang="0">
                  <a:pos x="9" y="17"/>
                </a:cxn>
                <a:cxn ang="0">
                  <a:pos x="5" y="13"/>
                </a:cxn>
                <a:cxn ang="0">
                  <a:pos x="9" y="11"/>
                </a:cxn>
                <a:cxn ang="0">
                  <a:pos x="7" y="11"/>
                </a:cxn>
                <a:cxn ang="0">
                  <a:pos x="0" y="11"/>
                </a:cxn>
                <a:cxn ang="0">
                  <a:pos x="0" y="8"/>
                </a:cxn>
                <a:cxn ang="0">
                  <a:pos x="0" y="8"/>
                </a:cxn>
                <a:cxn ang="0">
                  <a:pos x="0" y="8"/>
                </a:cxn>
                <a:cxn ang="0">
                  <a:pos x="0" y="8"/>
                </a:cxn>
              </a:cxnLst>
              <a:rect l="0" t="0" r="r" b="b"/>
              <a:pathLst>
                <a:path w="52" h="36">
                  <a:moveTo>
                    <a:pt x="0" y="8"/>
                  </a:moveTo>
                  <a:lnTo>
                    <a:pt x="3" y="11"/>
                  </a:lnTo>
                  <a:lnTo>
                    <a:pt x="9" y="6"/>
                  </a:lnTo>
                  <a:lnTo>
                    <a:pt x="20" y="6"/>
                  </a:lnTo>
                  <a:lnTo>
                    <a:pt x="24" y="2"/>
                  </a:lnTo>
                  <a:lnTo>
                    <a:pt x="30" y="0"/>
                  </a:lnTo>
                  <a:lnTo>
                    <a:pt x="47" y="0"/>
                  </a:lnTo>
                  <a:lnTo>
                    <a:pt x="51" y="0"/>
                  </a:lnTo>
                  <a:lnTo>
                    <a:pt x="52" y="6"/>
                  </a:lnTo>
                  <a:lnTo>
                    <a:pt x="51" y="11"/>
                  </a:lnTo>
                  <a:lnTo>
                    <a:pt x="51" y="17"/>
                  </a:lnTo>
                  <a:lnTo>
                    <a:pt x="52" y="19"/>
                  </a:lnTo>
                  <a:lnTo>
                    <a:pt x="52" y="23"/>
                  </a:lnTo>
                  <a:lnTo>
                    <a:pt x="51" y="26"/>
                  </a:lnTo>
                  <a:lnTo>
                    <a:pt x="43" y="26"/>
                  </a:lnTo>
                  <a:lnTo>
                    <a:pt x="39" y="28"/>
                  </a:lnTo>
                  <a:lnTo>
                    <a:pt x="35" y="30"/>
                  </a:lnTo>
                  <a:lnTo>
                    <a:pt x="34" y="34"/>
                  </a:lnTo>
                  <a:lnTo>
                    <a:pt x="28" y="36"/>
                  </a:lnTo>
                  <a:lnTo>
                    <a:pt x="28" y="34"/>
                  </a:lnTo>
                  <a:lnTo>
                    <a:pt x="28" y="32"/>
                  </a:lnTo>
                  <a:lnTo>
                    <a:pt x="22" y="32"/>
                  </a:lnTo>
                  <a:lnTo>
                    <a:pt x="24" y="26"/>
                  </a:lnTo>
                  <a:lnTo>
                    <a:pt x="24" y="26"/>
                  </a:lnTo>
                  <a:lnTo>
                    <a:pt x="24" y="26"/>
                  </a:lnTo>
                  <a:lnTo>
                    <a:pt x="22" y="23"/>
                  </a:lnTo>
                  <a:lnTo>
                    <a:pt x="20" y="23"/>
                  </a:lnTo>
                  <a:lnTo>
                    <a:pt x="19" y="21"/>
                  </a:lnTo>
                  <a:lnTo>
                    <a:pt x="28" y="21"/>
                  </a:lnTo>
                  <a:lnTo>
                    <a:pt x="28" y="21"/>
                  </a:lnTo>
                  <a:lnTo>
                    <a:pt x="24" y="17"/>
                  </a:lnTo>
                  <a:lnTo>
                    <a:pt x="20" y="19"/>
                  </a:lnTo>
                  <a:lnTo>
                    <a:pt x="15" y="19"/>
                  </a:lnTo>
                  <a:lnTo>
                    <a:pt x="15" y="19"/>
                  </a:lnTo>
                  <a:lnTo>
                    <a:pt x="11" y="17"/>
                  </a:lnTo>
                  <a:lnTo>
                    <a:pt x="9" y="17"/>
                  </a:lnTo>
                  <a:lnTo>
                    <a:pt x="5" y="13"/>
                  </a:lnTo>
                  <a:lnTo>
                    <a:pt x="9" y="11"/>
                  </a:lnTo>
                  <a:lnTo>
                    <a:pt x="7" y="11"/>
                  </a:lnTo>
                  <a:lnTo>
                    <a:pt x="0" y="11"/>
                  </a:lnTo>
                  <a:lnTo>
                    <a:pt x="0" y="8"/>
                  </a:lnTo>
                  <a:lnTo>
                    <a:pt x="0" y="8"/>
                  </a:lnTo>
                  <a:lnTo>
                    <a:pt x="0" y="8"/>
                  </a:lnTo>
                  <a:lnTo>
                    <a:pt x="0"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7" name="Freeform 118">
              <a:extLst>
                <a:ext uri="{FF2B5EF4-FFF2-40B4-BE49-F238E27FC236}">
                  <a16:creationId xmlns:a16="http://schemas.microsoft.com/office/drawing/2014/main" id="{DA003731-33EB-D14D-8EA7-168A91327143}"/>
                </a:ext>
              </a:extLst>
            </p:cNvPr>
            <p:cNvSpPr>
              <a:spLocks/>
            </p:cNvSpPr>
            <p:nvPr/>
          </p:nvSpPr>
          <p:spPr bwMode="auto">
            <a:xfrm>
              <a:off x="5899995" y="2803391"/>
              <a:ext cx="109227" cy="101246"/>
            </a:xfrm>
            <a:custGeom>
              <a:avLst/>
              <a:gdLst/>
              <a:ahLst/>
              <a:cxnLst>
                <a:cxn ang="0">
                  <a:pos x="2" y="28"/>
                </a:cxn>
                <a:cxn ang="0">
                  <a:pos x="12" y="25"/>
                </a:cxn>
                <a:cxn ang="0">
                  <a:pos x="19" y="21"/>
                </a:cxn>
                <a:cxn ang="0">
                  <a:pos x="19" y="15"/>
                </a:cxn>
                <a:cxn ang="0">
                  <a:pos x="19" y="6"/>
                </a:cxn>
                <a:cxn ang="0">
                  <a:pos x="21" y="0"/>
                </a:cxn>
                <a:cxn ang="0">
                  <a:pos x="40" y="4"/>
                </a:cxn>
                <a:cxn ang="0">
                  <a:pos x="49" y="6"/>
                </a:cxn>
                <a:cxn ang="0">
                  <a:pos x="57" y="6"/>
                </a:cxn>
                <a:cxn ang="0">
                  <a:pos x="63" y="10"/>
                </a:cxn>
                <a:cxn ang="0">
                  <a:pos x="68" y="11"/>
                </a:cxn>
                <a:cxn ang="0">
                  <a:pos x="72" y="10"/>
                </a:cxn>
                <a:cxn ang="0">
                  <a:pos x="80" y="15"/>
                </a:cxn>
                <a:cxn ang="0">
                  <a:pos x="87" y="11"/>
                </a:cxn>
                <a:cxn ang="0">
                  <a:pos x="93" y="6"/>
                </a:cxn>
                <a:cxn ang="0">
                  <a:pos x="102" y="10"/>
                </a:cxn>
                <a:cxn ang="0">
                  <a:pos x="106" y="6"/>
                </a:cxn>
                <a:cxn ang="0">
                  <a:pos x="110" y="11"/>
                </a:cxn>
                <a:cxn ang="0">
                  <a:pos x="112" y="21"/>
                </a:cxn>
                <a:cxn ang="0">
                  <a:pos x="117" y="25"/>
                </a:cxn>
                <a:cxn ang="0">
                  <a:pos x="113" y="30"/>
                </a:cxn>
                <a:cxn ang="0">
                  <a:pos x="115" y="36"/>
                </a:cxn>
                <a:cxn ang="0">
                  <a:pos x="119" y="32"/>
                </a:cxn>
                <a:cxn ang="0">
                  <a:pos x="121" y="38"/>
                </a:cxn>
                <a:cxn ang="0">
                  <a:pos x="125" y="42"/>
                </a:cxn>
                <a:cxn ang="0">
                  <a:pos x="128" y="45"/>
                </a:cxn>
                <a:cxn ang="0">
                  <a:pos x="119" y="49"/>
                </a:cxn>
                <a:cxn ang="0">
                  <a:pos x="121" y="55"/>
                </a:cxn>
                <a:cxn ang="0">
                  <a:pos x="121" y="64"/>
                </a:cxn>
                <a:cxn ang="0">
                  <a:pos x="123" y="74"/>
                </a:cxn>
                <a:cxn ang="0">
                  <a:pos x="125" y="79"/>
                </a:cxn>
                <a:cxn ang="0">
                  <a:pos x="119" y="81"/>
                </a:cxn>
                <a:cxn ang="0">
                  <a:pos x="123" y="87"/>
                </a:cxn>
                <a:cxn ang="0">
                  <a:pos x="125" y="92"/>
                </a:cxn>
                <a:cxn ang="0">
                  <a:pos x="115" y="106"/>
                </a:cxn>
                <a:cxn ang="0">
                  <a:pos x="115" y="111"/>
                </a:cxn>
                <a:cxn ang="0">
                  <a:pos x="110" y="121"/>
                </a:cxn>
                <a:cxn ang="0">
                  <a:pos x="83" y="132"/>
                </a:cxn>
                <a:cxn ang="0">
                  <a:pos x="76" y="126"/>
                </a:cxn>
                <a:cxn ang="0">
                  <a:pos x="68" y="121"/>
                </a:cxn>
                <a:cxn ang="0">
                  <a:pos x="68" y="115"/>
                </a:cxn>
                <a:cxn ang="0">
                  <a:pos x="76" y="85"/>
                </a:cxn>
                <a:cxn ang="0">
                  <a:pos x="76" y="81"/>
                </a:cxn>
                <a:cxn ang="0">
                  <a:pos x="78" y="77"/>
                </a:cxn>
                <a:cxn ang="0">
                  <a:pos x="76" y="70"/>
                </a:cxn>
                <a:cxn ang="0">
                  <a:pos x="72" y="60"/>
                </a:cxn>
                <a:cxn ang="0">
                  <a:pos x="66" y="51"/>
                </a:cxn>
                <a:cxn ang="0">
                  <a:pos x="48" y="51"/>
                </a:cxn>
                <a:cxn ang="0">
                  <a:pos x="38" y="60"/>
                </a:cxn>
                <a:cxn ang="0">
                  <a:pos x="34" y="66"/>
                </a:cxn>
                <a:cxn ang="0">
                  <a:pos x="29" y="64"/>
                </a:cxn>
                <a:cxn ang="0">
                  <a:pos x="21" y="57"/>
                </a:cxn>
                <a:cxn ang="0">
                  <a:pos x="16" y="55"/>
                </a:cxn>
                <a:cxn ang="0">
                  <a:pos x="19" y="49"/>
                </a:cxn>
                <a:cxn ang="0">
                  <a:pos x="14" y="51"/>
                </a:cxn>
                <a:cxn ang="0">
                  <a:pos x="6" y="49"/>
                </a:cxn>
                <a:cxn ang="0">
                  <a:pos x="4" y="36"/>
                </a:cxn>
                <a:cxn ang="0">
                  <a:pos x="0" y="32"/>
                </a:cxn>
                <a:cxn ang="0">
                  <a:pos x="0" y="32"/>
                </a:cxn>
              </a:cxnLst>
              <a:rect l="0" t="0" r="r" b="b"/>
              <a:pathLst>
                <a:path w="128" h="132">
                  <a:moveTo>
                    <a:pt x="0" y="32"/>
                  </a:moveTo>
                  <a:lnTo>
                    <a:pt x="2" y="28"/>
                  </a:lnTo>
                  <a:lnTo>
                    <a:pt x="6" y="26"/>
                  </a:lnTo>
                  <a:lnTo>
                    <a:pt x="12" y="25"/>
                  </a:lnTo>
                  <a:lnTo>
                    <a:pt x="19" y="25"/>
                  </a:lnTo>
                  <a:lnTo>
                    <a:pt x="19" y="21"/>
                  </a:lnTo>
                  <a:lnTo>
                    <a:pt x="19" y="17"/>
                  </a:lnTo>
                  <a:lnTo>
                    <a:pt x="19" y="15"/>
                  </a:lnTo>
                  <a:lnTo>
                    <a:pt x="19" y="10"/>
                  </a:lnTo>
                  <a:lnTo>
                    <a:pt x="19" y="6"/>
                  </a:lnTo>
                  <a:lnTo>
                    <a:pt x="19" y="0"/>
                  </a:lnTo>
                  <a:lnTo>
                    <a:pt x="21" y="0"/>
                  </a:lnTo>
                  <a:lnTo>
                    <a:pt x="34" y="0"/>
                  </a:lnTo>
                  <a:lnTo>
                    <a:pt x="40" y="4"/>
                  </a:lnTo>
                  <a:lnTo>
                    <a:pt x="44" y="6"/>
                  </a:lnTo>
                  <a:lnTo>
                    <a:pt x="49" y="6"/>
                  </a:lnTo>
                  <a:lnTo>
                    <a:pt x="53" y="10"/>
                  </a:lnTo>
                  <a:lnTo>
                    <a:pt x="57" y="6"/>
                  </a:lnTo>
                  <a:lnTo>
                    <a:pt x="61" y="6"/>
                  </a:lnTo>
                  <a:lnTo>
                    <a:pt x="63" y="10"/>
                  </a:lnTo>
                  <a:lnTo>
                    <a:pt x="66" y="10"/>
                  </a:lnTo>
                  <a:lnTo>
                    <a:pt x="68" y="11"/>
                  </a:lnTo>
                  <a:lnTo>
                    <a:pt x="68" y="11"/>
                  </a:lnTo>
                  <a:lnTo>
                    <a:pt x="72" y="10"/>
                  </a:lnTo>
                  <a:lnTo>
                    <a:pt x="76" y="11"/>
                  </a:lnTo>
                  <a:lnTo>
                    <a:pt x="80" y="15"/>
                  </a:lnTo>
                  <a:lnTo>
                    <a:pt x="83" y="15"/>
                  </a:lnTo>
                  <a:lnTo>
                    <a:pt x="87" y="11"/>
                  </a:lnTo>
                  <a:lnTo>
                    <a:pt x="91" y="11"/>
                  </a:lnTo>
                  <a:lnTo>
                    <a:pt x="93" y="6"/>
                  </a:lnTo>
                  <a:lnTo>
                    <a:pt x="96" y="6"/>
                  </a:lnTo>
                  <a:lnTo>
                    <a:pt x="102" y="10"/>
                  </a:lnTo>
                  <a:lnTo>
                    <a:pt x="104" y="6"/>
                  </a:lnTo>
                  <a:lnTo>
                    <a:pt x="106" y="6"/>
                  </a:lnTo>
                  <a:lnTo>
                    <a:pt x="106" y="10"/>
                  </a:lnTo>
                  <a:lnTo>
                    <a:pt x="110" y="11"/>
                  </a:lnTo>
                  <a:lnTo>
                    <a:pt x="112" y="15"/>
                  </a:lnTo>
                  <a:lnTo>
                    <a:pt x="112" y="21"/>
                  </a:lnTo>
                  <a:lnTo>
                    <a:pt x="113" y="25"/>
                  </a:lnTo>
                  <a:lnTo>
                    <a:pt x="117" y="25"/>
                  </a:lnTo>
                  <a:lnTo>
                    <a:pt x="117" y="25"/>
                  </a:lnTo>
                  <a:lnTo>
                    <a:pt x="113" y="30"/>
                  </a:lnTo>
                  <a:lnTo>
                    <a:pt x="112" y="36"/>
                  </a:lnTo>
                  <a:lnTo>
                    <a:pt x="115" y="36"/>
                  </a:lnTo>
                  <a:lnTo>
                    <a:pt x="117" y="32"/>
                  </a:lnTo>
                  <a:lnTo>
                    <a:pt x="119" y="32"/>
                  </a:lnTo>
                  <a:lnTo>
                    <a:pt x="119" y="36"/>
                  </a:lnTo>
                  <a:lnTo>
                    <a:pt x="121" y="38"/>
                  </a:lnTo>
                  <a:lnTo>
                    <a:pt x="121" y="42"/>
                  </a:lnTo>
                  <a:lnTo>
                    <a:pt x="125" y="42"/>
                  </a:lnTo>
                  <a:lnTo>
                    <a:pt x="128" y="42"/>
                  </a:lnTo>
                  <a:lnTo>
                    <a:pt x="128" y="45"/>
                  </a:lnTo>
                  <a:lnTo>
                    <a:pt x="125" y="47"/>
                  </a:lnTo>
                  <a:lnTo>
                    <a:pt x="119" y="49"/>
                  </a:lnTo>
                  <a:lnTo>
                    <a:pt x="119" y="51"/>
                  </a:lnTo>
                  <a:lnTo>
                    <a:pt x="121" y="55"/>
                  </a:lnTo>
                  <a:lnTo>
                    <a:pt x="121" y="60"/>
                  </a:lnTo>
                  <a:lnTo>
                    <a:pt x="121" y="64"/>
                  </a:lnTo>
                  <a:lnTo>
                    <a:pt x="121" y="72"/>
                  </a:lnTo>
                  <a:lnTo>
                    <a:pt x="123" y="74"/>
                  </a:lnTo>
                  <a:lnTo>
                    <a:pt x="125" y="77"/>
                  </a:lnTo>
                  <a:lnTo>
                    <a:pt x="125" y="79"/>
                  </a:lnTo>
                  <a:lnTo>
                    <a:pt x="123" y="79"/>
                  </a:lnTo>
                  <a:lnTo>
                    <a:pt x="119" y="81"/>
                  </a:lnTo>
                  <a:lnTo>
                    <a:pt x="119" y="83"/>
                  </a:lnTo>
                  <a:lnTo>
                    <a:pt x="123" y="87"/>
                  </a:lnTo>
                  <a:lnTo>
                    <a:pt x="125" y="89"/>
                  </a:lnTo>
                  <a:lnTo>
                    <a:pt x="125" y="92"/>
                  </a:lnTo>
                  <a:lnTo>
                    <a:pt x="119" y="102"/>
                  </a:lnTo>
                  <a:lnTo>
                    <a:pt x="115" y="106"/>
                  </a:lnTo>
                  <a:lnTo>
                    <a:pt x="115" y="106"/>
                  </a:lnTo>
                  <a:lnTo>
                    <a:pt x="115" y="111"/>
                  </a:lnTo>
                  <a:lnTo>
                    <a:pt x="113" y="117"/>
                  </a:lnTo>
                  <a:lnTo>
                    <a:pt x="110" y="121"/>
                  </a:lnTo>
                  <a:lnTo>
                    <a:pt x="110" y="123"/>
                  </a:lnTo>
                  <a:lnTo>
                    <a:pt x="83" y="132"/>
                  </a:lnTo>
                  <a:lnTo>
                    <a:pt x="78" y="126"/>
                  </a:lnTo>
                  <a:lnTo>
                    <a:pt x="76" y="126"/>
                  </a:lnTo>
                  <a:lnTo>
                    <a:pt x="68" y="121"/>
                  </a:lnTo>
                  <a:lnTo>
                    <a:pt x="68" y="121"/>
                  </a:lnTo>
                  <a:lnTo>
                    <a:pt x="68" y="115"/>
                  </a:lnTo>
                  <a:lnTo>
                    <a:pt x="68" y="115"/>
                  </a:lnTo>
                  <a:lnTo>
                    <a:pt x="76" y="111"/>
                  </a:lnTo>
                  <a:lnTo>
                    <a:pt x="76" y="85"/>
                  </a:lnTo>
                  <a:lnTo>
                    <a:pt x="78" y="81"/>
                  </a:lnTo>
                  <a:lnTo>
                    <a:pt x="76" y="81"/>
                  </a:lnTo>
                  <a:lnTo>
                    <a:pt x="76" y="77"/>
                  </a:lnTo>
                  <a:lnTo>
                    <a:pt x="78" y="77"/>
                  </a:lnTo>
                  <a:lnTo>
                    <a:pt x="78" y="74"/>
                  </a:lnTo>
                  <a:lnTo>
                    <a:pt x="76" y="70"/>
                  </a:lnTo>
                  <a:lnTo>
                    <a:pt x="76" y="66"/>
                  </a:lnTo>
                  <a:lnTo>
                    <a:pt x="72" y="60"/>
                  </a:lnTo>
                  <a:lnTo>
                    <a:pt x="68" y="57"/>
                  </a:lnTo>
                  <a:lnTo>
                    <a:pt x="66" y="51"/>
                  </a:lnTo>
                  <a:lnTo>
                    <a:pt x="49" y="51"/>
                  </a:lnTo>
                  <a:lnTo>
                    <a:pt x="48" y="51"/>
                  </a:lnTo>
                  <a:lnTo>
                    <a:pt x="44" y="57"/>
                  </a:lnTo>
                  <a:lnTo>
                    <a:pt x="38" y="60"/>
                  </a:lnTo>
                  <a:lnTo>
                    <a:pt x="38" y="62"/>
                  </a:lnTo>
                  <a:lnTo>
                    <a:pt x="34" y="66"/>
                  </a:lnTo>
                  <a:lnTo>
                    <a:pt x="31" y="66"/>
                  </a:lnTo>
                  <a:lnTo>
                    <a:pt x="29" y="64"/>
                  </a:lnTo>
                  <a:lnTo>
                    <a:pt x="23" y="60"/>
                  </a:lnTo>
                  <a:lnTo>
                    <a:pt x="21" y="57"/>
                  </a:lnTo>
                  <a:lnTo>
                    <a:pt x="19" y="57"/>
                  </a:lnTo>
                  <a:lnTo>
                    <a:pt x="16" y="55"/>
                  </a:lnTo>
                  <a:lnTo>
                    <a:pt x="16" y="51"/>
                  </a:lnTo>
                  <a:lnTo>
                    <a:pt x="19" y="49"/>
                  </a:lnTo>
                  <a:lnTo>
                    <a:pt x="16" y="49"/>
                  </a:lnTo>
                  <a:lnTo>
                    <a:pt x="14" y="51"/>
                  </a:lnTo>
                  <a:lnTo>
                    <a:pt x="10" y="49"/>
                  </a:lnTo>
                  <a:lnTo>
                    <a:pt x="6" y="49"/>
                  </a:lnTo>
                  <a:lnTo>
                    <a:pt x="2" y="42"/>
                  </a:lnTo>
                  <a:lnTo>
                    <a:pt x="4" y="36"/>
                  </a:lnTo>
                  <a:lnTo>
                    <a:pt x="0" y="32"/>
                  </a:lnTo>
                  <a:lnTo>
                    <a:pt x="0" y="32"/>
                  </a:lnTo>
                  <a:lnTo>
                    <a:pt x="0" y="32"/>
                  </a:lnTo>
                  <a:lnTo>
                    <a:pt x="0" y="3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8" name="Freeform 119">
              <a:extLst>
                <a:ext uri="{FF2B5EF4-FFF2-40B4-BE49-F238E27FC236}">
                  <a16:creationId xmlns:a16="http://schemas.microsoft.com/office/drawing/2014/main" id="{6D673A0A-DCED-564C-A994-CCB7F798C805}"/>
                </a:ext>
              </a:extLst>
            </p:cNvPr>
            <p:cNvSpPr>
              <a:spLocks noEditPoints="1"/>
            </p:cNvSpPr>
            <p:nvPr/>
          </p:nvSpPr>
          <p:spPr bwMode="auto">
            <a:xfrm>
              <a:off x="5923036" y="2844044"/>
              <a:ext cx="45226" cy="49089"/>
            </a:xfrm>
            <a:custGeom>
              <a:avLst/>
              <a:gdLst/>
              <a:ahLst/>
              <a:cxnLst>
                <a:cxn ang="0">
                  <a:pos x="15" y="54"/>
                </a:cxn>
                <a:cxn ang="0">
                  <a:pos x="15" y="51"/>
                </a:cxn>
                <a:cxn ang="0">
                  <a:pos x="13" y="49"/>
                </a:cxn>
                <a:cxn ang="0">
                  <a:pos x="11" y="49"/>
                </a:cxn>
                <a:cxn ang="0">
                  <a:pos x="9" y="51"/>
                </a:cxn>
                <a:cxn ang="0">
                  <a:pos x="11" y="53"/>
                </a:cxn>
                <a:cxn ang="0">
                  <a:pos x="13" y="54"/>
                </a:cxn>
                <a:cxn ang="0">
                  <a:pos x="15" y="54"/>
                </a:cxn>
                <a:cxn ang="0">
                  <a:pos x="15" y="54"/>
                </a:cxn>
                <a:cxn ang="0">
                  <a:pos x="15" y="54"/>
                </a:cxn>
                <a:cxn ang="0">
                  <a:pos x="15" y="54"/>
                </a:cxn>
                <a:cxn ang="0">
                  <a:pos x="2" y="15"/>
                </a:cxn>
                <a:cxn ang="0">
                  <a:pos x="5" y="15"/>
                </a:cxn>
                <a:cxn ang="0">
                  <a:pos x="11" y="11"/>
                </a:cxn>
                <a:cxn ang="0">
                  <a:pos x="11" y="9"/>
                </a:cxn>
                <a:cxn ang="0">
                  <a:pos x="17" y="6"/>
                </a:cxn>
                <a:cxn ang="0">
                  <a:pos x="21" y="2"/>
                </a:cxn>
                <a:cxn ang="0">
                  <a:pos x="24" y="0"/>
                </a:cxn>
                <a:cxn ang="0">
                  <a:pos x="41" y="0"/>
                </a:cxn>
                <a:cxn ang="0">
                  <a:pos x="43" y="6"/>
                </a:cxn>
                <a:cxn ang="0">
                  <a:pos x="47" y="9"/>
                </a:cxn>
                <a:cxn ang="0">
                  <a:pos x="51" y="15"/>
                </a:cxn>
                <a:cxn ang="0">
                  <a:pos x="51" y="19"/>
                </a:cxn>
                <a:cxn ang="0">
                  <a:pos x="53" y="22"/>
                </a:cxn>
                <a:cxn ang="0">
                  <a:pos x="53" y="26"/>
                </a:cxn>
                <a:cxn ang="0">
                  <a:pos x="53" y="26"/>
                </a:cxn>
                <a:cxn ang="0">
                  <a:pos x="51" y="30"/>
                </a:cxn>
                <a:cxn ang="0">
                  <a:pos x="53" y="30"/>
                </a:cxn>
                <a:cxn ang="0">
                  <a:pos x="53" y="34"/>
                </a:cxn>
                <a:cxn ang="0">
                  <a:pos x="51" y="58"/>
                </a:cxn>
                <a:cxn ang="0">
                  <a:pos x="43" y="64"/>
                </a:cxn>
                <a:cxn ang="0">
                  <a:pos x="41" y="60"/>
                </a:cxn>
                <a:cxn ang="0">
                  <a:pos x="34" y="60"/>
                </a:cxn>
                <a:cxn ang="0">
                  <a:pos x="22" y="54"/>
                </a:cxn>
                <a:cxn ang="0">
                  <a:pos x="19" y="54"/>
                </a:cxn>
                <a:cxn ang="0">
                  <a:pos x="19" y="54"/>
                </a:cxn>
                <a:cxn ang="0">
                  <a:pos x="17" y="51"/>
                </a:cxn>
                <a:cxn ang="0">
                  <a:pos x="15" y="49"/>
                </a:cxn>
                <a:cxn ang="0">
                  <a:pos x="15" y="45"/>
                </a:cxn>
                <a:cxn ang="0">
                  <a:pos x="15" y="43"/>
                </a:cxn>
                <a:cxn ang="0">
                  <a:pos x="11" y="45"/>
                </a:cxn>
                <a:cxn ang="0">
                  <a:pos x="7" y="43"/>
                </a:cxn>
                <a:cxn ang="0">
                  <a:pos x="7" y="36"/>
                </a:cxn>
                <a:cxn ang="0">
                  <a:pos x="5" y="30"/>
                </a:cxn>
                <a:cxn ang="0">
                  <a:pos x="2" y="30"/>
                </a:cxn>
                <a:cxn ang="0">
                  <a:pos x="0" y="28"/>
                </a:cxn>
                <a:cxn ang="0">
                  <a:pos x="4" y="22"/>
                </a:cxn>
                <a:cxn ang="0">
                  <a:pos x="0" y="21"/>
                </a:cxn>
                <a:cxn ang="0">
                  <a:pos x="0" y="19"/>
                </a:cxn>
                <a:cxn ang="0">
                  <a:pos x="2" y="15"/>
                </a:cxn>
                <a:cxn ang="0">
                  <a:pos x="2" y="15"/>
                </a:cxn>
                <a:cxn ang="0">
                  <a:pos x="2" y="15"/>
                </a:cxn>
                <a:cxn ang="0">
                  <a:pos x="2" y="15"/>
                </a:cxn>
              </a:cxnLst>
              <a:rect l="0" t="0" r="r" b="b"/>
              <a:pathLst>
                <a:path w="53" h="64">
                  <a:moveTo>
                    <a:pt x="15" y="54"/>
                  </a:moveTo>
                  <a:lnTo>
                    <a:pt x="15" y="51"/>
                  </a:lnTo>
                  <a:lnTo>
                    <a:pt x="13" y="49"/>
                  </a:lnTo>
                  <a:lnTo>
                    <a:pt x="11" y="49"/>
                  </a:lnTo>
                  <a:lnTo>
                    <a:pt x="9" y="51"/>
                  </a:lnTo>
                  <a:lnTo>
                    <a:pt x="11" y="53"/>
                  </a:lnTo>
                  <a:lnTo>
                    <a:pt x="13" y="54"/>
                  </a:lnTo>
                  <a:lnTo>
                    <a:pt x="15" y="54"/>
                  </a:lnTo>
                  <a:lnTo>
                    <a:pt x="15" y="54"/>
                  </a:lnTo>
                  <a:lnTo>
                    <a:pt x="15" y="54"/>
                  </a:lnTo>
                  <a:lnTo>
                    <a:pt x="15" y="54"/>
                  </a:lnTo>
                  <a:close/>
                  <a:moveTo>
                    <a:pt x="2" y="15"/>
                  </a:moveTo>
                  <a:lnTo>
                    <a:pt x="5" y="15"/>
                  </a:lnTo>
                  <a:lnTo>
                    <a:pt x="11" y="11"/>
                  </a:lnTo>
                  <a:lnTo>
                    <a:pt x="11" y="9"/>
                  </a:lnTo>
                  <a:lnTo>
                    <a:pt x="17" y="6"/>
                  </a:lnTo>
                  <a:lnTo>
                    <a:pt x="21" y="2"/>
                  </a:lnTo>
                  <a:lnTo>
                    <a:pt x="24" y="0"/>
                  </a:lnTo>
                  <a:lnTo>
                    <a:pt x="41" y="0"/>
                  </a:lnTo>
                  <a:lnTo>
                    <a:pt x="43" y="6"/>
                  </a:lnTo>
                  <a:lnTo>
                    <a:pt x="47" y="9"/>
                  </a:lnTo>
                  <a:lnTo>
                    <a:pt x="51" y="15"/>
                  </a:lnTo>
                  <a:lnTo>
                    <a:pt x="51" y="19"/>
                  </a:lnTo>
                  <a:lnTo>
                    <a:pt x="53" y="22"/>
                  </a:lnTo>
                  <a:lnTo>
                    <a:pt x="53" y="26"/>
                  </a:lnTo>
                  <a:lnTo>
                    <a:pt x="53" y="26"/>
                  </a:lnTo>
                  <a:lnTo>
                    <a:pt x="51" y="30"/>
                  </a:lnTo>
                  <a:lnTo>
                    <a:pt x="53" y="30"/>
                  </a:lnTo>
                  <a:lnTo>
                    <a:pt x="53" y="34"/>
                  </a:lnTo>
                  <a:lnTo>
                    <a:pt x="51" y="58"/>
                  </a:lnTo>
                  <a:lnTo>
                    <a:pt x="43" y="64"/>
                  </a:lnTo>
                  <a:lnTo>
                    <a:pt x="41" y="60"/>
                  </a:lnTo>
                  <a:lnTo>
                    <a:pt x="34" y="60"/>
                  </a:lnTo>
                  <a:lnTo>
                    <a:pt x="22" y="54"/>
                  </a:lnTo>
                  <a:lnTo>
                    <a:pt x="19" y="54"/>
                  </a:lnTo>
                  <a:lnTo>
                    <a:pt x="19" y="54"/>
                  </a:lnTo>
                  <a:lnTo>
                    <a:pt x="17" y="51"/>
                  </a:lnTo>
                  <a:lnTo>
                    <a:pt x="15" y="49"/>
                  </a:lnTo>
                  <a:lnTo>
                    <a:pt x="15" y="45"/>
                  </a:lnTo>
                  <a:lnTo>
                    <a:pt x="15" y="43"/>
                  </a:lnTo>
                  <a:lnTo>
                    <a:pt x="11" y="45"/>
                  </a:lnTo>
                  <a:lnTo>
                    <a:pt x="7" y="43"/>
                  </a:lnTo>
                  <a:lnTo>
                    <a:pt x="7" y="36"/>
                  </a:lnTo>
                  <a:lnTo>
                    <a:pt x="5" y="30"/>
                  </a:lnTo>
                  <a:lnTo>
                    <a:pt x="2" y="30"/>
                  </a:lnTo>
                  <a:lnTo>
                    <a:pt x="0" y="28"/>
                  </a:lnTo>
                  <a:lnTo>
                    <a:pt x="4" y="22"/>
                  </a:lnTo>
                  <a:lnTo>
                    <a:pt x="0" y="21"/>
                  </a:lnTo>
                  <a:lnTo>
                    <a:pt x="0" y="19"/>
                  </a:lnTo>
                  <a:lnTo>
                    <a:pt x="2" y="15"/>
                  </a:lnTo>
                  <a:lnTo>
                    <a:pt x="2" y="15"/>
                  </a:lnTo>
                  <a:lnTo>
                    <a:pt x="2" y="15"/>
                  </a:lnTo>
                  <a:lnTo>
                    <a:pt x="2" y="1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9" name="Freeform 120">
              <a:extLst>
                <a:ext uri="{FF2B5EF4-FFF2-40B4-BE49-F238E27FC236}">
                  <a16:creationId xmlns:a16="http://schemas.microsoft.com/office/drawing/2014/main" id="{5EDBF344-41D7-BF43-BAA6-BCC0F1185AD7}"/>
                </a:ext>
              </a:extLst>
            </p:cNvPr>
            <p:cNvSpPr>
              <a:spLocks/>
            </p:cNvSpPr>
            <p:nvPr/>
          </p:nvSpPr>
          <p:spPr bwMode="auto">
            <a:xfrm>
              <a:off x="5995569" y="2835607"/>
              <a:ext cx="98987" cy="88973"/>
            </a:xfrm>
            <a:custGeom>
              <a:avLst/>
              <a:gdLst/>
              <a:ahLst/>
              <a:cxnLst>
                <a:cxn ang="0">
                  <a:pos x="20" y="111"/>
                </a:cxn>
                <a:cxn ang="0">
                  <a:pos x="20" y="105"/>
                </a:cxn>
                <a:cxn ang="0">
                  <a:pos x="20" y="99"/>
                </a:cxn>
                <a:cxn ang="0">
                  <a:pos x="20" y="94"/>
                </a:cxn>
                <a:cxn ang="0">
                  <a:pos x="24" y="88"/>
                </a:cxn>
                <a:cxn ang="0">
                  <a:pos x="18" y="88"/>
                </a:cxn>
                <a:cxn ang="0">
                  <a:pos x="15" y="82"/>
                </a:cxn>
                <a:cxn ang="0">
                  <a:pos x="9" y="81"/>
                </a:cxn>
                <a:cxn ang="0">
                  <a:pos x="3" y="81"/>
                </a:cxn>
                <a:cxn ang="0">
                  <a:pos x="0" y="77"/>
                </a:cxn>
                <a:cxn ang="0">
                  <a:pos x="5" y="67"/>
                </a:cxn>
                <a:cxn ang="0">
                  <a:pos x="5" y="62"/>
                </a:cxn>
                <a:cxn ang="0">
                  <a:pos x="15" y="49"/>
                </a:cxn>
                <a:cxn ang="0">
                  <a:pos x="13" y="45"/>
                </a:cxn>
                <a:cxn ang="0">
                  <a:pos x="9" y="39"/>
                </a:cxn>
                <a:cxn ang="0">
                  <a:pos x="15" y="37"/>
                </a:cxn>
                <a:cxn ang="0">
                  <a:pos x="13" y="33"/>
                </a:cxn>
                <a:cxn ang="0">
                  <a:pos x="11" y="24"/>
                </a:cxn>
                <a:cxn ang="0">
                  <a:pos x="11" y="15"/>
                </a:cxn>
                <a:cxn ang="0">
                  <a:pos x="9" y="9"/>
                </a:cxn>
                <a:cxn ang="0">
                  <a:pos x="24" y="1"/>
                </a:cxn>
                <a:cxn ang="0">
                  <a:pos x="30" y="5"/>
                </a:cxn>
                <a:cxn ang="0">
                  <a:pos x="39" y="3"/>
                </a:cxn>
                <a:cxn ang="0">
                  <a:pos x="47" y="0"/>
                </a:cxn>
                <a:cxn ang="0">
                  <a:pos x="50" y="3"/>
                </a:cxn>
                <a:cxn ang="0">
                  <a:pos x="58" y="7"/>
                </a:cxn>
                <a:cxn ang="0">
                  <a:pos x="64" y="0"/>
                </a:cxn>
                <a:cxn ang="0">
                  <a:pos x="75" y="7"/>
                </a:cxn>
                <a:cxn ang="0">
                  <a:pos x="80" y="9"/>
                </a:cxn>
                <a:cxn ang="0">
                  <a:pos x="88" y="11"/>
                </a:cxn>
                <a:cxn ang="0">
                  <a:pos x="96" y="15"/>
                </a:cxn>
                <a:cxn ang="0">
                  <a:pos x="103" y="11"/>
                </a:cxn>
                <a:cxn ang="0">
                  <a:pos x="109" y="15"/>
                </a:cxn>
                <a:cxn ang="0">
                  <a:pos x="112" y="17"/>
                </a:cxn>
                <a:cxn ang="0">
                  <a:pos x="112" y="26"/>
                </a:cxn>
                <a:cxn ang="0">
                  <a:pos x="116" y="33"/>
                </a:cxn>
                <a:cxn ang="0">
                  <a:pos x="116" y="39"/>
                </a:cxn>
                <a:cxn ang="0">
                  <a:pos x="111" y="45"/>
                </a:cxn>
                <a:cxn ang="0">
                  <a:pos x="105" y="58"/>
                </a:cxn>
                <a:cxn ang="0">
                  <a:pos x="103" y="64"/>
                </a:cxn>
                <a:cxn ang="0">
                  <a:pos x="103" y="75"/>
                </a:cxn>
                <a:cxn ang="0">
                  <a:pos x="101" y="79"/>
                </a:cxn>
                <a:cxn ang="0">
                  <a:pos x="105" y="88"/>
                </a:cxn>
                <a:cxn ang="0">
                  <a:pos x="111" y="92"/>
                </a:cxn>
                <a:cxn ang="0">
                  <a:pos x="112" y="101"/>
                </a:cxn>
                <a:cxn ang="0">
                  <a:pos x="105" y="101"/>
                </a:cxn>
                <a:cxn ang="0">
                  <a:pos x="101" y="98"/>
                </a:cxn>
                <a:cxn ang="0">
                  <a:pos x="99" y="103"/>
                </a:cxn>
                <a:cxn ang="0">
                  <a:pos x="80" y="103"/>
                </a:cxn>
                <a:cxn ang="0">
                  <a:pos x="48" y="103"/>
                </a:cxn>
                <a:cxn ang="0">
                  <a:pos x="35" y="111"/>
                </a:cxn>
                <a:cxn ang="0">
                  <a:pos x="30" y="111"/>
                </a:cxn>
                <a:cxn ang="0">
                  <a:pos x="20" y="116"/>
                </a:cxn>
                <a:cxn ang="0">
                  <a:pos x="20" y="116"/>
                </a:cxn>
              </a:cxnLst>
              <a:rect l="0" t="0" r="r" b="b"/>
              <a:pathLst>
                <a:path w="116" h="116">
                  <a:moveTo>
                    <a:pt x="20" y="116"/>
                  </a:moveTo>
                  <a:lnTo>
                    <a:pt x="20" y="111"/>
                  </a:lnTo>
                  <a:lnTo>
                    <a:pt x="20" y="111"/>
                  </a:lnTo>
                  <a:lnTo>
                    <a:pt x="20" y="105"/>
                  </a:lnTo>
                  <a:lnTo>
                    <a:pt x="20" y="103"/>
                  </a:lnTo>
                  <a:lnTo>
                    <a:pt x="20" y="99"/>
                  </a:lnTo>
                  <a:lnTo>
                    <a:pt x="20" y="96"/>
                  </a:lnTo>
                  <a:lnTo>
                    <a:pt x="20" y="94"/>
                  </a:lnTo>
                  <a:lnTo>
                    <a:pt x="24" y="92"/>
                  </a:lnTo>
                  <a:lnTo>
                    <a:pt x="24" y="88"/>
                  </a:lnTo>
                  <a:lnTo>
                    <a:pt x="20" y="88"/>
                  </a:lnTo>
                  <a:lnTo>
                    <a:pt x="18" y="88"/>
                  </a:lnTo>
                  <a:lnTo>
                    <a:pt x="16" y="84"/>
                  </a:lnTo>
                  <a:lnTo>
                    <a:pt x="15" y="82"/>
                  </a:lnTo>
                  <a:lnTo>
                    <a:pt x="11" y="82"/>
                  </a:lnTo>
                  <a:lnTo>
                    <a:pt x="9" y="81"/>
                  </a:lnTo>
                  <a:lnTo>
                    <a:pt x="5" y="81"/>
                  </a:lnTo>
                  <a:lnTo>
                    <a:pt x="3" y="81"/>
                  </a:lnTo>
                  <a:lnTo>
                    <a:pt x="1" y="81"/>
                  </a:lnTo>
                  <a:lnTo>
                    <a:pt x="0" y="77"/>
                  </a:lnTo>
                  <a:lnTo>
                    <a:pt x="3" y="73"/>
                  </a:lnTo>
                  <a:lnTo>
                    <a:pt x="5" y="67"/>
                  </a:lnTo>
                  <a:lnTo>
                    <a:pt x="5" y="64"/>
                  </a:lnTo>
                  <a:lnTo>
                    <a:pt x="5" y="62"/>
                  </a:lnTo>
                  <a:lnTo>
                    <a:pt x="9" y="60"/>
                  </a:lnTo>
                  <a:lnTo>
                    <a:pt x="15" y="49"/>
                  </a:lnTo>
                  <a:lnTo>
                    <a:pt x="15" y="45"/>
                  </a:lnTo>
                  <a:lnTo>
                    <a:pt x="13" y="45"/>
                  </a:lnTo>
                  <a:lnTo>
                    <a:pt x="9" y="41"/>
                  </a:lnTo>
                  <a:lnTo>
                    <a:pt x="9" y="39"/>
                  </a:lnTo>
                  <a:lnTo>
                    <a:pt x="13" y="37"/>
                  </a:lnTo>
                  <a:lnTo>
                    <a:pt x="15" y="37"/>
                  </a:lnTo>
                  <a:lnTo>
                    <a:pt x="16" y="35"/>
                  </a:lnTo>
                  <a:lnTo>
                    <a:pt x="13" y="33"/>
                  </a:lnTo>
                  <a:lnTo>
                    <a:pt x="11" y="30"/>
                  </a:lnTo>
                  <a:lnTo>
                    <a:pt x="11" y="24"/>
                  </a:lnTo>
                  <a:lnTo>
                    <a:pt x="11" y="20"/>
                  </a:lnTo>
                  <a:lnTo>
                    <a:pt x="11" y="15"/>
                  </a:lnTo>
                  <a:lnTo>
                    <a:pt x="9" y="11"/>
                  </a:lnTo>
                  <a:lnTo>
                    <a:pt x="9" y="9"/>
                  </a:lnTo>
                  <a:lnTo>
                    <a:pt x="16" y="7"/>
                  </a:lnTo>
                  <a:lnTo>
                    <a:pt x="24" y="1"/>
                  </a:lnTo>
                  <a:lnTo>
                    <a:pt x="24" y="1"/>
                  </a:lnTo>
                  <a:lnTo>
                    <a:pt x="30" y="5"/>
                  </a:lnTo>
                  <a:lnTo>
                    <a:pt x="37" y="5"/>
                  </a:lnTo>
                  <a:lnTo>
                    <a:pt x="39" y="3"/>
                  </a:lnTo>
                  <a:lnTo>
                    <a:pt x="39" y="1"/>
                  </a:lnTo>
                  <a:lnTo>
                    <a:pt x="47" y="0"/>
                  </a:lnTo>
                  <a:lnTo>
                    <a:pt x="50" y="1"/>
                  </a:lnTo>
                  <a:lnTo>
                    <a:pt x="50" y="3"/>
                  </a:lnTo>
                  <a:lnTo>
                    <a:pt x="50" y="5"/>
                  </a:lnTo>
                  <a:lnTo>
                    <a:pt x="58" y="7"/>
                  </a:lnTo>
                  <a:lnTo>
                    <a:pt x="60" y="1"/>
                  </a:lnTo>
                  <a:lnTo>
                    <a:pt x="64" y="0"/>
                  </a:lnTo>
                  <a:lnTo>
                    <a:pt x="69" y="3"/>
                  </a:lnTo>
                  <a:lnTo>
                    <a:pt x="75" y="7"/>
                  </a:lnTo>
                  <a:lnTo>
                    <a:pt x="79" y="7"/>
                  </a:lnTo>
                  <a:lnTo>
                    <a:pt x="80" y="9"/>
                  </a:lnTo>
                  <a:lnTo>
                    <a:pt x="84" y="9"/>
                  </a:lnTo>
                  <a:lnTo>
                    <a:pt x="88" y="11"/>
                  </a:lnTo>
                  <a:lnTo>
                    <a:pt x="90" y="15"/>
                  </a:lnTo>
                  <a:lnTo>
                    <a:pt x="96" y="15"/>
                  </a:lnTo>
                  <a:lnTo>
                    <a:pt x="99" y="15"/>
                  </a:lnTo>
                  <a:lnTo>
                    <a:pt x="103" y="11"/>
                  </a:lnTo>
                  <a:lnTo>
                    <a:pt x="105" y="15"/>
                  </a:lnTo>
                  <a:lnTo>
                    <a:pt x="109" y="15"/>
                  </a:lnTo>
                  <a:lnTo>
                    <a:pt x="112" y="15"/>
                  </a:lnTo>
                  <a:lnTo>
                    <a:pt x="112" y="17"/>
                  </a:lnTo>
                  <a:lnTo>
                    <a:pt x="111" y="22"/>
                  </a:lnTo>
                  <a:lnTo>
                    <a:pt x="112" y="26"/>
                  </a:lnTo>
                  <a:lnTo>
                    <a:pt x="112" y="30"/>
                  </a:lnTo>
                  <a:lnTo>
                    <a:pt x="116" y="33"/>
                  </a:lnTo>
                  <a:lnTo>
                    <a:pt x="116" y="35"/>
                  </a:lnTo>
                  <a:lnTo>
                    <a:pt x="116" y="39"/>
                  </a:lnTo>
                  <a:lnTo>
                    <a:pt x="116" y="45"/>
                  </a:lnTo>
                  <a:lnTo>
                    <a:pt x="111" y="45"/>
                  </a:lnTo>
                  <a:lnTo>
                    <a:pt x="105" y="54"/>
                  </a:lnTo>
                  <a:lnTo>
                    <a:pt x="105" y="58"/>
                  </a:lnTo>
                  <a:lnTo>
                    <a:pt x="103" y="62"/>
                  </a:lnTo>
                  <a:lnTo>
                    <a:pt x="103" y="64"/>
                  </a:lnTo>
                  <a:lnTo>
                    <a:pt x="101" y="67"/>
                  </a:lnTo>
                  <a:lnTo>
                    <a:pt x="103" y="75"/>
                  </a:lnTo>
                  <a:lnTo>
                    <a:pt x="101" y="77"/>
                  </a:lnTo>
                  <a:lnTo>
                    <a:pt x="101" y="79"/>
                  </a:lnTo>
                  <a:lnTo>
                    <a:pt x="103" y="81"/>
                  </a:lnTo>
                  <a:lnTo>
                    <a:pt x="105" y="88"/>
                  </a:lnTo>
                  <a:lnTo>
                    <a:pt x="109" y="92"/>
                  </a:lnTo>
                  <a:lnTo>
                    <a:pt x="111" y="92"/>
                  </a:lnTo>
                  <a:lnTo>
                    <a:pt x="112" y="96"/>
                  </a:lnTo>
                  <a:lnTo>
                    <a:pt x="112" y="101"/>
                  </a:lnTo>
                  <a:lnTo>
                    <a:pt x="109" y="101"/>
                  </a:lnTo>
                  <a:lnTo>
                    <a:pt x="105" y="101"/>
                  </a:lnTo>
                  <a:lnTo>
                    <a:pt x="105" y="103"/>
                  </a:lnTo>
                  <a:lnTo>
                    <a:pt x="101" y="98"/>
                  </a:lnTo>
                  <a:lnTo>
                    <a:pt x="99" y="99"/>
                  </a:lnTo>
                  <a:lnTo>
                    <a:pt x="99" y="103"/>
                  </a:lnTo>
                  <a:lnTo>
                    <a:pt x="90" y="99"/>
                  </a:lnTo>
                  <a:lnTo>
                    <a:pt x="80" y="103"/>
                  </a:lnTo>
                  <a:lnTo>
                    <a:pt x="56" y="103"/>
                  </a:lnTo>
                  <a:lnTo>
                    <a:pt x="48" y="103"/>
                  </a:lnTo>
                  <a:lnTo>
                    <a:pt x="48" y="105"/>
                  </a:lnTo>
                  <a:lnTo>
                    <a:pt x="35" y="111"/>
                  </a:lnTo>
                  <a:lnTo>
                    <a:pt x="33" y="111"/>
                  </a:lnTo>
                  <a:lnTo>
                    <a:pt x="30" y="111"/>
                  </a:lnTo>
                  <a:lnTo>
                    <a:pt x="24" y="116"/>
                  </a:lnTo>
                  <a:lnTo>
                    <a:pt x="20" y="116"/>
                  </a:lnTo>
                  <a:lnTo>
                    <a:pt x="20" y="116"/>
                  </a:lnTo>
                  <a:lnTo>
                    <a:pt x="20" y="11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0" name="Freeform 121">
              <a:extLst>
                <a:ext uri="{FF2B5EF4-FFF2-40B4-BE49-F238E27FC236}">
                  <a16:creationId xmlns:a16="http://schemas.microsoft.com/office/drawing/2014/main" id="{850B89C5-C7B2-1F44-904C-48AE5E803452}"/>
                </a:ext>
              </a:extLst>
            </p:cNvPr>
            <p:cNvSpPr>
              <a:spLocks/>
            </p:cNvSpPr>
            <p:nvPr/>
          </p:nvSpPr>
          <p:spPr bwMode="auto">
            <a:xfrm>
              <a:off x="6080050" y="2827936"/>
              <a:ext cx="67414" cy="92808"/>
            </a:xfrm>
            <a:custGeom>
              <a:avLst/>
              <a:gdLst/>
              <a:ahLst/>
              <a:cxnLst>
                <a:cxn ang="0">
                  <a:pos x="4" y="115"/>
                </a:cxn>
                <a:cxn ang="0">
                  <a:pos x="13" y="115"/>
                </a:cxn>
                <a:cxn ang="0">
                  <a:pos x="10" y="106"/>
                </a:cxn>
                <a:cxn ang="0">
                  <a:pos x="4" y="100"/>
                </a:cxn>
                <a:cxn ang="0">
                  <a:pos x="0" y="91"/>
                </a:cxn>
                <a:cxn ang="0">
                  <a:pos x="4" y="89"/>
                </a:cxn>
                <a:cxn ang="0">
                  <a:pos x="4" y="77"/>
                </a:cxn>
                <a:cxn ang="0">
                  <a:pos x="4" y="70"/>
                </a:cxn>
                <a:cxn ang="0">
                  <a:pos x="10" y="57"/>
                </a:cxn>
                <a:cxn ang="0">
                  <a:pos x="15" y="51"/>
                </a:cxn>
                <a:cxn ang="0">
                  <a:pos x="15" y="43"/>
                </a:cxn>
                <a:cxn ang="0">
                  <a:pos x="13" y="36"/>
                </a:cxn>
                <a:cxn ang="0">
                  <a:pos x="13" y="27"/>
                </a:cxn>
                <a:cxn ang="0">
                  <a:pos x="10" y="15"/>
                </a:cxn>
                <a:cxn ang="0">
                  <a:pos x="8" y="8"/>
                </a:cxn>
                <a:cxn ang="0">
                  <a:pos x="13" y="2"/>
                </a:cxn>
                <a:cxn ang="0">
                  <a:pos x="29" y="2"/>
                </a:cxn>
                <a:cxn ang="0">
                  <a:pos x="45" y="0"/>
                </a:cxn>
                <a:cxn ang="0">
                  <a:pos x="55" y="0"/>
                </a:cxn>
                <a:cxn ang="0">
                  <a:pos x="57" y="4"/>
                </a:cxn>
                <a:cxn ang="0">
                  <a:pos x="59" y="10"/>
                </a:cxn>
                <a:cxn ang="0">
                  <a:pos x="66" y="15"/>
                </a:cxn>
                <a:cxn ang="0">
                  <a:pos x="68" y="21"/>
                </a:cxn>
                <a:cxn ang="0">
                  <a:pos x="70" y="30"/>
                </a:cxn>
                <a:cxn ang="0">
                  <a:pos x="70" y="38"/>
                </a:cxn>
                <a:cxn ang="0">
                  <a:pos x="70" y="43"/>
                </a:cxn>
                <a:cxn ang="0">
                  <a:pos x="74" y="49"/>
                </a:cxn>
                <a:cxn ang="0">
                  <a:pos x="74" y="55"/>
                </a:cxn>
                <a:cxn ang="0">
                  <a:pos x="74" y="64"/>
                </a:cxn>
                <a:cxn ang="0">
                  <a:pos x="70" y="77"/>
                </a:cxn>
                <a:cxn ang="0">
                  <a:pos x="70" y="85"/>
                </a:cxn>
                <a:cxn ang="0">
                  <a:pos x="74" y="94"/>
                </a:cxn>
                <a:cxn ang="0">
                  <a:pos x="77" y="96"/>
                </a:cxn>
                <a:cxn ang="0">
                  <a:pos x="70" y="102"/>
                </a:cxn>
                <a:cxn ang="0">
                  <a:pos x="49" y="115"/>
                </a:cxn>
                <a:cxn ang="0">
                  <a:pos x="23" y="121"/>
                </a:cxn>
                <a:cxn ang="0">
                  <a:pos x="4" y="119"/>
                </a:cxn>
                <a:cxn ang="0">
                  <a:pos x="4" y="115"/>
                </a:cxn>
              </a:cxnLst>
              <a:rect l="0" t="0" r="r" b="b"/>
              <a:pathLst>
                <a:path w="79" h="121">
                  <a:moveTo>
                    <a:pt x="4" y="115"/>
                  </a:moveTo>
                  <a:lnTo>
                    <a:pt x="4" y="115"/>
                  </a:lnTo>
                  <a:lnTo>
                    <a:pt x="10" y="115"/>
                  </a:lnTo>
                  <a:lnTo>
                    <a:pt x="13" y="115"/>
                  </a:lnTo>
                  <a:lnTo>
                    <a:pt x="13" y="109"/>
                  </a:lnTo>
                  <a:lnTo>
                    <a:pt x="10" y="106"/>
                  </a:lnTo>
                  <a:lnTo>
                    <a:pt x="8" y="104"/>
                  </a:lnTo>
                  <a:lnTo>
                    <a:pt x="4" y="100"/>
                  </a:lnTo>
                  <a:lnTo>
                    <a:pt x="4" y="94"/>
                  </a:lnTo>
                  <a:lnTo>
                    <a:pt x="0" y="91"/>
                  </a:lnTo>
                  <a:lnTo>
                    <a:pt x="0" y="91"/>
                  </a:lnTo>
                  <a:lnTo>
                    <a:pt x="4" y="89"/>
                  </a:lnTo>
                  <a:lnTo>
                    <a:pt x="0" y="79"/>
                  </a:lnTo>
                  <a:lnTo>
                    <a:pt x="4" y="77"/>
                  </a:lnTo>
                  <a:lnTo>
                    <a:pt x="4" y="74"/>
                  </a:lnTo>
                  <a:lnTo>
                    <a:pt x="4" y="70"/>
                  </a:lnTo>
                  <a:lnTo>
                    <a:pt x="4" y="66"/>
                  </a:lnTo>
                  <a:lnTo>
                    <a:pt x="10" y="57"/>
                  </a:lnTo>
                  <a:lnTo>
                    <a:pt x="15" y="55"/>
                  </a:lnTo>
                  <a:lnTo>
                    <a:pt x="15" y="51"/>
                  </a:lnTo>
                  <a:lnTo>
                    <a:pt x="15" y="47"/>
                  </a:lnTo>
                  <a:lnTo>
                    <a:pt x="15" y="43"/>
                  </a:lnTo>
                  <a:lnTo>
                    <a:pt x="13" y="40"/>
                  </a:lnTo>
                  <a:lnTo>
                    <a:pt x="13" y="36"/>
                  </a:lnTo>
                  <a:lnTo>
                    <a:pt x="10" y="32"/>
                  </a:lnTo>
                  <a:lnTo>
                    <a:pt x="13" y="27"/>
                  </a:lnTo>
                  <a:lnTo>
                    <a:pt x="13" y="21"/>
                  </a:lnTo>
                  <a:lnTo>
                    <a:pt x="10" y="15"/>
                  </a:lnTo>
                  <a:lnTo>
                    <a:pt x="8" y="13"/>
                  </a:lnTo>
                  <a:lnTo>
                    <a:pt x="8" y="8"/>
                  </a:lnTo>
                  <a:lnTo>
                    <a:pt x="8" y="2"/>
                  </a:lnTo>
                  <a:lnTo>
                    <a:pt x="13" y="2"/>
                  </a:lnTo>
                  <a:lnTo>
                    <a:pt x="27" y="2"/>
                  </a:lnTo>
                  <a:lnTo>
                    <a:pt x="29" y="2"/>
                  </a:lnTo>
                  <a:lnTo>
                    <a:pt x="40" y="2"/>
                  </a:lnTo>
                  <a:lnTo>
                    <a:pt x="45" y="0"/>
                  </a:lnTo>
                  <a:lnTo>
                    <a:pt x="49" y="0"/>
                  </a:lnTo>
                  <a:lnTo>
                    <a:pt x="55" y="0"/>
                  </a:lnTo>
                  <a:lnTo>
                    <a:pt x="55" y="0"/>
                  </a:lnTo>
                  <a:lnTo>
                    <a:pt x="57" y="4"/>
                  </a:lnTo>
                  <a:lnTo>
                    <a:pt x="59" y="6"/>
                  </a:lnTo>
                  <a:lnTo>
                    <a:pt x="59" y="10"/>
                  </a:lnTo>
                  <a:lnTo>
                    <a:pt x="64" y="13"/>
                  </a:lnTo>
                  <a:lnTo>
                    <a:pt x="66" y="15"/>
                  </a:lnTo>
                  <a:lnTo>
                    <a:pt x="70" y="19"/>
                  </a:lnTo>
                  <a:lnTo>
                    <a:pt x="68" y="21"/>
                  </a:lnTo>
                  <a:lnTo>
                    <a:pt x="68" y="30"/>
                  </a:lnTo>
                  <a:lnTo>
                    <a:pt x="70" y="30"/>
                  </a:lnTo>
                  <a:lnTo>
                    <a:pt x="70" y="30"/>
                  </a:lnTo>
                  <a:lnTo>
                    <a:pt x="70" y="38"/>
                  </a:lnTo>
                  <a:lnTo>
                    <a:pt x="70" y="40"/>
                  </a:lnTo>
                  <a:lnTo>
                    <a:pt x="70" y="43"/>
                  </a:lnTo>
                  <a:lnTo>
                    <a:pt x="70" y="45"/>
                  </a:lnTo>
                  <a:lnTo>
                    <a:pt x="74" y="49"/>
                  </a:lnTo>
                  <a:lnTo>
                    <a:pt x="70" y="51"/>
                  </a:lnTo>
                  <a:lnTo>
                    <a:pt x="74" y="55"/>
                  </a:lnTo>
                  <a:lnTo>
                    <a:pt x="70" y="60"/>
                  </a:lnTo>
                  <a:lnTo>
                    <a:pt x="74" y="64"/>
                  </a:lnTo>
                  <a:lnTo>
                    <a:pt x="74" y="74"/>
                  </a:lnTo>
                  <a:lnTo>
                    <a:pt x="70" y="77"/>
                  </a:lnTo>
                  <a:lnTo>
                    <a:pt x="70" y="79"/>
                  </a:lnTo>
                  <a:lnTo>
                    <a:pt x="70" y="85"/>
                  </a:lnTo>
                  <a:lnTo>
                    <a:pt x="70" y="91"/>
                  </a:lnTo>
                  <a:lnTo>
                    <a:pt x="74" y="94"/>
                  </a:lnTo>
                  <a:lnTo>
                    <a:pt x="76" y="94"/>
                  </a:lnTo>
                  <a:lnTo>
                    <a:pt x="77" y="96"/>
                  </a:lnTo>
                  <a:lnTo>
                    <a:pt x="79" y="100"/>
                  </a:lnTo>
                  <a:lnTo>
                    <a:pt x="70" y="102"/>
                  </a:lnTo>
                  <a:lnTo>
                    <a:pt x="61" y="106"/>
                  </a:lnTo>
                  <a:lnTo>
                    <a:pt x="49" y="115"/>
                  </a:lnTo>
                  <a:lnTo>
                    <a:pt x="40" y="115"/>
                  </a:lnTo>
                  <a:lnTo>
                    <a:pt x="23" y="121"/>
                  </a:lnTo>
                  <a:lnTo>
                    <a:pt x="15" y="119"/>
                  </a:lnTo>
                  <a:lnTo>
                    <a:pt x="4" y="119"/>
                  </a:lnTo>
                  <a:lnTo>
                    <a:pt x="4" y="115"/>
                  </a:lnTo>
                  <a:lnTo>
                    <a:pt x="4" y="115"/>
                  </a:lnTo>
                  <a:lnTo>
                    <a:pt x="4" y="11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1" name="Freeform 122">
              <a:extLst>
                <a:ext uri="{FF2B5EF4-FFF2-40B4-BE49-F238E27FC236}">
                  <a16:creationId xmlns:a16="http://schemas.microsoft.com/office/drawing/2014/main" id="{22A6AB8E-BFBE-C746-B61D-C00D919E43C5}"/>
                </a:ext>
              </a:extLst>
            </p:cNvPr>
            <p:cNvSpPr>
              <a:spLocks/>
            </p:cNvSpPr>
            <p:nvPr/>
          </p:nvSpPr>
          <p:spPr bwMode="auto">
            <a:xfrm>
              <a:off x="6125276" y="2827937"/>
              <a:ext cx="32426" cy="76701"/>
            </a:xfrm>
            <a:custGeom>
              <a:avLst/>
              <a:gdLst/>
              <a:ahLst/>
              <a:cxnLst>
                <a:cxn ang="0">
                  <a:pos x="23" y="4"/>
                </a:cxn>
                <a:cxn ang="0">
                  <a:pos x="4" y="0"/>
                </a:cxn>
                <a:cxn ang="0">
                  <a:pos x="0" y="0"/>
                </a:cxn>
                <a:cxn ang="0">
                  <a:pos x="4" y="4"/>
                </a:cxn>
                <a:cxn ang="0">
                  <a:pos x="4" y="6"/>
                </a:cxn>
                <a:cxn ang="0">
                  <a:pos x="4" y="10"/>
                </a:cxn>
                <a:cxn ang="0">
                  <a:pos x="9" y="13"/>
                </a:cxn>
                <a:cxn ang="0">
                  <a:pos x="11" y="15"/>
                </a:cxn>
                <a:cxn ang="0">
                  <a:pos x="15" y="19"/>
                </a:cxn>
                <a:cxn ang="0">
                  <a:pos x="13" y="21"/>
                </a:cxn>
                <a:cxn ang="0">
                  <a:pos x="13" y="30"/>
                </a:cxn>
                <a:cxn ang="0">
                  <a:pos x="15" y="30"/>
                </a:cxn>
                <a:cxn ang="0">
                  <a:pos x="15" y="30"/>
                </a:cxn>
                <a:cxn ang="0">
                  <a:pos x="15" y="38"/>
                </a:cxn>
                <a:cxn ang="0">
                  <a:pos x="15" y="40"/>
                </a:cxn>
                <a:cxn ang="0">
                  <a:pos x="15" y="43"/>
                </a:cxn>
                <a:cxn ang="0">
                  <a:pos x="15" y="45"/>
                </a:cxn>
                <a:cxn ang="0">
                  <a:pos x="19" y="49"/>
                </a:cxn>
                <a:cxn ang="0">
                  <a:pos x="15" y="51"/>
                </a:cxn>
                <a:cxn ang="0">
                  <a:pos x="19" y="55"/>
                </a:cxn>
                <a:cxn ang="0">
                  <a:pos x="15" y="59"/>
                </a:cxn>
                <a:cxn ang="0">
                  <a:pos x="19" y="64"/>
                </a:cxn>
                <a:cxn ang="0">
                  <a:pos x="19" y="74"/>
                </a:cxn>
                <a:cxn ang="0">
                  <a:pos x="15" y="75"/>
                </a:cxn>
                <a:cxn ang="0">
                  <a:pos x="15" y="79"/>
                </a:cxn>
                <a:cxn ang="0">
                  <a:pos x="15" y="85"/>
                </a:cxn>
                <a:cxn ang="0">
                  <a:pos x="15" y="89"/>
                </a:cxn>
                <a:cxn ang="0">
                  <a:pos x="19" y="94"/>
                </a:cxn>
                <a:cxn ang="0">
                  <a:pos x="21" y="94"/>
                </a:cxn>
                <a:cxn ang="0">
                  <a:pos x="23" y="96"/>
                </a:cxn>
                <a:cxn ang="0">
                  <a:pos x="24" y="100"/>
                </a:cxn>
                <a:cxn ang="0">
                  <a:pos x="24" y="100"/>
                </a:cxn>
                <a:cxn ang="0">
                  <a:pos x="36" y="92"/>
                </a:cxn>
                <a:cxn ang="0">
                  <a:pos x="38" y="92"/>
                </a:cxn>
                <a:cxn ang="0">
                  <a:pos x="38" y="89"/>
                </a:cxn>
                <a:cxn ang="0">
                  <a:pos x="36" y="85"/>
                </a:cxn>
                <a:cxn ang="0">
                  <a:pos x="36" y="81"/>
                </a:cxn>
                <a:cxn ang="0">
                  <a:pos x="34" y="75"/>
                </a:cxn>
                <a:cxn ang="0">
                  <a:pos x="36" y="55"/>
                </a:cxn>
                <a:cxn ang="0">
                  <a:pos x="36" y="51"/>
                </a:cxn>
                <a:cxn ang="0">
                  <a:pos x="38" y="49"/>
                </a:cxn>
                <a:cxn ang="0">
                  <a:pos x="38" y="43"/>
                </a:cxn>
                <a:cxn ang="0">
                  <a:pos x="36" y="42"/>
                </a:cxn>
                <a:cxn ang="0">
                  <a:pos x="36" y="36"/>
                </a:cxn>
                <a:cxn ang="0">
                  <a:pos x="34" y="27"/>
                </a:cxn>
                <a:cxn ang="0">
                  <a:pos x="30" y="19"/>
                </a:cxn>
                <a:cxn ang="0">
                  <a:pos x="28" y="17"/>
                </a:cxn>
                <a:cxn ang="0">
                  <a:pos x="28" y="15"/>
                </a:cxn>
                <a:cxn ang="0">
                  <a:pos x="23" y="11"/>
                </a:cxn>
                <a:cxn ang="0">
                  <a:pos x="21" y="6"/>
                </a:cxn>
                <a:cxn ang="0">
                  <a:pos x="23" y="4"/>
                </a:cxn>
                <a:cxn ang="0">
                  <a:pos x="23" y="4"/>
                </a:cxn>
                <a:cxn ang="0">
                  <a:pos x="23" y="4"/>
                </a:cxn>
              </a:cxnLst>
              <a:rect l="0" t="0" r="r" b="b"/>
              <a:pathLst>
                <a:path w="38" h="100">
                  <a:moveTo>
                    <a:pt x="23" y="4"/>
                  </a:moveTo>
                  <a:lnTo>
                    <a:pt x="4" y="0"/>
                  </a:lnTo>
                  <a:lnTo>
                    <a:pt x="0" y="0"/>
                  </a:lnTo>
                  <a:lnTo>
                    <a:pt x="4" y="4"/>
                  </a:lnTo>
                  <a:lnTo>
                    <a:pt x="4" y="6"/>
                  </a:lnTo>
                  <a:lnTo>
                    <a:pt x="4" y="10"/>
                  </a:lnTo>
                  <a:lnTo>
                    <a:pt x="9" y="13"/>
                  </a:lnTo>
                  <a:lnTo>
                    <a:pt x="11" y="15"/>
                  </a:lnTo>
                  <a:lnTo>
                    <a:pt x="15" y="19"/>
                  </a:lnTo>
                  <a:lnTo>
                    <a:pt x="13" y="21"/>
                  </a:lnTo>
                  <a:lnTo>
                    <a:pt x="13" y="30"/>
                  </a:lnTo>
                  <a:lnTo>
                    <a:pt x="15" y="30"/>
                  </a:lnTo>
                  <a:lnTo>
                    <a:pt x="15" y="30"/>
                  </a:lnTo>
                  <a:lnTo>
                    <a:pt x="15" y="38"/>
                  </a:lnTo>
                  <a:lnTo>
                    <a:pt x="15" y="40"/>
                  </a:lnTo>
                  <a:lnTo>
                    <a:pt x="15" y="43"/>
                  </a:lnTo>
                  <a:lnTo>
                    <a:pt x="15" y="45"/>
                  </a:lnTo>
                  <a:lnTo>
                    <a:pt x="19" y="49"/>
                  </a:lnTo>
                  <a:lnTo>
                    <a:pt x="15" y="51"/>
                  </a:lnTo>
                  <a:lnTo>
                    <a:pt x="19" y="55"/>
                  </a:lnTo>
                  <a:lnTo>
                    <a:pt x="15" y="59"/>
                  </a:lnTo>
                  <a:lnTo>
                    <a:pt x="19" y="64"/>
                  </a:lnTo>
                  <a:lnTo>
                    <a:pt x="19" y="74"/>
                  </a:lnTo>
                  <a:lnTo>
                    <a:pt x="15" y="75"/>
                  </a:lnTo>
                  <a:lnTo>
                    <a:pt x="15" y="79"/>
                  </a:lnTo>
                  <a:lnTo>
                    <a:pt x="15" y="85"/>
                  </a:lnTo>
                  <a:lnTo>
                    <a:pt x="15" y="89"/>
                  </a:lnTo>
                  <a:lnTo>
                    <a:pt x="19" y="94"/>
                  </a:lnTo>
                  <a:lnTo>
                    <a:pt x="21" y="94"/>
                  </a:lnTo>
                  <a:lnTo>
                    <a:pt x="23" y="96"/>
                  </a:lnTo>
                  <a:lnTo>
                    <a:pt x="24" y="100"/>
                  </a:lnTo>
                  <a:lnTo>
                    <a:pt x="24" y="100"/>
                  </a:lnTo>
                  <a:lnTo>
                    <a:pt x="36" y="92"/>
                  </a:lnTo>
                  <a:lnTo>
                    <a:pt x="38" y="92"/>
                  </a:lnTo>
                  <a:lnTo>
                    <a:pt x="38" y="89"/>
                  </a:lnTo>
                  <a:lnTo>
                    <a:pt x="36" y="85"/>
                  </a:lnTo>
                  <a:lnTo>
                    <a:pt x="36" y="81"/>
                  </a:lnTo>
                  <a:lnTo>
                    <a:pt x="34" y="75"/>
                  </a:lnTo>
                  <a:lnTo>
                    <a:pt x="36" y="55"/>
                  </a:lnTo>
                  <a:lnTo>
                    <a:pt x="36" y="51"/>
                  </a:lnTo>
                  <a:lnTo>
                    <a:pt x="38" y="49"/>
                  </a:lnTo>
                  <a:lnTo>
                    <a:pt x="38" y="43"/>
                  </a:lnTo>
                  <a:lnTo>
                    <a:pt x="36" y="42"/>
                  </a:lnTo>
                  <a:lnTo>
                    <a:pt x="36" y="36"/>
                  </a:lnTo>
                  <a:lnTo>
                    <a:pt x="34" y="27"/>
                  </a:lnTo>
                  <a:lnTo>
                    <a:pt x="30" y="19"/>
                  </a:lnTo>
                  <a:lnTo>
                    <a:pt x="28" y="17"/>
                  </a:lnTo>
                  <a:lnTo>
                    <a:pt x="28" y="15"/>
                  </a:lnTo>
                  <a:lnTo>
                    <a:pt x="23" y="11"/>
                  </a:lnTo>
                  <a:lnTo>
                    <a:pt x="21" y="6"/>
                  </a:lnTo>
                  <a:lnTo>
                    <a:pt x="23" y="4"/>
                  </a:lnTo>
                  <a:lnTo>
                    <a:pt x="23" y="4"/>
                  </a:lnTo>
                  <a:lnTo>
                    <a:pt x="23" y="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2" name="Freeform 123">
              <a:extLst>
                <a:ext uri="{FF2B5EF4-FFF2-40B4-BE49-F238E27FC236}">
                  <a16:creationId xmlns:a16="http://schemas.microsoft.com/office/drawing/2014/main" id="{51DE562C-8437-3545-BBC7-5776C7AA8C46}"/>
                </a:ext>
              </a:extLst>
            </p:cNvPr>
            <p:cNvSpPr>
              <a:spLocks/>
            </p:cNvSpPr>
            <p:nvPr/>
          </p:nvSpPr>
          <p:spPr bwMode="auto">
            <a:xfrm>
              <a:off x="6144903" y="2807994"/>
              <a:ext cx="47787" cy="92041"/>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3" name="Freeform 124">
              <a:extLst>
                <a:ext uri="{FF2B5EF4-FFF2-40B4-BE49-F238E27FC236}">
                  <a16:creationId xmlns:a16="http://schemas.microsoft.com/office/drawing/2014/main" id="{891878EE-9FEA-504B-BFBA-7C22017A50C4}"/>
                </a:ext>
              </a:extLst>
            </p:cNvPr>
            <p:cNvSpPr>
              <a:spLocks/>
            </p:cNvSpPr>
            <p:nvPr/>
          </p:nvSpPr>
          <p:spPr bwMode="auto">
            <a:xfrm>
              <a:off x="6144903" y="2807994"/>
              <a:ext cx="47787" cy="92041"/>
            </a:xfrm>
            <a:custGeom>
              <a:avLst/>
              <a:gdLst/>
              <a:ahLst/>
              <a:cxnLst>
                <a:cxn ang="0">
                  <a:pos x="28" y="9"/>
                </a:cxn>
                <a:cxn ang="0">
                  <a:pos x="20" y="15"/>
                </a:cxn>
                <a:cxn ang="0">
                  <a:pos x="11" y="17"/>
                </a:cxn>
                <a:cxn ang="0">
                  <a:pos x="7" y="22"/>
                </a:cxn>
                <a:cxn ang="0">
                  <a:pos x="7" y="28"/>
                </a:cxn>
                <a:cxn ang="0">
                  <a:pos x="0" y="32"/>
                </a:cxn>
                <a:cxn ang="0">
                  <a:pos x="7" y="41"/>
                </a:cxn>
                <a:cxn ang="0">
                  <a:pos x="9" y="45"/>
                </a:cxn>
                <a:cxn ang="0">
                  <a:pos x="15" y="62"/>
                </a:cxn>
                <a:cxn ang="0">
                  <a:pos x="17" y="69"/>
                </a:cxn>
                <a:cxn ang="0">
                  <a:pos x="15" y="77"/>
                </a:cxn>
                <a:cxn ang="0">
                  <a:pos x="13" y="101"/>
                </a:cxn>
                <a:cxn ang="0">
                  <a:pos x="15" y="111"/>
                </a:cxn>
                <a:cxn ang="0">
                  <a:pos x="17" y="118"/>
                </a:cxn>
                <a:cxn ang="0">
                  <a:pos x="35" y="115"/>
                </a:cxn>
                <a:cxn ang="0">
                  <a:pos x="35" y="111"/>
                </a:cxn>
                <a:cxn ang="0">
                  <a:pos x="35" y="100"/>
                </a:cxn>
                <a:cxn ang="0">
                  <a:pos x="35" y="90"/>
                </a:cxn>
                <a:cxn ang="0">
                  <a:pos x="35" y="86"/>
                </a:cxn>
                <a:cxn ang="0">
                  <a:pos x="35" y="83"/>
                </a:cxn>
                <a:cxn ang="0">
                  <a:pos x="35" y="77"/>
                </a:cxn>
                <a:cxn ang="0">
                  <a:pos x="35" y="71"/>
                </a:cxn>
                <a:cxn ang="0">
                  <a:pos x="37" y="66"/>
                </a:cxn>
                <a:cxn ang="0">
                  <a:pos x="41" y="64"/>
                </a:cxn>
                <a:cxn ang="0">
                  <a:pos x="45" y="58"/>
                </a:cxn>
                <a:cxn ang="0">
                  <a:pos x="49" y="53"/>
                </a:cxn>
                <a:cxn ang="0">
                  <a:pos x="52" y="51"/>
                </a:cxn>
                <a:cxn ang="0">
                  <a:pos x="52" y="43"/>
                </a:cxn>
                <a:cxn ang="0">
                  <a:pos x="52" y="39"/>
                </a:cxn>
                <a:cxn ang="0">
                  <a:pos x="56" y="37"/>
                </a:cxn>
                <a:cxn ang="0">
                  <a:pos x="56" y="28"/>
                </a:cxn>
                <a:cxn ang="0">
                  <a:pos x="50" y="20"/>
                </a:cxn>
                <a:cxn ang="0">
                  <a:pos x="52" y="15"/>
                </a:cxn>
                <a:cxn ang="0">
                  <a:pos x="43" y="9"/>
                </a:cxn>
                <a:cxn ang="0">
                  <a:pos x="33" y="0"/>
                </a:cxn>
                <a:cxn ang="0">
                  <a:pos x="32" y="4"/>
                </a:cxn>
                <a:cxn ang="0">
                  <a:pos x="28" y="7"/>
                </a:cxn>
                <a:cxn ang="0">
                  <a:pos x="28" y="7"/>
                </a:cxn>
              </a:cxnLst>
              <a:rect l="0" t="0" r="r" b="b"/>
              <a:pathLst>
                <a:path w="56" h="120">
                  <a:moveTo>
                    <a:pt x="28" y="7"/>
                  </a:moveTo>
                  <a:lnTo>
                    <a:pt x="28" y="9"/>
                  </a:lnTo>
                  <a:lnTo>
                    <a:pt x="24" y="15"/>
                  </a:lnTo>
                  <a:lnTo>
                    <a:pt x="20" y="15"/>
                  </a:lnTo>
                  <a:lnTo>
                    <a:pt x="13" y="17"/>
                  </a:lnTo>
                  <a:lnTo>
                    <a:pt x="11" y="17"/>
                  </a:lnTo>
                  <a:lnTo>
                    <a:pt x="7" y="19"/>
                  </a:lnTo>
                  <a:lnTo>
                    <a:pt x="7" y="22"/>
                  </a:lnTo>
                  <a:lnTo>
                    <a:pt x="7" y="24"/>
                  </a:lnTo>
                  <a:lnTo>
                    <a:pt x="7" y="28"/>
                  </a:lnTo>
                  <a:lnTo>
                    <a:pt x="1" y="28"/>
                  </a:lnTo>
                  <a:lnTo>
                    <a:pt x="0" y="32"/>
                  </a:lnTo>
                  <a:lnTo>
                    <a:pt x="1" y="37"/>
                  </a:lnTo>
                  <a:lnTo>
                    <a:pt x="7" y="41"/>
                  </a:lnTo>
                  <a:lnTo>
                    <a:pt x="7" y="43"/>
                  </a:lnTo>
                  <a:lnTo>
                    <a:pt x="9" y="45"/>
                  </a:lnTo>
                  <a:lnTo>
                    <a:pt x="13" y="53"/>
                  </a:lnTo>
                  <a:lnTo>
                    <a:pt x="15" y="62"/>
                  </a:lnTo>
                  <a:lnTo>
                    <a:pt x="15" y="68"/>
                  </a:lnTo>
                  <a:lnTo>
                    <a:pt x="17" y="69"/>
                  </a:lnTo>
                  <a:lnTo>
                    <a:pt x="17" y="75"/>
                  </a:lnTo>
                  <a:lnTo>
                    <a:pt x="15" y="77"/>
                  </a:lnTo>
                  <a:lnTo>
                    <a:pt x="15" y="81"/>
                  </a:lnTo>
                  <a:lnTo>
                    <a:pt x="13" y="101"/>
                  </a:lnTo>
                  <a:lnTo>
                    <a:pt x="15" y="107"/>
                  </a:lnTo>
                  <a:lnTo>
                    <a:pt x="15" y="111"/>
                  </a:lnTo>
                  <a:lnTo>
                    <a:pt x="17" y="115"/>
                  </a:lnTo>
                  <a:lnTo>
                    <a:pt x="17" y="118"/>
                  </a:lnTo>
                  <a:lnTo>
                    <a:pt x="24" y="120"/>
                  </a:lnTo>
                  <a:lnTo>
                    <a:pt x="35" y="115"/>
                  </a:lnTo>
                  <a:lnTo>
                    <a:pt x="35" y="115"/>
                  </a:lnTo>
                  <a:lnTo>
                    <a:pt x="35" y="111"/>
                  </a:lnTo>
                  <a:lnTo>
                    <a:pt x="37" y="103"/>
                  </a:lnTo>
                  <a:lnTo>
                    <a:pt x="35" y="100"/>
                  </a:lnTo>
                  <a:lnTo>
                    <a:pt x="35" y="98"/>
                  </a:lnTo>
                  <a:lnTo>
                    <a:pt x="35" y="90"/>
                  </a:lnTo>
                  <a:lnTo>
                    <a:pt x="35" y="86"/>
                  </a:lnTo>
                  <a:lnTo>
                    <a:pt x="35" y="86"/>
                  </a:lnTo>
                  <a:lnTo>
                    <a:pt x="35" y="83"/>
                  </a:lnTo>
                  <a:lnTo>
                    <a:pt x="35" y="83"/>
                  </a:lnTo>
                  <a:lnTo>
                    <a:pt x="35" y="77"/>
                  </a:lnTo>
                  <a:lnTo>
                    <a:pt x="35" y="77"/>
                  </a:lnTo>
                  <a:lnTo>
                    <a:pt x="35" y="73"/>
                  </a:lnTo>
                  <a:lnTo>
                    <a:pt x="35" y="71"/>
                  </a:lnTo>
                  <a:lnTo>
                    <a:pt x="35" y="68"/>
                  </a:lnTo>
                  <a:lnTo>
                    <a:pt x="37" y="66"/>
                  </a:lnTo>
                  <a:lnTo>
                    <a:pt x="39" y="64"/>
                  </a:lnTo>
                  <a:lnTo>
                    <a:pt x="41" y="64"/>
                  </a:lnTo>
                  <a:lnTo>
                    <a:pt x="43" y="62"/>
                  </a:lnTo>
                  <a:lnTo>
                    <a:pt x="45" y="58"/>
                  </a:lnTo>
                  <a:lnTo>
                    <a:pt x="49" y="56"/>
                  </a:lnTo>
                  <a:lnTo>
                    <a:pt x="49" y="53"/>
                  </a:lnTo>
                  <a:lnTo>
                    <a:pt x="52" y="51"/>
                  </a:lnTo>
                  <a:lnTo>
                    <a:pt x="52" y="51"/>
                  </a:lnTo>
                  <a:lnTo>
                    <a:pt x="56" y="49"/>
                  </a:lnTo>
                  <a:lnTo>
                    <a:pt x="52" y="43"/>
                  </a:lnTo>
                  <a:lnTo>
                    <a:pt x="52" y="43"/>
                  </a:lnTo>
                  <a:lnTo>
                    <a:pt x="52" y="39"/>
                  </a:lnTo>
                  <a:lnTo>
                    <a:pt x="56" y="39"/>
                  </a:lnTo>
                  <a:lnTo>
                    <a:pt x="56" y="37"/>
                  </a:lnTo>
                  <a:lnTo>
                    <a:pt x="56" y="32"/>
                  </a:lnTo>
                  <a:lnTo>
                    <a:pt x="56" y="28"/>
                  </a:lnTo>
                  <a:lnTo>
                    <a:pt x="50" y="22"/>
                  </a:lnTo>
                  <a:lnTo>
                    <a:pt x="50" y="20"/>
                  </a:lnTo>
                  <a:lnTo>
                    <a:pt x="50" y="15"/>
                  </a:lnTo>
                  <a:lnTo>
                    <a:pt x="52" y="15"/>
                  </a:lnTo>
                  <a:lnTo>
                    <a:pt x="47" y="9"/>
                  </a:lnTo>
                  <a:lnTo>
                    <a:pt x="43" y="9"/>
                  </a:lnTo>
                  <a:lnTo>
                    <a:pt x="39" y="4"/>
                  </a:lnTo>
                  <a:lnTo>
                    <a:pt x="33" y="0"/>
                  </a:lnTo>
                  <a:lnTo>
                    <a:pt x="32" y="4"/>
                  </a:lnTo>
                  <a:lnTo>
                    <a:pt x="32" y="4"/>
                  </a:lnTo>
                  <a:lnTo>
                    <a:pt x="28" y="7"/>
                  </a:lnTo>
                  <a:lnTo>
                    <a:pt x="28" y="7"/>
                  </a:lnTo>
                  <a:lnTo>
                    <a:pt x="28" y="7"/>
                  </a:lnTo>
                  <a:lnTo>
                    <a:pt x="28"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4" name="Freeform 125">
              <a:extLst>
                <a:ext uri="{FF2B5EF4-FFF2-40B4-BE49-F238E27FC236}">
                  <a16:creationId xmlns:a16="http://schemas.microsoft.com/office/drawing/2014/main" id="{1CBC8E35-82D8-2F48-A971-6EF3C8E4CF75}"/>
                </a:ext>
              </a:extLst>
            </p:cNvPr>
            <p:cNvSpPr>
              <a:spLocks noEditPoints="1"/>
            </p:cNvSpPr>
            <p:nvPr/>
          </p:nvSpPr>
          <p:spPr bwMode="auto">
            <a:xfrm>
              <a:off x="6319837" y="2644621"/>
              <a:ext cx="184321" cy="240075"/>
            </a:xfrm>
            <a:custGeom>
              <a:avLst/>
              <a:gdLst/>
              <a:ahLst/>
              <a:cxnLst>
                <a:cxn ang="0">
                  <a:pos x="212" y="77"/>
                </a:cxn>
                <a:cxn ang="0">
                  <a:pos x="209" y="154"/>
                </a:cxn>
                <a:cxn ang="0">
                  <a:pos x="197" y="154"/>
                </a:cxn>
                <a:cxn ang="0">
                  <a:pos x="197" y="166"/>
                </a:cxn>
                <a:cxn ang="0">
                  <a:pos x="186" y="179"/>
                </a:cxn>
                <a:cxn ang="0">
                  <a:pos x="186" y="188"/>
                </a:cxn>
                <a:cxn ang="0">
                  <a:pos x="184" y="194"/>
                </a:cxn>
                <a:cxn ang="0">
                  <a:pos x="179" y="207"/>
                </a:cxn>
                <a:cxn ang="0">
                  <a:pos x="184" y="211"/>
                </a:cxn>
                <a:cxn ang="0">
                  <a:pos x="184" y="215"/>
                </a:cxn>
                <a:cxn ang="0">
                  <a:pos x="188" y="220"/>
                </a:cxn>
                <a:cxn ang="0">
                  <a:pos x="196" y="232"/>
                </a:cxn>
                <a:cxn ang="0">
                  <a:pos x="196" y="241"/>
                </a:cxn>
                <a:cxn ang="0">
                  <a:pos x="186" y="243"/>
                </a:cxn>
                <a:cxn ang="0">
                  <a:pos x="175" y="249"/>
                </a:cxn>
                <a:cxn ang="0">
                  <a:pos x="173" y="254"/>
                </a:cxn>
                <a:cxn ang="0">
                  <a:pos x="165" y="258"/>
                </a:cxn>
                <a:cxn ang="0">
                  <a:pos x="160" y="266"/>
                </a:cxn>
                <a:cxn ang="0">
                  <a:pos x="160" y="275"/>
                </a:cxn>
                <a:cxn ang="0">
                  <a:pos x="147" y="281"/>
                </a:cxn>
                <a:cxn ang="0">
                  <a:pos x="133" y="281"/>
                </a:cxn>
                <a:cxn ang="0">
                  <a:pos x="124" y="281"/>
                </a:cxn>
                <a:cxn ang="0">
                  <a:pos x="128" y="288"/>
                </a:cxn>
                <a:cxn ang="0">
                  <a:pos x="122" y="296"/>
                </a:cxn>
                <a:cxn ang="0">
                  <a:pos x="100" y="301"/>
                </a:cxn>
                <a:cxn ang="0">
                  <a:pos x="88" y="309"/>
                </a:cxn>
                <a:cxn ang="0">
                  <a:pos x="83" y="301"/>
                </a:cxn>
                <a:cxn ang="0">
                  <a:pos x="77" y="311"/>
                </a:cxn>
                <a:cxn ang="0">
                  <a:pos x="66" y="313"/>
                </a:cxn>
                <a:cxn ang="0">
                  <a:pos x="64" y="303"/>
                </a:cxn>
                <a:cxn ang="0">
                  <a:pos x="54" y="290"/>
                </a:cxn>
                <a:cxn ang="0">
                  <a:pos x="39" y="275"/>
                </a:cxn>
                <a:cxn ang="0">
                  <a:pos x="36" y="271"/>
                </a:cxn>
                <a:cxn ang="0">
                  <a:pos x="36" y="262"/>
                </a:cxn>
                <a:cxn ang="0">
                  <a:pos x="43" y="262"/>
                </a:cxn>
                <a:cxn ang="0">
                  <a:pos x="52" y="262"/>
                </a:cxn>
                <a:cxn ang="0">
                  <a:pos x="60" y="264"/>
                </a:cxn>
                <a:cxn ang="0">
                  <a:pos x="58" y="258"/>
                </a:cxn>
                <a:cxn ang="0">
                  <a:pos x="49" y="249"/>
                </a:cxn>
                <a:cxn ang="0">
                  <a:pos x="52" y="237"/>
                </a:cxn>
                <a:cxn ang="0">
                  <a:pos x="52" y="232"/>
                </a:cxn>
                <a:cxn ang="0">
                  <a:pos x="49" y="218"/>
                </a:cxn>
                <a:cxn ang="0">
                  <a:pos x="41" y="209"/>
                </a:cxn>
                <a:cxn ang="0">
                  <a:pos x="30" y="200"/>
                </a:cxn>
                <a:cxn ang="0">
                  <a:pos x="22" y="169"/>
                </a:cxn>
                <a:cxn ang="0">
                  <a:pos x="26" y="166"/>
                </a:cxn>
                <a:cxn ang="0">
                  <a:pos x="58" y="105"/>
                </a:cxn>
                <a:cxn ang="0">
                  <a:pos x="64" y="60"/>
                </a:cxn>
                <a:cxn ang="0">
                  <a:pos x="54" y="38"/>
                </a:cxn>
                <a:cxn ang="0">
                  <a:pos x="43" y="9"/>
                </a:cxn>
                <a:cxn ang="0">
                  <a:pos x="5" y="201"/>
                </a:cxn>
                <a:cxn ang="0">
                  <a:pos x="0" y="203"/>
                </a:cxn>
                <a:cxn ang="0">
                  <a:pos x="5" y="201"/>
                </a:cxn>
              </a:cxnLst>
              <a:rect l="0" t="0" r="r" b="b"/>
              <a:pathLst>
                <a:path w="216" h="313">
                  <a:moveTo>
                    <a:pt x="43" y="9"/>
                  </a:moveTo>
                  <a:lnTo>
                    <a:pt x="64" y="0"/>
                  </a:lnTo>
                  <a:lnTo>
                    <a:pt x="212" y="77"/>
                  </a:lnTo>
                  <a:lnTo>
                    <a:pt x="216" y="151"/>
                  </a:lnTo>
                  <a:lnTo>
                    <a:pt x="212" y="151"/>
                  </a:lnTo>
                  <a:lnTo>
                    <a:pt x="209" y="154"/>
                  </a:lnTo>
                  <a:lnTo>
                    <a:pt x="207" y="151"/>
                  </a:lnTo>
                  <a:lnTo>
                    <a:pt x="201" y="151"/>
                  </a:lnTo>
                  <a:lnTo>
                    <a:pt x="197" y="154"/>
                  </a:lnTo>
                  <a:lnTo>
                    <a:pt x="197" y="160"/>
                  </a:lnTo>
                  <a:lnTo>
                    <a:pt x="199" y="164"/>
                  </a:lnTo>
                  <a:lnTo>
                    <a:pt x="197" y="166"/>
                  </a:lnTo>
                  <a:lnTo>
                    <a:pt x="192" y="175"/>
                  </a:lnTo>
                  <a:lnTo>
                    <a:pt x="188" y="175"/>
                  </a:lnTo>
                  <a:lnTo>
                    <a:pt x="186" y="179"/>
                  </a:lnTo>
                  <a:lnTo>
                    <a:pt x="186" y="181"/>
                  </a:lnTo>
                  <a:lnTo>
                    <a:pt x="188" y="181"/>
                  </a:lnTo>
                  <a:lnTo>
                    <a:pt x="186" y="188"/>
                  </a:lnTo>
                  <a:lnTo>
                    <a:pt x="182" y="188"/>
                  </a:lnTo>
                  <a:lnTo>
                    <a:pt x="182" y="190"/>
                  </a:lnTo>
                  <a:lnTo>
                    <a:pt x="184" y="194"/>
                  </a:lnTo>
                  <a:lnTo>
                    <a:pt x="184" y="196"/>
                  </a:lnTo>
                  <a:lnTo>
                    <a:pt x="182" y="200"/>
                  </a:lnTo>
                  <a:lnTo>
                    <a:pt x="179" y="207"/>
                  </a:lnTo>
                  <a:lnTo>
                    <a:pt x="179" y="211"/>
                  </a:lnTo>
                  <a:lnTo>
                    <a:pt x="179" y="213"/>
                  </a:lnTo>
                  <a:lnTo>
                    <a:pt x="184" y="211"/>
                  </a:lnTo>
                  <a:lnTo>
                    <a:pt x="186" y="211"/>
                  </a:lnTo>
                  <a:lnTo>
                    <a:pt x="186" y="213"/>
                  </a:lnTo>
                  <a:lnTo>
                    <a:pt x="184" y="215"/>
                  </a:lnTo>
                  <a:lnTo>
                    <a:pt x="186" y="215"/>
                  </a:lnTo>
                  <a:lnTo>
                    <a:pt x="186" y="218"/>
                  </a:lnTo>
                  <a:lnTo>
                    <a:pt x="188" y="220"/>
                  </a:lnTo>
                  <a:lnTo>
                    <a:pt x="188" y="226"/>
                  </a:lnTo>
                  <a:lnTo>
                    <a:pt x="188" y="230"/>
                  </a:lnTo>
                  <a:lnTo>
                    <a:pt x="196" y="232"/>
                  </a:lnTo>
                  <a:lnTo>
                    <a:pt x="197" y="235"/>
                  </a:lnTo>
                  <a:lnTo>
                    <a:pt x="196" y="237"/>
                  </a:lnTo>
                  <a:lnTo>
                    <a:pt x="196" y="241"/>
                  </a:lnTo>
                  <a:lnTo>
                    <a:pt x="194" y="243"/>
                  </a:lnTo>
                  <a:lnTo>
                    <a:pt x="192" y="245"/>
                  </a:lnTo>
                  <a:lnTo>
                    <a:pt x="186" y="243"/>
                  </a:lnTo>
                  <a:lnTo>
                    <a:pt x="182" y="243"/>
                  </a:lnTo>
                  <a:lnTo>
                    <a:pt x="179" y="245"/>
                  </a:lnTo>
                  <a:lnTo>
                    <a:pt x="175" y="249"/>
                  </a:lnTo>
                  <a:lnTo>
                    <a:pt x="175" y="250"/>
                  </a:lnTo>
                  <a:lnTo>
                    <a:pt x="175" y="254"/>
                  </a:lnTo>
                  <a:lnTo>
                    <a:pt x="173" y="254"/>
                  </a:lnTo>
                  <a:lnTo>
                    <a:pt x="169" y="260"/>
                  </a:lnTo>
                  <a:lnTo>
                    <a:pt x="167" y="260"/>
                  </a:lnTo>
                  <a:lnTo>
                    <a:pt x="165" y="258"/>
                  </a:lnTo>
                  <a:lnTo>
                    <a:pt x="164" y="262"/>
                  </a:lnTo>
                  <a:lnTo>
                    <a:pt x="164" y="264"/>
                  </a:lnTo>
                  <a:lnTo>
                    <a:pt x="160" y="266"/>
                  </a:lnTo>
                  <a:lnTo>
                    <a:pt x="160" y="269"/>
                  </a:lnTo>
                  <a:lnTo>
                    <a:pt x="160" y="273"/>
                  </a:lnTo>
                  <a:lnTo>
                    <a:pt x="160" y="275"/>
                  </a:lnTo>
                  <a:lnTo>
                    <a:pt x="158" y="275"/>
                  </a:lnTo>
                  <a:lnTo>
                    <a:pt x="152" y="281"/>
                  </a:lnTo>
                  <a:lnTo>
                    <a:pt x="147" y="281"/>
                  </a:lnTo>
                  <a:lnTo>
                    <a:pt x="141" y="282"/>
                  </a:lnTo>
                  <a:lnTo>
                    <a:pt x="135" y="281"/>
                  </a:lnTo>
                  <a:lnTo>
                    <a:pt x="133" y="281"/>
                  </a:lnTo>
                  <a:lnTo>
                    <a:pt x="128" y="281"/>
                  </a:lnTo>
                  <a:lnTo>
                    <a:pt x="128" y="279"/>
                  </a:lnTo>
                  <a:lnTo>
                    <a:pt x="124" y="281"/>
                  </a:lnTo>
                  <a:lnTo>
                    <a:pt x="124" y="284"/>
                  </a:lnTo>
                  <a:lnTo>
                    <a:pt x="128" y="288"/>
                  </a:lnTo>
                  <a:lnTo>
                    <a:pt x="128" y="288"/>
                  </a:lnTo>
                  <a:lnTo>
                    <a:pt x="128" y="290"/>
                  </a:lnTo>
                  <a:lnTo>
                    <a:pt x="124" y="294"/>
                  </a:lnTo>
                  <a:lnTo>
                    <a:pt x="122" y="296"/>
                  </a:lnTo>
                  <a:lnTo>
                    <a:pt x="115" y="296"/>
                  </a:lnTo>
                  <a:lnTo>
                    <a:pt x="105" y="299"/>
                  </a:lnTo>
                  <a:lnTo>
                    <a:pt x="100" y="301"/>
                  </a:lnTo>
                  <a:lnTo>
                    <a:pt x="94" y="305"/>
                  </a:lnTo>
                  <a:lnTo>
                    <a:pt x="90" y="309"/>
                  </a:lnTo>
                  <a:lnTo>
                    <a:pt x="88" y="309"/>
                  </a:lnTo>
                  <a:lnTo>
                    <a:pt x="84" y="307"/>
                  </a:lnTo>
                  <a:lnTo>
                    <a:pt x="84" y="303"/>
                  </a:lnTo>
                  <a:lnTo>
                    <a:pt x="83" y="301"/>
                  </a:lnTo>
                  <a:lnTo>
                    <a:pt x="81" y="303"/>
                  </a:lnTo>
                  <a:lnTo>
                    <a:pt x="81" y="307"/>
                  </a:lnTo>
                  <a:lnTo>
                    <a:pt x="77" y="311"/>
                  </a:lnTo>
                  <a:lnTo>
                    <a:pt x="73" y="311"/>
                  </a:lnTo>
                  <a:lnTo>
                    <a:pt x="69" y="313"/>
                  </a:lnTo>
                  <a:lnTo>
                    <a:pt x="66" y="313"/>
                  </a:lnTo>
                  <a:lnTo>
                    <a:pt x="66" y="309"/>
                  </a:lnTo>
                  <a:lnTo>
                    <a:pt x="64" y="305"/>
                  </a:lnTo>
                  <a:lnTo>
                    <a:pt x="64" y="303"/>
                  </a:lnTo>
                  <a:lnTo>
                    <a:pt x="60" y="298"/>
                  </a:lnTo>
                  <a:lnTo>
                    <a:pt x="58" y="292"/>
                  </a:lnTo>
                  <a:lnTo>
                    <a:pt x="54" y="290"/>
                  </a:lnTo>
                  <a:lnTo>
                    <a:pt x="49" y="284"/>
                  </a:lnTo>
                  <a:lnTo>
                    <a:pt x="41" y="275"/>
                  </a:lnTo>
                  <a:lnTo>
                    <a:pt x="39" y="275"/>
                  </a:lnTo>
                  <a:lnTo>
                    <a:pt x="39" y="275"/>
                  </a:lnTo>
                  <a:lnTo>
                    <a:pt x="36" y="273"/>
                  </a:lnTo>
                  <a:lnTo>
                    <a:pt x="36" y="271"/>
                  </a:lnTo>
                  <a:lnTo>
                    <a:pt x="36" y="267"/>
                  </a:lnTo>
                  <a:lnTo>
                    <a:pt x="36" y="266"/>
                  </a:lnTo>
                  <a:lnTo>
                    <a:pt x="36" y="262"/>
                  </a:lnTo>
                  <a:lnTo>
                    <a:pt x="39" y="262"/>
                  </a:lnTo>
                  <a:lnTo>
                    <a:pt x="41" y="262"/>
                  </a:lnTo>
                  <a:lnTo>
                    <a:pt x="43" y="262"/>
                  </a:lnTo>
                  <a:lnTo>
                    <a:pt x="47" y="262"/>
                  </a:lnTo>
                  <a:lnTo>
                    <a:pt x="51" y="262"/>
                  </a:lnTo>
                  <a:lnTo>
                    <a:pt x="52" y="262"/>
                  </a:lnTo>
                  <a:lnTo>
                    <a:pt x="56" y="262"/>
                  </a:lnTo>
                  <a:lnTo>
                    <a:pt x="60" y="264"/>
                  </a:lnTo>
                  <a:lnTo>
                    <a:pt x="60" y="264"/>
                  </a:lnTo>
                  <a:lnTo>
                    <a:pt x="64" y="262"/>
                  </a:lnTo>
                  <a:lnTo>
                    <a:pt x="60" y="262"/>
                  </a:lnTo>
                  <a:lnTo>
                    <a:pt x="58" y="258"/>
                  </a:lnTo>
                  <a:lnTo>
                    <a:pt x="56" y="254"/>
                  </a:lnTo>
                  <a:lnTo>
                    <a:pt x="52" y="254"/>
                  </a:lnTo>
                  <a:lnTo>
                    <a:pt x="49" y="249"/>
                  </a:lnTo>
                  <a:lnTo>
                    <a:pt x="49" y="245"/>
                  </a:lnTo>
                  <a:lnTo>
                    <a:pt x="52" y="243"/>
                  </a:lnTo>
                  <a:lnTo>
                    <a:pt x="52" y="237"/>
                  </a:lnTo>
                  <a:lnTo>
                    <a:pt x="51" y="235"/>
                  </a:lnTo>
                  <a:lnTo>
                    <a:pt x="51" y="233"/>
                  </a:lnTo>
                  <a:lnTo>
                    <a:pt x="52" y="232"/>
                  </a:lnTo>
                  <a:lnTo>
                    <a:pt x="52" y="228"/>
                  </a:lnTo>
                  <a:lnTo>
                    <a:pt x="51" y="224"/>
                  </a:lnTo>
                  <a:lnTo>
                    <a:pt x="49" y="218"/>
                  </a:lnTo>
                  <a:lnTo>
                    <a:pt x="47" y="218"/>
                  </a:lnTo>
                  <a:lnTo>
                    <a:pt x="47" y="213"/>
                  </a:lnTo>
                  <a:lnTo>
                    <a:pt x="41" y="209"/>
                  </a:lnTo>
                  <a:lnTo>
                    <a:pt x="34" y="205"/>
                  </a:lnTo>
                  <a:lnTo>
                    <a:pt x="34" y="203"/>
                  </a:lnTo>
                  <a:lnTo>
                    <a:pt x="30" y="200"/>
                  </a:lnTo>
                  <a:lnTo>
                    <a:pt x="26" y="194"/>
                  </a:lnTo>
                  <a:lnTo>
                    <a:pt x="22" y="194"/>
                  </a:lnTo>
                  <a:lnTo>
                    <a:pt x="22" y="169"/>
                  </a:lnTo>
                  <a:lnTo>
                    <a:pt x="22" y="166"/>
                  </a:lnTo>
                  <a:lnTo>
                    <a:pt x="24" y="166"/>
                  </a:lnTo>
                  <a:lnTo>
                    <a:pt x="26" y="166"/>
                  </a:lnTo>
                  <a:lnTo>
                    <a:pt x="28" y="164"/>
                  </a:lnTo>
                  <a:lnTo>
                    <a:pt x="58" y="132"/>
                  </a:lnTo>
                  <a:lnTo>
                    <a:pt x="58" y="105"/>
                  </a:lnTo>
                  <a:lnTo>
                    <a:pt x="64" y="70"/>
                  </a:lnTo>
                  <a:lnTo>
                    <a:pt x="64" y="66"/>
                  </a:lnTo>
                  <a:lnTo>
                    <a:pt x="64" y="60"/>
                  </a:lnTo>
                  <a:lnTo>
                    <a:pt x="52" y="45"/>
                  </a:lnTo>
                  <a:lnTo>
                    <a:pt x="54" y="43"/>
                  </a:lnTo>
                  <a:lnTo>
                    <a:pt x="54" y="38"/>
                  </a:lnTo>
                  <a:lnTo>
                    <a:pt x="45" y="13"/>
                  </a:lnTo>
                  <a:lnTo>
                    <a:pt x="43" y="9"/>
                  </a:lnTo>
                  <a:lnTo>
                    <a:pt x="43" y="9"/>
                  </a:lnTo>
                  <a:lnTo>
                    <a:pt x="43" y="9"/>
                  </a:lnTo>
                  <a:lnTo>
                    <a:pt x="43" y="9"/>
                  </a:lnTo>
                  <a:close/>
                  <a:moveTo>
                    <a:pt x="5" y="201"/>
                  </a:moveTo>
                  <a:lnTo>
                    <a:pt x="2" y="205"/>
                  </a:lnTo>
                  <a:lnTo>
                    <a:pt x="2" y="205"/>
                  </a:lnTo>
                  <a:lnTo>
                    <a:pt x="0" y="203"/>
                  </a:lnTo>
                  <a:lnTo>
                    <a:pt x="5" y="201"/>
                  </a:lnTo>
                  <a:lnTo>
                    <a:pt x="5" y="201"/>
                  </a:lnTo>
                  <a:lnTo>
                    <a:pt x="5" y="20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5" name="Freeform 126">
              <a:extLst>
                <a:ext uri="{FF2B5EF4-FFF2-40B4-BE49-F238E27FC236}">
                  <a16:creationId xmlns:a16="http://schemas.microsoft.com/office/drawing/2014/main" id="{630517B2-5439-E04A-8BA7-5AA51C89060D}"/>
                </a:ext>
              </a:extLst>
            </p:cNvPr>
            <p:cNvSpPr>
              <a:spLocks/>
            </p:cNvSpPr>
            <p:nvPr/>
          </p:nvSpPr>
          <p:spPr bwMode="auto">
            <a:xfrm>
              <a:off x="6134664" y="2649222"/>
              <a:ext cx="238081" cy="165674"/>
            </a:xfrm>
            <a:custGeom>
              <a:avLst/>
              <a:gdLst/>
              <a:ahLst/>
              <a:cxnLst>
                <a:cxn ang="0">
                  <a:pos x="59" y="211"/>
                </a:cxn>
                <a:cxn ang="0">
                  <a:pos x="51" y="207"/>
                </a:cxn>
                <a:cxn ang="0">
                  <a:pos x="45" y="205"/>
                </a:cxn>
                <a:cxn ang="0">
                  <a:pos x="42" y="209"/>
                </a:cxn>
                <a:cxn ang="0">
                  <a:pos x="34" y="203"/>
                </a:cxn>
                <a:cxn ang="0">
                  <a:pos x="36" y="199"/>
                </a:cxn>
                <a:cxn ang="0">
                  <a:pos x="34" y="192"/>
                </a:cxn>
                <a:cxn ang="0">
                  <a:pos x="25" y="195"/>
                </a:cxn>
                <a:cxn ang="0">
                  <a:pos x="17" y="184"/>
                </a:cxn>
                <a:cxn ang="0">
                  <a:pos x="0" y="167"/>
                </a:cxn>
                <a:cxn ang="0">
                  <a:pos x="2" y="160"/>
                </a:cxn>
                <a:cxn ang="0">
                  <a:pos x="8" y="158"/>
                </a:cxn>
                <a:cxn ang="0">
                  <a:pos x="27" y="156"/>
                </a:cxn>
                <a:cxn ang="0">
                  <a:pos x="40" y="154"/>
                </a:cxn>
                <a:cxn ang="0">
                  <a:pos x="47" y="150"/>
                </a:cxn>
                <a:cxn ang="0">
                  <a:pos x="59" y="146"/>
                </a:cxn>
                <a:cxn ang="0">
                  <a:pos x="68" y="137"/>
                </a:cxn>
                <a:cxn ang="0">
                  <a:pos x="72" y="130"/>
                </a:cxn>
                <a:cxn ang="0">
                  <a:pos x="76" y="79"/>
                </a:cxn>
                <a:cxn ang="0">
                  <a:pos x="125" y="50"/>
                </a:cxn>
                <a:cxn ang="0">
                  <a:pos x="239" y="5"/>
                </a:cxn>
                <a:cxn ang="0">
                  <a:pos x="258" y="3"/>
                </a:cxn>
                <a:cxn ang="0">
                  <a:pos x="269" y="30"/>
                </a:cxn>
                <a:cxn ang="0">
                  <a:pos x="268" y="39"/>
                </a:cxn>
                <a:cxn ang="0">
                  <a:pos x="279" y="60"/>
                </a:cxn>
                <a:cxn ang="0">
                  <a:pos x="273" y="98"/>
                </a:cxn>
                <a:cxn ang="0">
                  <a:pos x="243" y="156"/>
                </a:cxn>
                <a:cxn ang="0">
                  <a:pos x="239" y="158"/>
                </a:cxn>
                <a:cxn ang="0">
                  <a:pos x="237" y="162"/>
                </a:cxn>
                <a:cxn ang="0">
                  <a:pos x="236" y="182"/>
                </a:cxn>
                <a:cxn ang="0">
                  <a:pos x="232" y="186"/>
                </a:cxn>
                <a:cxn ang="0">
                  <a:pos x="226" y="186"/>
                </a:cxn>
                <a:cxn ang="0">
                  <a:pos x="224" y="190"/>
                </a:cxn>
                <a:cxn ang="0">
                  <a:pos x="221" y="192"/>
                </a:cxn>
                <a:cxn ang="0">
                  <a:pos x="213" y="192"/>
                </a:cxn>
                <a:cxn ang="0">
                  <a:pos x="202" y="190"/>
                </a:cxn>
                <a:cxn ang="0">
                  <a:pos x="189" y="190"/>
                </a:cxn>
                <a:cxn ang="0">
                  <a:pos x="177" y="192"/>
                </a:cxn>
                <a:cxn ang="0">
                  <a:pos x="166" y="201"/>
                </a:cxn>
                <a:cxn ang="0">
                  <a:pos x="157" y="199"/>
                </a:cxn>
                <a:cxn ang="0">
                  <a:pos x="147" y="195"/>
                </a:cxn>
                <a:cxn ang="0">
                  <a:pos x="143" y="190"/>
                </a:cxn>
                <a:cxn ang="0">
                  <a:pos x="136" y="190"/>
                </a:cxn>
                <a:cxn ang="0">
                  <a:pos x="132" y="190"/>
                </a:cxn>
                <a:cxn ang="0">
                  <a:pos x="125" y="192"/>
                </a:cxn>
                <a:cxn ang="0">
                  <a:pos x="121" y="195"/>
                </a:cxn>
                <a:cxn ang="0">
                  <a:pos x="113" y="186"/>
                </a:cxn>
                <a:cxn ang="0">
                  <a:pos x="108" y="182"/>
                </a:cxn>
                <a:cxn ang="0">
                  <a:pos x="100" y="180"/>
                </a:cxn>
                <a:cxn ang="0">
                  <a:pos x="94" y="180"/>
                </a:cxn>
                <a:cxn ang="0">
                  <a:pos x="89" y="180"/>
                </a:cxn>
                <a:cxn ang="0">
                  <a:pos x="83" y="180"/>
                </a:cxn>
                <a:cxn ang="0">
                  <a:pos x="76" y="182"/>
                </a:cxn>
                <a:cxn ang="0">
                  <a:pos x="74" y="184"/>
                </a:cxn>
                <a:cxn ang="0">
                  <a:pos x="68" y="190"/>
                </a:cxn>
                <a:cxn ang="0">
                  <a:pos x="68" y="190"/>
                </a:cxn>
                <a:cxn ang="0">
                  <a:pos x="68" y="195"/>
                </a:cxn>
                <a:cxn ang="0">
                  <a:pos x="70" y="199"/>
                </a:cxn>
                <a:cxn ang="0">
                  <a:pos x="64" y="205"/>
                </a:cxn>
                <a:cxn ang="0">
                  <a:pos x="64" y="209"/>
                </a:cxn>
                <a:cxn ang="0">
                  <a:pos x="66" y="214"/>
                </a:cxn>
                <a:cxn ang="0">
                  <a:pos x="64" y="216"/>
                </a:cxn>
                <a:cxn ang="0">
                  <a:pos x="64" y="216"/>
                </a:cxn>
              </a:cxnLst>
              <a:rect l="0" t="0" r="r" b="b"/>
              <a:pathLst>
                <a:path w="279" h="216">
                  <a:moveTo>
                    <a:pt x="64" y="216"/>
                  </a:moveTo>
                  <a:lnTo>
                    <a:pt x="59" y="211"/>
                  </a:lnTo>
                  <a:lnTo>
                    <a:pt x="55" y="211"/>
                  </a:lnTo>
                  <a:lnTo>
                    <a:pt x="51" y="207"/>
                  </a:lnTo>
                  <a:lnTo>
                    <a:pt x="47" y="201"/>
                  </a:lnTo>
                  <a:lnTo>
                    <a:pt x="45" y="205"/>
                  </a:lnTo>
                  <a:lnTo>
                    <a:pt x="45" y="207"/>
                  </a:lnTo>
                  <a:lnTo>
                    <a:pt x="42" y="209"/>
                  </a:lnTo>
                  <a:lnTo>
                    <a:pt x="40" y="209"/>
                  </a:lnTo>
                  <a:lnTo>
                    <a:pt x="34" y="203"/>
                  </a:lnTo>
                  <a:lnTo>
                    <a:pt x="36" y="201"/>
                  </a:lnTo>
                  <a:lnTo>
                    <a:pt x="36" y="199"/>
                  </a:lnTo>
                  <a:lnTo>
                    <a:pt x="34" y="195"/>
                  </a:lnTo>
                  <a:lnTo>
                    <a:pt x="34" y="192"/>
                  </a:lnTo>
                  <a:lnTo>
                    <a:pt x="32" y="192"/>
                  </a:lnTo>
                  <a:lnTo>
                    <a:pt x="25" y="195"/>
                  </a:lnTo>
                  <a:lnTo>
                    <a:pt x="19" y="190"/>
                  </a:lnTo>
                  <a:lnTo>
                    <a:pt x="17" y="184"/>
                  </a:lnTo>
                  <a:lnTo>
                    <a:pt x="0" y="173"/>
                  </a:lnTo>
                  <a:lnTo>
                    <a:pt x="0" y="167"/>
                  </a:lnTo>
                  <a:lnTo>
                    <a:pt x="2" y="162"/>
                  </a:lnTo>
                  <a:lnTo>
                    <a:pt x="2" y="160"/>
                  </a:lnTo>
                  <a:lnTo>
                    <a:pt x="6" y="156"/>
                  </a:lnTo>
                  <a:lnTo>
                    <a:pt x="8" y="158"/>
                  </a:lnTo>
                  <a:lnTo>
                    <a:pt x="21" y="156"/>
                  </a:lnTo>
                  <a:lnTo>
                    <a:pt x="27" y="156"/>
                  </a:lnTo>
                  <a:lnTo>
                    <a:pt x="30" y="154"/>
                  </a:lnTo>
                  <a:lnTo>
                    <a:pt x="40" y="154"/>
                  </a:lnTo>
                  <a:lnTo>
                    <a:pt x="42" y="154"/>
                  </a:lnTo>
                  <a:lnTo>
                    <a:pt x="47" y="150"/>
                  </a:lnTo>
                  <a:lnTo>
                    <a:pt x="51" y="150"/>
                  </a:lnTo>
                  <a:lnTo>
                    <a:pt x="59" y="146"/>
                  </a:lnTo>
                  <a:lnTo>
                    <a:pt x="68" y="141"/>
                  </a:lnTo>
                  <a:lnTo>
                    <a:pt x="68" y="137"/>
                  </a:lnTo>
                  <a:lnTo>
                    <a:pt x="70" y="131"/>
                  </a:lnTo>
                  <a:lnTo>
                    <a:pt x="72" y="130"/>
                  </a:lnTo>
                  <a:lnTo>
                    <a:pt x="74" y="113"/>
                  </a:lnTo>
                  <a:lnTo>
                    <a:pt x="76" y="79"/>
                  </a:lnTo>
                  <a:lnTo>
                    <a:pt x="104" y="71"/>
                  </a:lnTo>
                  <a:lnTo>
                    <a:pt x="125" y="50"/>
                  </a:lnTo>
                  <a:lnTo>
                    <a:pt x="207" y="0"/>
                  </a:lnTo>
                  <a:lnTo>
                    <a:pt x="239" y="5"/>
                  </a:lnTo>
                  <a:lnTo>
                    <a:pt x="243" y="11"/>
                  </a:lnTo>
                  <a:lnTo>
                    <a:pt x="258" y="3"/>
                  </a:lnTo>
                  <a:lnTo>
                    <a:pt x="260" y="5"/>
                  </a:lnTo>
                  <a:lnTo>
                    <a:pt x="269" y="30"/>
                  </a:lnTo>
                  <a:lnTo>
                    <a:pt x="269" y="37"/>
                  </a:lnTo>
                  <a:lnTo>
                    <a:pt x="268" y="39"/>
                  </a:lnTo>
                  <a:lnTo>
                    <a:pt x="279" y="54"/>
                  </a:lnTo>
                  <a:lnTo>
                    <a:pt x="279" y="60"/>
                  </a:lnTo>
                  <a:lnTo>
                    <a:pt x="279" y="64"/>
                  </a:lnTo>
                  <a:lnTo>
                    <a:pt x="273" y="98"/>
                  </a:lnTo>
                  <a:lnTo>
                    <a:pt x="273" y="124"/>
                  </a:lnTo>
                  <a:lnTo>
                    <a:pt x="243" y="156"/>
                  </a:lnTo>
                  <a:lnTo>
                    <a:pt x="241" y="158"/>
                  </a:lnTo>
                  <a:lnTo>
                    <a:pt x="239" y="158"/>
                  </a:lnTo>
                  <a:lnTo>
                    <a:pt x="237" y="158"/>
                  </a:lnTo>
                  <a:lnTo>
                    <a:pt x="237" y="162"/>
                  </a:lnTo>
                  <a:lnTo>
                    <a:pt x="237" y="184"/>
                  </a:lnTo>
                  <a:lnTo>
                    <a:pt x="236" y="182"/>
                  </a:lnTo>
                  <a:lnTo>
                    <a:pt x="232" y="186"/>
                  </a:lnTo>
                  <a:lnTo>
                    <a:pt x="232" y="186"/>
                  </a:lnTo>
                  <a:lnTo>
                    <a:pt x="230" y="190"/>
                  </a:lnTo>
                  <a:lnTo>
                    <a:pt x="226" y="186"/>
                  </a:lnTo>
                  <a:lnTo>
                    <a:pt x="226" y="190"/>
                  </a:lnTo>
                  <a:lnTo>
                    <a:pt x="224" y="190"/>
                  </a:lnTo>
                  <a:lnTo>
                    <a:pt x="221" y="192"/>
                  </a:lnTo>
                  <a:lnTo>
                    <a:pt x="221" y="192"/>
                  </a:lnTo>
                  <a:lnTo>
                    <a:pt x="215" y="195"/>
                  </a:lnTo>
                  <a:lnTo>
                    <a:pt x="213" y="192"/>
                  </a:lnTo>
                  <a:lnTo>
                    <a:pt x="207" y="192"/>
                  </a:lnTo>
                  <a:lnTo>
                    <a:pt x="202" y="190"/>
                  </a:lnTo>
                  <a:lnTo>
                    <a:pt x="194" y="190"/>
                  </a:lnTo>
                  <a:lnTo>
                    <a:pt x="189" y="190"/>
                  </a:lnTo>
                  <a:lnTo>
                    <a:pt x="181" y="190"/>
                  </a:lnTo>
                  <a:lnTo>
                    <a:pt x="177" y="192"/>
                  </a:lnTo>
                  <a:lnTo>
                    <a:pt x="172" y="199"/>
                  </a:lnTo>
                  <a:lnTo>
                    <a:pt x="166" y="201"/>
                  </a:lnTo>
                  <a:lnTo>
                    <a:pt x="162" y="201"/>
                  </a:lnTo>
                  <a:lnTo>
                    <a:pt x="157" y="199"/>
                  </a:lnTo>
                  <a:lnTo>
                    <a:pt x="153" y="199"/>
                  </a:lnTo>
                  <a:lnTo>
                    <a:pt x="147" y="195"/>
                  </a:lnTo>
                  <a:lnTo>
                    <a:pt x="143" y="192"/>
                  </a:lnTo>
                  <a:lnTo>
                    <a:pt x="143" y="190"/>
                  </a:lnTo>
                  <a:lnTo>
                    <a:pt x="140" y="190"/>
                  </a:lnTo>
                  <a:lnTo>
                    <a:pt x="136" y="190"/>
                  </a:lnTo>
                  <a:lnTo>
                    <a:pt x="136" y="190"/>
                  </a:lnTo>
                  <a:lnTo>
                    <a:pt x="132" y="190"/>
                  </a:lnTo>
                  <a:lnTo>
                    <a:pt x="128" y="190"/>
                  </a:lnTo>
                  <a:lnTo>
                    <a:pt x="125" y="192"/>
                  </a:lnTo>
                  <a:lnTo>
                    <a:pt x="123" y="195"/>
                  </a:lnTo>
                  <a:lnTo>
                    <a:pt x="121" y="195"/>
                  </a:lnTo>
                  <a:lnTo>
                    <a:pt x="117" y="192"/>
                  </a:lnTo>
                  <a:lnTo>
                    <a:pt x="113" y="186"/>
                  </a:lnTo>
                  <a:lnTo>
                    <a:pt x="111" y="186"/>
                  </a:lnTo>
                  <a:lnTo>
                    <a:pt x="108" y="182"/>
                  </a:lnTo>
                  <a:lnTo>
                    <a:pt x="104" y="182"/>
                  </a:lnTo>
                  <a:lnTo>
                    <a:pt x="100" y="180"/>
                  </a:lnTo>
                  <a:lnTo>
                    <a:pt x="96" y="180"/>
                  </a:lnTo>
                  <a:lnTo>
                    <a:pt x="94" y="180"/>
                  </a:lnTo>
                  <a:lnTo>
                    <a:pt x="91" y="180"/>
                  </a:lnTo>
                  <a:lnTo>
                    <a:pt x="89" y="180"/>
                  </a:lnTo>
                  <a:lnTo>
                    <a:pt x="83" y="180"/>
                  </a:lnTo>
                  <a:lnTo>
                    <a:pt x="83" y="180"/>
                  </a:lnTo>
                  <a:lnTo>
                    <a:pt x="79" y="180"/>
                  </a:lnTo>
                  <a:lnTo>
                    <a:pt x="76" y="182"/>
                  </a:lnTo>
                  <a:lnTo>
                    <a:pt x="76" y="182"/>
                  </a:lnTo>
                  <a:lnTo>
                    <a:pt x="74" y="184"/>
                  </a:lnTo>
                  <a:lnTo>
                    <a:pt x="68" y="186"/>
                  </a:lnTo>
                  <a:lnTo>
                    <a:pt x="68" y="190"/>
                  </a:lnTo>
                  <a:lnTo>
                    <a:pt x="68" y="190"/>
                  </a:lnTo>
                  <a:lnTo>
                    <a:pt x="68" y="190"/>
                  </a:lnTo>
                  <a:lnTo>
                    <a:pt x="68" y="192"/>
                  </a:lnTo>
                  <a:lnTo>
                    <a:pt x="68" y="195"/>
                  </a:lnTo>
                  <a:lnTo>
                    <a:pt x="70" y="199"/>
                  </a:lnTo>
                  <a:lnTo>
                    <a:pt x="70" y="199"/>
                  </a:lnTo>
                  <a:lnTo>
                    <a:pt x="66" y="199"/>
                  </a:lnTo>
                  <a:lnTo>
                    <a:pt x="64" y="205"/>
                  </a:lnTo>
                  <a:lnTo>
                    <a:pt x="64" y="207"/>
                  </a:lnTo>
                  <a:lnTo>
                    <a:pt x="64" y="209"/>
                  </a:lnTo>
                  <a:lnTo>
                    <a:pt x="64" y="214"/>
                  </a:lnTo>
                  <a:lnTo>
                    <a:pt x="66" y="214"/>
                  </a:lnTo>
                  <a:lnTo>
                    <a:pt x="66" y="214"/>
                  </a:lnTo>
                  <a:lnTo>
                    <a:pt x="64" y="216"/>
                  </a:lnTo>
                  <a:lnTo>
                    <a:pt x="64" y="216"/>
                  </a:lnTo>
                  <a:lnTo>
                    <a:pt x="64" y="21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6" name="Freeform 127">
              <a:extLst>
                <a:ext uri="{FF2B5EF4-FFF2-40B4-BE49-F238E27FC236}">
                  <a16:creationId xmlns:a16="http://schemas.microsoft.com/office/drawing/2014/main" id="{38C564C8-F2FD-5949-ADC0-8561AAC5D7AA}"/>
                </a:ext>
              </a:extLst>
            </p:cNvPr>
            <p:cNvSpPr>
              <a:spLocks/>
            </p:cNvSpPr>
            <p:nvPr/>
          </p:nvSpPr>
          <p:spPr bwMode="auto">
            <a:xfrm>
              <a:off x="6174770" y="2790353"/>
              <a:ext cx="180054" cy="138829"/>
            </a:xfrm>
            <a:custGeom>
              <a:avLst/>
              <a:gdLst/>
              <a:ahLst/>
              <a:cxnLst>
                <a:cxn ang="0">
                  <a:pos x="198" y="11"/>
                </a:cxn>
                <a:cxn ang="0">
                  <a:pos x="185" y="6"/>
                </a:cxn>
                <a:cxn ang="0">
                  <a:pos x="179" y="8"/>
                </a:cxn>
                <a:cxn ang="0">
                  <a:pos x="174" y="13"/>
                </a:cxn>
                <a:cxn ang="0">
                  <a:pos x="164" y="13"/>
                </a:cxn>
                <a:cxn ang="0">
                  <a:pos x="145" y="10"/>
                </a:cxn>
                <a:cxn ang="0">
                  <a:pos x="128" y="13"/>
                </a:cxn>
                <a:cxn ang="0">
                  <a:pos x="115" y="21"/>
                </a:cxn>
                <a:cxn ang="0">
                  <a:pos x="98" y="15"/>
                </a:cxn>
                <a:cxn ang="0">
                  <a:pos x="91" y="10"/>
                </a:cxn>
                <a:cxn ang="0">
                  <a:pos x="83" y="11"/>
                </a:cxn>
                <a:cxn ang="0">
                  <a:pos x="74" y="15"/>
                </a:cxn>
                <a:cxn ang="0">
                  <a:pos x="66" y="8"/>
                </a:cxn>
                <a:cxn ang="0">
                  <a:pos x="55" y="2"/>
                </a:cxn>
                <a:cxn ang="0">
                  <a:pos x="46" y="0"/>
                </a:cxn>
                <a:cxn ang="0">
                  <a:pos x="36" y="0"/>
                </a:cxn>
                <a:cxn ang="0">
                  <a:pos x="27" y="2"/>
                </a:cxn>
                <a:cxn ang="0">
                  <a:pos x="19" y="8"/>
                </a:cxn>
                <a:cxn ang="0">
                  <a:pos x="19" y="11"/>
                </a:cxn>
                <a:cxn ang="0">
                  <a:pos x="21" y="19"/>
                </a:cxn>
                <a:cxn ang="0">
                  <a:pos x="15" y="25"/>
                </a:cxn>
                <a:cxn ang="0">
                  <a:pos x="15" y="34"/>
                </a:cxn>
                <a:cxn ang="0">
                  <a:pos x="15" y="38"/>
                </a:cxn>
                <a:cxn ang="0">
                  <a:pos x="19" y="51"/>
                </a:cxn>
                <a:cxn ang="0">
                  <a:pos x="21" y="62"/>
                </a:cxn>
                <a:cxn ang="0">
                  <a:pos x="15" y="66"/>
                </a:cxn>
                <a:cxn ang="0">
                  <a:pos x="15" y="74"/>
                </a:cxn>
                <a:cxn ang="0">
                  <a:pos x="10" y="81"/>
                </a:cxn>
                <a:cxn ang="0">
                  <a:pos x="4" y="87"/>
                </a:cxn>
                <a:cxn ang="0">
                  <a:pos x="0" y="94"/>
                </a:cxn>
                <a:cxn ang="0">
                  <a:pos x="0" y="102"/>
                </a:cxn>
                <a:cxn ang="0">
                  <a:pos x="0" y="109"/>
                </a:cxn>
                <a:cxn ang="0">
                  <a:pos x="0" y="121"/>
                </a:cxn>
                <a:cxn ang="0">
                  <a:pos x="0" y="136"/>
                </a:cxn>
                <a:cxn ang="0">
                  <a:pos x="15" y="140"/>
                </a:cxn>
                <a:cxn ang="0">
                  <a:pos x="40" y="162"/>
                </a:cxn>
                <a:cxn ang="0">
                  <a:pos x="46" y="175"/>
                </a:cxn>
                <a:cxn ang="0">
                  <a:pos x="74" y="181"/>
                </a:cxn>
                <a:cxn ang="0">
                  <a:pos x="89" y="177"/>
                </a:cxn>
                <a:cxn ang="0">
                  <a:pos x="96" y="173"/>
                </a:cxn>
                <a:cxn ang="0">
                  <a:pos x="102" y="173"/>
                </a:cxn>
                <a:cxn ang="0">
                  <a:pos x="110" y="162"/>
                </a:cxn>
                <a:cxn ang="0">
                  <a:pos x="111" y="153"/>
                </a:cxn>
                <a:cxn ang="0">
                  <a:pos x="115" y="143"/>
                </a:cxn>
                <a:cxn ang="0">
                  <a:pos x="123" y="136"/>
                </a:cxn>
                <a:cxn ang="0">
                  <a:pos x="130" y="130"/>
                </a:cxn>
                <a:cxn ang="0">
                  <a:pos x="138" y="134"/>
                </a:cxn>
                <a:cxn ang="0">
                  <a:pos x="145" y="140"/>
                </a:cxn>
                <a:cxn ang="0">
                  <a:pos x="155" y="136"/>
                </a:cxn>
                <a:cxn ang="0">
                  <a:pos x="158" y="130"/>
                </a:cxn>
                <a:cxn ang="0">
                  <a:pos x="162" y="119"/>
                </a:cxn>
                <a:cxn ang="0">
                  <a:pos x="168" y="109"/>
                </a:cxn>
                <a:cxn ang="0">
                  <a:pos x="177" y="98"/>
                </a:cxn>
                <a:cxn ang="0">
                  <a:pos x="179" y="85"/>
                </a:cxn>
                <a:cxn ang="0">
                  <a:pos x="190" y="79"/>
                </a:cxn>
                <a:cxn ang="0">
                  <a:pos x="190" y="66"/>
                </a:cxn>
                <a:cxn ang="0">
                  <a:pos x="198" y="55"/>
                </a:cxn>
                <a:cxn ang="0">
                  <a:pos x="204" y="51"/>
                </a:cxn>
                <a:cxn ang="0">
                  <a:pos x="211" y="43"/>
                </a:cxn>
                <a:cxn ang="0">
                  <a:pos x="207" y="32"/>
                </a:cxn>
                <a:cxn ang="0">
                  <a:pos x="202" y="25"/>
                </a:cxn>
                <a:cxn ang="0">
                  <a:pos x="202" y="17"/>
                </a:cxn>
              </a:cxnLst>
              <a:rect l="0" t="0" r="r" b="b"/>
              <a:pathLst>
                <a:path w="211" h="181">
                  <a:moveTo>
                    <a:pt x="202" y="17"/>
                  </a:moveTo>
                  <a:lnTo>
                    <a:pt x="202" y="15"/>
                  </a:lnTo>
                  <a:lnTo>
                    <a:pt x="198" y="11"/>
                  </a:lnTo>
                  <a:lnTo>
                    <a:pt x="194" y="4"/>
                  </a:lnTo>
                  <a:lnTo>
                    <a:pt x="189" y="2"/>
                  </a:lnTo>
                  <a:lnTo>
                    <a:pt x="185" y="6"/>
                  </a:lnTo>
                  <a:lnTo>
                    <a:pt x="185" y="8"/>
                  </a:lnTo>
                  <a:lnTo>
                    <a:pt x="183" y="10"/>
                  </a:lnTo>
                  <a:lnTo>
                    <a:pt x="179" y="8"/>
                  </a:lnTo>
                  <a:lnTo>
                    <a:pt x="177" y="10"/>
                  </a:lnTo>
                  <a:lnTo>
                    <a:pt x="177" y="11"/>
                  </a:lnTo>
                  <a:lnTo>
                    <a:pt x="174" y="13"/>
                  </a:lnTo>
                  <a:lnTo>
                    <a:pt x="170" y="17"/>
                  </a:lnTo>
                  <a:lnTo>
                    <a:pt x="170" y="17"/>
                  </a:lnTo>
                  <a:lnTo>
                    <a:pt x="164" y="13"/>
                  </a:lnTo>
                  <a:lnTo>
                    <a:pt x="160" y="13"/>
                  </a:lnTo>
                  <a:lnTo>
                    <a:pt x="153" y="11"/>
                  </a:lnTo>
                  <a:lnTo>
                    <a:pt x="145" y="10"/>
                  </a:lnTo>
                  <a:lnTo>
                    <a:pt x="140" y="11"/>
                  </a:lnTo>
                  <a:lnTo>
                    <a:pt x="132" y="11"/>
                  </a:lnTo>
                  <a:lnTo>
                    <a:pt x="128" y="13"/>
                  </a:lnTo>
                  <a:lnTo>
                    <a:pt x="123" y="19"/>
                  </a:lnTo>
                  <a:lnTo>
                    <a:pt x="119" y="21"/>
                  </a:lnTo>
                  <a:lnTo>
                    <a:pt x="115" y="21"/>
                  </a:lnTo>
                  <a:lnTo>
                    <a:pt x="108" y="19"/>
                  </a:lnTo>
                  <a:lnTo>
                    <a:pt x="104" y="19"/>
                  </a:lnTo>
                  <a:lnTo>
                    <a:pt x="98" y="15"/>
                  </a:lnTo>
                  <a:lnTo>
                    <a:pt x="94" y="13"/>
                  </a:lnTo>
                  <a:lnTo>
                    <a:pt x="94" y="11"/>
                  </a:lnTo>
                  <a:lnTo>
                    <a:pt x="91" y="10"/>
                  </a:lnTo>
                  <a:lnTo>
                    <a:pt x="89" y="10"/>
                  </a:lnTo>
                  <a:lnTo>
                    <a:pt x="89" y="10"/>
                  </a:lnTo>
                  <a:lnTo>
                    <a:pt x="83" y="11"/>
                  </a:lnTo>
                  <a:lnTo>
                    <a:pt x="79" y="11"/>
                  </a:lnTo>
                  <a:lnTo>
                    <a:pt x="78" y="13"/>
                  </a:lnTo>
                  <a:lnTo>
                    <a:pt x="74" y="15"/>
                  </a:lnTo>
                  <a:lnTo>
                    <a:pt x="72" y="15"/>
                  </a:lnTo>
                  <a:lnTo>
                    <a:pt x="70" y="13"/>
                  </a:lnTo>
                  <a:lnTo>
                    <a:pt x="66" y="8"/>
                  </a:lnTo>
                  <a:lnTo>
                    <a:pt x="64" y="6"/>
                  </a:lnTo>
                  <a:lnTo>
                    <a:pt x="59" y="2"/>
                  </a:lnTo>
                  <a:lnTo>
                    <a:pt x="55" y="2"/>
                  </a:lnTo>
                  <a:lnTo>
                    <a:pt x="53" y="0"/>
                  </a:lnTo>
                  <a:lnTo>
                    <a:pt x="47" y="0"/>
                  </a:lnTo>
                  <a:lnTo>
                    <a:pt x="46" y="0"/>
                  </a:lnTo>
                  <a:lnTo>
                    <a:pt x="42" y="0"/>
                  </a:lnTo>
                  <a:lnTo>
                    <a:pt x="40" y="0"/>
                  </a:lnTo>
                  <a:lnTo>
                    <a:pt x="36" y="0"/>
                  </a:lnTo>
                  <a:lnTo>
                    <a:pt x="34" y="0"/>
                  </a:lnTo>
                  <a:lnTo>
                    <a:pt x="32" y="0"/>
                  </a:lnTo>
                  <a:lnTo>
                    <a:pt x="27" y="2"/>
                  </a:lnTo>
                  <a:lnTo>
                    <a:pt x="27" y="2"/>
                  </a:lnTo>
                  <a:lnTo>
                    <a:pt x="25" y="4"/>
                  </a:lnTo>
                  <a:lnTo>
                    <a:pt x="19" y="8"/>
                  </a:lnTo>
                  <a:lnTo>
                    <a:pt x="19" y="10"/>
                  </a:lnTo>
                  <a:lnTo>
                    <a:pt x="19" y="11"/>
                  </a:lnTo>
                  <a:lnTo>
                    <a:pt x="19" y="11"/>
                  </a:lnTo>
                  <a:lnTo>
                    <a:pt x="19" y="13"/>
                  </a:lnTo>
                  <a:lnTo>
                    <a:pt x="19" y="17"/>
                  </a:lnTo>
                  <a:lnTo>
                    <a:pt x="21" y="19"/>
                  </a:lnTo>
                  <a:lnTo>
                    <a:pt x="21" y="21"/>
                  </a:lnTo>
                  <a:lnTo>
                    <a:pt x="17" y="21"/>
                  </a:lnTo>
                  <a:lnTo>
                    <a:pt x="15" y="25"/>
                  </a:lnTo>
                  <a:lnTo>
                    <a:pt x="15" y="27"/>
                  </a:lnTo>
                  <a:lnTo>
                    <a:pt x="15" y="30"/>
                  </a:lnTo>
                  <a:lnTo>
                    <a:pt x="15" y="34"/>
                  </a:lnTo>
                  <a:lnTo>
                    <a:pt x="17" y="34"/>
                  </a:lnTo>
                  <a:lnTo>
                    <a:pt x="17" y="36"/>
                  </a:lnTo>
                  <a:lnTo>
                    <a:pt x="15" y="38"/>
                  </a:lnTo>
                  <a:lnTo>
                    <a:pt x="15" y="43"/>
                  </a:lnTo>
                  <a:lnTo>
                    <a:pt x="15" y="45"/>
                  </a:lnTo>
                  <a:lnTo>
                    <a:pt x="19" y="51"/>
                  </a:lnTo>
                  <a:lnTo>
                    <a:pt x="19" y="55"/>
                  </a:lnTo>
                  <a:lnTo>
                    <a:pt x="21" y="60"/>
                  </a:lnTo>
                  <a:lnTo>
                    <a:pt x="21" y="62"/>
                  </a:lnTo>
                  <a:lnTo>
                    <a:pt x="17" y="62"/>
                  </a:lnTo>
                  <a:lnTo>
                    <a:pt x="15" y="66"/>
                  </a:lnTo>
                  <a:lnTo>
                    <a:pt x="15" y="66"/>
                  </a:lnTo>
                  <a:lnTo>
                    <a:pt x="19" y="72"/>
                  </a:lnTo>
                  <a:lnTo>
                    <a:pt x="17" y="74"/>
                  </a:lnTo>
                  <a:lnTo>
                    <a:pt x="15" y="74"/>
                  </a:lnTo>
                  <a:lnTo>
                    <a:pt x="12" y="76"/>
                  </a:lnTo>
                  <a:lnTo>
                    <a:pt x="12" y="79"/>
                  </a:lnTo>
                  <a:lnTo>
                    <a:pt x="10" y="81"/>
                  </a:lnTo>
                  <a:lnTo>
                    <a:pt x="8" y="85"/>
                  </a:lnTo>
                  <a:lnTo>
                    <a:pt x="6" y="87"/>
                  </a:lnTo>
                  <a:lnTo>
                    <a:pt x="4" y="87"/>
                  </a:lnTo>
                  <a:lnTo>
                    <a:pt x="2" y="89"/>
                  </a:lnTo>
                  <a:lnTo>
                    <a:pt x="0" y="91"/>
                  </a:lnTo>
                  <a:lnTo>
                    <a:pt x="0" y="94"/>
                  </a:lnTo>
                  <a:lnTo>
                    <a:pt x="0" y="96"/>
                  </a:lnTo>
                  <a:lnTo>
                    <a:pt x="0" y="102"/>
                  </a:lnTo>
                  <a:lnTo>
                    <a:pt x="0" y="102"/>
                  </a:lnTo>
                  <a:lnTo>
                    <a:pt x="0" y="106"/>
                  </a:lnTo>
                  <a:lnTo>
                    <a:pt x="0" y="106"/>
                  </a:lnTo>
                  <a:lnTo>
                    <a:pt x="0" y="109"/>
                  </a:lnTo>
                  <a:lnTo>
                    <a:pt x="0" y="109"/>
                  </a:lnTo>
                  <a:lnTo>
                    <a:pt x="0" y="113"/>
                  </a:lnTo>
                  <a:lnTo>
                    <a:pt x="0" y="121"/>
                  </a:lnTo>
                  <a:lnTo>
                    <a:pt x="0" y="123"/>
                  </a:lnTo>
                  <a:lnTo>
                    <a:pt x="2" y="126"/>
                  </a:lnTo>
                  <a:lnTo>
                    <a:pt x="0" y="136"/>
                  </a:lnTo>
                  <a:lnTo>
                    <a:pt x="0" y="140"/>
                  </a:lnTo>
                  <a:lnTo>
                    <a:pt x="10" y="140"/>
                  </a:lnTo>
                  <a:lnTo>
                    <a:pt x="15" y="140"/>
                  </a:lnTo>
                  <a:lnTo>
                    <a:pt x="29" y="145"/>
                  </a:lnTo>
                  <a:lnTo>
                    <a:pt x="36" y="153"/>
                  </a:lnTo>
                  <a:lnTo>
                    <a:pt x="40" y="162"/>
                  </a:lnTo>
                  <a:lnTo>
                    <a:pt x="40" y="170"/>
                  </a:lnTo>
                  <a:lnTo>
                    <a:pt x="42" y="170"/>
                  </a:lnTo>
                  <a:lnTo>
                    <a:pt x="46" y="175"/>
                  </a:lnTo>
                  <a:lnTo>
                    <a:pt x="49" y="179"/>
                  </a:lnTo>
                  <a:lnTo>
                    <a:pt x="55" y="181"/>
                  </a:lnTo>
                  <a:lnTo>
                    <a:pt x="74" y="181"/>
                  </a:lnTo>
                  <a:lnTo>
                    <a:pt x="78" y="179"/>
                  </a:lnTo>
                  <a:lnTo>
                    <a:pt x="79" y="179"/>
                  </a:lnTo>
                  <a:lnTo>
                    <a:pt x="89" y="177"/>
                  </a:lnTo>
                  <a:lnTo>
                    <a:pt x="91" y="177"/>
                  </a:lnTo>
                  <a:lnTo>
                    <a:pt x="94" y="177"/>
                  </a:lnTo>
                  <a:lnTo>
                    <a:pt x="96" y="173"/>
                  </a:lnTo>
                  <a:lnTo>
                    <a:pt x="100" y="175"/>
                  </a:lnTo>
                  <a:lnTo>
                    <a:pt x="102" y="173"/>
                  </a:lnTo>
                  <a:lnTo>
                    <a:pt x="102" y="173"/>
                  </a:lnTo>
                  <a:lnTo>
                    <a:pt x="102" y="173"/>
                  </a:lnTo>
                  <a:lnTo>
                    <a:pt x="108" y="168"/>
                  </a:lnTo>
                  <a:lnTo>
                    <a:pt x="110" y="162"/>
                  </a:lnTo>
                  <a:lnTo>
                    <a:pt x="110" y="158"/>
                  </a:lnTo>
                  <a:lnTo>
                    <a:pt x="108" y="155"/>
                  </a:lnTo>
                  <a:lnTo>
                    <a:pt x="111" y="153"/>
                  </a:lnTo>
                  <a:lnTo>
                    <a:pt x="111" y="149"/>
                  </a:lnTo>
                  <a:lnTo>
                    <a:pt x="113" y="147"/>
                  </a:lnTo>
                  <a:lnTo>
                    <a:pt x="115" y="143"/>
                  </a:lnTo>
                  <a:lnTo>
                    <a:pt x="119" y="143"/>
                  </a:lnTo>
                  <a:lnTo>
                    <a:pt x="123" y="140"/>
                  </a:lnTo>
                  <a:lnTo>
                    <a:pt x="123" y="136"/>
                  </a:lnTo>
                  <a:lnTo>
                    <a:pt x="125" y="134"/>
                  </a:lnTo>
                  <a:lnTo>
                    <a:pt x="128" y="134"/>
                  </a:lnTo>
                  <a:lnTo>
                    <a:pt x="130" y="130"/>
                  </a:lnTo>
                  <a:lnTo>
                    <a:pt x="130" y="130"/>
                  </a:lnTo>
                  <a:lnTo>
                    <a:pt x="136" y="134"/>
                  </a:lnTo>
                  <a:lnTo>
                    <a:pt x="138" y="134"/>
                  </a:lnTo>
                  <a:lnTo>
                    <a:pt x="140" y="136"/>
                  </a:lnTo>
                  <a:lnTo>
                    <a:pt x="143" y="140"/>
                  </a:lnTo>
                  <a:lnTo>
                    <a:pt x="145" y="140"/>
                  </a:lnTo>
                  <a:lnTo>
                    <a:pt x="149" y="143"/>
                  </a:lnTo>
                  <a:lnTo>
                    <a:pt x="153" y="140"/>
                  </a:lnTo>
                  <a:lnTo>
                    <a:pt x="155" y="136"/>
                  </a:lnTo>
                  <a:lnTo>
                    <a:pt x="155" y="134"/>
                  </a:lnTo>
                  <a:lnTo>
                    <a:pt x="157" y="130"/>
                  </a:lnTo>
                  <a:lnTo>
                    <a:pt x="158" y="130"/>
                  </a:lnTo>
                  <a:lnTo>
                    <a:pt x="162" y="126"/>
                  </a:lnTo>
                  <a:lnTo>
                    <a:pt x="162" y="124"/>
                  </a:lnTo>
                  <a:lnTo>
                    <a:pt x="162" y="119"/>
                  </a:lnTo>
                  <a:lnTo>
                    <a:pt x="170" y="115"/>
                  </a:lnTo>
                  <a:lnTo>
                    <a:pt x="170" y="109"/>
                  </a:lnTo>
                  <a:lnTo>
                    <a:pt x="168" y="109"/>
                  </a:lnTo>
                  <a:lnTo>
                    <a:pt x="170" y="106"/>
                  </a:lnTo>
                  <a:lnTo>
                    <a:pt x="174" y="100"/>
                  </a:lnTo>
                  <a:lnTo>
                    <a:pt x="177" y="98"/>
                  </a:lnTo>
                  <a:lnTo>
                    <a:pt x="177" y="94"/>
                  </a:lnTo>
                  <a:lnTo>
                    <a:pt x="179" y="91"/>
                  </a:lnTo>
                  <a:lnTo>
                    <a:pt x="179" y="85"/>
                  </a:lnTo>
                  <a:lnTo>
                    <a:pt x="181" y="85"/>
                  </a:lnTo>
                  <a:lnTo>
                    <a:pt x="187" y="81"/>
                  </a:lnTo>
                  <a:lnTo>
                    <a:pt x="190" y="79"/>
                  </a:lnTo>
                  <a:lnTo>
                    <a:pt x="190" y="74"/>
                  </a:lnTo>
                  <a:lnTo>
                    <a:pt x="190" y="68"/>
                  </a:lnTo>
                  <a:lnTo>
                    <a:pt x="190" y="66"/>
                  </a:lnTo>
                  <a:lnTo>
                    <a:pt x="192" y="62"/>
                  </a:lnTo>
                  <a:lnTo>
                    <a:pt x="196" y="55"/>
                  </a:lnTo>
                  <a:lnTo>
                    <a:pt x="198" y="55"/>
                  </a:lnTo>
                  <a:lnTo>
                    <a:pt x="198" y="51"/>
                  </a:lnTo>
                  <a:lnTo>
                    <a:pt x="202" y="51"/>
                  </a:lnTo>
                  <a:lnTo>
                    <a:pt x="204" y="51"/>
                  </a:lnTo>
                  <a:lnTo>
                    <a:pt x="206" y="47"/>
                  </a:lnTo>
                  <a:lnTo>
                    <a:pt x="209" y="45"/>
                  </a:lnTo>
                  <a:lnTo>
                    <a:pt x="211" y="43"/>
                  </a:lnTo>
                  <a:lnTo>
                    <a:pt x="209" y="38"/>
                  </a:lnTo>
                  <a:lnTo>
                    <a:pt x="209" y="36"/>
                  </a:lnTo>
                  <a:lnTo>
                    <a:pt x="207" y="32"/>
                  </a:lnTo>
                  <a:lnTo>
                    <a:pt x="204" y="32"/>
                  </a:lnTo>
                  <a:lnTo>
                    <a:pt x="202" y="30"/>
                  </a:lnTo>
                  <a:lnTo>
                    <a:pt x="202" y="25"/>
                  </a:lnTo>
                  <a:lnTo>
                    <a:pt x="202" y="21"/>
                  </a:lnTo>
                  <a:lnTo>
                    <a:pt x="202" y="17"/>
                  </a:lnTo>
                  <a:lnTo>
                    <a:pt x="202" y="17"/>
                  </a:lnTo>
                  <a:lnTo>
                    <a:pt x="202" y="17"/>
                  </a:lnTo>
                  <a:lnTo>
                    <a:pt x="202"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7" name="Freeform 128">
              <a:extLst>
                <a:ext uri="{FF2B5EF4-FFF2-40B4-BE49-F238E27FC236}">
                  <a16:creationId xmlns:a16="http://schemas.microsoft.com/office/drawing/2014/main" id="{AA5AF9D2-40AE-6641-AE5A-4A86259D5B14}"/>
                </a:ext>
              </a:extLst>
            </p:cNvPr>
            <p:cNvSpPr>
              <a:spLocks/>
            </p:cNvSpPr>
            <p:nvPr/>
          </p:nvSpPr>
          <p:spPr bwMode="auto">
            <a:xfrm>
              <a:off x="6225117" y="2981339"/>
              <a:ext cx="4266" cy="8437"/>
            </a:xfrm>
            <a:custGeom>
              <a:avLst/>
              <a:gdLst/>
              <a:ahLst/>
              <a:cxnLst>
                <a:cxn ang="0">
                  <a:pos x="2" y="11"/>
                </a:cxn>
                <a:cxn ang="0">
                  <a:pos x="0" y="5"/>
                </a:cxn>
                <a:cxn ang="0">
                  <a:pos x="2" y="0"/>
                </a:cxn>
                <a:cxn ang="0">
                  <a:pos x="5" y="5"/>
                </a:cxn>
                <a:cxn ang="0">
                  <a:pos x="5" y="7"/>
                </a:cxn>
                <a:cxn ang="0">
                  <a:pos x="2" y="11"/>
                </a:cxn>
                <a:cxn ang="0">
                  <a:pos x="2" y="11"/>
                </a:cxn>
                <a:cxn ang="0">
                  <a:pos x="2" y="11"/>
                </a:cxn>
                <a:cxn ang="0">
                  <a:pos x="2" y="11"/>
                </a:cxn>
              </a:cxnLst>
              <a:rect l="0" t="0" r="r" b="b"/>
              <a:pathLst>
                <a:path w="5" h="11">
                  <a:moveTo>
                    <a:pt x="2" y="11"/>
                  </a:moveTo>
                  <a:lnTo>
                    <a:pt x="0" y="5"/>
                  </a:lnTo>
                  <a:lnTo>
                    <a:pt x="2" y="0"/>
                  </a:lnTo>
                  <a:lnTo>
                    <a:pt x="5" y="5"/>
                  </a:lnTo>
                  <a:lnTo>
                    <a:pt x="5" y="7"/>
                  </a:lnTo>
                  <a:lnTo>
                    <a:pt x="2" y="11"/>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8" name="Freeform 129">
              <a:extLst>
                <a:ext uri="{FF2B5EF4-FFF2-40B4-BE49-F238E27FC236}">
                  <a16:creationId xmlns:a16="http://schemas.microsoft.com/office/drawing/2014/main" id="{1FAAD973-FB71-054B-BBE8-454C8DD09D7A}"/>
                </a:ext>
              </a:extLst>
            </p:cNvPr>
            <p:cNvSpPr>
              <a:spLocks/>
            </p:cNvSpPr>
            <p:nvPr/>
          </p:nvSpPr>
          <p:spPr bwMode="auto">
            <a:xfrm>
              <a:off x="6260103" y="2803392"/>
              <a:ext cx="122027" cy="157237"/>
            </a:xfrm>
            <a:custGeom>
              <a:avLst/>
              <a:gdLst/>
              <a:ahLst/>
              <a:cxnLst>
                <a:cxn ang="0">
                  <a:pos x="6" y="147"/>
                </a:cxn>
                <a:cxn ang="0">
                  <a:pos x="6" y="134"/>
                </a:cxn>
                <a:cxn ang="0">
                  <a:pos x="11" y="128"/>
                </a:cxn>
                <a:cxn ang="0">
                  <a:pos x="23" y="119"/>
                </a:cxn>
                <a:cxn ang="0">
                  <a:pos x="26" y="115"/>
                </a:cxn>
                <a:cxn ang="0">
                  <a:pos x="34" y="115"/>
                </a:cxn>
                <a:cxn ang="0">
                  <a:pos x="42" y="119"/>
                </a:cxn>
                <a:cxn ang="0">
                  <a:pos x="53" y="119"/>
                </a:cxn>
                <a:cxn ang="0">
                  <a:pos x="57" y="111"/>
                </a:cxn>
                <a:cxn ang="0">
                  <a:pos x="62" y="106"/>
                </a:cxn>
                <a:cxn ang="0">
                  <a:pos x="68" y="91"/>
                </a:cxn>
                <a:cxn ang="0">
                  <a:pos x="74" y="81"/>
                </a:cxn>
                <a:cxn ang="0">
                  <a:pos x="79" y="72"/>
                </a:cxn>
                <a:cxn ang="0">
                  <a:pos x="87" y="64"/>
                </a:cxn>
                <a:cxn ang="0">
                  <a:pos x="89" y="51"/>
                </a:cxn>
                <a:cxn ang="0">
                  <a:pos x="96" y="38"/>
                </a:cxn>
                <a:cxn ang="0">
                  <a:pos x="102" y="32"/>
                </a:cxn>
                <a:cxn ang="0">
                  <a:pos x="109" y="28"/>
                </a:cxn>
                <a:cxn ang="0">
                  <a:pos x="109" y="19"/>
                </a:cxn>
                <a:cxn ang="0">
                  <a:pos x="102" y="13"/>
                </a:cxn>
                <a:cxn ang="0">
                  <a:pos x="102" y="0"/>
                </a:cxn>
                <a:cxn ang="0">
                  <a:pos x="115" y="13"/>
                </a:cxn>
                <a:cxn ang="0">
                  <a:pos x="121" y="23"/>
                </a:cxn>
                <a:cxn ang="0">
                  <a:pos x="119" y="28"/>
                </a:cxn>
                <a:cxn ang="0">
                  <a:pos x="117" y="38"/>
                </a:cxn>
                <a:cxn ang="0">
                  <a:pos x="124" y="47"/>
                </a:cxn>
                <a:cxn ang="0">
                  <a:pos x="132" y="55"/>
                </a:cxn>
                <a:cxn ang="0">
                  <a:pos x="124" y="55"/>
                </a:cxn>
                <a:cxn ang="0">
                  <a:pos x="115" y="55"/>
                </a:cxn>
                <a:cxn ang="0">
                  <a:pos x="107" y="55"/>
                </a:cxn>
                <a:cxn ang="0">
                  <a:pos x="102" y="60"/>
                </a:cxn>
                <a:cxn ang="0">
                  <a:pos x="106" y="68"/>
                </a:cxn>
                <a:cxn ang="0">
                  <a:pos x="117" y="75"/>
                </a:cxn>
                <a:cxn ang="0">
                  <a:pos x="128" y="91"/>
                </a:cxn>
                <a:cxn ang="0">
                  <a:pos x="128" y="104"/>
                </a:cxn>
                <a:cxn ang="0">
                  <a:pos x="121" y="115"/>
                </a:cxn>
                <a:cxn ang="0">
                  <a:pos x="113" y="124"/>
                </a:cxn>
                <a:cxn ang="0">
                  <a:pos x="113" y="134"/>
                </a:cxn>
                <a:cxn ang="0">
                  <a:pos x="115" y="149"/>
                </a:cxn>
                <a:cxn ang="0">
                  <a:pos x="122" y="158"/>
                </a:cxn>
                <a:cxn ang="0">
                  <a:pos x="132" y="173"/>
                </a:cxn>
                <a:cxn ang="0">
                  <a:pos x="141" y="185"/>
                </a:cxn>
                <a:cxn ang="0">
                  <a:pos x="141" y="192"/>
                </a:cxn>
                <a:cxn ang="0">
                  <a:pos x="141" y="198"/>
                </a:cxn>
                <a:cxn ang="0">
                  <a:pos x="139" y="204"/>
                </a:cxn>
                <a:cxn ang="0">
                  <a:pos x="138" y="205"/>
                </a:cxn>
                <a:cxn ang="0">
                  <a:pos x="132" y="204"/>
                </a:cxn>
                <a:cxn ang="0">
                  <a:pos x="124" y="204"/>
                </a:cxn>
                <a:cxn ang="0">
                  <a:pos x="121" y="204"/>
                </a:cxn>
                <a:cxn ang="0">
                  <a:pos x="115" y="202"/>
                </a:cxn>
                <a:cxn ang="0">
                  <a:pos x="111" y="202"/>
                </a:cxn>
                <a:cxn ang="0">
                  <a:pos x="83" y="198"/>
                </a:cxn>
                <a:cxn ang="0">
                  <a:pos x="75" y="198"/>
                </a:cxn>
                <a:cxn ang="0">
                  <a:pos x="70" y="198"/>
                </a:cxn>
                <a:cxn ang="0">
                  <a:pos x="62" y="198"/>
                </a:cxn>
                <a:cxn ang="0">
                  <a:pos x="53" y="198"/>
                </a:cxn>
                <a:cxn ang="0">
                  <a:pos x="51" y="202"/>
                </a:cxn>
                <a:cxn ang="0">
                  <a:pos x="23" y="202"/>
                </a:cxn>
                <a:cxn ang="0">
                  <a:pos x="23" y="196"/>
                </a:cxn>
                <a:cxn ang="0">
                  <a:pos x="19" y="177"/>
                </a:cxn>
                <a:cxn ang="0">
                  <a:pos x="19" y="166"/>
                </a:cxn>
                <a:cxn ang="0">
                  <a:pos x="8" y="166"/>
                </a:cxn>
                <a:cxn ang="0">
                  <a:pos x="0" y="155"/>
                </a:cxn>
              </a:cxnLst>
              <a:rect l="0" t="0" r="r" b="b"/>
              <a:pathLst>
                <a:path w="143" h="205">
                  <a:moveTo>
                    <a:pt x="0" y="155"/>
                  </a:moveTo>
                  <a:lnTo>
                    <a:pt x="0" y="153"/>
                  </a:lnTo>
                  <a:lnTo>
                    <a:pt x="6" y="147"/>
                  </a:lnTo>
                  <a:lnTo>
                    <a:pt x="8" y="141"/>
                  </a:lnTo>
                  <a:lnTo>
                    <a:pt x="8" y="138"/>
                  </a:lnTo>
                  <a:lnTo>
                    <a:pt x="6" y="134"/>
                  </a:lnTo>
                  <a:lnTo>
                    <a:pt x="10" y="134"/>
                  </a:lnTo>
                  <a:lnTo>
                    <a:pt x="10" y="130"/>
                  </a:lnTo>
                  <a:lnTo>
                    <a:pt x="11" y="128"/>
                  </a:lnTo>
                  <a:lnTo>
                    <a:pt x="13" y="124"/>
                  </a:lnTo>
                  <a:lnTo>
                    <a:pt x="17" y="123"/>
                  </a:lnTo>
                  <a:lnTo>
                    <a:pt x="23" y="119"/>
                  </a:lnTo>
                  <a:lnTo>
                    <a:pt x="23" y="115"/>
                  </a:lnTo>
                  <a:lnTo>
                    <a:pt x="23" y="115"/>
                  </a:lnTo>
                  <a:lnTo>
                    <a:pt x="26" y="115"/>
                  </a:lnTo>
                  <a:lnTo>
                    <a:pt x="28" y="111"/>
                  </a:lnTo>
                  <a:lnTo>
                    <a:pt x="28" y="111"/>
                  </a:lnTo>
                  <a:lnTo>
                    <a:pt x="34" y="115"/>
                  </a:lnTo>
                  <a:lnTo>
                    <a:pt x="36" y="115"/>
                  </a:lnTo>
                  <a:lnTo>
                    <a:pt x="40" y="115"/>
                  </a:lnTo>
                  <a:lnTo>
                    <a:pt x="42" y="119"/>
                  </a:lnTo>
                  <a:lnTo>
                    <a:pt x="45" y="121"/>
                  </a:lnTo>
                  <a:lnTo>
                    <a:pt x="47" y="123"/>
                  </a:lnTo>
                  <a:lnTo>
                    <a:pt x="53" y="119"/>
                  </a:lnTo>
                  <a:lnTo>
                    <a:pt x="53" y="115"/>
                  </a:lnTo>
                  <a:lnTo>
                    <a:pt x="53" y="115"/>
                  </a:lnTo>
                  <a:lnTo>
                    <a:pt x="57" y="111"/>
                  </a:lnTo>
                  <a:lnTo>
                    <a:pt x="58" y="111"/>
                  </a:lnTo>
                  <a:lnTo>
                    <a:pt x="62" y="107"/>
                  </a:lnTo>
                  <a:lnTo>
                    <a:pt x="62" y="106"/>
                  </a:lnTo>
                  <a:lnTo>
                    <a:pt x="62" y="100"/>
                  </a:lnTo>
                  <a:lnTo>
                    <a:pt x="68" y="94"/>
                  </a:lnTo>
                  <a:lnTo>
                    <a:pt x="68" y="91"/>
                  </a:lnTo>
                  <a:lnTo>
                    <a:pt x="66" y="91"/>
                  </a:lnTo>
                  <a:lnTo>
                    <a:pt x="68" y="87"/>
                  </a:lnTo>
                  <a:lnTo>
                    <a:pt x="74" y="81"/>
                  </a:lnTo>
                  <a:lnTo>
                    <a:pt x="77" y="79"/>
                  </a:lnTo>
                  <a:lnTo>
                    <a:pt x="77" y="75"/>
                  </a:lnTo>
                  <a:lnTo>
                    <a:pt x="79" y="72"/>
                  </a:lnTo>
                  <a:lnTo>
                    <a:pt x="79" y="68"/>
                  </a:lnTo>
                  <a:lnTo>
                    <a:pt x="81" y="66"/>
                  </a:lnTo>
                  <a:lnTo>
                    <a:pt x="87" y="64"/>
                  </a:lnTo>
                  <a:lnTo>
                    <a:pt x="89" y="60"/>
                  </a:lnTo>
                  <a:lnTo>
                    <a:pt x="89" y="55"/>
                  </a:lnTo>
                  <a:lnTo>
                    <a:pt x="89" y="51"/>
                  </a:lnTo>
                  <a:lnTo>
                    <a:pt x="89" y="47"/>
                  </a:lnTo>
                  <a:lnTo>
                    <a:pt x="92" y="43"/>
                  </a:lnTo>
                  <a:lnTo>
                    <a:pt x="96" y="38"/>
                  </a:lnTo>
                  <a:lnTo>
                    <a:pt x="98" y="36"/>
                  </a:lnTo>
                  <a:lnTo>
                    <a:pt x="98" y="34"/>
                  </a:lnTo>
                  <a:lnTo>
                    <a:pt x="102" y="32"/>
                  </a:lnTo>
                  <a:lnTo>
                    <a:pt x="104" y="32"/>
                  </a:lnTo>
                  <a:lnTo>
                    <a:pt x="106" y="28"/>
                  </a:lnTo>
                  <a:lnTo>
                    <a:pt x="109" y="28"/>
                  </a:lnTo>
                  <a:lnTo>
                    <a:pt x="111" y="26"/>
                  </a:lnTo>
                  <a:lnTo>
                    <a:pt x="109" y="21"/>
                  </a:lnTo>
                  <a:lnTo>
                    <a:pt x="109" y="19"/>
                  </a:lnTo>
                  <a:lnTo>
                    <a:pt x="107" y="15"/>
                  </a:lnTo>
                  <a:lnTo>
                    <a:pt x="104" y="15"/>
                  </a:lnTo>
                  <a:lnTo>
                    <a:pt x="102" y="13"/>
                  </a:lnTo>
                  <a:lnTo>
                    <a:pt x="102" y="8"/>
                  </a:lnTo>
                  <a:lnTo>
                    <a:pt x="102" y="4"/>
                  </a:lnTo>
                  <a:lnTo>
                    <a:pt x="102" y="0"/>
                  </a:lnTo>
                  <a:lnTo>
                    <a:pt x="109" y="4"/>
                  </a:lnTo>
                  <a:lnTo>
                    <a:pt x="115" y="8"/>
                  </a:lnTo>
                  <a:lnTo>
                    <a:pt x="115" y="13"/>
                  </a:lnTo>
                  <a:lnTo>
                    <a:pt x="117" y="13"/>
                  </a:lnTo>
                  <a:lnTo>
                    <a:pt x="119" y="17"/>
                  </a:lnTo>
                  <a:lnTo>
                    <a:pt x="121" y="23"/>
                  </a:lnTo>
                  <a:lnTo>
                    <a:pt x="121" y="26"/>
                  </a:lnTo>
                  <a:lnTo>
                    <a:pt x="119" y="28"/>
                  </a:lnTo>
                  <a:lnTo>
                    <a:pt x="119" y="28"/>
                  </a:lnTo>
                  <a:lnTo>
                    <a:pt x="121" y="32"/>
                  </a:lnTo>
                  <a:lnTo>
                    <a:pt x="121" y="36"/>
                  </a:lnTo>
                  <a:lnTo>
                    <a:pt x="117" y="38"/>
                  </a:lnTo>
                  <a:lnTo>
                    <a:pt x="117" y="42"/>
                  </a:lnTo>
                  <a:lnTo>
                    <a:pt x="121" y="47"/>
                  </a:lnTo>
                  <a:lnTo>
                    <a:pt x="124" y="47"/>
                  </a:lnTo>
                  <a:lnTo>
                    <a:pt x="126" y="51"/>
                  </a:lnTo>
                  <a:lnTo>
                    <a:pt x="128" y="55"/>
                  </a:lnTo>
                  <a:lnTo>
                    <a:pt x="132" y="55"/>
                  </a:lnTo>
                  <a:lnTo>
                    <a:pt x="128" y="57"/>
                  </a:lnTo>
                  <a:lnTo>
                    <a:pt x="128" y="57"/>
                  </a:lnTo>
                  <a:lnTo>
                    <a:pt x="124" y="55"/>
                  </a:lnTo>
                  <a:lnTo>
                    <a:pt x="121" y="55"/>
                  </a:lnTo>
                  <a:lnTo>
                    <a:pt x="119" y="55"/>
                  </a:lnTo>
                  <a:lnTo>
                    <a:pt x="115" y="55"/>
                  </a:lnTo>
                  <a:lnTo>
                    <a:pt x="111" y="55"/>
                  </a:lnTo>
                  <a:lnTo>
                    <a:pt x="109" y="55"/>
                  </a:lnTo>
                  <a:lnTo>
                    <a:pt x="107" y="55"/>
                  </a:lnTo>
                  <a:lnTo>
                    <a:pt x="104" y="55"/>
                  </a:lnTo>
                  <a:lnTo>
                    <a:pt x="104" y="59"/>
                  </a:lnTo>
                  <a:lnTo>
                    <a:pt x="102" y="60"/>
                  </a:lnTo>
                  <a:lnTo>
                    <a:pt x="102" y="64"/>
                  </a:lnTo>
                  <a:lnTo>
                    <a:pt x="104" y="66"/>
                  </a:lnTo>
                  <a:lnTo>
                    <a:pt x="106" y="68"/>
                  </a:lnTo>
                  <a:lnTo>
                    <a:pt x="106" y="68"/>
                  </a:lnTo>
                  <a:lnTo>
                    <a:pt x="109" y="68"/>
                  </a:lnTo>
                  <a:lnTo>
                    <a:pt x="117" y="75"/>
                  </a:lnTo>
                  <a:lnTo>
                    <a:pt x="122" y="83"/>
                  </a:lnTo>
                  <a:lnTo>
                    <a:pt x="126" y="85"/>
                  </a:lnTo>
                  <a:lnTo>
                    <a:pt x="128" y="91"/>
                  </a:lnTo>
                  <a:lnTo>
                    <a:pt x="132" y="94"/>
                  </a:lnTo>
                  <a:lnTo>
                    <a:pt x="132" y="98"/>
                  </a:lnTo>
                  <a:lnTo>
                    <a:pt x="128" y="104"/>
                  </a:lnTo>
                  <a:lnTo>
                    <a:pt x="126" y="104"/>
                  </a:lnTo>
                  <a:lnTo>
                    <a:pt x="124" y="109"/>
                  </a:lnTo>
                  <a:lnTo>
                    <a:pt x="121" y="115"/>
                  </a:lnTo>
                  <a:lnTo>
                    <a:pt x="119" y="119"/>
                  </a:lnTo>
                  <a:lnTo>
                    <a:pt x="115" y="124"/>
                  </a:lnTo>
                  <a:lnTo>
                    <a:pt x="113" y="124"/>
                  </a:lnTo>
                  <a:lnTo>
                    <a:pt x="111" y="126"/>
                  </a:lnTo>
                  <a:lnTo>
                    <a:pt x="111" y="130"/>
                  </a:lnTo>
                  <a:lnTo>
                    <a:pt x="113" y="134"/>
                  </a:lnTo>
                  <a:lnTo>
                    <a:pt x="113" y="140"/>
                  </a:lnTo>
                  <a:lnTo>
                    <a:pt x="113" y="145"/>
                  </a:lnTo>
                  <a:lnTo>
                    <a:pt x="115" y="149"/>
                  </a:lnTo>
                  <a:lnTo>
                    <a:pt x="115" y="155"/>
                  </a:lnTo>
                  <a:lnTo>
                    <a:pt x="117" y="158"/>
                  </a:lnTo>
                  <a:lnTo>
                    <a:pt x="122" y="158"/>
                  </a:lnTo>
                  <a:lnTo>
                    <a:pt x="124" y="164"/>
                  </a:lnTo>
                  <a:lnTo>
                    <a:pt x="126" y="168"/>
                  </a:lnTo>
                  <a:lnTo>
                    <a:pt x="132" y="173"/>
                  </a:lnTo>
                  <a:lnTo>
                    <a:pt x="132" y="179"/>
                  </a:lnTo>
                  <a:lnTo>
                    <a:pt x="134" y="181"/>
                  </a:lnTo>
                  <a:lnTo>
                    <a:pt x="141" y="185"/>
                  </a:lnTo>
                  <a:lnTo>
                    <a:pt x="141" y="190"/>
                  </a:lnTo>
                  <a:lnTo>
                    <a:pt x="141" y="192"/>
                  </a:lnTo>
                  <a:lnTo>
                    <a:pt x="141" y="192"/>
                  </a:lnTo>
                  <a:lnTo>
                    <a:pt x="143" y="192"/>
                  </a:lnTo>
                  <a:lnTo>
                    <a:pt x="141" y="196"/>
                  </a:lnTo>
                  <a:lnTo>
                    <a:pt x="141" y="198"/>
                  </a:lnTo>
                  <a:lnTo>
                    <a:pt x="139" y="202"/>
                  </a:lnTo>
                  <a:lnTo>
                    <a:pt x="138" y="202"/>
                  </a:lnTo>
                  <a:lnTo>
                    <a:pt x="139" y="204"/>
                  </a:lnTo>
                  <a:lnTo>
                    <a:pt x="139" y="205"/>
                  </a:lnTo>
                  <a:lnTo>
                    <a:pt x="138" y="205"/>
                  </a:lnTo>
                  <a:lnTo>
                    <a:pt x="138" y="205"/>
                  </a:lnTo>
                  <a:lnTo>
                    <a:pt x="138" y="205"/>
                  </a:lnTo>
                  <a:lnTo>
                    <a:pt x="134" y="205"/>
                  </a:lnTo>
                  <a:lnTo>
                    <a:pt x="132" y="204"/>
                  </a:lnTo>
                  <a:lnTo>
                    <a:pt x="128" y="204"/>
                  </a:lnTo>
                  <a:lnTo>
                    <a:pt x="128" y="205"/>
                  </a:lnTo>
                  <a:lnTo>
                    <a:pt x="124" y="204"/>
                  </a:lnTo>
                  <a:lnTo>
                    <a:pt x="122" y="202"/>
                  </a:lnTo>
                  <a:lnTo>
                    <a:pt x="122" y="204"/>
                  </a:lnTo>
                  <a:lnTo>
                    <a:pt x="121" y="204"/>
                  </a:lnTo>
                  <a:lnTo>
                    <a:pt x="119" y="202"/>
                  </a:lnTo>
                  <a:lnTo>
                    <a:pt x="117" y="202"/>
                  </a:lnTo>
                  <a:lnTo>
                    <a:pt x="115" y="202"/>
                  </a:lnTo>
                  <a:lnTo>
                    <a:pt x="113" y="202"/>
                  </a:lnTo>
                  <a:lnTo>
                    <a:pt x="111" y="202"/>
                  </a:lnTo>
                  <a:lnTo>
                    <a:pt x="111" y="202"/>
                  </a:lnTo>
                  <a:lnTo>
                    <a:pt x="107" y="202"/>
                  </a:lnTo>
                  <a:lnTo>
                    <a:pt x="85" y="202"/>
                  </a:lnTo>
                  <a:lnTo>
                    <a:pt x="83" y="198"/>
                  </a:lnTo>
                  <a:lnTo>
                    <a:pt x="83" y="198"/>
                  </a:lnTo>
                  <a:lnTo>
                    <a:pt x="81" y="198"/>
                  </a:lnTo>
                  <a:lnTo>
                    <a:pt x="75" y="198"/>
                  </a:lnTo>
                  <a:lnTo>
                    <a:pt x="75" y="198"/>
                  </a:lnTo>
                  <a:lnTo>
                    <a:pt x="74" y="198"/>
                  </a:lnTo>
                  <a:lnTo>
                    <a:pt x="70" y="198"/>
                  </a:lnTo>
                  <a:lnTo>
                    <a:pt x="68" y="198"/>
                  </a:lnTo>
                  <a:lnTo>
                    <a:pt x="62" y="198"/>
                  </a:lnTo>
                  <a:lnTo>
                    <a:pt x="62" y="198"/>
                  </a:lnTo>
                  <a:lnTo>
                    <a:pt x="57" y="198"/>
                  </a:lnTo>
                  <a:lnTo>
                    <a:pt x="53" y="198"/>
                  </a:lnTo>
                  <a:lnTo>
                    <a:pt x="53" y="198"/>
                  </a:lnTo>
                  <a:lnTo>
                    <a:pt x="51" y="202"/>
                  </a:lnTo>
                  <a:lnTo>
                    <a:pt x="51" y="202"/>
                  </a:lnTo>
                  <a:lnTo>
                    <a:pt x="51" y="202"/>
                  </a:lnTo>
                  <a:lnTo>
                    <a:pt x="26" y="202"/>
                  </a:lnTo>
                  <a:lnTo>
                    <a:pt x="26" y="202"/>
                  </a:lnTo>
                  <a:lnTo>
                    <a:pt x="23" y="202"/>
                  </a:lnTo>
                  <a:lnTo>
                    <a:pt x="23" y="202"/>
                  </a:lnTo>
                  <a:lnTo>
                    <a:pt x="26" y="198"/>
                  </a:lnTo>
                  <a:lnTo>
                    <a:pt x="23" y="196"/>
                  </a:lnTo>
                  <a:lnTo>
                    <a:pt x="23" y="188"/>
                  </a:lnTo>
                  <a:lnTo>
                    <a:pt x="23" y="181"/>
                  </a:lnTo>
                  <a:lnTo>
                    <a:pt x="19" y="177"/>
                  </a:lnTo>
                  <a:lnTo>
                    <a:pt x="19" y="172"/>
                  </a:lnTo>
                  <a:lnTo>
                    <a:pt x="23" y="170"/>
                  </a:lnTo>
                  <a:lnTo>
                    <a:pt x="19" y="166"/>
                  </a:lnTo>
                  <a:lnTo>
                    <a:pt x="13" y="168"/>
                  </a:lnTo>
                  <a:lnTo>
                    <a:pt x="11" y="166"/>
                  </a:lnTo>
                  <a:lnTo>
                    <a:pt x="8" y="166"/>
                  </a:lnTo>
                  <a:lnTo>
                    <a:pt x="6" y="155"/>
                  </a:lnTo>
                  <a:lnTo>
                    <a:pt x="2" y="155"/>
                  </a:lnTo>
                  <a:lnTo>
                    <a:pt x="0" y="155"/>
                  </a:lnTo>
                  <a:lnTo>
                    <a:pt x="0" y="155"/>
                  </a:lnTo>
                  <a:lnTo>
                    <a:pt x="0" y="15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9" name="Freeform 130">
              <a:extLst>
                <a:ext uri="{FF2B5EF4-FFF2-40B4-BE49-F238E27FC236}">
                  <a16:creationId xmlns:a16="http://schemas.microsoft.com/office/drawing/2014/main" id="{B68CB1B6-989B-3644-8756-68F1092347A7}"/>
                </a:ext>
              </a:extLst>
            </p:cNvPr>
            <p:cNvSpPr>
              <a:spLocks/>
            </p:cNvSpPr>
            <p:nvPr/>
          </p:nvSpPr>
          <p:spPr bwMode="auto">
            <a:xfrm>
              <a:off x="6265224" y="2956794"/>
              <a:ext cx="85334" cy="89740"/>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0" name="Freeform 131">
              <a:extLst>
                <a:ext uri="{FF2B5EF4-FFF2-40B4-BE49-F238E27FC236}">
                  <a16:creationId xmlns:a16="http://schemas.microsoft.com/office/drawing/2014/main" id="{2B7CCA25-F4BF-A34F-8CA9-31A5A1730FDC}"/>
                </a:ext>
              </a:extLst>
            </p:cNvPr>
            <p:cNvSpPr>
              <a:spLocks/>
            </p:cNvSpPr>
            <p:nvPr/>
          </p:nvSpPr>
          <p:spPr bwMode="auto">
            <a:xfrm>
              <a:off x="6265224" y="2956794"/>
              <a:ext cx="85334" cy="89740"/>
            </a:xfrm>
            <a:custGeom>
              <a:avLst/>
              <a:gdLst/>
              <a:ahLst/>
              <a:cxnLst>
                <a:cxn ang="0">
                  <a:pos x="47" y="4"/>
                </a:cxn>
                <a:cxn ang="0">
                  <a:pos x="49" y="0"/>
                </a:cxn>
                <a:cxn ang="0">
                  <a:pos x="56" y="0"/>
                </a:cxn>
                <a:cxn ang="0">
                  <a:pos x="62" y="0"/>
                </a:cxn>
                <a:cxn ang="0">
                  <a:pos x="68" y="0"/>
                </a:cxn>
                <a:cxn ang="0">
                  <a:pos x="69" y="0"/>
                </a:cxn>
                <a:cxn ang="0">
                  <a:pos x="77" y="0"/>
                </a:cxn>
                <a:cxn ang="0">
                  <a:pos x="77" y="4"/>
                </a:cxn>
                <a:cxn ang="0">
                  <a:pos x="77" y="5"/>
                </a:cxn>
                <a:cxn ang="0">
                  <a:pos x="77" y="15"/>
                </a:cxn>
                <a:cxn ang="0">
                  <a:pos x="77" y="21"/>
                </a:cxn>
                <a:cxn ang="0">
                  <a:pos x="83" y="19"/>
                </a:cxn>
                <a:cxn ang="0">
                  <a:pos x="90" y="19"/>
                </a:cxn>
                <a:cxn ang="0">
                  <a:pos x="100" y="17"/>
                </a:cxn>
                <a:cxn ang="0">
                  <a:pos x="100" y="24"/>
                </a:cxn>
                <a:cxn ang="0">
                  <a:pos x="100" y="30"/>
                </a:cxn>
                <a:cxn ang="0">
                  <a:pos x="96" y="34"/>
                </a:cxn>
                <a:cxn ang="0">
                  <a:pos x="94" y="39"/>
                </a:cxn>
                <a:cxn ang="0">
                  <a:pos x="96" y="43"/>
                </a:cxn>
                <a:cxn ang="0">
                  <a:pos x="94" y="43"/>
                </a:cxn>
                <a:cxn ang="0">
                  <a:pos x="90" y="45"/>
                </a:cxn>
                <a:cxn ang="0">
                  <a:pos x="94" y="47"/>
                </a:cxn>
                <a:cxn ang="0">
                  <a:pos x="96" y="51"/>
                </a:cxn>
                <a:cxn ang="0">
                  <a:pos x="100" y="56"/>
                </a:cxn>
                <a:cxn ang="0">
                  <a:pos x="100" y="62"/>
                </a:cxn>
                <a:cxn ang="0">
                  <a:pos x="96" y="83"/>
                </a:cxn>
                <a:cxn ang="0">
                  <a:pos x="96" y="88"/>
                </a:cxn>
                <a:cxn ang="0">
                  <a:pos x="92" y="86"/>
                </a:cxn>
                <a:cxn ang="0">
                  <a:pos x="84" y="85"/>
                </a:cxn>
                <a:cxn ang="0">
                  <a:pos x="81" y="86"/>
                </a:cxn>
                <a:cxn ang="0">
                  <a:pos x="75" y="85"/>
                </a:cxn>
                <a:cxn ang="0">
                  <a:pos x="68" y="75"/>
                </a:cxn>
                <a:cxn ang="0">
                  <a:pos x="66" y="83"/>
                </a:cxn>
                <a:cxn ang="0">
                  <a:pos x="58" y="86"/>
                </a:cxn>
                <a:cxn ang="0">
                  <a:pos x="56" y="88"/>
                </a:cxn>
                <a:cxn ang="0">
                  <a:pos x="51" y="88"/>
                </a:cxn>
                <a:cxn ang="0">
                  <a:pos x="47" y="90"/>
                </a:cxn>
                <a:cxn ang="0">
                  <a:pos x="47" y="98"/>
                </a:cxn>
                <a:cxn ang="0">
                  <a:pos x="52" y="94"/>
                </a:cxn>
                <a:cxn ang="0">
                  <a:pos x="56" y="98"/>
                </a:cxn>
                <a:cxn ang="0">
                  <a:pos x="56" y="111"/>
                </a:cxn>
                <a:cxn ang="0">
                  <a:pos x="51" y="107"/>
                </a:cxn>
                <a:cxn ang="0">
                  <a:pos x="47" y="109"/>
                </a:cxn>
                <a:cxn ang="0">
                  <a:pos x="43" y="113"/>
                </a:cxn>
                <a:cxn ang="0">
                  <a:pos x="39" y="115"/>
                </a:cxn>
                <a:cxn ang="0">
                  <a:pos x="37" y="111"/>
                </a:cxn>
                <a:cxn ang="0">
                  <a:pos x="30" y="103"/>
                </a:cxn>
                <a:cxn ang="0">
                  <a:pos x="17" y="92"/>
                </a:cxn>
                <a:cxn ang="0">
                  <a:pos x="15" y="86"/>
                </a:cxn>
                <a:cxn ang="0">
                  <a:pos x="9" y="79"/>
                </a:cxn>
                <a:cxn ang="0">
                  <a:pos x="5" y="69"/>
                </a:cxn>
                <a:cxn ang="0">
                  <a:pos x="4" y="64"/>
                </a:cxn>
                <a:cxn ang="0">
                  <a:pos x="0" y="54"/>
                </a:cxn>
                <a:cxn ang="0">
                  <a:pos x="7" y="53"/>
                </a:cxn>
                <a:cxn ang="0">
                  <a:pos x="9" y="39"/>
                </a:cxn>
                <a:cxn ang="0">
                  <a:pos x="19" y="39"/>
                </a:cxn>
                <a:cxn ang="0">
                  <a:pos x="11" y="30"/>
                </a:cxn>
                <a:cxn ang="0">
                  <a:pos x="15" y="26"/>
                </a:cxn>
                <a:cxn ang="0">
                  <a:pos x="17" y="24"/>
                </a:cxn>
                <a:cxn ang="0">
                  <a:pos x="20" y="24"/>
                </a:cxn>
                <a:cxn ang="0">
                  <a:pos x="47" y="4"/>
                </a:cxn>
                <a:cxn ang="0">
                  <a:pos x="47" y="4"/>
                </a:cxn>
              </a:cxnLst>
              <a:rect l="0" t="0" r="r" b="b"/>
              <a:pathLst>
                <a:path w="100" h="117">
                  <a:moveTo>
                    <a:pt x="47" y="4"/>
                  </a:moveTo>
                  <a:lnTo>
                    <a:pt x="47" y="4"/>
                  </a:lnTo>
                  <a:lnTo>
                    <a:pt x="47" y="0"/>
                  </a:lnTo>
                  <a:lnTo>
                    <a:pt x="49" y="0"/>
                  </a:lnTo>
                  <a:lnTo>
                    <a:pt x="51" y="0"/>
                  </a:lnTo>
                  <a:lnTo>
                    <a:pt x="56" y="0"/>
                  </a:lnTo>
                  <a:lnTo>
                    <a:pt x="58" y="0"/>
                  </a:lnTo>
                  <a:lnTo>
                    <a:pt x="62" y="0"/>
                  </a:lnTo>
                  <a:lnTo>
                    <a:pt x="64" y="0"/>
                  </a:lnTo>
                  <a:lnTo>
                    <a:pt x="68" y="0"/>
                  </a:lnTo>
                  <a:lnTo>
                    <a:pt x="69" y="0"/>
                  </a:lnTo>
                  <a:lnTo>
                    <a:pt x="69" y="0"/>
                  </a:lnTo>
                  <a:lnTo>
                    <a:pt x="75" y="0"/>
                  </a:lnTo>
                  <a:lnTo>
                    <a:pt x="77" y="0"/>
                  </a:lnTo>
                  <a:lnTo>
                    <a:pt x="77" y="0"/>
                  </a:lnTo>
                  <a:lnTo>
                    <a:pt x="77" y="4"/>
                  </a:lnTo>
                  <a:lnTo>
                    <a:pt x="77" y="4"/>
                  </a:lnTo>
                  <a:lnTo>
                    <a:pt x="77" y="5"/>
                  </a:lnTo>
                  <a:lnTo>
                    <a:pt x="77" y="9"/>
                  </a:lnTo>
                  <a:lnTo>
                    <a:pt x="77" y="15"/>
                  </a:lnTo>
                  <a:lnTo>
                    <a:pt x="77" y="17"/>
                  </a:lnTo>
                  <a:lnTo>
                    <a:pt x="77" y="21"/>
                  </a:lnTo>
                  <a:lnTo>
                    <a:pt x="81" y="21"/>
                  </a:lnTo>
                  <a:lnTo>
                    <a:pt x="83" y="19"/>
                  </a:lnTo>
                  <a:lnTo>
                    <a:pt x="84" y="21"/>
                  </a:lnTo>
                  <a:lnTo>
                    <a:pt x="90" y="19"/>
                  </a:lnTo>
                  <a:lnTo>
                    <a:pt x="94" y="17"/>
                  </a:lnTo>
                  <a:lnTo>
                    <a:pt x="100" y="17"/>
                  </a:lnTo>
                  <a:lnTo>
                    <a:pt x="100" y="19"/>
                  </a:lnTo>
                  <a:lnTo>
                    <a:pt x="100" y="24"/>
                  </a:lnTo>
                  <a:lnTo>
                    <a:pt x="100" y="28"/>
                  </a:lnTo>
                  <a:lnTo>
                    <a:pt x="100" y="30"/>
                  </a:lnTo>
                  <a:lnTo>
                    <a:pt x="100" y="34"/>
                  </a:lnTo>
                  <a:lnTo>
                    <a:pt x="96" y="34"/>
                  </a:lnTo>
                  <a:lnTo>
                    <a:pt x="94" y="34"/>
                  </a:lnTo>
                  <a:lnTo>
                    <a:pt x="94" y="39"/>
                  </a:lnTo>
                  <a:lnTo>
                    <a:pt x="94" y="39"/>
                  </a:lnTo>
                  <a:lnTo>
                    <a:pt x="96" y="43"/>
                  </a:lnTo>
                  <a:lnTo>
                    <a:pt x="94" y="43"/>
                  </a:lnTo>
                  <a:lnTo>
                    <a:pt x="94" y="43"/>
                  </a:lnTo>
                  <a:lnTo>
                    <a:pt x="90" y="43"/>
                  </a:lnTo>
                  <a:lnTo>
                    <a:pt x="90" y="45"/>
                  </a:lnTo>
                  <a:lnTo>
                    <a:pt x="92" y="47"/>
                  </a:lnTo>
                  <a:lnTo>
                    <a:pt x="94" y="47"/>
                  </a:lnTo>
                  <a:lnTo>
                    <a:pt x="96" y="49"/>
                  </a:lnTo>
                  <a:lnTo>
                    <a:pt x="96" y="51"/>
                  </a:lnTo>
                  <a:lnTo>
                    <a:pt x="100" y="53"/>
                  </a:lnTo>
                  <a:lnTo>
                    <a:pt x="100" y="56"/>
                  </a:lnTo>
                  <a:lnTo>
                    <a:pt x="100" y="58"/>
                  </a:lnTo>
                  <a:lnTo>
                    <a:pt x="100" y="62"/>
                  </a:lnTo>
                  <a:lnTo>
                    <a:pt x="100" y="69"/>
                  </a:lnTo>
                  <a:lnTo>
                    <a:pt x="96" y="83"/>
                  </a:lnTo>
                  <a:lnTo>
                    <a:pt x="96" y="85"/>
                  </a:lnTo>
                  <a:lnTo>
                    <a:pt x="96" y="88"/>
                  </a:lnTo>
                  <a:lnTo>
                    <a:pt x="94" y="88"/>
                  </a:lnTo>
                  <a:lnTo>
                    <a:pt x="92" y="86"/>
                  </a:lnTo>
                  <a:lnTo>
                    <a:pt x="88" y="85"/>
                  </a:lnTo>
                  <a:lnTo>
                    <a:pt x="84" y="85"/>
                  </a:lnTo>
                  <a:lnTo>
                    <a:pt x="83" y="86"/>
                  </a:lnTo>
                  <a:lnTo>
                    <a:pt x="81" y="86"/>
                  </a:lnTo>
                  <a:lnTo>
                    <a:pt x="77" y="86"/>
                  </a:lnTo>
                  <a:lnTo>
                    <a:pt x="75" y="85"/>
                  </a:lnTo>
                  <a:lnTo>
                    <a:pt x="71" y="75"/>
                  </a:lnTo>
                  <a:lnTo>
                    <a:pt x="68" y="75"/>
                  </a:lnTo>
                  <a:lnTo>
                    <a:pt x="66" y="77"/>
                  </a:lnTo>
                  <a:lnTo>
                    <a:pt x="66" y="83"/>
                  </a:lnTo>
                  <a:lnTo>
                    <a:pt x="66" y="86"/>
                  </a:lnTo>
                  <a:lnTo>
                    <a:pt x="58" y="86"/>
                  </a:lnTo>
                  <a:lnTo>
                    <a:pt x="58" y="86"/>
                  </a:lnTo>
                  <a:lnTo>
                    <a:pt x="56" y="88"/>
                  </a:lnTo>
                  <a:lnTo>
                    <a:pt x="54" y="90"/>
                  </a:lnTo>
                  <a:lnTo>
                    <a:pt x="51" y="88"/>
                  </a:lnTo>
                  <a:lnTo>
                    <a:pt x="47" y="88"/>
                  </a:lnTo>
                  <a:lnTo>
                    <a:pt x="47" y="90"/>
                  </a:lnTo>
                  <a:lnTo>
                    <a:pt x="47" y="92"/>
                  </a:lnTo>
                  <a:lnTo>
                    <a:pt x="47" y="98"/>
                  </a:lnTo>
                  <a:lnTo>
                    <a:pt x="49" y="94"/>
                  </a:lnTo>
                  <a:lnTo>
                    <a:pt x="52" y="94"/>
                  </a:lnTo>
                  <a:lnTo>
                    <a:pt x="54" y="94"/>
                  </a:lnTo>
                  <a:lnTo>
                    <a:pt x="56" y="98"/>
                  </a:lnTo>
                  <a:lnTo>
                    <a:pt x="58" y="107"/>
                  </a:lnTo>
                  <a:lnTo>
                    <a:pt x="56" y="111"/>
                  </a:lnTo>
                  <a:lnTo>
                    <a:pt x="52" y="107"/>
                  </a:lnTo>
                  <a:lnTo>
                    <a:pt x="51" y="107"/>
                  </a:lnTo>
                  <a:lnTo>
                    <a:pt x="49" y="109"/>
                  </a:lnTo>
                  <a:lnTo>
                    <a:pt x="47" y="109"/>
                  </a:lnTo>
                  <a:lnTo>
                    <a:pt x="43" y="109"/>
                  </a:lnTo>
                  <a:lnTo>
                    <a:pt x="43" y="113"/>
                  </a:lnTo>
                  <a:lnTo>
                    <a:pt x="39" y="117"/>
                  </a:lnTo>
                  <a:lnTo>
                    <a:pt x="39" y="115"/>
                  </a:lnTo>
                  <a:lnTo>
                    <a:pt x="37" y="115"/>
                  </a:lnTo>
                  <a:lnTo>
                    <a:pt x="37" y="111"/>
                  </a:lnTo>
                  <a:lnTo>
                    <a:pt x="30" y="107"/>
                  </a:lnTo>
                  <a:lnTo>
                    <a:pt x="30" y="103"/>
                  </a:lnTo>
                  <a:lnTo>
                    <a:pt x="20" y="98"/>
                  </a:lnTo>
                  <a:lnTo>
                    <a:pt x="17" y="92"/>
                  </a:lnTo>
                  <a:lnTo>
                    <a:pt x="17" y="90"/>
                  </a:lnTo>
                  <a:lnTo>
                    <a:pt x="15" y="86"/>
                  </a:lnTo>
                  <a:lnTo>
                    <a:pt x="11" y="83"/>
                  </a:lnTo>
                  <a:lnTo>
                    <a:pt x="9" y="79"/>
                  </a:lnTo>
                  <a:lnTo>
                    <a:pt x="9" y="73"/>
                  </a:lnTo>
                  <a:lnTo>
                    <a:pt x="5" y="69"/>
                  </a:lnTo>
                  <a:lnTo>
                    <a:pt x="5" y="68"/>
                  </a:lnTo>
                  <a:lnTo>
                    <a:pt x="4" y="64"/>
                  </a:lnTo>
                  <a:lnTo>
                    <a:pt x="0" y="56"/>
                  </a:lnTo>
                  <a:lnTo>
                    <a:pt x="0" y="54"/>
                  </a:lnTo>
                  <a:lnTo>
                    <a:pt x="4" y="56"/>
                  </a:lnTo>
                  <a:lnTo>
                    <a:pt x="7" y="53"/>
                  </a:lnTo>
                  <a:lnTo>
                    <a:pt x="9" y="43"/>
                  </a:lnTo>
                  <a:lnTo>
                    <a:pt x="9" y="39"/>
                  </a:lnTo>
                  <a:lnTo>
                    <a:pt x="11" y="39"/>
                  </a:lnTo>
                  <a:lnTo>
                    <a:pt x="19" y="39"/>
                  </a:lnTo>
                  <a:lnTo>
                    <a:pt x="15" y="37"/>
                  </a:lnTo>
                  <a:lnTo>
                    <a:pt x="11" y="30"/>
                  </a:lnTo>
                  <a:lnTo>
                    <a:pt x="15" y="30"/>
                  </a:lnTo>
                  <a:lnTo>
                    <a:pt x="15" y="26"/>
                  </a:lnTo>
                  <a:lnTo>
                    <a:pt x="15" y="26"/>
                  </a:lnTo>
                  <a:lnTo>
                    <a:pt x="17" y="24"/>
                  </a:lnTo>
                  <a:lnTo>
                    <a:pt x="20" y="24"/>
                  </a:lnTo>
                  <a:lnTo>
                    <a:pt x="20" y="24"/>
                  </a:lnTo>
                  <a:lnTo>
                    <a:pt x="47" y="26"/>
                  </a:lnTo>
                  <a:lnTo>
                    <a:pt x="47" y="4"/>
                  </a:lnTo>
                  <a:lnTo>
                    <a:pt x="47" y="4"/>
                  </a:lnTo>
                  <a:lnTo>
                    <a:pt x="47" y="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1" name="Freeform 132">
              <a:extLst>
                <a:ext uri="{FF2B5EF4-FFF2-40B4-BE49-F238E27FC236}">
                  <a16:creationId xmlns:a16="http://schemas.microsoft.com/office/drawing/2014/main" id="{38289E9B-17EF-B04E-8D97-F5D87F9143E5}"/>
                </a:ext>
              </a:extLst>
            </p:cNvPr>
            <p:cNvSpPr>
              <a:spLocks/>
            </p:cNvSpPr>
            <p:nvPr/>
          </p:nvSpPr>
          <p:spPr bwMode="auto">
            <a:xfrm>
              <a:off x="6269490" y="2956794"/>
              <a:ext cx="35840" cy="19942"/>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2" name="Freeform 133">
              <a:extLst>
                <a:ext uri="{FF2B5EF4-FFF2-40B4-BE49-F238E27FC236}">
                  <a16:creationId xmlns:a16="http://schemas.microsoft.com/office/drawing/2014/main" id="{79F228CE-B683-0D40-9B00-3FB0EAD0890F}"/>
                </a:ext>
              </a:extLst>
            </p:cNvPr>
            <p:cNvSpPr>
              <a:spLocks/>
            </p:cNvSpPr>
            <p:nvPr/>
          </p:nvSpPr>
          <p:spPr bwMode="auto">
            <a:xfrm>
              <a:off x="6269490" y="2956794"/>
              <a:ext cx="35840" cy="19942"/>
            </a:xfrm>
            <a:custGeom>
              <a:avLst/>
              <a:gdLst/>
              <a:ahLst/>
              <a:cxnLst>
                <a:cxn ang="0">
                  <a:pos x="6" y="26"/>
                </a:cxn>
                <a:cxn ang="0">
                  <a:pos x="8" y="26"/>
                </a:cxn>
                <a:cxn ang="0">
                  <a:pos x="8" y="26"/>
                </a:cxn>
                <a:cxn ang="0">
                  <a:pos x="14" y="26"/>
                </a:cxn>
                <a:cxn ang="0">
                  <a:pos x="14" y="26"/>
                </a:cxn>
                <a:cxn ang="0">
                  <a:pos x="42" y="26"/>
                </a:cxn>
                <a:cxn ang="0">
                  <a:pos x="42" y="0"/>
                </a:cxn>
                <a:cxn ang="0">
                  <a:pos x="17" y="0"/>
                </a:cxn>
                <a:cxn ang="0">
                  <a:pos x="17" y="0"/>
                </a:cxn>
                <a:cxn ang="0">
                  <a:pos x="14" y="0"/>
                </a:cxn>
                <a:cxn ang="0">
                  <a:pos x="12" y="0"/>
                </a:cxn>
                <a:cxn ang="0">
                  <a:pos x="8" y="0"/>
                </a:cxn>
                <a:cxn ang="0">
                  <a:pos x="12" y="4"/>
                </a:cxn>
                <a:cxn ang="0">
                  <a:pos x="6" y="13"/>
                </a:cxn>
                <a:cxn ang="0">
                  <a:pos x="0" y="24"/>
                </a:cxn>
                <a:cxn ang="0">
                  <a:pos x="6" y="26"/>
                </a:cxn>
                <a:cxn ang="0">
                  <a:pos x="6" y="26"/>
                </a:cxn>
                <a:cxn ang="0">
                  <a:pos x="6" y="26"/>
                </a:cxn>
                <a:cxn ang="0">
                  <a:pos x="6" y="26"/>
                </a:cxn>
              </a:cxnLst>
              <a:rect l="0" t="0" r="r" b="b"/>
              <a:pathLst>
                <a:path w="42" h="26">
                  <a:moveTo>
                    <a:pt x="6" y="26"/>
                  </a:moveTo>
                  <a:lnTo>
                    <a:pt x="8" y="26"/>
                  </a:lnTo>
                  <a:lnTo>
                    <a:pt x="8" y="26"/>
                  </a:lnTo>
                  <a:lnTo>
                    <a:pt x="14" y="26"/>
                  </a:lnTo>
                  <a:lnTo>
                    <a:pt x="14" y="26"/>
                  </a:lnTo>
                  <a:lnTo>
                    <a:pt x="42" y="26"/>
                  </a:lnTo>
                  <a:lnTo>
                    <a:pt x="42" y="0"/>
                  </a:lnTo>
                  <a:lnTo>
                    <a:pt x="17" y="0"/>
                  </a:lnTo>
                  <a:lnTo>
                    <a:pt x="17" y="0"/>
                  </a:lnTo>
                  <a:lnTo>
                    <a:pt x="14" y="0"/>
                  </a:lnTo>
                  <a:lnTo>
                    <a:pt x="12" y="0"/>
                  </a:lnTo>
                  <a:lnTo>
                    <a:pt x="8" y="0"/>
                  </a:lnTo>
                  <a:lnTo>
                    <a:pt x="12" y="4"/>
                  </a:lnTo>
                  <a:lnTo>
                    <a:pt x="6" y="13"/>
                  </a:lnTo>
                  <a:lnTo>
                    <a:pt x="0" y="24"/>
                  </a:lnTo>
                  <a:lnTo>
                    <a:pt x="6" y="26"/>
                  </a:lnTo>
                  <a:lnTo>
                    <a:pt x="6" y="26"/>
                  </a:lnTo>
                  <a:lnTo>
                    <a:pt x="6" y="26"/>
                  </a:lnTo>
                  <a:lnTo>
                    <a:pt x="6" y="2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3" name="Freeform 134">
              <a:extLst>
                <a:ext uri="{FF2B5EF4-FFF2-40B4-BE49-F238E27FC236}">
                  <a16:creationId xmlns:a16="http://schemas.microsoft.com/office/drawing/2014/main" id="{192853E5-0024-F048-8859-281A96352630}"/>
                </a:ext>
              </a:extLst>
            </p:cNvPr>
            <p:cNvSpPr>
              <a:spLocks/>
            </p:cNvSpPr>
            <p:nvPr/>
          </p:nvSpPr>
          <p:spPr bwMode="auto">
            <a:xfrm>
              <a:off x="6296796" y="2933784"/>
              <a:ext cx="125440" cy="128091"/>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4" name="Freeform 135">
              <a:extLst>
                <a:ext uri="{FF2B5EF4-FFF2-40B4-BE49-F238E27FC236}">
                  <a16:creationId xmlns:a16="http://schemas.microsoft.com/office/drawing/2014/main" id="{EA6414D8-D54F-0C43-B481-398A63622498}"/>
                </a:ext>
              </a:extLst>
            </p:cNvPr>
            <p:cNvSpPr>
              <a:spLocks/>
            </p:cNvSpPr>
            <p:nvPr/>
          </p:nvSpPr>
          <p:spPr bwMode="auto">
            <a:xfrm>
              <a:off x="6296796" y="2933784"/>
              <a:ext cx="125440" cy="128091"/>
            </a:xfrm>
            <a:custGeom>
              <a:avLst/>
              <a:gdLst/>
              <a:ahLst/>
              <a:cxnLst>
                <a:cxn ang="0">
                  <a:pos x="4" y="139"/>
                </a:cxn>
                <a:cxn ang="0">
                  <a:pos x="12" y="137"/>
                </a:cxn>
                <a:cxn ang="0">
                  <a:pos x="19" y="137"/>
                </a:cxn>
                <a:cxn ang="0">
                  <a:pos x="14" y="124"/>
                </a:cxn>
                <a:cxn ang="0">
                  <a:pos x="8" y="122"/>
                </a:cxn>
                <a:cxn ang="0">
                  <a:pos x="12" y="118"/>
                </a:cxn>
                <a:cxn ang="0">
                  <a:pos x="19" y="116"/>
                </a:cxn>
                <a:cxn ang="0">
                  <a:pos x="29" y="113"/>
                </a:cxn>
                <a:cxn ang="0">
                  <a:pos x="32" y="105"/>
                </a:cxn>
                <a:cxn ang="0">
                  <a:pos x="44" y="116"/>
                </a:cxn>
                <a:cxn ang="0">
                  <a:pos x="51" y="115"/>
                </a:cxn>
                <a:cxn ang="0">
                  <a:pos x="59" y="118"/>
                </a:cxn>
                <a:cxn ang="0">
                  <a:pos x="63" y="98"/>
                </a:cxn>
                <a:cxn ang="0">
                  <a:pos x="63" y="84"/>
                </a:cxn>
                <a:cxn ang="0">
                  <a:pos x="59" y="79"/>
                </a:cxn>
                <a:cxn ang="0">
                  <a:pos x="53" y="75"/>
                </a:cxn>
                <a:cxn ang="0">
                  <a:pos x="57" y="71"/>
                </a:cxn>
                <a:cxn ang="0">
                  <a:pos x="57" y="67"/>
                </a:cxn>
                <a:cxn ang="0">
                  <a:pos x="64" y="62"/>
                </a:cxn>
                <a:cxn ang="0">
                  <a:pos x="64" y="52"/>
                </a:cxn>
                <a:cxn ang="0">
                  <a:pos x="57" y="47"/>
                </a:cxn>
                <a:cxn ang="0">
                  <a:pos x="46" y="49"/>
                </a:cxn>
                <a:cxn ang="0">
                  <a:pos x="40" y="47"/>
                </a:cxn>
                <a:cxn ang="0">
                  <a:pos x="38" y="35"/>
                </a:cxn>
                <a:cxn ang="0">
                  <a:pos x="68" y="34"/>
                </a:cxn>
                <a:cxn ang="0">
                  <a:pos x="70" y="34"/>
                </a:cxn>
                <a:cxn ang="0">
                  <a:pos x="78" y="35"/>
                </a:cxn>
                <a:cxn ang="0">
                  <a:pos x="79" y="35"/>
                </a:cxn>
                <a:cxn ang="0">
                  <a:pos x="89" y="35"/>
                </a:cxn>
                <a:cxn ang="0">
                  <a:pos x="93" y="37"/>
                </a:cxn>
                <a:cxn ang="0">
                  <a:pos x="96" y="35"/>
                </a:cxn>
                <a:cxn ang="0">
                  <a:pos x="98" y="28"/>
                </a:cxn>
                <a:cxn ang="0">
                  <a:pos x="113" y="7"/>
                </a:cxn>
                <a:cxn ang="0">
                  <a:pos x="125" y="0"/>
                </a:cxn>
                <a:cxn ang="0">
                  <a:pos x="134" y="0"/>
                </a:cxn>
                <a:cxn ang="0">
                  <a:pos x="142" y="3"/>
                </a:cxn>
                <a:cxn ang="0">
                  <a:pos x="145" y="3"/>
                </a:cxn>
                <a:cxn ang="0">
                  <a:pos x="143" y="17"/>
                </a:cxn>
                <a:cxn ang="0">
                  <a:pos x="136" y="35"/>
                </a:cxn>
                <a:cxn ang="0">
                  <a:pos x="130" y="49"/>
                </a:cxn>
                <a:cxn ang="0">
                  <a:pos x="130" y="60"/>
                </a:cxn>
                <a:cxn ang="0">
                  <a:pos x="128" y="69"/>
                </a:cxn>
                <a:cxn ang="0">
                  <a:pos x="119" y="92"/>
                </a:cxn>
                <a:cxn ang="0">
                  <a:pos x="110" y="94"/>
                </a:cxn>
                <a:cxn ang="0">
                  <a:pos x="104" y="105"/>
                </a:cxn>
                <a:cxn ang="0">
                  <a:pos x="96" y="122"/>
                </a:cxn>
                <a:cxn ang="0">
                  <a:pos x="95" y="137"/>
                </a:cxn>
                <a:cxn ang="0">
                  <a:pos x="89" y="147"/>
                </a:cxn>
                <a:cxn ang="0">
                  <a:pos x="78" y="160"/>
                </a:cxn>
                <a:cxn ang="0">
                  <a:pos x="64" y="164"/>
                </a:cxn>
                <a:cxn ang="0">
                  <a:pos x="64" y="154"/>
                </a:cxn>
                <a:cxn ang="0">
                  <a:pos x="55" y="158"/>
                </a:cxn>
                <a:cxn ang="0">
                  <a:pos x="49" y="162"/>
                </a:cxn>
                <a:cxn ang="0">
                  <a:pos x="44" y="164"/>
                </a:cxn>
                <a:cxn ang="0">
                  <a:pos x="38" y="162"/>
                </a:cxn>
                <a:cxn ang="0">
                  <a:pos x="38" y="154"/>
                </a:cxn>
                <a:cxn ang="0">
                  <a:pos x="29" y="158"/>
                </a:cxn>
                <a:cxn ang="0">
                  <a:pos x="23" y="164"/>
                </a:cxn>
                <a:cxn ang="0">
                  <a:pos x="17" y="167"/>
                </a:cxn>
                <a:cxn ang="0">
                  <a:pos x="12" y="160"/>
                </a:cxn>
                <a:cxn ang="0">
                  <a:pos x="6" y="150"/>
                </a:cxn>
                <a:cxn ang="0">
                  <a:pos x="0" y="147"/>
                </a:cxn>
              </a:cxnLst>
              <a:rect l="0" t="0" r="r" b="b"/>
              <a:pathLst>
                <a:path w="147" h="167">
                  <a:moveTo>
                    <a:pt x="0" y="147"/>
                  </a:moveTo>
                  <a:lnTo>
                    <a:pt x="4" y="143"/>
                  </a:lnTo>
                  <a:lnTo>
                    <a:pt x="4" y="139"/>
                  </a:lnTo>
                  <a:lnTo>
                    <a:pt x="6" y="139"/>
                  </a:lnTo>
                  <a:lnTo>
                    <a:pt x="10" y="139"/>
                  </a:lnTo>
                  <a:lnTo>
                    <a:pt x="12" y="137"/>
                  </a:lnTo>
                  <a:lnTo>
                    <a:pt x="14" y="137"/>
                  </a:lnTo>
                  <a:lnTo>
                    <a:pt x="17" y="141"/>
                  </a:lnTo>
                  <a:lnTo>
                    <a:pt x="19" y="137"/>
                  </a:lnTo>
                  <a:lnTo>
                    <a:pt x="17" y="128"/>
                  </a:lnTo>
                  <a:lnTo>
                    <a:pt x="15" y="124"/>
                  </a:lnTo>
                  <a:lnTo>
                    <a:pt x="14" y="124"/>
                  </a:lnTo>
                  <a:lnTo>
                    <a:pt x="10" y="124"/>
                  </a:lnTo>
                  <a:lnTo>
                    <a:pt x="6" y="128"/>
                  </a:lnTo>
                  <a:lnTo>
                    <a:pt x="8" y="122"/>
                  </a:lnTo>
                  <a:lnTo>
                    <a:pt x="6" y="118"/>
                  </a:lnTo>
                  <a:lnTo>
                    <a:pt x="8" y="118"/>
                  </a:lnTo>
                  <a:lnTo>
                    <a:pt x="12" y="118"/>
                  </a:lnTo>
                  <a:lnTo>
                    <a:pt x="15" y="118"/>
                  </a:lnTo>
                  <a:lnTo>
                    <a:pt x="17" y="118"/>
                  </a:lnTo>
                  <a:lnTo>
                    <a:pt x="19" y="116"/>
                  </a:lnTo>
                  <a:lnTo>
                    <a:pt x="19" y="116"/>
                  </a:lnTo>
                  <a:lnTo>
                    <a:pt x="29" y="116"/>
                  </a:lnTo>
                  <a:lnTo>
                    <a:pt x="29" y="113"/>
                  </a:lnTo>
                  <a:lnTo>
                    <a:pt x="29" y="107"/>
                  </a:lnTo>
                  <a:lnTo>
                    <a:pt x="29" y="105"/>
                  </a:lnTo>
                  <a:lnTo>
                    <a:pt x="32" y="105"/>
                  </a:lnTo>
                  <a:lnTo>
                    <a:pt x="38" y="115"/>
                  </a:lnTo>
                  <a:lnTo>
                    <a:pt x="38" y="116"/>
                  </a:lnTo>
                  <a:lnTo>
                    <a:pt x="44" y="116"/>
                  </a:lnTo>
                  <a:lnTo>
                    <a:pt x="46" y="116"/>
                  </a:lnTo>
                  <a:lnTo>
                    <a:pt x="47" y="115"/>
                  </a:lnTo>
                  <a:lnTo>
                    <a:pt x="51" y="115"/>
                  </a:lnTo>
                  <a:lnTo>
                    <a:pt x="55" y="116"/>
                  </a:lnTo>
                  <a:lnTo>
                    <a:pt x="57" y="118"/>
                  </a:lnTo>
                  <a:lnTo>
                    <a:pt x="59" y="118"/>
                  </a:lnTo>
                  <a:lnTo>
                    <a:pt x="59" y="115"/>
                  </a:lnTo>
                  <a:lnTo>
                    <a:pt x="59" y="113"/>
                  </a:lnTo>
                  <a:lnTo>
                    <a:pt x="63" y="98"/>
                  </a:lnTo>
                  <a:lnTo>
                    <a:pt x="64" y="92"/>
                  </a:lnTo>
                  <a:lnTo>
                    <a:pt x="64" y="88"/>
                  </a:lnTo>
                  <a:lnTo>
                    <a:pt x="63" y="84"/>
                  </a:lnTo>
                  <a:lnTo>
                    <a:pt x="63" y="83"/>
                  </a:lnTo>
                  <a:lnTo>
                    <a:pt x="59" y="79"/>
                  </a:lnTo>
                  <a:lnTo>
                    <a:pt x="59" y="79"/>
                  </a:lnTo>
                  <a:lnTo>
                    <a:pt x="57" y="77"/>
                  </a:lnTo>
                  <a:lnTo>
                    <a:pt x="55" y="77"/>
                  </a:lnTo>
                  <a:lnTo>
                    <a:pt x="53" y="75"/>
                  </a:lnTo>
                  <a:lnTo>
                    <a:pt x="53" y="73"/>
                  </a:lnTo>
                  <a:lnTo>
                    <a:pt x="57" y="71"/>
                  </a:lnTo>
                  <a:lnTo>
                    <a:pt x="57" y="71"/>
                  </a:lnTo>
                  <a:lnTo>
                    <a:pt x="59" y="71"/>
                  </a:lnTo>
                  <a:lnTo>
                    <a:pt x="57" y="67"/>
                  </a:lnTo>
                  <a:lnTo>
                    <a:pt x="57" y="67"/>
                  </a:lnTo>
                  <a:lnTo>
                    <a:pt x="57" y="64"/>
                  </a:lnTo>
                  <a:lnTo>
                    <a:pt x="61" y="62"/>
                  </a:lnTo>
                  <a:lnTo>
                    <a:pt x="64" y="62"/>
                  </a:lnTo>
                  <a:lnTo>
                    <a:pt x="64" y="58"/>
                  </a:lnTo>
                  <a:lnTo>
                    <a:pt x="64" y="56"/>
                  </a:lnTo>
                  <a:lnTo>
                    <a:pt x="64" y="52"/>
                  </a:lnTo>
                  <a:lnTo>
                    <a:pt x="64" y="49"/>
                  </a:lnTo>
                  <a:lnTo>
                    <a:pt x="63" y="47"/>
                  </a:lnTo>
                  <a:lnTo>
                    <a:pt x="57" y="47"/>
                  </a:lnTo>
                  <a:lnTo>
                    <a:pt x="53" y="49"/>
                  </a:lnTo>
                  <a:lnTo>
                    <a:pt x="47" y="49"/>
                  </a:lnTo>
                  <a:lnTo>
                    <a:pt x="46" y="49"/>
                  </a:lnTo>
                  <a:lnTo>
                    <a:pt x="42" y="49"/>
                  </a:lnTo>
                  <a:lnTo>
                    <a:pt x="40" y="49"/>
                  </a:lnTo>
                  <a:lnTo>
                    <a:pt x="40" y="47"/>
                  </a:lnTo>
                  <a:lnTo>
                    <a:pt x="40" y="43"/>
                  </a:lnTo>
                  <a:lnTo>
                    <a:pt x="40" y="39"/>
                  </a:lnTo>
                  <a:lnTo>
                    <a:pt x="38" y="35"/>
                  </a:lnTo>
                  <a:lnTo>
                    <a:pt x="40" y="32"/>
                  </a:lnTo>
                  <a:lnTo>
                    <a:pt x="64" y="32"/>
                  </a:lnTo>
                  <a:lnTo>
                    <a:pt x="68" y="34"/>
                  </a:lnTo>
                  <a:lnTo>
                    <a:pt x="68" y="32"/>
                  </a:lnTo>
                  <a:lnTo>
                    <a:pt x="70" y="32"/>
                  </a:lnTo>
                  <a:lnTo>
                    <a:pt x="70" y="34"/>
                  </a:lnTo>
                  <a:lnTo>
                    <a:pt x="74" y="34"/>
                  </a:lnTo>
                  <a:lnTo>
                    <a:pt x="74" y="34"/>
                  </a:lnTo>
                  <a:lnTo>
                    <a:pt x="78" y="35"/>
                  </a:lnTo>
                  <a:lnTo>
                    <a:pt x="79" y="35"/>
                  </a:lnTo>
                  <a:lnTo>
                    <a:pt x="79" y="34"/>
                  </a:lnTo>
                  <a:lnTo>
                    <a:pt x="79" y="35"/>
                  </a:lnTo>
                  <a:lnTo>
                    <a:pt x="83" y="37"/>
                  </a:lnTo>
                  <a:lnTo>
                    <a:pt x="85" y="35"/>
                  </a:lnTo>
                  <a:lnTo>
                    <a:pt x="89" y="35"/>
                  </a:lnTo>
                  <a:lnTo>
                    <a:pt x="91" y="37"/>
                  </a:lnTo>
                  <a:lnTo>
                    <a:pt x="93" y="37"/>
                  </a:lnTo>
                  <a:lnTo>
                    <a:pt x="93" y="37"/>
                  </a:lnTo>
                  <a:lnTo>
                    <a:pt x="95" y="37"/>
                  </a:lnTo>
                  <a:lnTo>
                    <a:pt x="96" y="37"/>
                  </a:lnTo>
                  <a:lnTo>
                    <a:pt x="96" y="35"/>
                  </a:lnTo>
                  <a:lnTo>
                    <a:pt x="95" y="34"/>
                  </a:lnTo>
                  <a:lnTo>
                    <a:pt x="96" y="32"/>
                  </a:lnTo>
                  <a:lnTo>
                    <a:pt x="98" y="28"/>
                  </a:lnTo>
                  <a:lnTo>
                    <a:pt x="98" y="26"/>
                  </a:lnTo>
                  <a:lnTo>
                    <a:pt x="108" y="9"/>
                  </a:lnTo>
                  <a:lnTo>
                    <a:pt x="113" y="7"/>
                  </a:lnTo>
                  <a:lnTo>
                    <a:pt x="115" y="3"/>
                  </a:lnTo>
                  <a:lnTo>
                    <a:pt x="119" y="3"/>
                  </a:lnTo>
                  <a:lnTo>
                    <a:pt x="125" y="0"/>
                  </a:lnTo>
                  <a:lnTo>
                    <a:pt x="128" y="2"/>
                  </a:lnTo>
                  <a:lnTo>
                    <a:pt x="130" y="0"/>
                  </a:lnTo>
                  <a:lnTo>
                    <a:pt x="134" y="0"/>
                  </a:lnTo>
                  <a:lnTo>
                    <a:pt x="136" y="0"/>
                  </a:lnTo>
                  <a:lnTo>
                    <a:pt x="138" y="2"/>
                  </a:lnTo>
                  <a:lnTo>
                    <a:pt x="142" y="3"/>
                  </a:lnTo>
                  <a:lnTo>
                    <a:pt x="143" y="2"/>
                  </a:lnTo>
                  <a:lnTo>
                    <a:pt x="145" y="2"/>
                  </a:lnTo>
                  <a:lnTo>
                    <a:pt x="145" y="3"/>
                  </a:lnTo>
                  <a:lnTo>
                    <a:pt x="147" y="7"/>
                  </a:lnTo>
                  <a:lnTo>
                    <a:pt x="147" y="13"/>
                  </a:lnTo>
                  <a:lnTo>
                    <a:pt x="143" y="17"/>
                  </a:lnTo>
                  <a:lnTo>
                    <a:pt x="142" y="18"/>
                  </a:lnTo>
                  <a:lnTo>
                    <a:pt x="134" y="30"/>
                  </a:lnTo>
                  <a:lnTo>
                    <a:pt x="136" y="35"/>
                  </a:lnTo>
                  <a:lnTo>
                    <a:pt x="134" y="41"/>
                  </a:lnTo>
                  <a:lnTo>
                    <a:pt x="134" y="43"/>
                  </a:lnTo>
                  <a:lnTo>
                    <a:pt x="130" y="49"/>
                  </a:lnTo>
                  <a:lnTo>
                    <a:pt x="130" y="52"/>
                  </a:lnTo>
                  <a:lnTo>
                    <a:pt x="130" y="54"/>
                  </a:lnTo>
                  <a:lnTo>
                    <a:pt x="130" y="60"/>
                  </a:lnTo>
                  <a:lnTo>
                    <a:pt x="130" y="62"/>
                  </a:lnTo>
                  <a:lnTo>
                    <a:pt x="130" y="67"/>
                  </a:lnTo>
                  <a:lnTo>
                    <a:pt x="128" y="69"/>
                  </a:lnTo>
                  <a:lnTo>
                    <a:pt x="128" y="75"/>
                  </a:lnTo>
                  <a:lnTo>
                    <a:pt x="128" y="83"/>
                  </a:lnTo>
                  <a:lnTo>
                    <a:pt x="119" y="92"/>
                  </a:lnTo>
                  <a:lnTo>
                    <a:pt x="115" y="92"/>
                  </a:lnTo>
                  <a:lnTo>
                    <a:pt x="113" y="94"/>
                  </a:lnTo>
                  <a:lnTo>
                    <a:pt x="110" y="94"/>
                  </a:lnTo>
                  <a:lnTo>
                    <a:pt x="108" y="98"/>
                  </a:lnTo>
                  <a:lnTo>
                    <a:pt x="104" y="101"/>
                  </a:lnTo>
                  <a:lnTo>
                    <a:pt x="104" y="105"/>
                  </a:lnTo>
                  <a:lnTo>
                    <a:pt x="96" y="111"/>
                  </a:lnTo>
                  <a:lnTo>
                    <a:pt x="95" y="116"/>
                  </a:lnTo>
                  <a:lnTo>
                    <a:pt x="96" y="122"/>
                  </a:lnTo>
                  <a:lnTo>
                    <a:pt x="96" y="122"/>
                  </a:lnTo>
                  <a:lnTo>
                    <a:pt x="96" y="132"/>
                  </a:lnTo>
                  <a:lnTo>
                    <a:pt x="95" y="137"/>
                  </a:lnTo>
                  <a:lnTo>
                    <a:pt x="95" y="141"/>
                  </a:lnTo>
                  <a:lnTo>
                    <a:pt x="93" y="147"/>
                  </a:lnTo>
                  <a:lnTo>
                    <a:pt x="89" y="147"/>
                  </a:lnTo>
                  <a:lnTo>
                    <a:pt x="85" y="148"/>
                  </a:lnTo>
                  <a:lnTo>
                    <a:pt x="83" y="152"/>
                  </a:lnTo>
                  <a:lnTo>
                    <a:pt x="78" y="160"/>
                  </a:lnTo>
                  <a:lnTo>
                    <a:pt x="74" y="164"/>
                  </a:lnTo>
                  <a:lnTo>
                    <a:pt x="70" y="164"/>
                  </a:lnTo>
                  <a:lnTo>
                    <a:pt x="64" y="164"/>
                  </a:lnTo>
                  <a:lnTo>
                    <a:pt x="64" y="160"/>
                  </a:lnTo>
                  <a:lnTo>
                    <a:pt x="63" y="160"/>
                  </a:lnTo>
                  <a:lnTo>
                    <a:pt x="64" y="154"/>
                  </a:lnTo>
                  <a:lnTo>
                    <a:pt x="64" y="152"/>
                  </a:lnTo>
                  <a:lnTo>
                    <a:pt x="61" y="154"/>
                  </a:lnTo>
                  <a:lnTo>
                    <a:pt x="55" y="158"/>
                  </a:lnTo>
                  <a:lnTo>
                    <a:pt x="53" y="158"/>
                  </a:lnTo>
                  <a:lnTo>
                    <a:pt x="51" y="158"/>
                  </a:lnTo>
                  <a:lnTo>
                    <a:pt x="49" y="162"/>
                  </a:lnTo>
                  <a:lnTo>
                    <a:pt x="47" y="164"/>
                  </a:lnTo>
                  <a:lnTo>
                    <a:pt x="44" y="164"/>
                  </a:lnTo>
                  <a:lnTo>
                    <a:pt x="44" y="164"/>
                  </a:lnTo>
                  <a:lnTo>
                    <a:pt x="44" y="162"/>
                  </a:lnTo>
                  <a:lnTo>
                    <a:pt x="40" y="162"/>
                  </a:lnTo>
                  <a:lnTo>
                    <a:pt x="38" y="162"/>
                  </a:lnTo>
                  <a:lnTo>
                    <a:pt x="38" y="164"/>
                  </a:lnTo>
                  <a:lnTo>
                    <a:pt x="38" y="160"/>
                  </a:lnTo>
                  <a:lnTo>
                    <a:pt x="38" y="154"/>
                  </a:lnTo>
                  <a:lnTo>
                    <a:pt x="32" y="154"/>
                  </a:lnTo>
                  <a:lnTo>
                    <a:pt x="32" y="154"/>
                  </a:lnTo>
                  <a:lnTo>
                    <a:pt x="29" y="158"/>
                  </a:lnTo>
                  <a:lnTo>
                    <a:pt x="25" y="158"/>
                  </a:lnTo>
                  <a:lnTo>
                    <a:pt x="25" y="162"/>
                  </a:lnTo>
                  <a:lnTo>
                    <a:pt x="23" y="164"/>
                  </a:lnTo>
                  <a:lnTo>
                    <a:pt x="19" y="164"/>
                  </a:lnTo>
                  <a:lnTo>
                    <a:pt x="19" y="167"/>
                  </a:lnTo>
                  <a:lnTo>
                    <a:pt x="17" y="167"/>
                  </a:lnTo>
                  <a:lnTo>
                    <a:pt x="15" y="167"/>
                  </a:lnTo>
                  <a:lnTo>
                    <a:pt x="15" y="164"/>
                  </a:lnTo>
                  <a:lnTo>
                    <a:pt x="12" y="160"/>
                  </a:lnTo>
                  <a:lnTo>
                    <a:pt x="12" y="154"/>
                  </a:lnTo>
                  <a:lnTo>
                    <a:pt x="6" y="152"/>
                  </a:lnTo>
                  <a:lnTo>
                    <a:pt x="6" y="150"/>
                  </a:lnTo>
                  <a:lnTo>
                    <a:pt x="0" y="147"/>
                  </a:lnTo>
                  <a:lnTo>
                    <a:pt x="0" y="147"/>
                  </a:lnTo>
                  <a:lnTo>
                    <a:pt x="0" y="1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5" name="Freeform 136">
              <a:extLst>
                <a:ext uri="{FF2B5EF4-FFF2-40B4-BE49-F238E27FC236}">
                  <a16:creationId xmlns:a16="http://schemas.microsoft.com/office/drawing/2014/main" id="{91E15398-79C4-304E-82B6-A2E4AC9EBFA3}"/>
                </a:ext>
              </a:extLst>
            </p:cNvPr>
            <p:cNvSpPr>
              <a:spLocks/>
            </p:cNvSpPr>
            <p:nvPr/>
          </p:nvSpPr>
          <p:spPr bwMode="auto">
            <a:xfrm>
              <a:off x="6314716" y="3050369"/>
              <a:ext cx="17920" cy="24544"/>
            </a:xfrm>
            <a:custGeom>
              <a:avLst/>
              <a:gdLst/>
              <a:ahLst/>
              <a:cxnLst>
                <a:cxn ang="0">
                  <a:pos x="21" y="10"/>
                </a:cxn>
                <a:cxn ang="0">
                  <a:pos x="21" y="4"/>
                </a:cxn>
                <a:cxn ang="0">
                  <a:pos x="21" y="0"/>
                </a:cxn>
                <a:cxn ang="0">
                  <a:pos x="15" y="0"/>
                </a:cxn>
                <a:cxn ang="0">
                  <a:pos x="15" y="0"/>
                </a:cxn>
                <a:cxn ang="0">
                  <a:pos x="11" y="4"/>
                </a:cxn>
                <a:cxn ang="0">
                  <a:pos x="8" y="4"/>
                </a:cxn>
                <a:cxn ang="0">
                  <a:pos x="8" y="8"/>
                </a:cxn>
                <a:cxn ang="0">
                  <a:pos x="6" y="10"/>
                </a:cxn>
                <a:cxn ang="0">
                  <a:pos x="2" y="10"/>
                </a:cxn>
                <a:cxn ang="0">
                  <a:pos x="2" y="15"/>
                </a:cxn>
                <a:cxn ang="0">
                  <a:pos x="0" y="15"/>
                </a:cxn>
                <a:cxn ang="0">
                  <a:pos x="2" y="19"/>
                </a:cxn>
                <a:cxn ang="0">
                  <a:pos x="2" y="27"/>
                </a:cxn>
                <a:cxn ang="0">
                  <a:pos x="2" y="30"/>
                </a:cxn>
                <a:cxn ang="0">
                  <a:pos x="2" y="32"/>
                </a:cxn>
                <a:cxn ang="0">
                  <a:pos x="8" y="30"/>
                </a:cxn>
                <a:cxn ang="0">
                  <a:pos x="11" y="27"/>
                </a:cxn>
                <a:cxn ang="0">
                  <a:pos x="11" y="27"/>
                </a:cxn>
                <a:cxn ang="0">
                  <a:pos x="11" y="17"/>
                </a:cxn>
                <a:cxn ang="0">
                  <a:pos x="11" y="15"/>
                </a:cxn>
                <a:cxn ang="0">
                  <a:pos x="17" y="12"/>
                </a:cxn>
                <a:cxn ang="0">
                  <a:pos x="21" y="10"/>
                </a:cxn>
                <a:cxn ang="0">
                  <a:pos x="21" y="10"/>
                </a:cxn>
                <a:cxn ang="0">
                  <a:pos x="21" y="10"/>
                </a:cxn>
              </a:cxnLst>
              <a:rect l="0" t="0" r="r" b="b"/>
              <a:pathLst>
                <a:path w="21" h="32">
                  <a:moveTo>
                    <a:pt x="21" y="10"/>
                  </a:moveTo>
                  <a:lnTo>
                    <a:pt x="21" y="4"/>
                  </a:lnTo>
                  <a:lnTo>
                    <a:pt x="21" y="0"/>
                  </a:lnTo>
                  <a:lnTo>
                    <a:pt x="15" y="0"/>
                  </a:lnTo>
                  <a:lnTo>
                    <a:pt x="15" y="0"/>
                  </a:lnTo>
                  <a:lnTo>
                    <a:pt x="11" y="4"/>
                  </a:lnTo>
                  <a:lnTo>
                    <a:pt x="8" y="4"/>
                  </a:lnTo>
                  <a:lnTo>
                    <a:pt x="8" y="8"/>
                  </a:lnTo>
                  <a:lnTo>
                    <a:pt x="6" y="10"/>
                  </a:lnTo>
                  <a:lnTo>
                    <a:pt x="2" y="10"/>
                  </a:lnTo>
                  <a:lnTo>
                    <a:pt x="2" y="15"/>
                  </a:lnTo>
                  <a:lnTo>
                    <a:pt x="0" y="15"/>
                  </a:lnTo>
                  <a:lnTo>
                    <a:pt x="2" y="19"/>
                  </a:lnTo>
                  <a:lnTo>
                    <a:pt x="2" y="27"/>
                  </a:lnTo>
                  <a:lnTo>
                    <a:pt x="2" y="30"/>
                  </a:lnTo>
                  <a:lnTo>
                    <a:pt x="2" y="32"/>
                  </a:lnTo>
                  <a:lnTo>
                    <a:pt x="8" y="30"/>
                  </a:lnTo>
                  <a:lnTo>
                    <a:pt x="11" y="27"/>
                  </a:lnTo>
                  <a:lnTo>
                    <a:pt x="11" y="27"/>
                  </a:lnTo>
                  <a:lnTo>
                    <a:pt x="11" y="17"/>
                  </a:lnTo>
                  <a:lnTo>
                    <a:pt x="11" y="15"/>
                  </a:lnTo>
                  <a:lnTo>
                    <a:pt x="17" y="12"/>
                  </a:lnTo>
                  <a:lnTo>
                    <a:pt x="21" y="10"/>
                  </a:lnTo>
                  <a:lnTo>
                    <a:pt x="21" y="10"/>
                  </a:lnTo>
                  <a:lnTo>
                    <a:pt x="21" y="1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6" name="Freeform 137">
              <a:extLst>
                <a:ext uri="{FF2B5EF4-FFF2-40B4-BE49-F238E27FC236}">
                  <a16:creationId xmlns:a16="http://schemas.microsoft.com/office/drawing/2014/main" id="{F4E7EACB-E2BD-DE42-B2A9-DA36C5BD42A6}"/>
                </a:ext>
              </a:extLst>
            </p:cNvPr>
            <p:cNvSpPr>
              <a:spLocks/>
            </p:cNvSpPr>
            <p:nvPr/>
          </p:nvSpPr>
          <p:spPr bwMode="auto">
            <a:xfrm>
              <a:off x="6589492" y="3001281"/>
              <a:ext cx="174934" cy="163373"/>
            </a:xfrm>
            <a:custGeom>
              <a:avLst/>
              <a:gdLst/>
              <a:ahLst/>
              <a:cxnLst>
                <a:cxn ang="0">
                  <a:pos x="24" y="4"/>
                </a:cxn>
                <a:cxn ang="0">
                  <a:pos x="87" y="0"/>
                </a:cxn>
                <a:cxn ang="0">
                  <a:pos x="156" y="49"/>
                </a:cxn>
                <a:cxn ang="0">
                  <a:pos x="183" y="68"/>
                </a:cxn>
                <a:cxn ang="0">
                  <a:pos x="183" y="72"/>
                </a:cxn>
                <a:cxn ang="0">
                  <a:pos x="175" y="94"/>
                </a:cxn>
                <a:cxn ang="0">
                  <a:pos x="183" y="108"/>
                </a:cxn>
                <a:cxn ang="0">
                  <a:pos x="188" y="117"/>
                </a:cxn>
                <a:cxn ang="0">
                  <a:pos x="183" y="121"/>
                </a:cxn>
                <a:cxn ang="0">
                  <a:pos x="184" y="134"/>
                </a:cxn>
                <a:cxn ang="0">
                  <a:pos x="184" y="145"/>
                </a:cxn>
                <a:cxn ang="0">
                  <a:pos x="186" y="153"/>
                </a:cxn>
                <a:cxn ang="0">
                  <a:pos x="188" y="158"/>
                </a:cxn>
                <a:cxn ang="0">
                  <a:pos x="196" y="173"/>
                </a:cxn>
                <a:cxn ang="0">
                  <a:pos x="203" y="179"/>
                </a:cxn>
                <a:cxn ang="0">
                  <a:pos x="203" y="183"/>
                </a:cxn>
                <a:cxn ang="0">
                  <a:pos x="196" y="187"/>
                </a:cxn>
                <a:cxn ang="0">
                  <a:pos x="184" y="190"/>
                </a:cxn>
                <a:cxn ang="0">
                  <a:pos x="179" y="192"/>
                </a:cxn>
                <a:cxn ang="0">
                  <a:pos x="166" y="196"/>
                </a:cxn>
                <a:cxn ang="0">
                  <a:pos x="156" y="192"/>
                </a:cxn>
                <a:cxn ang="0">
                  <a:pos x="154" y="200"/>
                </a:cxn>
                <a:cxn ang="0">
                  <a:pos x="145" y="200"/>
                </a:cxn>
                <a:cxn ang="0">
                  <a:pos x="139" y="196"/>
                </a:cxn>
                <a:cxn ang="0">
                  <a:pos x="132" y="202"/>
                </a:cxn>
                <a:cxn ang="0">
                  <a:pos x="126" y="200"/>
                </a:cxn>
                <a:cxn ang="0">
                  <a:pos x="117" y="196"/>
                </a:cxn>
                <a:cxn ang="0">
                  <a:pos x="115" y="198"/>
                </a:cxn>
                <a:cxn ang="0">
                  <a:pos x="90" y="213"/>
                </a:cxn>
                <a:cxn ang="0">
                  <a:pos x="83" y="168"/>
                </a:cxn>
                <a:cxn ang="0">
                  <a:pos x="79" y="162"/>
                </a:cxn>
                <a:cxn ang="0">
                  <a:pos x="73" y="162"/>
                </a:cxn>
                <a:cxn ang="0">
                  <a:pos x="72" y="158"/>
                </a:cxn>
                <a:cxn ang="0">
                  <a:pos x="66" y="158"/>
                </a:cxn>
                <a:cxn ang="0">
                  <a:pos x="62" y="155"/>
                </a:cxn>
                <a:cxn ang="0">
                  <a:pos x="56" y="149"/>
                </a:cxn>
                <a:cxn ang="0">
                  <a:pos x="43" y="147"/>
                </a:cxn>
                <a:cxn ang="0">
                  <a:pos x="38" y="141"/>
                </a:cxn>
                <a:cxn ang="0">
                  <a:pos x="30" y="141"/>
                </a:cxn>
                <a:cxn ang="0">
                  <a:pos x="6" y="104"/>
                </a:cxn>
                <a:cxn ang="0">
                  <a:pos x="9" y="68"/>
                </a:cxn>
                <a:cxn ang="0">
                  <a:pos x="23" y="55"/>
                </a:cxn>
                <a:cxn ang="0">
                  <a:pos x="30" y="49"/>
                </a:cxn>
                <a:cxn ang="0">
                  <a:pos x="26" y="40"/>
                </a:cxn>
                <a:cxn ang="0">
                  <a:pos x="24" y="34"/>
                </a:cxn>
                <a:cxn ang="0">
                  <a:pos x="23" y="30"/>
                </a:cxn>
                <a:cxn ang="0">
                  <a:pos x="28" y="28"/>
                </a:cxn>
                <a:cxn ang="0">
                  <a:pos x="30" y="21"/>
                </a:cxn>
                <a:cxn ang="0">
                  <a:pos x="26" y="10"/>
                </a:cxn>
                <a:cxn ang="0">
                  <a:pos x="23" y="4"/>
                </a:cxn>
              </a:cxnLst>
              <a:rect l="0" t="0" r="r" b="b"/>
              <a:pathLst>
                <a:path w="205" h="213">
                  <a:moveTo>
                    <a:pt x="23" y="4"/>
                  </a:moveTo>
                  <a:lnTo>
                    <a:pt x="23" y="4"/>
                  </a:lnTo>
                  <a:lnTo>
                    <a:pt x="24" y="4"/>
                  </a:lnTo>
                  <a:lnTo>
                    <a:pt x="26" y="4"/>
                  </a:lnTo>
                  <a:lnTo>
                    <a:pt x="49" y="4"/>
                  </a:lnTo>
                  <a:lnTo>
                    <a:pt x="87" y="0"/>
                  </a:lnTo>
                  <a:lnTo>
                    <a:pt x="154" y="40"/>
                  </a:lnTo>
                  <a:lnTo>
                    <a:pt x="158" y="47"/>
                  </a:lnTo>
                  <a:lnTo>
                    <a:pt x="156" y="49"/>
                  </a:lnTo>
                  <a:lnTo>
                    <a:pt x="158" y="51"/>
                  </a:lnTo>
                  <a:lnTo>
                    <a:pt x="160" y="53"/>
                  </a:lnTo>
                  <a:lnTo>
                    <a:pt x="183" y="68"/>
                  </a:lnTo>
                  <a:lnTo>
                    <a:pt x="181" y="68"/>
                  </a:lnTo>
                  <a:lnTo>
                    <a:pt x="183" y="70"/>
                  </a:lnTo>
                  <a:lnTo>
                    <a:pt x="183" y="72"/>
                  </a:lnTo>
                  <a:lnTo>
                    <a:pt x="181" y="74"/>
                  </a:lnTo>
                  <a:lnTo>
                    <a:pt x="179" y="85"/>
                  </a:lnTo>
                  <a:lnTo>
                    <a:pt x="175" y="94"/>
                  </a:lnTo>
                  <a:lnTo>
                    <a:pt x="175" y="98"/>
                  </a:lnTo>
                  <a:lnTo>
                    <a:pt x="179" y="104"/>
                  </a:lnTo>
                  <a:lnTo>
                    <a:pt x="183" y="108"/>
                  </a:lnTo>
                  <a:lnTo>
                    <a:pt x="186" y="108"/>
                  </a:lnTo>
                  <a:lnTo>
                    <a:pt x="188" y="113"/>
                  </a:lnTo>
                  <a:lnTo>
                    <a:pt x="188" y="117"/>
                  </a:lnTo>
                  <a:lnTo>
                    <a:pt x="186" y="117"/>
                  </a:lnTo>
                  <a:lnTo>
                    <a:pt x="183" y="117"/>
                  </a:lnTo>
                  <a:lnTo>
                    <a:pt x="183" y="121"/>
                  </a:lnTo>
                  <a:lnTo>
                    <a:pt x="183" y="128"/>
                  </a:lnTo>
                  <a:lnTo>
                    <a:pt x="186" y="132"/>
                  </a:lnTo>
                  <a:lnTo>
                    <a:pt x="184" y="134"/>
                  </a:lnTo>
                  <a:lnTo>
                    <a:pt x="183" y="138"/>
                  </a:lnTo>
                  <a:lnTo>
                    <a:pt x="183" y="141"/>
                  </a:lnTo>
                  <a:lnTo>
                    <a:pt x="184" y="145"/>
                  </a:lnTo>
                  <a:lnTo>
                    <a:pt x="184" y="147"/>
                  </a:lnTo>
                  <a:lnTo>
                    <a:pt x="184" y="149"/>
                  </a:lnTo>
                  <a:lnTo>
                    <a:pt x="186" y="153"/>
                  </a:lnTo>
                  <a:lnTo>
                    <a:pt x="188" y="155"/>
                  </a:lnTo>
                  <a:lnTo>
                    <a:pt x="186" y="158"/>
                  </a:lnTo>
                  <a:lnTo>
                    <a:pt x="188" y="158"/>
                  </a:lnTo>
                  <a:lnTo>
                    <a:pt x="190" y="166"/>
                  </a:lnTo>
                  <a:lnTo>
                    <a:pt x="190" y="168"/>
                  </a:lnTo>
                  <a:lnTo>
                    <a:pt x="196" y="173"/>
                  </a:lnTo>
                  <a:lnTo>
                    <a:pt x="200" y="173"/>
                  </a:lnTo>
                  <a:lnTo>
                    <a:pt x="203" y="177"/>
                  </a:lnTo>
                  <a:lnTo>
                    <a:pt x="203" y="179"/>
                  </a:lnTo>
                  <a:lnTo>
                    <a:pt x="205" y="181"/>
                  </a:lnTo>
                  <a:lnTo>
                    <a:pt x="203" y="181"/>
                  </a:lnTo>
                  <a:lnTo>
                    <a:pt x="203" y="183"/>
                  </a:lnTo>
                  <a:lnTo>
                    <a:pt x="200" y="181"/>
                  </a:lnTo>
                  <a:lnTo>
                    <a:pt x="196" y="185"/>
                  </a:lnTo>
                  <a:lnTo>
                    <a:pt x="196" y="187"/>
                  </a:lnTo>
                  <a:lnTo>
                    <a:pt x="192" y="189"/>
                  </a:lnTo>
                  <a:lnTo>
                    <a:pt x="188" y="190"/>
                  </a:lnTo>
                  <a:lnTo>
                    <a:pt x="184" y="190"/>
                  </a:lnTo>
                  <a:lnTo>
                    <a:pt x="183" y="192"/>
                  </a:lnTo>
                  <a:lnTo>
                    <a:pt x="179" y="192"/>
                  </a:lnTo>
                  <a:lnTo>
                    <a:pt x="179" y="192"/>
                  </a:lnTo>
                  <a:lnTo>
                    <a:pt x="171" y="192"/>
                  </a:lnTo>
                  <a:lnTo>
                    <a:pt x="169" y="196"/>
                  </a:lnTo>
                  <a:lnTo>
                    <a:pt x="166" y="196"/>
                  </a:lnTo>
                  <a:lnTo>
                    <a:pt x="164" y="192"/>
                  </a:lnTo>
                  <a:lnTo>
                    <a:pt x="160" y="196"/>
                  </a:lnTo>
                  <a:lnTo>
                    <a:pt x="156" y="192"/>
                  </a:lnTo>
                  <a:lnTo>
                    <a:pt x="154" y="196"/>
                  </a:lnTo>
                  <a:lnTo>
                    <a:pt x="156" y="196"/>
                  </a:lnTo>
                  <a:lnTo>
                    <a:pt x="154" y="200"/>
                  </a:lnTo>
                  <a:lnTo>
                    <a:pt x="151" y="200"/>
                  </a:lnTo>
                  <a:lnTo>
                    <a:pt x="147" y="202"/>
                  </a:lnTo>
                  <a:lnTo>
                    <a:pt x="145" y="200"/>
                  </a:lnTo>
                  <a:lnTo>
                    <a:pt x="141" y="200"/>
                  </a:lnTo>
                  <a:lnTo>
                    <a:pt x="141" y="198"/>
                  </a:lnTo>
                  <a:lnTo>
                    <a:pt x="139" y="196"/>
                  </a:lnTo>
                  <a:lnTo>
                    <a:pt x="137" y="198"/>
                  </a:lnTo>
                  <a:lnTo>
                    <a:pt x="136" y="198"/>
                  </a:lnTo>
                  <a:lnTo>
                    <a:pt x="132" y="202"/>
                  </a:lnTo>
                  <a:lnTo>
                    <a:pt x="126" y="204"/>
                  </a:lnTo>
                  <a:lnTo>
                    <a:pt x="126" y="202"/>
                  </a:lnTo>
                  <a:lnTo>
                    <a:pt x="126" y="200"/>
                  </a:lnTo>
                  <a:lnTo>
                    <a:pt x="122" y="200"/>
                  </a:lnTo>
                  <a:lnTo>
                    <a:pt x="120" y="198"/>
                  </a:lnTo>
                  <a:lnTo>
                    <a:pt x="117" y="196"/>
                  </a:lnTo>
                  <a:lnTo>
                    <a:pt x="117" y="196"/>
                  </a:lnTo>
                  <a:lnTo>
                    <a:pt x="115" y="196"/>
                  </a:lnTo>
                  <a:lnTo>
                    <a:pt x="115" y="198"/>
                  </a:lnTo>
                  <a:lnTo>
                    <a:pt x="111" y="198"/>
                  </a:lnTo>
                  <a:lnTo>
                    <a:pt x="92" y="198"/>
                  </a:lnTo>
                  <a:lnTo>
                    <a:pt x="90" y="213"/>
                  </a:lnTo>
                  <a:lnTo>
                    <a:pt x="90" y="181"/>
                  </a:lnTo>
                  <a:lnTo>
                    <a:pt x="90" y="173"/>
                  </a:lnTo>
                  <a:lnTo>
                    <a:pt x="83" y="168"/>
                  </a:lnTo>
                  <a:lnTo>
                    <a:pt x="81" y="166"/>
                  </a:lnTo>
                  <a:lnTo>
                    <a:pt x="79" y="162"/>
                  </a:lnTo>
                  <a:lnTo>
                    <a:pt x="79" y="162"/>
                  </a:lnTo>
                  <a:lnTo>
                    <a:pt x="77" y="162"/>
                  </a:lnTo>
                  <a:lnTo>
                    <a:pt x="75" y="162"/>
                  </a:lnTo>
                  <a:lnTo>
                    <a:pt x="73" y="162"/>
                  </a:lnTo>
                  <a:lnTo>
                    <a:pt x="72" y="162"/>
                  </a:lnTo>
                  <a:lnTo>
                    <a:pt x="72" y="158"/>
                  </a:lnTo>
                  <a:lnTo>
                    <a:pt x="72" y="158"/>
                  </a:lnTo>
                  <a:lnTo>
                    <a:pt x="68" y="158"/>
                  </a:lnTo>
                  <a:lnTo>
                    <a:pt x="68" y="158"/>
                  </a:lnTo>
                  <a:lnTo>
                    <a:pt x="66" y="158"/>
                  </a:lnTo>
                  <a:lnTo>
                    <a:pt x="66" y="158"/>
                  </a:lnTo>
                  <a:lnTo>
                    <a:pt x="66" y="158"/>
                  </a:lnTo>
                  <a:lnTo>
                    <a:pt x="62" y="155"/>
                  </a:lnTo>
                  <a:lnTo>
                    <a:pt x="60" y="153"/>
                  </a:lnTo>
                  <a:lnTo>
                    <a:pt x="58" y="151"/>
                  </a:lnTo>
                  <a:lnTo>
                    <a:pt x="56" y="149"/>
                  </a:lnTo>
                  <a:lnTo>
                    <a:pt x="55" y="149"/>
                  </a:lnTo>
                  <a:lnTo>
                    <a:pt x="47" y="147"/>
                  </a:lnTo>
                  <a:lnTo>
                    <a:pt x="43" y="147"/>
                  </a:lnTo>
                  <a:lnTo>
                    <a:pt x="41" y="143"/>
                  </a:lnTo>
                  <a:lnTo>
                    <a:pt x="38" y="143"/>
                  </a:lnTo>
                  <a:lnTo>
                    <a:pt x="38" y="141"/>
                  </a:lnTo>
                  <a:lnTo>
                    <a:pt x="34" y="141"/>
                  </a:lnTo>
                  <a:lnTo>
                    <a:pt x="32" y="141"/>
                  </a:lnTo>
                  <a:lnTo>
                    <a:pt x="30" y="141"/>
                  </a:lnTo>
                  <a:lnTo>
                    <a:pt x="23" y="138"/>
                  </a:lnTo>
                  <a:lnTo>
                    <a:pt x="19" y="123"/>
                  </a:lnTo>
                  <a:lnTo>
                    <a:pt x="6" y="104"/>
                  </a:lnTo>
                  <a:lnTo>
                    <a:pt x="2" y="83"/>
                  </a:lnTo>
                  <a:lnTo>
                    <a:pt x="0" y="68"/>
                  </a:lnTo>
                  <a:lnTo>
                    <a:pt x="9" y="68"/>
                  </a:lnTo>
                  <a:lnTo>
                    <a:pt x="13" y="66"/>
                  </a:lnTo>
                  <a:lnTo>
                    <a:pt x="19" y="60"/>
                  </a:lnTo>
                  <a:lnTo>
                    <a:pt x="23" y="55"/>
                  </a:lnTo>
                  <a:lnTo>
                    <a:pt x="24" y="55"/>
                  </a:lnTo>
                  <a:lnTo>
                    <a:pt x="26" y="53"/>
                  </a:lnTo>
                  <a:lnTo>
                    <a:pt x="30" y="49"/>
                  </a:lnTo>
                  <a:lnTo>
                    <a:pt x="30" y="45"/>
                  </a:lnTo>
                  <a:lnTo>
                    <a:pt x="30" y="40"/>
                  </a:lnTo>
                  <a:lnTo>
                    <a:pt x="26" y="40"/>
                  </a:lnTo>
                  <a:lnTo>
                    <a:pt x="26" y="38"/>
                  </a:lnTo>
                  <a:lnTo>
                    <a:pt x="24" y="36"/>
                  </a:lnTo>
                  <a:lnTo>
                    <a:pt x="24" y="34"/>
                  </a:lnTo>
                  <a:lnTo>
                    <a:pt x="23" y="34"/>
                  </a:lnTo>
                  <a:lnTo>
                    <a:pt x="23" y="30"/>
                  </a:lnTo>
                  <a:lnTo>
                    <a:pt x="23" y="30"/>
                  </a:lnTo>
                  <a:lnTo>
                    <a:pt x="24" y="30"/>
                  </a:lnTo>
                  <a:lnTo>
                    <a:pt x="28" y="30"/>
                  </a:lnTo>
                  <a:lnTo>
                    <a:pt x="28" y="28"/>
                  </a:lnTo>
                  <a:lnTo>
                    <a:pt x="30" y="28"/>
                  </a:lnTo>
                  <a:lnTo>
                    <a:pt x="30" y="25"/>
                  </a:lnTo>
                  <a:lnTo>
                    <a:pt x="30" y="21"/>
                  </a:lnTo>
                  <a:lnTo>
                    <a:pt x="28" y="15"/>
                  </a:lnTo>
                  <a:lnTo>
                    <a:pt x="26" y="13"/>
                  </a:lnTo>
                  <a:lnTo>
                    <a:pt x="26" y="10"/>
                  </a:lnTo>
                  <a:lnTo>
                    <a:pt x="24" y="8"/>
                  </a:lnTo>
                  <a:lnTo>
                    <a:pt x="23" y="4"/>
                  </a:lnTo>
                  <a:lnTo>
                    <a:pt x="23" y="4"/>
                  </a:lnTo>
                  <a:lnTo>
                    <a:pt x="23" y="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7" name="Freeform 138">
              <a:extLst>
                <a:ext uri="{FF2B5EF4-FFF2-40B4-BE49-F238E27FC236}">
                  <a16:creationId xmlns:a16="http://schemas.microsoft.com/office/drawing/2014/main" id="{79967C0D-3516-AA4D-B8A9-6BD7C048EB4D}"/>
                </a:ext>
              </a:extLst>
            </p:cNvPr>
            <p:cNvSpPr>
              <a:spLocks/>
            </p:cNvSpPr>
            <p:nvPr/>
          </p:nvSpPr>
          <p:spPr bwMode="auto">
            <a:xfrm>
              <a:off x="6580104" y="3005882"/>
              <a:ext cx="31574" cy="24544"/>
            </a:xfrm>
            <a:custGeom>
              <a:avLst/>
              <a:gdLst/>
              <a:ahLst/>
              <a:cxnLst>
                <a:cxn ang="0">
                  <a:pos x="11" y="5"/>
                </a:cxn>
                <a:cxn ang="0">
                  <a:pos x="13" y="5"/>
                </a:cxn>
                <a:cxn ang="0">
                  <a:pos x="15" y="4"/>
                </a:cxn>
                <a:cxn ang="0">
                  <a:pos x="17" y="2"/>
                </a:cxn>
                <a:cxn ang="0">
                  <a:pos x="20" y="4"/>
                </a:cxn>
                <a:cxn ang="0">
                  <a:pos x="20" y="4"/>
                </a:cxn>
                <a:cxn ang="0">
                  <a:pos x="26" y="4"/>
                </a:cxn>
                <a:cxn ang="0">
                  <a:pos x="26" y="4"/>
                </a:cxn>
                <a:cxn ang="0">
                  <a:pos x="26" y="0"/>
                </a:cxn>
                <a:cxn ang="0">
                  <a:pos x="30" y="0"/>
                </a:cxn>
                <a:cxn ang="0">
                  <a:pos x="32" y="4"/>
                </a:cxn>
                <a:cxn ang="0">
                  <a:pos x="34" y="5"/>
                </a:cxn>
                <a:cxn ang="0">
                  <a:pos x="34" y="9"/>
                </a:cxn>
                <a:cxn ang="0">
                  <a:pos x="35" y="11"/>
                </a:cxn>
                <a:cxn ang="0">
                  <a:pos x="37" y="17"/>
                </a:cxn>
                <a:cxn ang="0">
                  <a:pos x="37" y="21"/>
                </a:cxn>
                <a:cxn ang="0">
                  <a:pos x="37" y="24"/>
                </a:cxn>
                <a:cxn ang="0">
                  <a:pos x="35" y="24"/>
                </a:cxn>
                <a:cxn ang="0">
                  <a:pos x="35" y="26"/>
                </a:cxn>
                <a:cxn ang="0">
                  <a:pos x="32" y="26"/>
                </a:cxn>
                <a:cxn ang="0">
                  <a:pos x="30" y="26"/>
                </a:cxn>
                <a:cxn ang="0">
                  <a:pos x="30" y="26"/>
                </a:cxn>
                <a:cxn ang="0">
                  <a:pos x="30" y="24"/>
                </a:cxn>
                <a:cxn ang="0">
                  <a:pos x="30" y="24"/>
                </a:cxn>
                <a:cxn ang="0">
                  <a:pos x="26" y="21"/>
                </a:cxn>
                <a:cxn ang="0">
                  <a:pos x="26" y="21"/>
                </a:cxn>
                <a:cxn ang="0">
                  <a:pos x="24" y="21"/>
                </a:cxn>
                <a:cxn ang="0">
                  <a:pos x="20" y="21"/>
                </a:cxn>
                <a:cxn ang="0">
                  <a:pos x="20" y="24"/>
                </a:cxn>
                <a:cxn ang="0">
                  <a:pos x="20" y="30"/>
                </a:cxn>
                <a:cxn ang="0">
                  <a:pos x="20" y="30"/>
                </a:cxn>
                <a:cxn ang="0">
                  <a:pos x="17" y="32"/>
                </a:cxn>
                <a:cxn ang="0">
                  <a:pos x="15" y="30"/>
                </a:cxn>
                <a:cxn ang="0">
                  <a:pos x="13" y="30"/>
                </a:cxn>
                <a:cxn ang="0">
                  <a:pos x="13" y="32"/>
                </a:cxn>
                <a:cxn ang="0">
                  <a:pos x="9" y="30"/>
                </a:cxn>
                <a:cxn ang="0">
                  <a:pos x="7" y="26"/>
                </a:cxn>
                <a:cxn ang="0">
                  <a:pos x="5" y="26"/>
                </a:cxn>
                <a:cxn ang="0">
                  <a:pos x="2" y="26"/>
                </a:cxn>
                <a:cxn ang="0">
                  <a:pos x="0" y="26"/>
                </a:cxn>
                <a:cxn ang="0">
                  <a:pos x="0" y="24"/>
                </a:cxn>
                <a:cxn ang="0">
                  <a:pos x="3" y="11"/>
                </a:cxn>
                <a:cxn ang="0">
                  <a:pos x="7" y="9"/>
                </a:cxn>
                <a:cxn ang="0">
                  <a:pos x="11" y="5"/>
                </a:cxn>
                <a:cxn ang="0">
                  <a:pos x="11" y="5"/>
                </a:cxn>
                <a:cxn ang="0">
                  <a:pos x="11" y="5"/>
                </a:cxn>
              </a:cxnLst>
              <a:rect l="0" t="0" r="r" b="b"/>
              <a:pathLst>
                <a:path w="37" h="32">
                  <a:moveTo>
                    <a:pt x="11" y="5"/>
                  </a:moveTo>
                  <a:lnTo>
                    <a:pt x="13" y="5"/>
                  </a:lnTo>
                  <a:lnTo>
                    <a:pt x="15" y="4"/>
                  </a:lnTo>
                  <a:lnTo>
                    <a:pt x="17" y="2"/>
                  </a:lnTo>
                  <a:lnTo>
                    <a:pt x="20" y="4"/>
                  </a:lnTo>
                  <a:lnTo>
                    <a:pt x="20" y="4"/>
                  </a:lnTo>
                  <a:lnTo>
                    <a:pt x="26" y="4"/>
                  </a:lnTo>
                  <a:lnTo>
                    <a:pt x="26" y="4"/>
                  </a:lnTo>
                  <a:lnTo>
                    <a:pt x="26" y="0"/>
                  </a:lnTo>
                  <a:lnTo>
                    <a:pt x="30" y="0"/>
                  </a:lnTo>
                  <a:lnTo>
                    <a:pt x="32" y="4"/>
                  </a:lnTo>
                  <a:lnTo>
                    <a:pt x="34" y="5"/>
                  </a:lnTo>
                  <a:lnTo>
                    <a:pt x="34" y="9"/>
                  </a:lnTo>
                  <a:lnTo>
                    <a:pt x="35" y="11"/>
                  </a:lnTo>
                  <a:lnTo>
                    <a:pt x="37" y="17"/>
                  </a:lnTo>
                  <a:lnTo>
                    <a:pt x="37" y="21"/>
                  </a:lnTo>
                  <a:lnTo>
                    <a:pt x="37" y="24"/>
                  </a:lnTo>
                  <a:lnTo>
                    <a:pt x="35" y="24"/>
                  </a:lnTo>
                  <a:lnTo>
                    <a:pt x="35" y="26"/>
                  </a:lnTo>
                  <a:lnTo>
                    <a:pt x="32" y="26"/>
                  </a:lnTo>
                  <a:lnTo>
                    <a:pt x="30" y="26"/>
                  </a:lnTo>
                  <a:lnTo>
                    <a:pt x="30" y="26"/>
                  </a:lnTo>
                  <a:lnTo>
                    <a:pt x="30" y="24"/>
                  </a:lnTo>
                  <a:lnTo>
                    <a:pt x="30" y="24"/>
                  </a:lnTo>
                  <a:lnTo>
                    <a:pt x="26" y="21"/>
                  </a:lnTo>
                  <a:lnTo>
                    <a:pt x="26" y="21"/>
                  </a:lnTo>
                  <a:lnTo>
                    <a:pt x="24" y="21"/>
                  </a:lnTo>
                  <a:lnTo>
                    <a:pt x="20" y="21"/>
                  </a:lnTo>
                  <a:lnTo>
                    <a:pt x="20" y="24"/>
                  </a:lnTo>
                  <a:lnTo>
                    <a:pt x="20" y="30"/>
                  </a:lnTo>
                  <a:lnTo>
                    <a:pt x="20" y="30"/>
                  </a:lnTo>
                  <a:lnTo>
                    <a:pt x="17" y="32"/>
                  </a:lnTo>
                  <a:lnTo>
                    <a:pt x="15" y="30"/>
                  </a:lnTo>
                  <a:lnTo>
                    <a:pt x="13" y="30"/>
                  </a:lnTo>
                  <a:lnTo>
                    <a:pt x="13" y="32"/>
                  </a:lnTo>
                  <a:lnTo>
                    <a:pt x="9" y="30"/>
                  </a:lnTo>
                  <a:lnTo>
                    <a:pt x="7" y="26"/>
                  </a:lnTo>
                  <a:lnTo>
                    <a:pt x="5" y="26"/>
                  </a:lnTo>
                  <a:lnTo>
                    <a:pt x="2" y="26"/>
                  </a:lnTo>
                  <a:lnTo>
                    <a:pt x="0" y="26"/>
                  </a:lnTo>
                  <a:lnTo>
                    <a:pt x="0" y="24"/>
                  </a:lnTo>
                  <a:lnTo>
                    <a:pt x="3" y="11"/>
                  </a:lnTo>
                  <a:lnTo>
                    <a:pt x="7" y="9"/>
                  </a:lnTo>
                  <a:lnTo>
                    <a:pt x="11" y="5"/>
                  </a:lnTo>
                  <a:lnTo>
                    <a:pt x="11" y="5"/>
                  </a:lnTo>
                  <a:lnTo>
                    <a:pt x="11"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8" name="Freeform 139">
              <a:extLst>
                <a:ext uri="{FF2B5EF4-FFF2-40B4-BE49-F238E27FC236}">
                  <a16:creationId xmlns:a16="http://schemas.microsoft.com/office/drawing/2014/main" id="{6DD9D0C1-DFE0-5641-8576-8170226A7C75}"/>
                </a:ext>
              </a:extLst>
            </p:cNvPr>
            <p:cNvSpPr>
              <a:spLocks/>
            </p:cNvSpPr>
            <p:nvPr/>
          </p:nvSpPr>
          <p:spPr bwMode="auto">
            <a:xfrm>
              <a:off x="6580104" y="3018921"/>
              <a:ext cx="31574" cy="36050"/>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9" name="Freeform 140">
              <a:extLst>
                <a:ext uri="{FF2B5EF4-FFF2-40B4-BE49-F238E27FC236}">
                  <a16:creationId xmlns:a16="http://schemas.microsoft.com/office/drawing/2014/main" id="{B29CCCD6-E9D1-5046-B6C6-C1845C4AE7D5}"/>
                </a:ext>
              </a:extLst>
            </p:cNvPr>
            <p:cNvSpPr>
              <a:spLocks/>
            </p:cNvSpPr>
            <p:nvPr/>
          </p:nvSpPr>
          <p:spPr bwMode="auto">
            <a:xfrm>
              <a:off x="6580104" y="3018921"/>
              <a:ext cx="31574" cy="36050"/>
            </a:xfrm>
            <a:custGeom>
              <a:avLst/>
              <a:gdLst/>
              <a:ahLst/>
              <a:cxnLst>
                <a:cxn ang="0">
                  <a:pos x="7" y="47"/>
                </a:cxn>
                <a:cxn ang="0">
                  <a:pos x="17" y="47"/>
                </a:cxn>
                <a:cxn ang="0">
                  <a:pos x="20" y="43"/>
                </a:cxn>
                <a:cxn ang="0">
                  <a:pos x="26" y="37"/>
                </a:cxn>
                <a:cxn ang="0">
                  <a:pos x="30" y="32"/>
                </a:cxn>
                <a:cxn ang="0">
                  <a:pos x="32" y="32"/>
                </a:cxn>
                <a:cxn ang="0">
                  <a:pos x="34" y="30"/>
                </a:cxn>
                <a:cxn ang="0">
                  <a:pos x="37" y="26"/>
                </a:cxn>
                <a:cxn ang="0">
                  <a:pos x="37" y="21"/>
                </a:cxn>
                <a:cxn ang="0">
                  <a:pos x="37" y="15"/>
                </a:cxn>
                <a:cxn ang="0">
                  <a:pos x="34" y="15"/>
                </a:cxn>
                <a:cxn ang="0">
                  <a:pos x="34" y="15"/>
                </a:cxn>
                <a:cxn ang="0">
                  <a:pos x="32" y="11"/>
                </a:cxn>
                <a:cxn ang="0">
                  <a:pos x="32" y="11"/>
                </a:cxn>
                <a:cxn ang="0">
                  <a:pos x="30" y="9"/>
                </a:cxn>
                <a:cxn ang="0">
                  <a:pos x="30" y="5"/>
                </a:cxn>
                <a:cxn ang="0">
                  <a:pos x="30" y="4"/>
                </a:cxn>
                <a:cxn ang="0">
                  <a:pos x="26" y="0"/>
                </a:cxn>
                <a:cxn ang="0">
                  <a:pos x="26" y="0"/>
                </a:cxn>
                <a:cxn ang="0">
                  <a:pos x="24" y="0"/>
                </a:cxn>
                <a:cxn ang="0">
                  <a:pos x="20" y="0"/>
                </a:cxn>
                <a:cxn ang="0">
                  <a:pos x="20" y="4"/>
                </a:cxn>
                <a:cxn ang="0">
                  <a:pos x="20" y="9"/>
                </a:cxn>
                <a:cxn ang="0">
                  <a:pos x="20" y="11"/>
                </a:cxn>
                <a:cxn ang="0">
                  <a:pos x="17" y="11"/>
                </a:cxn>
                <a:cxn ang="0">
                  <a:pos x="15" y="11"/>
                </a:cxn>
                <a:cxn ang="0">
                  <a:pos x="13" y="11"/>
                </a:cxn>
                <a:cxn ang="0">
                  <a:pos x="13" y="11"/>
                </a:cxn>
                <a:cxn ang="0">
                  <a:pos x="9" y="11"/>
                </a:cxn>
                <a:cxn ang="0">
                  <a:pos x="7" y="5"/>
                </a:cxn>
                <a:cxn ang="0">
                  <a:pos x="5" y="5"/>
                </a:cxn>
                <a:cxn ang="0">
                  <a:pos x="2" y="5"/>
                </a:cxn>
                <a:cxn ang="0">
                  <a:pos x="0" y="5"/>
                </a:cxn>
                <a:cxn ang="0">
                  <a:pos x="0" y="9"/>
                </a:cxn>
                <a:cxn ang="0">
                  <a:pos x="2" y="11"/>
                </a:cxn>
                <a:cxn ang="0">
                  <a:pos x="3" y="17"/>
                </a:cxn>
                <a:cxn ang="0">
                  <a:pos x="3" y="21"/>
                </a:cxn>
                <a:cxn ang="0">
                  <a:pos x="7" y="47"/>
                </a:cxn>
                <a:cxn ang="0">
                  <a:pos x="7" y="47"/>
                </a:cxn>
                <a:cxn ang="0">
                  <a:pos x="7" y="47"/>
                </a:cxn>
              </a:cxnLst>
              <a:rect l="0" t="0" r="r" b="b"/>
              <a:pathLst>
                <a:path w="37" h="47">
                  <a:moveTo>
                    <a:pt x="7" y="47"/>
                  </a:moveTo>
                  <a:lnTo>
                    <a:pt x="17" y="47"/>
                  </a:lnTo>
                  <a:lnTo>
                    <a:pt x="20" y="43"/>
                  </a:lnTo>
                  <a:lnTo>
                    <a:pt x="26" y="37"/>
                  </a:lnTo>
                  <a:lnTo>
                    <a:pt x="30" y="32"/>
                  </a:lnTo>
                  <a:lnTo>
                    <a:pt x="32" y="32"/>
                  </a:lnTo>
                  <a:lnTo>
                    <a:pt x="34" y="30"/>
                  </a:lnTo>
                  <a:lnTo>
                    <a:pt x="37" y="26"/>
                  </a:lnTo>
                  <a:lnTo>
                    <a:pt x="37" y="21"/>
                  </a:lnTo>
                  <a:lnTo>
                    <a:pt x="37" y="15"/>
                  </a:lnTo>
                  <a:lnTo>
                    <a:pt x="34" y="15"/>
                  </a:lnTo>
                  <a:lnTo>
                    <a:pt x="34" y="15"/>
                  </a:lnTo>
                  <a:lnTo>
                    <a:pt x="32" y="11"/>
                  </a:lnTo>
                  <a:lnTo>
                    <a:pt x="32" y="11"/>
                  </a:lnTo>
                  <a:lnTo>
                    <a:pt x="30" y="9"/>
                  </a:lnTo>
                  <a:lnTo>
                    <a:pt x="30" y="5"/>
                  </a:lnTo>
                  <a:lnTo>
                    <a:pt x="30" y="4"/>
                  </a:lnTo>
                  <a:lnTo>
                    <a:pt x="26" y="0"/>
                  </a:lnTo>
                  <a:lnTo>
                    <a:pt x="26" y="0"/>
                  </a:lnTo>
                  <a:lnTo>
                    <a:pt x="24" y="0"/>
                  </a:lnTo>
                  <a:lnTo>
                    <a:pt x="20" y="0"/>
                  </a:lnTo>
                  <a:lnTo>
                    <a:pt x="20" y="4"/>
                  </a:lnTo>
                  <a:lnTo>
                    <a:pt x="20" y="9"/>
                  </a:lnTo>
                  <a:lnTo>
                    <a:pt x="20" y="11"/>
                  </a:lnTo>
                  <a:lnTo>
                    <a:pt x="17" y="11"/>
                  </a:lnTo>
                  <a:lnTo>
                    <a:pt x="15" y="11"/>
                  </a:lnTo>
                  <a:lnTo>
                    <a:pt x="13" y="11"/>
                  </a:lnTo>
                  <a:lnTo>
                    <a:pt x="13" y="11"/>
                  </a:lnTo>
                  <a:lnTo>
                    <a:pt x="9" y="11"/>
                  </a:lnTo>
                  <a:lnTo>
                    <a:pt x="7" y="5"/>
                  </a:lnTo>
                  <a:lnTo>
                    <a:pt x="5" y="5"/>
                  </a:lnTo>
                  <a:lnTo>
                    <a:pt x="2" y="5"/>
                  </a:lnTo>
                  <a:lnTo>
                    <a:pt x="0" y="5"/>
                  </a:lnTo>
                  <a:lnTo>
                    <a:pt x="0" y="9"/>
                  </a:lnTo>
                  <a:lnTo>
                    <a:pt x="2" y="11"/>
                  </a:lnTo>
                  <a:lnTo>
                    <a:pt x="3" y="17"/>
                  </a:lnTo>
                  <a:lnTo>
                    <a:pt x="3" y="21"/>
                  </a:lnTo>
                  <a:lnTo>
                    <a:pt x="7" y="47"/>
                  </a:lnTo>
                  <a:lnTo>
                    <a:pt x="7" y="47"/>
                  </a:lnTo>
                  <a:lnTo>
                    <a:pt x="7" y="4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0" name="Freeform 141">
              <a:extLst>
                <a:ext uri="{FF2B5EF4-FFF2-40B4-BE49-F238E27FC236}">
                  <a16:creationId xmlns:a16="http://schemas.microsoft.com/office/drawing/2014/main" id="{58040656-B949-0B49-82B2-8D0C9AD94253}"/>
                </a:ext>
              </a:extLst>
            </p:cNvPr>
            <p:cNvSpPr>
              <a:spLocks/>
            </p:cNvSpPr>
            <p:nvPr/>
          </p:nvSpPr>
          <p:spPr bwMode="auto">
            <a:xfrm>
              <a:off x="6314717" y="2913075"/>
              <a:ext cx="302081" cy="267687"/>
            </a:xfrm>
            <a:custGeom>
              <a:avLst/>
              <a:gdLst/>
              <a:ahLst/>
              <a:cxnLst>
                <a:cxn ang="0">
                  <a:pos x="10" y="192"/>
                </a:cxn>
                <a:cxn ang="0">
                  <a:pos x="23" y="189"/>
                </a:cxn>
                <a:cxn ang="0">
                  <a:pos x="40" y="179"/>
                </a:cxn>
                <a:cxn ang="0">
                  <a:pos x="49" y="189"/>
                </a:cxn>
                <a:cxn ang="0">
                  <a:pos x="72" y="172"/>
                </a:cxn>
                <a:cxn ang="0">
                  <a:pos x="74" y="142"/>
                </a:cxn>
                <a:cxn ang="0">
                  <a:pos x="90" y="121"/>
                </a:cxn>
                <a:cxn ang="0">
                  <a:pos x="107" y="94"/>
                </a:cxn>
                <a:cxn ang="0">
                  <a:pos x="111" y="70"/>
                </a:cxn>
                <a:cxn ang="0">
                  <a:pos x="124" y="42"/>
                </a:cxn>
                <a:cxn ang="0">
                  <a:pos x="122" y="17"/>
                </a:cxn>
                <a:cxn ang="0">
                  <a:pos x="128" y="8"/>
                </a:cxn>
                <a:cxn ang="0">
                  <a:pos x="141" y="2"/>
                </a:cxn>
                <a:cxn ang="0">
                  <a:pos x="158" y="17"/>
                </a:cxn>
                <a:cxn ang="0">
                  <a:pos x="179" y="17"/>
                </a:cxn>
                <a:cxn ang="0">
                  <a:pos x="190" y="17"/>
                </a:cxn>
                <a:cxn ang="0">
                  <a:pos x="205" y="12"/>
                </a:cxn>
                <a:cxn ang="0">
                  <a:pos x="230" y="2"/>
                </a:cxn>
                <a:cxn ang="0">
                  <a:pos x="241" y="6"/>
                </a:cxn>
                <a:cxn ang="0">
                  <a:pos x="249" y="0"/>
                </a:cxn>
                <a:cxn ang="0">
                  <a:pos x="266" y="4"/>
                </a:cxn>
                <a:cxn ang="0">
                  <a:pos x="288" y="4"/>
                </a:cxn>
                <a:cxn ang="0">
                  <a:pos x="303" y="17"/>
                </a:cxn>
                <a:cxn ang="0">
                  <a:pos x="314" y="15"/>
                </a:cxn>
                <a:cxn ang="0">
                  <a:pos x="330" y="10"/>
                </a:cxn>
                <a:cxn ang="0">
                  <a:pos x="343" y="25"/>
                </a:cxn>
                <a:cxn ang="0">
                  <a:pos x="352" y="32"/>
                </a:cxn>
                <a:cxn ang="0">
                  <a:pos x="350" y="55"/>
                </a:cxn>
                <a:cxn ang="0">
                  <a:pos x="337" y="85"/>
                </a:cxn>
                <a:cxn ang="0">
                  <a:pos x="326" y="123"/>
                </a:cxn>
                <a:cxn ang="0">
                  <a:pos x="316" y="155"/>
                </a:cxn>
                <a:cxn ang="0">
                  <a:pos x="341" y="251"/>
                </a:cxn>
                <a:cxn ang="0">
                  <a:pos x="309" y="281"/>
                </a:cxn>
                <a:cxn ang="0">
                  <a:pos x="305" y="296"/>
                </a:cxn>
                <a:cxn ang="0">
                  <a:pos x="299" y="317"/>
                </a:cxn>
                <a:cxn ang="0">
                  <a:pos x="320" y="330"/>
                </a:cxn>
                <a:cxn ang="0">
                  <a:pos x="326" y="349"/>
                </a:cxn>
                <a:cxn ang="0">
                  <a:pos x="313" y="349"/>
                </a:cxn>
                <a:cxn ang="0">
                  <a:pos x="288" y="326"/>
                </a:cxn>
                <a:cxn ang="0">
                  <a:pos x="275" y="315"/>
                </a:cxn>
                <a:cxn ang="0">
                  <a:pos x="262" y="324"/>
                </a:cxn>
                <a:cxn ang="0">
                  <a:pos x="243" y="317"/>
                </a:cxn>
                <a:cxn ang="0">
                  <a:pos x="235" y="307"/>
                </a:cxn>
                <a:cxn ang="0">
                  <a:pos x="224" y="311"/>
                </a:cxn>
                <a:cxn ang="0">
                  <a:pos x="218" y="304"/>
                </a:cxn>
                <a:cxn ang="0">
                  <a:pos x="203" y="307"/>
                </a:cxn>
                <a:cxn ang="0">
                  <a:pos x="190" y="305"/>
                </a:cxn>
                <a:cxn ang="0">
                  <a:pos x="186" y="300"/>
                </a:cxn>
                <a:cxn ang="0">
                  <a:pos x="185" y="287"/>
                </a:cxn>
                <a:cxn ang="0">
                  <a:pos x="181" y="277"/>
                </a:cxn>
                <a:cxn ang="0">
                  <a:pos x="179" y="260"/>
                </a:cxn>
                <a:cxn ang="0">
                  <a:pos x="177" y="245"/>
                </a:cxn>
                <a:cxn ang="0">
                  <a:pos x="156" y="232"/>
                </a:cxn>
                <a:cxn ang="0">
                  <a:pos x="132" y="234"/>
                </a:cxn>
                <a:cxn ang="0">
                  <a:pos x="115" y="249"/>
                </a:cxn>
                <a:cxn ang="0">
                  <a:pos x="96" y="241"/>
                </a:cxn>
                <a:cxn ang="0">
                  <a:pos x="87" y="226"/>
                </a:cxn>
                <a:cxn ang="0">
                  <a:pos x="83" y="213"/>
                </a:cxn>
                <a:cxn ang="0">
                  <a:pos x="40" y="207"/>
                </a:cxn>
                <a:cxn ang="0">
                  <a:pos x="19" y="207"/>
                </a:cxn>
                <a:cxn ang="0">
                  <a:pos x="10" y="211"/>
                </a:cxn>
                <a:cxn ang="0">
                  <a:pos x="0" y="207"/>
                </a:cxn>
              </a:cxnLst>
              <a:rect l="0" t="0" r="r" b="b"/>
              <a:pathLst>
                <a:path w="354" h="349">
                  <a:moveTo>
                    <a:pt x="0" y="207"/>
                  </a:moveTo>
                  <a:lnTo>
                    <a:pt x="4" y="206"/>
                  </a:lnTo>
                  <a:lnTo>
                    <a:pt x="8" y="204"/>
                  </a:lnTo>
                  <a:lnTo>
                    <a:pt x="10" y="202"/>
                  </a:lnTo>
                  <a:lnTo>
                    <a:pt x="10" y="194"/>
                  </a:lnTo>
                  <a:lnTo>
                    <a:pt x="10" y="192"/>
                  </a:lnTo>
                  <a:lnTo>
                    <a:pt x="15" y="189"/>
                  </a:lnTo>
                  <a:lnTo>
                    <a:pt x="19" y="187"/>
                  </a:lnTo>
                  <a:lnTo>
                    <a:pt x="19" y="187"/>
                  </a:lnTo>
                  <a:lnTo>
                    <a:pt x="23" y="187"/>
                  </a:lnTo>
                  <a:lnTo>
                    <a:pt x="23" y="187"/>
                  </a:lnTo>
                  <a:lnTo>
                    <a:pt x="23" y="189"/>
                  </a:lnTo>
                  <a:lnTo>
                    <a:pt x="28" y="189"/>
                  </a:lnTo>
                  <a:lnTo>
                    <a:pt x="28" y="187"/>
                  </a:lnTo>
                  <a:lnTo>
                    <a:pt x="32" y="183"/>
                  </a:lnTo>
                  <a:lnTo>
                    <a:pt x="32" y="183"/>
                  </a:lnTo>
                  <a:lnTo>
                    <a:pt x="34" y="183"/>
                  </a:lnTo>
                  <a:lnTo>
                    <a:pt x="40" y="179"/>
                  </a:lnTo>
                  <a:lnTo>
                    <a:pt x="43" y="177"/>
                  </a:lnTo>
                  <a:lnTo>
                    <a:pt x="43" y="179"/>
                  </a:lnTo>
                  <a:lnTo>
                    <a:pt x="42" y="183"/>
                  </a:lnTo>
                  <a:lnTo>
                    <a:pt x="43" y="183"/>
                  </a:lnTo>
                  <a:lnTo>
                    <a:pt x="43" y="187"/>
                  </a:lnTo>
                  <a:lnTo>
                    <a:pt x="49" y="189"/>
                  </a:lnTo>
                  <a:lnTo>
                    <a:pt x="53" y="187"/>
                  </a:lnTo>
                  <a:lnTo>
                    <a:pt x="57" y="183"/>
                  </a:lnTo>
                  <a:lnTo>
                    <a:pt x="62" y="177"/>
                  </a:lnTo>
                  <a:lnTo>
                    <a:pt x="64" y="174"/>
                  </a:lnTo>
                  <a:lnTo>
                    <a:pt x="68" y="172"/>
                  </a:lnTo>
                  <a:lnTo>
                    <a:pt x="72" y="172"/>
                  </a:lnTo>
                  <a:lnTo>
                    <a:pt x="74" y="166"/>
                  </a:lnTo>
                  <a:lnTo>
                    <a:pt x="74" y="162"/>
                  </a:lnTo>
                  <a:lnTo>
                    <a:pt x="74" y="159"/>
                  </a:lnTo>
                  <a:lnTo>
                    <a:pt x="74" y="147"/>
                  </a:lnTo>
                  <a:lnTo>
                    <a:pt x="74" y="147"/>
                  </a:lnTo>
                  <a:lnTo>
                    <a:pt x="74" y="142"/>
                  </a:lnTo>
                  <a:lnTo>
                    <a:pt x="74" y="138"/>
                  </a:lnTo>
                  <a:lnTo>
                    <a:pt x="81" y="130"/>
                  </a:lnTo>
                  <a:lnTo>
                    <a:pt x="81" y="128"/>
                  </a:lnTo>
                  <a:lnTo>
                    <a:pt x="87" y="123"/>
                  </a:lnTo>
                  <a:lnTo>
                    <a:pt x="89" y="121"/>
                  </a:lnTo>
                  <a:lnTo>
                    <a:pt x="90" y="121"/>
                  </a:lnTo>
                  <a:lnTo>
                    <a:pt x="94" y="119"/>
                  </a:lnTo>
                  <a:lnTo>
                    <a:pt x="98" y="117"/>
                  </a:lnTo>
                  <a:lnTo>
                    <a:pt x="106" y="108"/>
                  </a:lnTo>
                  <a:lnTo>
                    <a:pt x="106" y="100"/>
                  </a:lnTo>
                  <a:lnTo>
                    <a:pt x="107" y="96"/>
                  </a:lnTo>
                  <a:lnTo>
                    <a:pt x="107" y="94"/>
                  </a:lnTo>
                  <a:lnTo>
                    <a:pt x="107" y="89"/>
                  </a:lnTo>
                  <a:lnTo>
                    <a:pt x="107" y="87"/>
                  </a:lnTo>
                  <a:lnTo>
                    <a:pt x="107" y="81"/>
                  </a:lnTo>
                  <a:lnTo>
                    <a:pt x="107" y="79"/>
                  </a:lnTo>
                  <a:lnTo>
                    <a:pt x="107" y="76"/>
                  </a:lnTo>
                  <a:lnTo>
                    <a:pt x="111" y="70"/>
                  </a:lnTo>
                  <a:lnTo>
                    <a:pt x="111" y="68"/>
                  </a:lnTo>
                  <a:lnTo>
                    <a:pt x="113" y="62"/>
                  </a:lnTo>
                  <a:lnTo>
                    <a:pt x="111" y="57"/>
                  </a:lnTo>
                  <a:lnTo>
                    <a:pt x="119" y="45"/>
                  </a:lnTo>
                  <a:lnTo>
                    <a:pt x="121" y="44"/>
                  </a:lnTo>
                  <a:lnTo>
                    <a:pt x="124" y="42"/>
                  </a:lnTo>
                  <a:lnTo>
                    <a:pt x="124" y="34"/>
                  </a:lnTo>
                  <a:lnTo>
                    <a:pt x="122" y="30"/>
                  </a:lnTo>
                  <a:lnTo>
                    <a:pt x="122" y="25"/>
                  </a:lnTo>
                  <a:lnTo>
                    <a:pt x="122" y="25"/>
                  </a:lnTo>
                  <a:lnTo>
                    <a:pt x="124" y="21"/>
                  </a:lnTo>
                  <a:lnTo>
                    <a:pt x="122" y="17"/>
                  </a:lnTo>
                  <a:lnTo>
                    <a:pt x="122" y="17"/>
                  </a:lnTo>
                  <a:lnTo>
                    <a:pt x="124" y="17"/>
                  </a:lnTo>
                  <a:lnTo>
                    <a:pt x="126" y="15"/>
                  </a:lnTo>
                  <a:lnTo>
                    <a:pt x="126" y="12"/>
                  </a:lnTo>
                  <a:lnTo>
                    <a:pt x="128" y="10"/>
                  </a:lnTo>
                  <a:lnTo>
                    <a:pt x="128" y="8"/>
                  </a:lnTo>
                  <a:lnTo>
                    <a:pt x="130" y="6"/>
                  </a:lnTo>
                  <a:lnTo>
                    <a:pt x="132" y="6"/>
                  </a:lnTo>
                  <a:lnTo>
                    <a:pt x="136" y="4"/>
                  </a:lnTo>
                  <a:lnTo>
                    <a:pt x="136" y="4"/>
                  </a:lnTo>
                  <a:lnTo>
                    <a:pt x="138" y="2"/>
                  </a:lnTo>
                  <a:lnTo>
                    <a:pt x="141" y="2"/>
                  </a:lnTo>
                  <a:lnTo>
                    <a:pt x="141" y="4"/>
                  </a:lnTo>
                  <a:lnTo>
                    <a:pt x="143" y="4"/>
                  </a:lnTo>
                  <a:lnTo>
                    <a:pt x="151" y="10"/>
                  </a:lnTo>
                  <a:lnTo>
                    <a:pt x="153" y="12"/>
                  </a:lnTo>
                  <a:lnTo>
                    <a:pt x="158" y="15"/>
                  </a:lnTo>
                  <a:lnTo>
                    <a:pt x="158" y="17"/>
                  </a:lnTo>
                  <a:lnTo>
                    <a:pt x="162" y="15"/>
                  </a:lnTo>
                  <a:lnTo>
                    <a:pt x="166" y="17"/>
                  </a:lnTo>
                  <a:lnTo>
                    <a:pt x="170" y="17"/>
                  </a:lnTo>
                  <a:lnTo>
                    <a:pt x="173" y="17"/>
                  </a:lnTo>
                  <a:lnTo>
                    <a:pt x="175" y="17"/>
                  </a:lnTo>
                  <a:lnTo>
                    <a:pt x="179" y="17"/>
                  </a:lnTo>
                  <a:lnTo>
                    <a:pt x="183" y="17"/>
                  </a:lnTo>
                  <a:lnTo>
                    <a:pt x="186" y="21"/>
                  </a:lnTo>
                  <a:lnTo>
                    <a:pt x="186" y="21"/>
                  </a:lnTo>
                  <a:lnTo>
                    <a:pt x="190" y="21"/>
                  </a:lnTo>
                  <a:lnTo>
                    <a:pt x="194" y="17"/>
                  </a:lnTo>
                  <a:lnTo>
                    <a:pt x="190" y="17"/>
                  </a:lnTo>
                  <a:lnTo>
                    <a:pt x="190" y="15"/>
                  </a:lnTo>
                  <a:lnTo>
                    <a:pt x="194" y="12"/>
                  </a:lnTo>
                  <a:lnTo>
                    <a:pt x="196" y="8"/>
                  </a:lnTo>
                  <a:lnTo>
                    <a:pt x="200" y="8"/>
                  </a:lnTo>
                  <a:lnTo>
                    <a:pt x="203" y="10"/>
                  </a:lnTo>
                  <a:lnTo>
                    <a:pt x="205" y="12"/>
                  </a:lnTo>
                  <a:lnTo>
                    <a:pt x="207" y="10"/>
                  </a:lnTo>
                  <a:lnTo>
                    <a:pt x="217" y="10"/>
                  </a:lnTo>
                  <a:lnTo>
                    <a:pt x="218" y="8"/>
                  </a:lnTo>
                  <a:lnTo>
                    <a:pt x="220" y="6"/>
                  </a:lnTo>
                  <a:lnTo>
                    <a:pt x="228" y="2"/>
                  </a:lnTo>
                  <a:lnTo>
                    <a:pt x="230" y="2"/>
                  </a:lnTo>
                  <a:lnTo>
                    <a:pt x="230" y="4"/>
                  </a:lnTo>
                  <a:lnTo>
                    <a:pt x="232" y="4"/>
                  </a:lnTo>
                  <a:lnTo>
                    <a:pt x="232" y="8"/>
                  </a:lnTo>
                  <a:lnTo>
                    <a:pt x="234" y="8"/>
                  </a:lnTo>
                  <a:lnTo>
                    <a:pt x="237" y="6"/>
                  </a:lnTo>
                  <a:lnTo>
                    <a:pt x="241" y="6"/>
                  </a:lnTo>
                  <a:lnTo>
                    <a:pt x="245" y="4"/>
                  </a:lnTo>
                  <a:lnTo>
                    <a:pt x="245" y="4"/>
                  </a:lnTo>
                  <a:lnTo>
                    <a:pt x="249" y="0"/>
                  </a:lnTo>
                  <a:lnTo>
                    <a:pt x="249" y="0"/>
                  </a:lnTo>
                  <a:lnTo>
                    <a:pt x="249" y="0"/>
                  </a:lnTo>
                  <a:lnTo>
                    <a:pt x="249" y="0"/>
                  </a:lnTo>
                  <a:lnTo>
                    <a:pt x="250" y="0"/>
                  </a:lnTo>
                  <a:lnTo>
                    <a:pt x="256" y="0"/>
                  </a:lnTo>
                  <a:lnTo>
                    <a:pt x="258" y="0"/>
                  </a:lnTo>
                  <a:lnTo>
                    <a:pt x="260" y="0"/>
                  </a:lnTo>
                  <a:lnTo>
                    <a:pt x="262" y="2"/>
                  </a:lnTo>
                  <a:lnTo>
                    <a:pt x="266" y="4"/>
                  </a:lnTo>
                  <a:lnTo>
                    <a:pt x="273" y="4"/>
                  </a:lnTo>
                  <a:lnTo>
                    <a:pt x="273" y="4"/>
                  </a:lnTo>
                  <a:lnTo>
                    <a:pt x="279" y="0"/>
                  </a:lnTo>
                  <a:lnTo>
                    <a:pt x="282" y="2"/>
                  </a:lnTo>
                  <a:lnTo>
                    <a:pt x="288" y="4"/>
                  </a:lnTo>
                  <a:lnTo>
                    <a:pt x="288" y="4"/>
                  </a:lnTo>
                  <a:lnTo>
                    <a:pt x="288" y="8"/>
                  </a:lnTo>
                  <a:lnTo>
                    <a:pt x="290" y="10"/>
                  </a:lnTo>
                  <a:lnTo>
                    <a:pt x="292" y="10"/>
                  </a:lnTo>
                  <a:lnTo>
                    <a:pt x="294" y="12"/>
                  </a:lnTo>
                  <a:lnTo>
                    <a:pt x="299" y="15"/>
                  </a:lnTo>
                  <a:lnTo>
                    <a:pt x="303" y="17"/>
                  </a:lnTo>
                  <a:lnTo>
                    <a:pt x="303" y="17"/>
                  </a:lnTo>
                  <a:lnTo>
                    <a:pt x="305" y="15"/>
                  </a:lnTo>
                  <a:lnTo>
                    <a:pt x="309" y="12"/>
                  </a:lnTo>
                  <a:lnTo>
                    <a:pt x="313" y="12"/>
                  </a:lnTo>
                  <a:lnTo>
                    <a:pt x="314" y="12"/>
                  </a:lnTo>
                  <a:lnTo>
                    <a:pt x="314" y="15"/>
                  </a:lnTo>
                  <a:lnTo>
                    <a:pt x="316" y="15"/>
                  </a:lnTo>
                  <a:lnTo>
                    <a:pt x="320" y="12"/>
                  </a:lnTo>
                  <a:lnTo>
                    <a:pt x="322" y="12"/>
                  </a:lnTo>
                  <a:lnTo>
                    <a:pt x="324" y="8"/>
                  </a:lnTo>
                  <a:lnTo>
                    <a:pt x="330" y="10"/>
                  </a:lnTo>
                  <a:lnTo>
                    <a:pt x="330" y="10"/>
                  </a:lnTo>
                  <a:lnTo>
                    <a:pt x="333" y="15"/>
                  </a:lnTo>
                  <a:lnTo>
                    <a:pt x="333" y="17"/>
                  </a:lnTo>
                  <a:lnTo>
                    <a:pt x="333" y="17"/>
                  </a:lnTo>
                  <a:lnTo>
                    <a:pt x="339" y="21"/>
                  </a:lnTo>
                  <a:lnTo>
                    <a:pt x="341" y="21"/>
                  </a:lnTo>
                  <a:lnTo>
                    <a:pt x="343" y="25"/>
                  </a:lnTo>
                  <a:lnTo>
                    <a:pt x="345" y="27"/>
                  </a:lnTo>
                  <a:lnTo>
                    <a:pt x="345" y="29"/>
                  </a:lnTo>
                  <a:lnTo>
                    <a:pt x="345" y="30"/>
                  </a:lnTo>
                  <a:lnTo>
                    <a:pt x="346" y="30"/>
                  </a:lnTo>
                  <a:lnTo>
                    <a:pt x="350" y="30"/>
                  </a:lnTo>
                  <a:lnTo>
                    <a:pt x="352" y="32"/>
                  </a:lnTo>
                  <a:lnTo>
                    <a:pt x="352" y="36"/>
                  </a:lnTo>
                  <a:lnTo>
                    <a:pt x="350" y="38"/>
                  </a:lnTo>
                  <a:lnTo>
                    <a:pt x="350" y="44"/>
                  </a:lnTo>
                  <a:lnTo>
                    <a:pt x="348" y="49"/>
                  </a:lnTo>
                  <a:lnTo>
                    <a:pt x="348" y="53"/>
                  </a:lnTo>
                  <a:lnTo>
                    <a:pt x="350" y="55"/>
                  </a:lnTo>
                  <a:lnTo>
                    <a:pt x="352" y="57"/>
                  </a:lnTo>
                  <a:lnTo>
                    <a:pt x="354" y="61"/>
                  </a:lnTo>
                  <a:lnTo>
                    <a:pt x="354" y="62"/>
                  </a:lnTo>
                  <a:lnTo>
                    <a:pt x="343" y="76"/>
                  </a:lnTo>
                  <a:lnTo>
                    <a:pt x="337" y="81"/>
                  </a:lnTo>
                  <a:lnTo>
                    <a:pt x="337" y="85"/>
                  </a:lnTo>
                  <a:lnTo>
                    <a:pt x="330" y="98"/>
                  </a:lnTo>
                  <a:lnTo>
                    <a:pt x="328" y="100"/>
                  </a:lnTo>
                  <a:lnTo>
                    <a:pt x="328" y="104"/>
                  </a:lnTo>
                  <a:lnTo>
                    <a:pt x="328" y="111"/>
                  </a:lnTo>
                  <a:lnTo>
                    <a:pt x="324" y="119"/>
                  </a:lnTo>
                  <a:lnTo>
                    <a:pt x="326" y="123"/>
                  </a:lnTo>
                  <a:lnTo>
                    <a:pt x="320" y="128"/>
                  </a:lnTo>
                  <a:lnTo>
                    <a:pt x="316" y="130"/>
                  </a:lnTo>
                  <a:lnTo>
                    <a:pt x="313" y="142"/>
                  </a:lnTo>
                  <a:lnTo>
                    <a:pt x="313" y="147"/>
                  </a:lnTo>
                  <a:lnTo>
                    <a:pt x="314" y="149"/>
                  </a:lnTo>
                  <a:lnTo>
                    <a:pt x="316" y="155"/>
                  </a:lnTo>
                  <a:lnTo>
                    <a:pt x="316" y="159"/>
                  </a:lnTo>
                  <a:lnTo>
                    <a:pt x="322" y="196"/>
                  </a:lnTo>
                  <a:lnTo>
                    <a:pt x="326" y="219"/>
                  </a:lnTo>
                  <a:lnTo>
                    <a:pt x="339" y="238"/>
                  </a:lnTo>
                  <a:lnTo>
                    <a:pt x="343" y="251"/>
                  </a:lnTo>
                  <a:lnTo>
                    <a:pt x="341" y="251"/>
                  </a:lnTo>
                  <a:lnTo>
                    <a:pt x="313" y="258"/>
                  </a:lnTo>
                  <a:lnTo>
                    <a:pt x="303" y="272"/>
                  </a:lnTo>
                  <a:lnTo>
                    <a:pt x="303" y="275"/>
                  </a:lnTo>
                  <a:lnTo>
                    <a:pt x="305" y="277"/>
                  </a:lnTo>
                  <a:lnTo>
                    <a:pt x="309" y="279"/>
                  </a:lnTo>
                  <a:lnTo>
                    <a:pt x="309" y="281"/>
                  </a:lnTo>
                  <a:lnTo>
                    <a:pt x="305" y="283"/>
                  </a:lnTo>
                  <a:lnTo>
                    <a:pt x="309" y="285"/>
                  </a:lnTo>
                  <a:lnTo>
                    <a:pt x="305" y="287"/>
                  </a:lnTo>
                  <a:lnTo>
                    <a:pt x="309" y="290"/>
                  </a:lnTo>
                  <a:lnTo>
                    <a:pt x="305" y="292"/>
                  </a:lnTo>
                  <a:lnTo>
                    <a:pt x="305" y="296"/>
                  </a:lnTo>
                  <a:lnTo>
                    <a:pt x="305" y="296"/>
                  </a:lnTo>
                  <a:lnTo>
                    <a:pt x="303" y="300"/>
                  </a:lnTo>
                  <a:lnTo>
                    <a:pt x="299" y="300"/>
                  </a:lnTo>
                  <a:lnTo>
                    <a:pt x="299" y="304"/>
                  </a:lnTo>
                  <a:lnTo>
                    <a:pt x="299" y="315"/>
                  </a:lnTo>
                  <a:lnTo>
                    <a:pt x="299" y="317"/>
                  </a:lnTo>
                  <a:lnTo>
                    <a:pt x="303" y="320"/>
                  </a:lnTo>
                  <a:lnTo>
                    <a:pt x="309" y="324"/>
                  </a:lnTo>
                  <a:lnTo>
                    <a:pt x="309" y="330"/>
                  </a:lnTo>
                  <a:lnTo>
                    <a:pt x="313" y="330"/>
                  </a:lnTo>
                  <a:lnTo>
                    <a:pt x="318" y="330"/>
                  </a:lnTo>
                  <a:lnTo>
                    <a:pt x="320" y="330"/>
                  </a:lnTo>
                  <a:lnTo>
                    <a:pt x="318" y="330"/>
                  </a:lnTo>
                  <a:lnTo>
                    <a:pt x="318" y="326"/>
                  </a:lnTo>
                  <a:lnTo>
                    <a:pt x="322" y="326"/>
                  </a:lnTo>
                  <a:lnTo>
                    <a:pt x="326" y="326"/>
                  </a:lnTo>
                  <a:lnTo>
                    <a:pt x="326" y="345"/>
                  </a:lnTo>
                  <a:lnTo>
                    <a:pt x="326" y="349"/>
                  </a:lnTo>
                  <a:lnTo>
                    <a:pt x="322" y="349"/>
                  </a:lnTo>
                  <a:lnTo>
                    <a:pt x="322" y="345"/>
                  </a:lnTo>
                  <a:lnTo>
                    <a:pt x="320" y="345"/>
                  </a:lnTo>
                  <a:lnTo>
                    <a:pt x="316" y="349"/>
                  </a:lnTo>
                  <a:lnTo>
                    <a:pt x="314" y="349"/>
                  </a:lnTo>
                  <a:lnTo>
                    <a:pt x="313" y="349"/>
                  </a:lnTo>
                  <a:lnTo>
                    <a:pt x="309" y="345"/>
                  </a:lnTo>
                  <a:lnTo>
                    <a:pt x="303" y="341"/>
                  </a:lnTo>
                  <a:lnTo>
                    <a:pt x="299" y="337"/>
                  </a:lnTo>
                  <a:lnTo>
                    <a:pt x="298" y="332"/>
                  </a:lnTo>
                  <a:lnTo>
                    <a:pt x="294" y="330"/>
                  </a:lnTo>
                  <a:lnTo>
                    <a:pt x="288" y="326"/>
                  </a:lnTo>
                  <a:lnTo>
                    <a:pt x="281" y="324"/>
                  </a:lnTo>
                  <a:lnTo>
                    <a:pt x="281" y="324"/>
                  </a:lnTo>
                  <a:lnTo>
                    <a:pt x="279" y="320"/>
                  </a:lnTo>
                  <a:lnTo>
                    <a:pt x="279" y="315"/>
                  </a:lnTo>
                  <a:lnTo>
                    <a:pt x="279" y="315"/>
                  </a:lnTo>
                  <a:lnTo>
                    <a:pt x="275" y="315"/>
                  </a:lnTo>
                  <a:lnTo>
                    <a:pt x="273" y="315"/>
                  </a:lnTo>
                  <a:lnTo>
                    <a:pt x="271" y="320"/>
                  </a:lnTo>
                  <a:lnTo>
                    <a:pt x="271" y="320"/>
                  </a:lnTo>
                  <a:lnTo>
                    <a:pt x="266" y="324"/>
                  </a:lnTo>
                  <a:lnTo>
                    <a:pt x="262" y="324"/>
                  </a:lnTo>
                  <a:lnTo>
                    <a:pt x="262" y="324"/>
                  </a:lnTo>
                  <a:lnTo>
                    <a:pt x="258" y="320"/>
                  </a:lnTo>
                  <a:lnTo>
                    <a:pt x="254" y="320"/>
                  </a:lnTo>
                  <a:lnTo>
                    <a:pt x="249" y="317"/>
                  </a:lnTo>
                  <a:lnTo>
                    <a:pt x="249" y="317"/>
                  </a:lnTo>
                  <a:lnTo>
                    <a:pt x="245" y="317"/>
                  </a:lnTo>
                  <a:lnTo>
                    <a:pt x="243" y="317"/>
                  </a:lnTo>
                  <a:lnTo>
                    <a:pt x="243" y="315"/>
                  </a:lnTo>
                  <a:lnTo>
                    <a:pt x="243" y="313"/>
                  </a:lnTo>
                  <a:lnTo>
                    <a:pt x="243" y="311"/>
                  </a:lnTo>
                  <a:lnTo>
                    <a:pt x="243" y="307"/>
                  </a:lnTo>
                  <a:lnTo>
                    <a:pt x="241" y="307"/>
                  </a:lnTo>
                  <a:lnTo>
                    <a:pt x="235" y="307"/>
                  </a:lnTo>
                  <a:lnTo>
                    <a:pt x="235" y="309"/>
                  </a:lnTo>
                  <a:lnTo>
                    <a:pt x="232" y="309"/>
                  </a:lnTo>
                  <a:lnTo>
                    <a:pt x="230" y="311"/>
                  </a:lnTo>
                  <a:lnTo>
                    <a:pt x="226" y="313"/>
                  </a:lnTo>
                  <a:lnTo>
                    <a:pt x="226" y="313"/>
                  </a:lnTo>
                  <a:lnTo>
                    <a:pt x="224" y="311"/>
                  </a:lnTo>
                  <a:lnTo>
                    <a:pt x="224" y="307"/>
                  </a:lnTo>
                  <a:lnTo>
                    <a:pt x="224" y="305"/>
                  </a:lnTo>
                  <a:lnTo>
                    <a:pt x="220" y="305"/>
                  </a:lnTo>
                  <a:lnTo>
                    <a:pt x="220" y="305"/>
                  </a:lnTo>
                  <a:lnTo>
                    <a:pt x="218" y="304"/>
                  </a:lnTo>
                  <a:lnTo>
                    <a:pt x="218" y="304"/>
                  </a:lnTo>
                  <a:lnTo>
                    <a:pt x="215" y="304"/>
                  </a:lnTo>
                  <a:lnTo>
                    <a:pt x="211" y="305"/>
                  </a:lnTo>
                  <a:lnTo>
                    <a:pt x="209" y="307"/>
                  </a:lnTo>
                  <a:lnTo>
                    <a:pt x="207" y="307"/>
                  </a:lnTo>
                  <a:lnTo>
                    <a:pt x="205" y="307"/>
                  </a:lnTo>
                  <a:lnTo>
                    <a:pt x="203" y="307"/>
                  </a:lnTo>
                  <a:lnTo>
                    <a:pt x="200" y="307"/>
                  </a:lnTo>
                  <a:lnTo>
                    <a:pt x="196" y="307"/>
                  </a:lnTo>
                  <a:lnTo>
                    <a:pt x="194" y="305"/>
                  </a:lnTo>
                  <a:lnTo>
                    <a:pt x="190" y="305"/>
                  </a:lnTo>
                  <a:lnTo>
                    <a:pt x="190" y="305"/>
                  </a:lnTo>
                  <a:lnTo>
                    <a:pt x="190" y="305"/>
                  </a:lnTo>
                  <a:lnTo>
                    <a:pt x="186" y="307"/>
                  </a:lnTo>
                  <a:lnTo>
                    <a:pt x="186" y="307"/>
                  </a:lnTo>
                  <a:lnTo>
                    <a:pt x="186" y="305"/>
                  </a:lnTo>
                  <a:lnTo>
                    <a:pt x="186" y="302"/>
                  </a:lnTo>
                  <a:lnTo>
                    <a:pt x="186" y="302"/>
                  </a:lnTo>
                  <a:lnTo>
                    <a:pt x="186" y="300"/>
                  </a:lnTo>
                  <a:lnTo>
                    <a:pt x="186" y="300"/>
                  </a:lnTo>
                  <a:lnTo>
                    <a:pt x="186" y="296"/>
                  </a:lnTo>
                  <a:lnTo>
                    <a:pt x="185" y="292"/>
                  </a:lnTo>
                  <a:lnTo>
                    <a:pt x="186" y="292"/>
                  </a:lnTo>
                  <a:lnTo>
                    <a:pt x="186" y="290"/>
                  </a:lnTo>
                  <a:lnTo>
                    <a:pt x="185" y="287"/>
                  </a:lnTo>
                  <a:lnTo>
                    <a:pt x="185" y="285"/>
                  </a:lnTo>
                  <a:lnTo>
                    <a:pt x="185" y="283"/>
                  </a:lnTo>
                  <a:lnTo>
                    <a:pt x="185" y="281"/>
                  </a:lnTo>
                  <a:lnTo>
                    <a:pt x="183" y="281"/>
                  </a:lnTo>
                  <a:lnTo>
                    <a:pt x="181" y="277"/>
                  </a:lnTo>
                  <a:lnTo>
                    <a:pt x="181" y="277"/>
                  </a:lnTo>
                  <a:lnTo>
                    <a:pt x="181" y="275"/>
                  </a:lnTo>
                  <a:lnTo>
                    <a:pt x="179" y="272"/>
                  </a:lnTo>
                  <a:lnTo>
                    <a:pt x="179" y="272"/>
                  </a:lnTo>
                  <a:lnTo>
                    <a:pt x="177" y="268"/>
                  </a:lnTo>
                  <a:lnTo>
                    <a:pt x="179" y="266"/>
                  </a:lnTo>
                  <a:lnTo>
                    <a:pt x="179" y="260"/>
                  </a:lnTo>
                  <a:lnTo>
                    <a:pt x="177" y="256"/>
                  </a:lnTo>
                  <a:lnTo>
                    <a:pt x="177" y="255"/>
                  </a:lnTo>
                  <a:lnTo>
                    <a:pt x="179" y="255"/>
                  </a:lnTo>
                  <a:lnTo>
                    <a:pt x="179" y="251"/>
                  </a:lnTo>
                  <a:lnTo>
                    <a:pt x="177" y="249"/>
                  </a:lnTo>
                  <a:lnTo>
                    <a:pt x="177" y="245"/>
                  </a:lnTo>
                  <a:lnTo>
                    <a:pt x="179" y="241"/>
                  </a:lnTo>
                  <a:lnTo>
                    <a:pt x="179" y="241"/>
                  </a:lnTo>
                  <a:lnTo>
                    <a:pt x="179" y="238"/>
                  </a:lnTo>
                  <a:lnTo>
                    <a:pt x="179" y="236"/>
                  </a:lnTo>
                  <a:lnTo>
                    <a:pt x="158" y="234"/>
                  </a:lnTo>
                  <a:lnTo>
                    <a:pt x="156" y="232"/>
                  </a:lnTo>
                  <a:lnTo>
                    <a:pt x="158" y="230"/>
                  </a:lnTo>
                  <a:lnTo>
                    <a:pt x="158" y="226"/>
                  </a:lnTo>
                  <a:lnTo>
                    <a:pt x="153" y="226"/>
                  </a:lnTo>
                  <a:lnTo>
                    <a:pt x="153" y="228"/>
                  </a:lnTo>
                  <a:lnTo>
                    <a:pt x="136" y="228"/>
                  </a:lnTo>
                  <a:lnTo>
                    <a:pt x="132" y="234"/>
                  </a:lnTo>
                  <a:lnTo>
                    <a:pt x="132" y="238"/>
                  </a:lnTo>
                  <a:lnTo>
                    <a:pt x="132" y="238"/>
                  </a:lnTo>
                  <a:lnTo>
                    <a:pt x="132" y="241"/>
                  </a:lnTo>
                  <a:lnTo>
                    <a:pt x="132" y="245"/>
                  </a:lnTo>
                  <a:lnTo>
                    <a:pt x="117" y="247"/>
                  </a:lnTo>
                  <a:lnTo>
                    <a:pt x="115" y="249"/>
                  </a:lnTo>
                  <a:lnTo>
                    <a:pt x="107" y="247"/>
                  </a:lnTo>
                  <a:lnTo>
                    <a:pt x="107" y="247"/>
                  </a:lnTo>
                  <a:lnTo>
                    <a:pt x="104" y="247"/>
                  </a:lnTo>
                  <a:lnTo>
                    <a:pt x="98" y="247"/>
                  </a:lnTo>
                  <a:lnTo>
                    <a:pt x="96" y="247"/>
                  </a:lnTo>
                  <a:lnTo>
                    <a:pt x="96" y="241"/>
                  </a:lnTo>
                  <a:lnTo>
                    <a:pt x="92" y="238"/>
                  </a:lnTo>
                  <a:lnTo>
                    <a:pt x="90" y="236"/>
                  </a:lnTo>
                  <a:lnTo>
                    <a:pt x="89" y="234"/>
                  </a:lnTo>
                  <a:lnTo>
                    <a:pt x="89" y="232"/>
                  </a:lnTo>
                  <a:lnTo>
                    <a:pt x="89" y="230"/>
                  </a:lnTo>
                  <a:lnTo>
                    <a:pt x="87" y="226"/>
                  </a:lnTo>
                  <a:lnTo>
                    <a:pt x="87" y="223"/>
                  </a:lnTo>
                  <a:lnTo>
                    <a:pt x="87" y="219"/>
                  </a:lnTo>
                  <a:lnTo>
                    <a:pt x="87" y="217"/>
                  </a:lnTo>
                  <a:lnTo>
                    <a:pt x="87" y="217"/>
                  </a:lnTo>
                  <a:lnTo>
                    <a:pt x="87" y="213"/>
                  </a:lnTo>
                  <a:lnTo>
                    <a:pt x="83" y="213"/>
                  </a:lnTo>
                  <a:lnTo>
                    <a:pt x="87" y="211"/>
                  </a:lnTo>
                  <a:lnTo>
                    <a:pt x="87" y="207"/>
                  </a:lnTo>
                  <a:lnTo>
                    <a:pt x="66" y="207"/>
                  </a:lnTo>
                  <a:lnTo>
                    <a:pt x="53" y="207"/>
                  </a:lnTo>
                  <a:lnTo>
                    <a:pt x="47" y="207"/>
                  </a:lnTo>
                  <a:lnTo>
                    <a:pt x="40" y="207"/>
                  </a:lnTo>
                  <a:lnTo>
                    <a:pt x="38" y="207"/>
                  </a:lnTo>
                  <a:lnTo>
                    <a:pt x="32" y="207"/>
                  </a:lnTo>
                  <a:lnTo>
                    <a:pt x="28" y="207"/>
                  </a:lnTo>
                  <a:lnTo>
                    <a:pt x="23" y="207"/>
                  </a:lnTo>
                  <a:lnTo>
                    <a:pt x="23" y="207"/>
                  </a:lnTo>
                  <a:lnTo>
                    <a:pt x="19" y="207"/>
                  </a:lnTo>
                  <a:lnTo>
                    <a:pt x="15" y="207"/>
                  </a:lnTo>
                  <a:lnTo>
                    <a:pt x="13" y="207"/>
                  </a:lnTo>
                  <a:lnTo>
                    <a:pt x="11" y="211"/>
                  </a:lnTo>
                  <a:lnTo>
                    <a:pt x="10" y="211"/>
                  </a:lnTo>
                  <a:lnTo>
                    <a:pt x="10" y="211"/>
                  </a:lnTo>
                  <a:lnTo>
                    <a:pt x="10" y="211"/>
                  </a:lnTo>
                  <a:lnTo>
                    <a:pt x="8" y="211"/>
                  </a:lnTo>
                  <a:lnTo>
                    <a:pt x="8" y="211"/>
                  </a:lnTo>
                  <a:lnTo>
                    <a:pt x="6" y="207"/>
                  </a:lnTo>
                  <a:lnTo>
                    <a:pt x="0" y="207"/>
                  </a:lnTo>
                  <a:lnTo>
                    <a:pt x="0" y="207"/>
                  </a:lnTo>
                  <a:lnTo>
                    <a:pt x="0" y="207"/>
                  </a:lnTo>
                  <a:lnTo>
                    <a:pt x="0" y="20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1" name="Freeform 142">
              <a:extLst>
                <a:ext uri="{FF2B5EF4-FFF2-40B4-BE49-F238E27FC236}">
                  <a16:creationId xmlns:a16="http://schemas.microsoft.com/office/drawing/2014/main" id="{F508FAF3-5FFB-9F47-89FB-C3257219CD78}"/>
                </a:ext>
              </a:extLst>
            </p:cNvPr>
            <p:cNvSpPr>
              <a:spLocks/>
            </p:cNvSpPr>
            <p:nvPr/>
          </p:nvSpPr>
          <p:spPr bwMode="auto">
            <a:xfrm>
              <a:off x="6638985" y="3124003"/>
              <a:ext cx="50347" cy="112751"/>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2" name="Freeform 143">
              <a:extLst>
                <a:ext uri="{FF2B5EF4-FFF2-40B4-BE49-F238E27FC236}">
                  <a16:creationId xmlns:a16="http://schemas.microsoft.com/office/drawing/2014/main" id="{15CC66BA-FAB5-524C-86EB-0EF66C718245}"/>
                </a:ext>
              </a:extLst>
            </p:cNvPr>
            <p:cNvSpPr>
              <a:spLocks/>
            </p:cNvSpPr>
            <p:nvPr/>
          </p:nvSpPr>
          <p:spPr bwMode="auto">
            <a:xfrm>
              <a:off x="6638985" y="3124003"/>
              <a:ext cx="50347" cy="112751"/>
            </a:xfrm>
            <a:custGeom>
              <a:avLst/>
              <a:gdLst/>
              <a:ahLst/>
              <a:cxnLst>
                <a:cxn ang="0">
                  <a:pos x="6" y="0"/>
                </a:cxn>
                <a:cxn ang="0">
                  <a:pos x="10" y="0"/>
                </a:cxn>
                <a:cxn ang="0">
                  <a:pos x="12" y="4"/>
                </a:cxn>
                <a:cxn ang="0">
                  <a:pos x="15" y="4"/>
                </a:cxn>
                <a:cxn ang="0">
                  <a:pos x="19" y="4"/>
                </a:cxn>
                <a:cxn ang="0">
                  <a:pos x="21" y="8"/>
                </a:cxn>
                <a:cxn ang="0">
                  <a:pos x="30" y="15"/>
                </a:cxn>
                <a:cxn ang="0">
                  <a:pos x="30" y="55"/>
                </a:cxn>
                <a:cxn ang="0">
                  <a:pos x="32" y="74"/>
                </a:cxn>
                <a:cxn ang="0">
                  <a:pos x="40" y="79"/>
                </a:cxn>
                <a:cxn ang="0">
                  <a:pos x="44" y="83"/>
                </a:cxn>
                <a:cxn ang="0">
                  <a:pos x="51" y="93"/>
                </a:cxn>
                <a:cxn ang="0">
                  <a:pos x="59" y="102"/>
                </a:cxn>
                <a:cxn ang="0">
                  <a:pos x="59" y="106"/>
                </a:cxn>
                <a:cxn ang="0">
                  <a:pos x="57" y="108"/>
                </a:cxn>
                <a:cxn ang="0">
                  <a:pos x="53" y="111"/>
                </a:cxn>
                <a:cxn ang="0">
                  <a:pos x="53" y="113"/>
                </a:cxn>
                <a:cxn ang="0">
                  <a:pos x="55" y="121"/>
                </a:cxn>
                <a:cxn ang="0">
                  <a:pos x="51" y="126"/>
                </a:cxn>
                <a:cxn ang="0">
                  <a:pos x="46" y="134"/>
                </a:cxn>
                <a:cxn ang="0">
                  <a:pos x="44" y="138"/>
                </a:cxn>
                <a:cxn ang="0">
                  <a:pos x="44" y="147"/>
                </a:cxn>
                <a:cxn ang="0">
                  <a:pos x="38" y="145"/>
                </a:cxn>
                <a:cxn ang="0">
                  <a:pos x="38" y="142"/>
                </a:cxn>
                <a:cxn ang="0">
                  <a:pos x="32" y="138"/>
                </a:cxn>
                <a:cxn ang="0">
                  <a:pos x="27" y="130"/>
                </a:cxn>
                <a:cxn ang="0">
                  <a:pos x="27" y="123"/>
                </a:cxn>
                <a:cxn ang="0">
                  <a:pos x="27" y="117"/>
                </a:cxn>
                <a:cxn ang="0">
                  <a:pos x="32" y="108"/>
                </a:cxn>
                <a:cxn ang="0">
                  <a:pos x="32" y="100"/>
                </a:cxn>
                <a:cxn ang="0">
                  <a:pos x="27" y="94"/>
                </a:cxn>
                <a:cxn ang="0">
                  <a:pos x="21" y="96"/>
                </a:cxn>
                <a:cxn ang="0">
                  <a:pos x="17" y="98"/>
                </a:cxn>
                <a:cxn ang="0">
                  <a:pos x="14" y="93"/>
                </a:cxn>
                <a:cxn ang="0">
                  <a:pos x="10" y="89"/>
                </a:cxn>
                <a:cxn ang="0">
                  <a:pos x="4" y="89"/>
                </a:cxn>
                <a:cxn ang="0">
                  <a:pos x="2" y="83"/>
                </a:cxn>
                <a:cxn ang="0">
                  <a:pos x="0" y="79"/>
                </a:cxn>
                <a:cxn ang="0">
                  <a:pos x="4" y="76"/>
                </a:cxn>
                <a:cxn ang="0">
                  <a:pos x="4" y="70"/>
                </a:cxn>
                <a:cxn ang="0">
                  <a:pos x="4" y="66"/>
                </a:cxn>
                <a:cxn ang="0">
                  <a:pos x="8" y="62"/>
                </a:cxn>
                <a:cxn ang="0">
                  <a:pos x="14" y="59"/>
                </a:cxn>
                <a:cxn ang="0">
                  <a:pos x="14" y="57"/>
                </a:cxn>
                <a:cxn ang="0">
                  <a:pos x="12" y="55"/>
                </a:cxn>
                <a:cxn ang="0">
                  <a:pos x="12" y="51"/>
                </a:cxn>
                <a:cxn ang="0">
                  <a:pos x="12" y="45"/>
                </a:cxn>
                <a:cxn ang="0">
                  <a:pos x="12" y="42"/>
                </a:cxn>
                <a:cxn ang="0">
                  <a:pos x="10" y="34"/>
                </a:cxn>
                <a:cxn ang="0">
                  <a:pos x="15" y="29"/>
                </a:cxn>
                <a:cxn ang="0">
                  <a:pos x="15" y="27"/>
                </a:cxn>
                <a:cxn ang="0">
                  <a:pos x="15" y="19"/>
                </a:cxn>
                <a:cxn ang="0">
                  <a:pos x="12" y="15"/>
                </a:cxn>
                <a:cxn ang="0">
                  <a:pos x="14" y="8"/>
                </a:cxn>
                <a:cxn ang="0">
                  <a:pos x="8" y="8"/>
                </a:cxn>
                <a:cxn ang="0">
                  <a:pos x="6" y="4"/>
                </a:cxn>
                <a:cxn ang="0">
                  <a:pos x="4" y="0"/>
                </a:cxn>
              </a:cxnLst>
              <a:rect l="0" t="0" r="r" b="b"/>
              <a:pathLst>
                <a:path w="59" h="147">
                  <a:moveTo>
                    <a:pt x="4" y="0"/>
                  </a:moveTo>
                  <a:lnTo>
                    <a:pt x="6" y="0"/>
                  </a:lnTo>
                  <a:lnTo>
                    <a:pt x="8" y="0"/>
                  </a:lnTo>
                  <a:lnTo>
                    <a:pt x="10" y="0"/>
                  </a:lnTo>
                  <a:lnTo>
                    <a:pt x="12" y="0"/>
                  </a:lnTo>
                  <a:lnTo>
                    <a:pt x="12" y="4"/>
                  </a:lnTo>
                  <a:lnTo>
                    <a:pt x="14" y="4"/>
                  </a:lnTo>
                  <a:lnTo>
                    <a:pt x="15" y="4"/>
                  </a:lnTo>
                  <a:lnTo>
                    <a:pt x="17" y="4"/>
                  </a:lnTo>
                  <a:lnTo>
                    <a:pt x="19" y="4"/>
                  </a:lnTo>
                  <a:lnTo>
                    <a:pt x="19" y="4"/>
                  </a:lnTo>
                  <a:lnTo>
                    <a:pt x="21" y="8"/>
                  </a:lnTo>
                  <a:lnTo>
                    <a:pt x="23" y="8"/>
                  </a:lnTo>
                  <a:lnTo>
                    <a:pt x="30" y="15"/>
                  </a:lnTo>
                  <a:lnTo>
                    <a:pt x="30" y="23"/>
                  </a:lnTo>
                  <a:lnTo>
                    <a:pt x="30" y="55"/>
                  </a:lnTo>
                  <a:lnTo>
                    <a:pt x="30" y="57"/>
                  </a:lnTo>
                  <a:lnTo>
                    <a:pt x="32" y="74"/>
                  </a:lnTo>
                  <a:lnTo>
                    <a:pt x="38" y="78"/>
                  </a:lnTo>
                  <a:lnTo>
                    <a:pt x="40" y="79"/>
                  </a:lnTo>
                  <a:lnTo>
                    <a:pt x="42" y="81"/>
                  </a:lnTo>
                  <a:lnTo>
                    <a:pt x="44" y="83"/>
                  </a:lnTo>
                  <a:lnTo>
                    <a:pt x="51" y="87"/>
                  </a:lnTo>
                  <a:lnTo>
                    <a:pt x="51" y="93"/>
                  </a:lnTo>
                  <a:lnTo>
                    <a:pt x="57" y="96"/>
                  </a:lnTo>
                  <a:lnTo>
                    <a:pt x="59" y="102"/>
                  </a:lnTo>
                  <a:lnTo>
                    <a:pt x="59" y="104"/>
                  </a:lnTo>
                  <a:lnTo>
                    <a:pt x="59" y="106"/>
                  </a:lnTo>
                  <a:lnTo>
                    <a:pt x="57" y="108"/>
                  </a:lnTo>
                  <a:lnTo>
                    <a:pt x="57" y="108"/>
                  </a:lnTo>
                  <a:lnTo>
                    <a:pt x="53" y="108"/>
                  </a:lnTo>
                  <a:lnTo>
                    <a:pt x="53" y="111"/>
                  </a:lnTo>
                  <a:lnTo>
                    <a:pt x="55" y="111"/>
                  </a:lnTo>
                  <a:lnTo>
                    <a:pt x="53" y="113"/>
                  </a:lnTo>
                  <a:lnTo>
                    <a:pt x="55" y="117"/>
                  </a:lnTo>
                  <a:lnTo>
                    <a:pt x="55" y="121"/>
                  </a:lnTo>
                  <a:lnTo>
                    <a:pt x="55" y="125"/>
                  </a:lnTo>
                  <a:lnTo>
                    <a:pt x="51" y="126"/>
                  </a:lnTo>
                  <a:lnTo>
                    <a:pt x="47" y="128"/>
                  </a:lnTo>
                  <a:lnTo>
                    <a:pt x="46" y="134"/>
                  </a:lnTo>
                  <a:lnTo>
                    <a:pt x="46" y="138"/>
                  </a:lnTo>
                  <a:lnTo>
                    <a:pt x="44" y="138"/>
                  </a:lnTo>
                  <a:lnTo>
                    <a:pt x="44" y="145"/>
                  </a:lnTo>
                  <a:lnTo>
                    <a:pt x="44" y="147"/>
                  </a:lnTo>
                  <a:lnTo>
                    <a:pt x="40" y="147"/>
                  </a:lnTo>
                  <a:lnTo>
                    <a:pt x="38" y="145"/>
                  </a:lnTo>
                  <a:lnTo>
                    <a:pt x="40" y="145"/>
                  </a:lnTo>
                  <a:lnTo>
                    <a:pt x="38" y="142"/>
                  </a:lnTo>
                  <a:lnTo>
                    <a:pt x="36" y="138"/>
                  </a:lnTo>
                  <a:lnTo>
                    <a:pt x="32" y="138"/>
                  </a:lnTo>
                  <a:lnTo>
                    <a:pt x="30" y="134"/>
                  </a:lnTo>
                  <a:lnTo>
                    <a:pt x="27" y="130"/>
                  </a:lnTo>
                  <a:lnTo>
                    <a:pt x="27" y="128"/>
                  </a:lnTo>
                  <a:lnTo>
                    <a:pt x="27" y="123"/>
                  </a:lnTo>
                  <a:lnTo>
                    <a:pt x="25" y="121"/>
                  </a:lnTo>
                  <a:lnTo>
                    <a:pt x="27" y="117"/>
                  </a:lnTo>
                  <a:lnTo>
                    <a:pt x="27" y="113"/>
                  </a:lnTo>
                  <a:lnTo>
                    <a:pt x="32" y="108"/>
                  </a:lnTo>
                  <a:lnTo>
                    <a:pt x="32" y="104"/>
                  </a:lnTo>
                  <a:lnTo>
                    <a:pt x="32" y="100"/>
                  </a:lnTo>
                  <a:lnTo>
                    <a:pt x="32" y="96"/>
                  </a:lnTo>
                  <a:lnTo>
                    <a:pt x="27" y="94"/>
                  </a:lnTo>
                  <a:lnTo>
                    <a:pt x="23" y="94"/>
                  </a:lnTo>
                  <a:lnTo>
                    <a:pt x="21" y="96"/>
                  </a:lnTo>
                  <a:lnTo>
                    <a:pt x="17" y="96"/>
                  </a:lnTo>
                  <a:lnTo>
                    <a:pt x="17" y="98"/>
                  </a:lnTo>
                  <a:lnTo>
                    <a:pt x="14" y="96"/>
                  </a:lnTo>
                  <a:lnTo>
                    <a:pt x="14" y="93"/>
                  </a:lnTo>
                  <a:lnTo>
                    <a:pt x="12" y="93"/>
                  </a:lnTo>
                  <a:lnTo>
                    <a:pt x="10" y="89"/>
                  </a:lnTo>
                  <a:lnTo>
                    <a:pt x="10" y="87"/>
                  </a:lnTo>
                  <a:lnTo>
                    <a:pt x="4" y="89"/>
                  </a:lnTo>
                  <a:lnTo>
                    <a:pt x="4" y="87"/>
                  </a:lnTo>
                  <a:lnTo>
                    <a:pt x="2" y="83"/>
                  </a:lnTo>
                  <a:lnTo>
                    <a:pt x="0" y="81"/>
                  </a:lnTo>
                  <a:lnTo>
                    <a:pt x="0" y="79"/>
                  </a:lnTo>
                  <a:lnTo>
                    <a:pt x="0" y="79"/>
                  </a:lnTo>
                  <a:lnTo>
                    <a:pt x="4" y="76"/>
                  </a:lnTo>
                  <a:lnTo>
                    <a:pt x="4" y="72"/>
                  </a:lnTo>
                  <a:lnTo>
                    <a:pt x="4" y="70"/>
                  </a:lnTo>
                  <a:lnTo>
                    <a:pt x="4" y="68"/>
                  </a:lnTo>
                  <a:lnTo>
                    <a:pt x="4" y="66"/>
                  </a:lnTo>
                  <a:lnTo>
                    <a:pt x="4" y="64"/>
                  </a:lnTo>
                  <a:lnTo>
                    <a:pt x="8" y="62"/>
                  </a:lnTo>
                  <a:lnTo>
                    <a:pt x="12" y="62"/>
                  </a:lnTo>
                  <a:lnTo>
                    <a:pt x="14" y="59"/>
                  </a:lnTo>
                  <a:lnTo>
                    <a:pt x="15" y="59"/>
                  </a:lnTo>
                  <a:lnTo>
                    <a:pt x="14" y="57"/>
                  </a:lnTo>
                  <a:lnTo>
                    <a:pt x="12" y="57"/>
                  </a:lnTo>
                  <a:lnTo>
                    <a:pt x="12" y="55"/>
                  </a:lnTo>
                  <a:lnTo>
                    <a:pt x="12" y="51"/>
                  </a:lnTo>
                  <a:lnTo>
                    <a:pt x="12" y="51"/>
                  </a:lnTo>
                  <a:lnTo>
                    <a:pt x="14" y="49"/>
                  </a:lnTo>
                  <a:lnTo>
                    <a:pt x="12" y="45"/>
                  </a:lnTo>
                  <a:lnTo>
                    <a:pt x="12" y="44"/>
                  </a:lnTo>
                  <a:lnTo>
                    <a:pt x="12" y="42"/>
                  </a:lnTo>
                  <a:lnTo>
                    <a:pt x="12" y="38"/>
                  </a:lnTo>
                  <a:lnTo>
                    <a:pt x="10" y="34"/>
                  </a:lnTo>
                  <a:lnTo>
                    <a:pt x="12" y="32"/>
                  </a:lnTo>
                  <a:lnTo>
                    <a:pt x="15" y="29"/>
                  </a:lnTo>
                  <a:lnTo>
                    <a:pt x="15" y="27"/>
                  </a:lnTo>
                  <a:lnTo>
                    <a:pt x="15" y="27"/>
                  </a:lnTo>
                  <a:lnTo>
                    <a:pt x="15" y="21"/>
                  </a:lnTo>
                  <a:lnTo>
                    <a:pt x="15" y="19"/>
                  </a:lnTo>
                  <a:lnTo>
                    <a:pt x="12" y="17"/>
                  </a:lnTo>
                  <a:lnTo>
                    <a:pt x="12" y="15"/>
                  </a:lnTo>
                  <a:lnTo>
                    <a:pt x="14" y="10"/>
                  </a:lnTo>
                  <a:lnTo>
                    <a:pt x="14" y="8"/>
                  </a:lnTo>
                  <a:lnTo>
                    <a:pt x="12" y="8"/>
                  </a:lnTo>
                  <a:lnTo>
                    <a:pt x="8" y="8"/>
                  </a:lnTo>
                  <a:lnTo>
                    <a:pt x="8" y="4"/>
                  </a:lnTo>
                  <a:lnTo>
                    <a:pt x="6" y="4"/>
                  </a:lnTo>
                  <a:lnTo>
                    <a:pt x="4" y="0"/>
                  </a:lnTo>
                  <a:lnTo>
                    <a:pt x="4" y="0"/>
                  </a:lnTo>
                  <a:lnTo>
                    <a:pt x="4"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3" name="Freeform 144">
              <a:extLst>
                <a:ext uri="{FF2B5EF4-FFF2-40B4-BE49-F238E27FC236}">
                  <a16:creationId xmlns:a16="http://schemas.microsoft.com/office/drawing/2014/main" id="{DC0DD12B-716B-744D-9022-6B8EF2553CF2}"/>
                </a:ext>
              </a:extLst>
            </p:cNvPr>
            <p:cNvSpPr>
              <a:spLocks/>
            </p:cNvSpPr>
            <p:nvPr/>
          </p:nvSpPr>
          <p:spPr bwMode="auto">
            <a:xfrm>
              <a:off x="6467464" y="3107128"/>
              <a:ext cx="184321" cy="142664"/>
            </a:xfrm>
            <a:custGeom>
              <a:avLst/>
              <a:gdLst/>
              <a:ahLst/>
              <a:cxnLst>
                <a:cxn ang="0">
                  <a:pos x="47" y="54"/>
                </a:cxn>
                <a:cxn ang="0">
                  <a:pos x="49" y="62"/>
                </a:cxn>
                <a:cxn ang="0">
                  <a:pos x="58" y="56"/>
                </a:cxn>
                <a:cxn ang="0">
                  <a:pos x="66" y="62"/>
                </a:cxn>
                <a:cxn ang="0">
                  <a:pos x="71" y="67"/>
                </a:cxn>
                <a:cxn ang="0">
                  <a:pos x="83" y="73"/>
                </a:cxn>
                <a:cxn ang="0">
                  <a:pos x="92" y="69"/>
                </a:cxn>
                <a:cxn ang="0">
                  <a:pos x="100" y="64"/>
                </a:cxn>
                <a:cxn ang="0">
                  <a:pos x="109" y="75"/>
                </a:cxn>
                <a:cxn ang="0">
                  <a:pos x="126" y="90"/>
                </a:cxn>
                <a:cxn ang="0">
                  <a:pos x="139" y="98"/>
                </a:cxn>
                <a:cxn ang="0">
                  <a:pos x="147" y="98"/>
                </a:cxn>
                <a:cxn ang="0">
                  <a:pos x="139" y="75"/>
                </a:cxn>
                <a:cxn ang="0">
                  <a:pos x="134" y="81"/>
                </a:cxn>
                <a:cxn ang="0">
                  <a:pos x="122" y="67"/>
                </a:cxn>
                <a:cxn ang="0">
                  <a:pos x="126" y="49"/>
                </a:cxn>
                <a:cxn ang="0">
                  <a:pos x="130" y="39"/>
                </a:cxn>
                <a:cxn ang="0">
                  <a:pos x="130" y="30"/>
                </a:cxn>
                <a:cxn ang="0">
                  <a:pos x="124" y="20"/>
                </a:cxn>
                <a:cxn ang="0">
                  <a:pos x="173" y="3"/>
                </a:cxn>
                <a:cxn ang="0">
                  <a:pos x="183" y="7"/>
                </a:cxn>
                <a:cxn ang="0">
                  <a:pos x="198" y="13"/>
                </a:cxn>
                <a:cxn ang="0">
                  <a:pos x="207" y="20"/>
                </a:cxn>
                <a:cxn ang="0">
                  <a:pos x="209" y="30"/>
                </a:cxn>
                <a:cxn ang="0">
                  <a:pos x="213" y="37"/>
                </a:cxn>
                <a:cxn ang="0">
                  <a:pos x="216" y="49"/>
                </a:cxn>
                <a:cxn ang="0">
                  <a:pos x="211" y="56"/>
                </a:cxn>
                <a:cxn ang="0">
                  <a:pos x="213" y="67"/>
                </a:cxn>
                <a:cxn ang="0">
                  <a:pos x="213" y="75"/>
                </a:cxn>
                <a:cxn ang="0">
                  <a:pos x="215" y="81"/>
                </a:cxn>
                <a:cxn ang="0">
                  <a:pos x="207" y="88"/>
                </a:cxn>
                <a:cxn ang="0">
                  <a:pos x="207" y="98"/>
                </a:cxn>
                <a:cxn ang="0">
                  <a:pos x="203" y="105"/>
                </a:cxn>
                <a:cxn ang="0">
                  <a:pos x="201" y="115"/>
                </a:cxn>
                <a:cxn ang="0">
                  <a:pos x="164" y="126"/>
                </a:cxn>
                <a:cxn ang="0">
                  <a:pos x="158" y="139"/>
                </a:cxn>
                <a:cxn ang="0">
                  <a:pos x="149" y="139"/>
                </a:cxn>
                <a:cxn ang="0">
                  <a:pos x="135" y="143"/>
                </a:cxn>
                <a:cxn ang="0">
                  <a:pos x="128" y="150"/>
                </a:cxn>
                <a:cxn ang="0">
                  <a:pos x="126" y="156"/>
                </a:cxn>
                <a:cxn ang="0">
                  <a:pos x="96" y="184"/>
                </a:cxn>
                <a:cxn ang="0">
                  <a:pos x="83" y="182"/>
                </a:cxn>
                <a:cxn ang="0">
                  <a:pos x="75" y="182"/>
                </a:cxn>
                <a:cxn ang="0">
                  <a:pos x="66" y="181"/>
                </a:cxn>
                <a:cxn ang="0">
                  <a:pos x="56" y="177"/>
                </a:cxn>
                <a:cxn ang="0">
                  <a:pos x="51" y="175"/>
                </a:cxn>
                <a:cxn ang="0">
                  <a:pos x="28" y="179"/>
                </a:cxn>
                <a:cxn ang="0">
                  <a:pos x="19" y="169"/>
                </a:cxn>
                <a:cxn ang="0">
                  <a:pos x="7" y="160"/>
                </a:cxn>
                <a:cxn ang="0">
                  <a:pos x="0" y="152"/>
                </a:cxn>
                <a:cxn ang="0">
                  <a:pos x="41" y="84"/>
                </a:cxn>
                <a:cxn ang="0">
                  <a:pos x="41" y="71"/>
                </a:cxn>
                <a:cxn ang="0">
                  <a:pos x="41" y="54"/>
                </a:cxn>
              </a:cxnLst>
              <a:rect l="0" t="0" r="r" b="b"/>
              <a:pathLst>
                <a:path w="216" h="186">
                  <a:moveTo>
                    <a:pt x="41" y="54"/>
                  </a:moveTo>
                  <a:lnTo>
                    <a:pt x="43" y="54"/>
                  </a:lnTo>
                  <a:lnTo>
                    <a:pt x="43" y="54"/>
                  </a:lnTo>
                  <a:lnTo>
                    <a:pt x="47" y="54"/>
                  </a:lnTo>
                  <a:lnTo>
                    <a:pt x="47" y="56"/>
                  </a:lnTo>
                  <a:lnTo>
                    <a:pt x="47" y="60"/>
                  </a:lnTo>
                  <a:lnTo>
                    <a:pt x="49" y="62"/>
                  </a:lnTo>
                  <a:lnTo>
                    <a:pt x="49" y="62"/>
                  </a:lnTo>
                  <a:lnTo>
                    <a:pt x="53" y="60"/>
                  </a:lnTo>
                  <a:lnTo>
                    <a:pt x="55" y="58"/>
                  </a:lnTo>
                  <a:lnTo>
                    <a:pt x="58" y="58"/>
                  </a:lnTo>
                  <a:lnTo>
                    <a:pt x="58" y="56"/>
                  </a:lnTo>
                  <a:lnTo>
                    <a:pt x="64" y="56"/>
                  </a:lnTo>
                  <a:lnTo>
                    <a:pt x="66" y="56"/>
                  </a:lnTo>
                  <a:lnTo>
                    <a:pt x="66" y="60"/>
                  </a:lnTo>
                  <a:lnTo>
                    <a:pt x="66" y="62"/>
                  </a:lnTo>
                  <a:lnTo>
                    <a:pt x="66" y="64"/>
                  </a:lnTo>
                  <a:lnTo>
                    <a:pt x="66" y="66"/>
                  </a:lnTo>
                  <a:lnTo>
                    <a:pt x="68" y="66"/>
                  </a:lnTo>
                  <a:lnTo>
                    <a:pt x="71" y="67"/>
                  </a:lnTo>
                  <a:lnTo>
                    <a:pt x="71" y="67"/>
                  </a:lnTo>
                  <a:lnTo>
                    <a:pt x="77" y="71"/>
                  </a:lnTo>
                  <a:lnTo>
                    <a:pt x="81" y="71"/>
                  </a:lnTo>
                  <a:lnTo>
                    <a:pt x="83" y="73"/>
                  </a:lnTo>
                  <a:lnTo>
                    <a:pt x="83" y="73"/>
                  </a:lnTo>
                  <a:lnTo>
                    <a:pt x="87" y="73"/>
                  </a:lnTo>
                  <a:lnTo>
                    <a:pt x="92" y="71"/>
                  </a:lnTo>
                  <a:lnTo>
                    <a:pt x="92" y="69"/>
                  </a:lnTo>
                  <a:lnTo>
                    <a:pt x="96" y="64"/>
                  </a:lnTo>
                  <a:lnTo>
                    <a:pt x="98" y="64"/>
                  </a:lnTo>
                  <a:lnTo>
                    <a:pt x="100" y="64"/>
                  </a:lnTo>
                  <a:lnTo>
                    <a:pt x="100" y="64"/>
                  </a:lnTo>
                  <a:lnTo>
                    <a:pt x="100" y="69"/>
                  </a:lnTo>
                  <a:lnTo>
                    <a:pt x="103" y="73"/>
                  </a:lnTo>
                  <a:lnTo>
                    <a:pt x="103" y="75"/>
                  </a:lnTo>
                  <a:lnTo>
                    <a:pt x="109" y="75"/>
                  </a:lnTo>
                  <a:lnTo>
                    <a:pt x="115" y="81"/>
                  </a:lnTo>
                  <a:lnTo>
                    <a:pt x="119" y="81"/>
                  </a:lnTo>
                  <a:lnTo>
                    <a:pt x="122" y="86"/>
                  </a:lnTo>
                  <a:lnTo>
                    <a:pt x="126" y="90"/>
                  </a:lnTo>
                  <a:lnTo>
                    <a:pt x="130" y="94"/>
                  </a:lnTo>
                  <a:lnTo>
                    <a:pt x="134" y="98"/>
                  </a:lnTo>
                  <a:lnTo>
                    <a:pt x="135" y="98"/>
                  </a:lnTo>
                  <a:lnTo>
                    <a:pt x="139" y="98"/>
                  </a:lnTo>
                  <a:lnTo>
                    <a:pt x="141" y="96"/>
                  </a:lnTo>
                  <a:lnTo>
                    <a:pt x="143" y="96"/>
                  </a:lnTo>
                  <a:lnTo>
                    <a:pt x="143" y="98"/>
                  </a:lnTo>
                  <a:lnTo>
                    <a:pt x="147" y="98"/>
                  </a:lnTo>
                  <a:lnTo>
                    <a:pt x="147" y="96"/>
                  </a:lnTo>
                  <a:lnTo>
                    <a:pt x="147" y="75"/>
                  </a:lnTo>
                  <a:lnTo>
                    <a:pt x="143" y="75"/>
                  </a:lnTo>
                  <a:lnTo>
                    <a:pt x="139" y="75"/>
                  </a:lnTo>
                  <a:lnTo>
                    <a:pt x="139" y="79"/>
                  </a:lnTo>
                  <a:lnTo>
                    <a:pt x="141" y="81"/>
                  </a:lnTo>
                  <a:lnTo>
                    <a:pt x="139" y="81"/>
                  </a:lnTo>
                  <a:lnTo>
                    <a:pt x="134" y="81"/>
                  </a:lnTo>
                  <a:lnTo>
                    <a:pt x="132" y="79"/>
                  </a:lnTo>
                  <a:lnTo>
                    <a:pt x="130" y="75"/>
                  </a:lnTo>
                  <a:lnTo>
                    <a:pt x="126" y="69"/>
                  </a:lnTo>
                  <a:lnTo>
                    <a:pt x="122" y="67"/>
                  </a:lnTo>
                  <a:lnTo>
                    <a:pt x="122" y="64"/>
                  </a:lnTo>
                  <a:lnTo>
                    <a:pt x="122" y="54"/>
                  </a:lnTo>
                  <a:lnTo>
                    <a:pt x="122" y="51"/>
                  </a:lnTo>
                  <a:lnTo>
                    <a:pt x="126" y="49"/>
                  </a:lnTo>
                  <a:lnTo>
                    <a:pt x="128" y="45"/>
                  </a:lnTo>
                  <a:lnTo>
                    <a:pt x="128" y="45"/>
                  </a:lnTo>
                  <a:lnTo>
                    <a:pt x="128" y="41"/>
                  </a:lnTo>
                  <a:lnTo>
                    <a:pt x="130" y="39"/>
                  </a:lnTo>
                  <a:lnTo>
                    <a:pt x="128" y="37"/>
                  </a:lnTo>
                  <a:lnTo>
                    <a:pt x="130" y="34"/>
                  </a:lnTo>
                  <a:lnTo>
                    <a:pt x="128" y="32"/>
                  </a:lnTo>
                  <a:lnTo>
                    <a:pt x="130" y="30"/>
                  </a:lnTo>
                  <a:lnTo>
                    <a:pt x="130" y="30"/>
                  </a:lnTo>
                  <a:lnTo>
                    <a:pt x="128" y="26"/>
                  </a:lnTo>
                  <a:lnTo>
                    <a:pt x="126" y="24"/>
                  </a:lnTo>
                  <a:lnTo>
                    <a:pt x="124" y="20"/>
                  </a:lnTo>
                  <a:lnTo>
                    <a:pt x="134" y="7"/>
                  </a:lnTo>
                  <a:lnTo>
                    <a:pt x="164" y="0"/>
                  </a:lnTo>
                  <a:lnTo>
                    <a:pt x="171" y="3"/>
                  </a:lnTo>
                  <a:lnTo>
                    <a:pt x="173" y="3"/>
                  </a:lnTo>
                  <a:lnTo>
                    <a:pt x="175" y="5"/>
                  </a:lnTo>
                  <a:lnTo>
                    <a:pt x="179" y="5"/>
                  </a:lnTo>
                  <a:lnTo>
                    <a:pt x="179" y="7"/>
                  </a:lnTo>
                  <a:lnTo>
                    <a:pt x="183" y="7"/>
                  </a:lnTo>
                  <a:lnTo>
                    <a:pt x="183" y="11"/>
                  </a:lnTo>
                  <a:lnTo>
                    <a:pt x="186" y="11"/>
                  </a:lnTo>
                  <a:lnTo>
                    <a:pt x="196" y="13"/>
                  </a:lnTo>
                  <a:lnTo>
                    <a:pt x="198" y="13"/>
                  </a:lnTo>
                  <a:lnTo>
                    <a:pt x="199" y="15"/>
                  </a:lnTo>
                  <a:lnTo>
                    <a:pt x="201" y="17"/>
                  </a:lnTo>
                  <a:lnTo>
                    <a:pt x="203" y="17"/>
                  </a:lnTo>
                  <a:lnTo>
                    <a:pt x="207" y="20"/>
                  </a:lnTo>
                  <a:lnTo>
                    <a:pt x="207" y="20"/>
                  </a:lnTo>
                  <a:lnTo>
                    <a:pt x="207" y="24"/>
                  </a:lnTo>
                  <a:lnTo>
                    <a:pt x="209" y="24"/>
                  </a:lnTo>
                  <a:lnTo>
                    <a:pt x="209" y="30"/>
                  </a:lnTo>
                  <a:lnTo>
                    <a:pt x="213" y="30"/>
                  </a:lnTo>
                  <a:lnTo>
                    <a:pt x="215" y="30"/>
                  </a:lnTo>
                  <a:lnTo>
                    <a:pt x="215" y="32"/>
                  </a:lnTo>
                  <a:lnTo>
                    <a:pt x="213" y="37"/>
                  </a:lnTo>
                  <a:lnTo>
                    <a:pt x="213" y="39"/>
                  </a:lnTo>
                  <a:lnTo>
                    <a:pt x="216" y="41"/>
                  </a:lnTo>
                  <a:lnTo>
                    <a:pt x="216" y="41"/>
                  </a:lnTo>
                  <a:lnTo>
                    <a:pt x="216" y="49"/>
                  </a:lnTo>
                  <a:lnTo>
                    <a:pt x="216" y="49"/>
                  </a:lnTo>
                  <a:lnTo>
                    <a:pt x="216" y="51"/>
                  </a:lnTo>
                  <a:lnTo>
                    <a:pt x="213" y="54"/>
                  </a:lnTo>
                  <a:lnTo>
                    <a:pt x="211" y="56"/>
                  </a:lnTo>
                  <a:lnTo>
                    <a:pt x="213" y="60"/>
                  </a:lnTo>
                  <a:lnTo>
                    <a:pt x="213" y="64"/>
                  </a:lnTo>
                  <a:lnTo>
                    <a:pt x="213" y="66"/>
                  </a:lnTo>
                  <a:lnTo>
                    <a:pt x="213" y="67"/>
                  </a:lnTo>
                  <a:lnTo>
                    <a:pt x="215" y="71"/>
                  </a:lnTo>
                  <a:lnTo>
                    <a:pt x="213" y="73"/>
                  </a:lnTo>
                  <a:lnTo>
                    <a:pt x="213" y="73"/>
                  </a:lnTo>
                  <a:lnTo>
                    <a:pt x="213" y="75"/>
                  </a:lnTo>
                  <a:lnTo>
                    <a:pt x="213" y="79"/>
                  </a:lnTo>
                  <a:lnTo>
                    <a:pt x="215" y="79"/>
                  </a:lnTo>
                  <a:lnTo>
                    <a:pt x="216" y="81"/>
                  </a:lnTo>
                  <a:lnTo>
                    <a:pt x="215" y="81"/>
                  </a:lnTo>
                  <a:lnTo>
                    <a:pt x="213" y="84"/>
                  </a:lnTo>
                  <a:lnTo>
                    <a:pt x="209" y="84"/>
                  </a:lnTo>
                  <a:lnTo>
                    <a:pt x="207" y="86"/>
                  </a:lnTo>
                  <a:lnTo>
                    <a:pt x="207" y="88"/>
                  </a:lnTo>
                  <a:lnTo>
                    <a:pt x="207" y="90"/>
                  </a:lnTo>
                  <a:lnTo>
                    <a:pt x="207" y="92"/>
                  </a:lnTo>
                  <a:lnTo>
                    <a:pt x="207" y="94"/>
                  </a:lnTo>
                  <a:lnTo>
                    <a:pt x="207" y="98"/>
                  </a:lnTo>
                  <a:lnTo>
                    <a:pt x="203" y="101"/>
                  </a:lnTo>
                  <a:lnTo>
                    <a:pt x="201" y="101"/>
                  </a:lnTo>
                  <a:lnTo>
                    <a:pt x="201" y="103"/>
                  </a:lnTo>
                  <a:lnTo>
                    <a:pt x="203" y="105"/>
                  </a:lnTo>
                  <a:lnTo>
                    <a:pt x="207" y="109"/>
                  </a:lnTo>
                  <a:lnTo>
                    <a:pt x="207" y="111"/>
                  </a:lnTo>
                  <a:lnTo>
                    <a:pt x="207" y="111"/>
                  </a:lnTo>
                  <a:lnTo>
                    <a:pt x="201" y="115"/>
                  </a:lnTo>
                  <a:lnTo>
                    <a:pt x="190" y="116"/>
                  </a:lnTo>
                  <a:lnTo>
                    <a:pt x="186" y="118"/>
                  </a:lnTo>
                  <a:lnTo>
                    <a:pt x="167" y="126"/>
                  </a:lnTo>
                  <a:lnTo>
                    <a:pt x="164" y="126"/>
                  </a:lnTo>
                  <a:lnTo>
                    <a:pt x="158" y="130"/>
                  </a:lnTo>
                  <a:lnTo>
                    <a:pt x="154" y="133"/>
                  </a:lnTo>
                  <a:lnTo>
                    <a:pt x="158" y="139"/>
                  </a:lnTo>
                  <a:lnTo>
                    <a:pt x="158" y="139"/>
                  </a:lnTo>
                  <a:lnTo>
                    <a:pt x="154" y="139"/>
                  </a:lnTo>
                  <a:lnTo>
                    <a:pt x="154" y="139"/>
                  </a:lnTo>
                  <a:lnTo>
                    <a:pt x="151" y="139"/>
                  </a:lnTo>
                  <a:lnTo>
                    <a:pt x="149" y="139"/>
                  </a:lnTo>
                  <a:lnTo>
                    <a:pt x="149" y="139"/>
                  </a:lnTo>
                  <a:lnTo>
                    <a:pt x="143" y="139"/>
                  </a:lnTo>
                  <a:lnTo>
                    <a:pt x="139" y="139"/>
                  </a:lnTo>
                  <a:lnTo>
                    <a:pt x="135" y="143"/>
                  </a:lnTo>
                  <a:lnTo>
                    <a:pt x="135" y="143"/>
                  </a:lnTo>
                  <a:lnTo>
                    <a:pt x="130" y="145"/>
                  </a:lnTo>
                  <a:lnTo>
                    <a:pt x="128" y="148"/>
                  </a:lnTo>
                  <a:lnTo>
                    <a:pt x="128" y="150"/>
                  </a:lnTo>
                  <a:lnTo>
                    <a:pt x="128" y="152"/>
                  </a:lnTo>
                  <a:lnTo>
                    <a:pt x="128" y="154"/>
                  </a:lnTo>
                  <a:lnTo>
                    <a:pt x="128" y="154"/>
                  </a:lnTo>
                  <a:lnTo>
                    <a:pt x="126" y="156"/>
                  </a:lnTo>
                  <a:lnTo>
                    <a:pt x="119" y="158"/>
                  </a:lnTo>
                  <a:lnTo>
                    <a:pt x="109" y="167"/>
                  </a:lnTo>
                  <a:lnTo>
                    <a:pt x="100" y="177"/>
                  </a:lnTo>
                  <a:lnTo>
                    <a:pt x="96" y="184"/>
                  </a:lnTo>
                  <a:lnTo>
                    <a:pt x="90" y="186"/>
                  </a:lnTo>
                  <a:lnTo>
                    <a:pt x="87" y="186"/>
                  </a:lnTo>
                  <a:lnTo>
                    <a:pt x="83" y="182"/>
                  </a:lnTo>
                  <a:lnTo>
                    <a:pt x="83" y="182"/>
                  </a:lnTo>
                  <a:lnTo>
                    <a:pt x="83" y="182"/>
                  </a:lnTo>
                  <a:lnTo>
                    <a:pt x="81" y="182"/>
                  </a:lnTo>
                  <a:lnTo>
                    <a:pt x="79" y="182"/>
                  </a:lnTo>
                  <a:lnTo>
                    <a:pt x="75" y="182"/>
                  </a:lnTo>
                  <a:lnTo>
                    <a:pt x="71" y="184"/>
                  </a:lnTo>
                  <a:lnTo>
                    <a:pt x="71" y="184"/>
                  </a:lnTo>
                  <a:lnTo>
                    <a:pt x="68" y="182"/>
                  </a:lnTo>
                  <a:lnTo>
                    <a:pt x="66" y="181"/>
                  </a:lnTo>
                  <a:lnTo>
                    <a:pt x="62" y="181"/>
                  </a:lnTo>
                  <a:lnTo>
                    <a:pt x="60" y="181"/>
                  </a:lnTo>
                  <a:lnTo>
                    <a:pt x="56" y="177"/>
                  </a:lnTo>
                  <a:lnTo>
                    <a:pt x="56" y="177"/>
                  </a:lnTo>
                  <a:lnTo>
                    <a:pt x="55" y="175"/>
                  </a:lnTo>
                  <a:lnTo>
                    <a:pt x="53" y="177"/>
                  </a:lnTo>
                  <a:lnTo>
                    <a:pt x="51" y="175"/>
                  </a:lnTo>
                  <a:lnTo>
                    <a:pt x="51" y="175"/>
                  </a:lnTo>
                  <a:lnTo>
                    <a:pt x="49" y="175"/>
                  </a:lnTo>
                  <a:lnTo>
                    <a:pt x="47" y="175"/>
                  </a:lnTo>
                  <a:lnTo>
                    <a:pt x="43" y="175"/>
                  </a:lnTo>
                  <a:lnTo>
                    <a:pt x="28" y="179"/>
                  </a:lnTo>
                  <a:lnTo>
                    <a:pt x="24" y="177"/>
                  </a:lnTo>
                  <a:lnTo>
                    <a:pt x="23" y="175"/>
                  </a:lnTo>
                  <a:lnTo>
                    <a:pt x="23" y="173"/>
                  </a:lnTo>
                  <a:lnTo>
                    <a:pt x="19" y="169"/>
                  </a:lnTo>
                  <a:lnTo>
                    <a:pt x="17" y="169"/>
                  </a:lnTo>
                  <a:lnTo>
                    <a:pt x="15" y="169"/>
                  </a:lnTo>
                  <a:lnTo>
                    <a:pt x="11" y="164"/>
                  </a:lnTo>
                  <a:lnTo>
                    <a:pt x="7" y="160"/>
                  </a:lnTo>
                  <a:lnTo>
                    <a:pt x="7" y="160"/>
                  </a:lnTo>
                  <a:lnTo>
                    <a:pt x="4" y="158"/>
                  </a:lnTo>
                  <a:lnTo>
                    <a:pt x="4" y="154"/>
                  </a:lnTo>
                  <a:lnTo>
                    <a:pt x="0" y="152"/>
                  </a:lnTo>
                  <a:lnTo>
                    <a:pt x="4" y="90"/>
                  </a:lnTo>
                  <a:lnTo>
                    <a:pt x="43" y="90"/>
                  </a:lnTo>
                  <a:lnTo>
                    <a:pt x="41" y="88"/>
                  </a:lnTo>
                  <a:lnTo>
                    <a:pt x="41" y="84"/>
                  </a:lnTo>
                  <a:lnTo>
                    <a:pt x="43" y="81"/>
                  </a:lnTo>
                  <a:lnTo>
                    <a:pt x="43" y="79"/>
                  </a:lnTo>
                  <a:lnTo>
                    <a:pt x="41" y="75"/>
                  </a:lnTo>
                  <a:lnTo>
                    <a:pt x="41" y="71"/>
                  </a:lnTo>
                  <a:lnTo>
                    <a:pt x="41" y="64"/>
                  </a:lnTo>
                  <a:lnTo>
                    <a:pt x="39" y="56"/>
                  </a:lnTo>
                  <a:lnTo>
                    <a:pt x="41" y="54"/>
                  </a:lnTo>
                  <a:lnTo>
                    <a:pt x="41" y="54"/>
                  </a:lnTo>
                  <a:lnTo>
                    <a:pt x="41" y="54"/>
                  </a:lnTo>
                  <a:lnTo>
                    <a:pt x="41" y="54"/>
                  </a:lnTo>
                  <a:lnTo>
                    <a:pt x="41" y="5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4" name="Freeform 145">
              <a:extLst>
                <a:ext uri="{FF2B5EF4-FFF2-40B4-BE49-F238E27FC236}">
                  <a16:creationId xmlns:a16="http://schemas.microsoft.com/office/drawing/2014/main" id="{03E6977D-3964-9040-B162-322D3BD98218}"/>
                </a:ext>
              </a:extLst>
            </p:cNvPr>
            <p:cNvSpPr>
              <a:spLocks/>
            </p:cNvSpPr>
            <p:nvPr/>
          </p:nvSpPr>
          <p:spPr bwMode="auto">
            <a:xfrm>
              <a:off x="6305330" y="3074914"/>
              <a:ext cx="198827" cy="174879"/>
            </a:xfrm>
            <a:custGeom>
              <a:avLst/>
              <a:gdLst/>
              <a:ahLst/>
              <a:cxnLst>
                <a:cxn ang="0">
                  <a:pos x="213" y="215"/>
                </a:cxn>
                <a:cxn ang="0">
                  <a:pos x="199" y="206"/>
                </a:cxn>
                <a:cxn ang="0">
                  <a:pos x="192" y="196"/>
                </a:cxn>
                <a:cxn ang="0">
                  <a:pos x="231" y="132"/>
                </a:cxn>
                <a:cxn ang="0">
                  <a:pos x="231" y="119"/>
                </a:cxn>
                <a:cxn ang="0">
                  <a:pos x="231" y="98"/>
                </a:cxn>
                <a:cxn ang="0">
                  <a:pos x="224" y="98"/>
                </a:cxn>
                <a:cxn ang="0">
                  <a:pos x="216" y="100"/>
                </a:cxn>
                <a:cxn ang="0">
                  <a:pos x="203" y="98"/>
                </a:cxn>
                <a:cxn ang="0">
                  <a:pos x="199" y="100"/>
                </a:cxn>
                <a:cxn ang="0">
                  <a:pos x="199" y="93"/>
                </a:cxn>
                <a:cxn ang="0">
                  <a:pos x="199" y="83"/>
                </a:cxn>
                <a:cxn ang="0">
                  <a:pos x="197" y="76"/>
                </a:cxn>
                <a:cxn ang="0">
                  <a:pos x="194" y="70"/>
                </a:cxn>
                <a:cxn ang="0">
                  <a:pos x="190" y="61"/>
                </a:cxn>
                <a:cxn ang="0">
                  <a:pos x="190" y="47"/>
                </a:cxn>
                <a:cxn ang="0">
                  <a:pos x="190" y="38"/>
                </a:cxn>
                <a:cxn ang="0">
                  <a:pos x="192" y="29"/>
                </a:cxn>
                <a:cxn ang="0">
                  <a:pos x="169" y="19"/>
                </a:cxn>
                <a:cxn ang="0">
                  <a:pos x="145" y="27"/>
                </a:cxn>
                <a:cxn ang="0">
                  <a:pos x="145" y="38"/>
                </a:cxn>
                <a:cxn ang="0">
                  <a:pos x="118" y="40"/>
                </a:cxn>
                <a:cxn ang="0">
                  <a:pos x="109" y="34"/>
                </a:cxn>
                <a:cxn ang="0">
                  <a:pos x="101" y="25"/>
                </a:cxn>
                <a:cxn ang="0">
                  <a:pos x="98" y="12"/>
                </a:cxn>
                <a:cxn ang="0">
                  <a:pos x="96" y="6"/>
                </a:cxn>
                <a:cxn ang="0">
                  <a:pos x="64" y="0"/>
                </a:cxn>
                <a:cxn ang="0">
                  <a:pos x="45" y="2"/>
                </a:cxn>
                <a:cxn ang="0">
                  <a:pos x="30" y="0"/>
                </a:cxn>
                <a:cxn ang="0">
                  <a:pos x="21" y="4"/>
                </a:cxn>
                <a:cxn ang="0">
                  <a:pos x="15" y="6"/>
                </a:cxn>
                <a:cxn ang="0">
                  <a:pos x="30" y="36"/>
                </a:cxn>
                <a:cxn ang="0">
                  <a:pos x="30" y="61"/>
                </a:cxn>
                <a:cxn ang="0">
                  <a:pos x="39" y="89"/>
                </a:cxn>
                <a:cxn ang="0">
                  <a:pos x="34" y="125"/>
                </a:cxn>
                <a:cxn ang="0">
                  <a:pos x="15" y="143"/>
                </a:cxn>
                <a:cxn ang="0">
                  <a:pos x="7" y="172"/>
                </a:cxn>
                <a:cxn ang="0">
                  <a:pos x="0" y="198"/>
                </a:cxn>
                <a:cxn ang="0">
                  <a:pos x="0" y="215"/>
                </a:cxn>
                <a:cxn ang="0">
                  <a:pos x="5" y="211"/>
                </a:cxn>
                <a:cxn ang="0">
                  <a:pos x="17" y="211"/>
                </a:cxn>
                <a:cxn ang="0">
                  <a:pos x="26" y="209"/>
                </a:cxn>
                <a:cxn ang="0">
                  <a:pos x="32" y="209"/>
                </a:cxn>
                <a:cxn ang="0">
                  <a:pos x="36" y="211"/>
                </a:cxn>
                <a:cxn ang="0">
                  <a:pos x="49" y="215"/>
                </a:cxn>
                <a:cxn ang="0">
                  <a:pos x="124" y="215"/>
                </a:cxn>
                <a:cxn ang="0">
                  <a:pos x="132" y="223"/>
                </a:cxn>
                <a:cxn ang="0">
                  <a:pos x="141" y="224"/>
                </a:cxn>
                <a:cxn ang="0">
                  <a:pos x="152" y="224"/>
                </a:cxn>
                <a:cxn ang="0">
                  <a:pos x="160" y="223"/>
                </a:cxn>
                <a:cxn ang="0">
                  <a:pos x="173" y="226"/>
                </a:cxn>
                <a:cxn ang="0">
                  <a:pos x="179" y="226"/>
                </a:cxn>
                <a:cxn ang="0">
                  <a:pos x="182" y="228"/>
                </a:cxn>
                <a:cxn ang="0">
                  <a:pos x="216" y="221"/>
                </a:cxn>
              </a:cxnLst>
              <a:rect l="0" t="0" r="r" b="b"/>
              <a:pathLst>
                <a:path w="233" h="228">
                  <a:moveTo>
                    <a:pt x="216" y="221"/>
                  </a:moveTo>
                  <a:lnTo>
                    <a:pt x="214" y="219"/>
                  </a:lnTo>
                  <a:lnTo>
                    <a:pt x="213" y="217"/>
                  </a:lnTo>
                  <a:lnTo>
                    <a:pt x="213" y="215"/>
                  </a:lnTo>
                  <a:lnTo>
                    <a:pt x="209" y="211"/>
                  </a:lnTo>
                  <a:lnTo>
                    <a:pt x="207" y="211"/>
                  </a:lnTo>
                  <a:lnTo>
                    <a:pt x="203" y="211"/>
                  </a:lnTo>
                  <a:lnTo>
                    <a:pt x="199" y="206"/>
                  </a:lnTo>
                  <a:lnTo>
                    <a:pt x="197" y="204"/>
                  </a:lnTo>
                  <a:lnTo>
                    <a:pt x="197" y="202"/>
                  </a:lnTo>
                  <a:lnTo>
                    <a:pt x="194" y="200"/>
                  </a:lnTo>
                  <a:lnTo>
                    <a:pt x="192" y="196"/>
                  </a:lnTo>
                  <a:lnTo>
                    <a:pt x="190" y="194"/>
                  </a:lnTo>
                  <a:lnTo>
                    <a:pt x="192" y="134"/>
                  </a:lnTo>
                  <a:lnTo>
                    <a:pt x="233" y="134"/>
                  </a:lnTo>
                  <a:lnTo>
                    <a:pt x="231" y="132"/>
                  </a:lnTo>
                  <a:lnTo>
                    <a:pt x="231" y="126"/>
                  </a:lnTo>
                  <a:lnTo>
                    <a:pt x="233" y="125"/>
                  </a:lnTo>
                  <a:lnTo>
                    <a:pt x="233" y="121"/>
                  </a:lnTo>
                  <a:lnTo>
                    <a:pt x="231" y="119"/>
                  </a:lnTo>
                  <a:lnTo>
                    <a:pt x="231" y="113"/>
                  </a:lnTo>
                  <a:lnTo>
                    <a:pt x="231" y="108"/>
                  </a:lnTo>
                  <a:lnTo>
                    <a:pt x="229" y="100"/>
                  </a:lnTo>
                  <a:lnTo>
                    <a:pt x="231" y="98"/>
                  </a:lnTo>
                  <a:lnTo>
                    <a:pt x="231" y="98"/>
                  </a:lnTo>
                  <a:lnTo>
                    <a:pt x="231" y="96"/>
                  </a:lnTo>
                  <a:lnTo>
                    <a:pt x="228" y="96"/>
                  </a:lnTo>
                  <a:lnTo>
                    <a:pt x="224" y="98"/>
                  </a:lnTo>
                  <a:lnTo>
                    <a:pt x="222" y="100"/>
                  </a:lnTo>
                  <a:lnTo>
                    <a:pt x="220" y="100"/>
                  </a:lnTo>
                  <a:lnTo>
                    <a:pt x="218" y="100"/>
                  </a:lnTo>
                  <a:lnTo>
                    <a:pt x="216" y="100"/>
                  </a:lnTo>
                  <a:lnTo>
                    <a:pt x="213" y="100"/>
                  </a:lnTo>
                  <a:lnTo>
                    <a:pt x="209" y="100"/>
                  </a:lnTo>
                  <a:lnTo>
                    <a:pt x="207" y="98"/>
                  </a:lnTo>
                  <a:lnTo>
                    <a:pt x="203" y="98"/>
                  </a:lnTo>
                  <a:lnTo>
                    <a:pt x="203" y="98"/>
                  </a:lnTo>
                  <a:lnTo>
                    <a:pt x="203" y="98"/>
                  </a:lnTo>
                  <a:lnTo>
                    <a:pt x="199" y="100"/>
                  </a:lnTo>
                  <a:lnTo>
                    <a:pt x="199" y="100"/>
                  </a:lnTo>
                  <a:lnTo>
                    <a:pt x="199" y="98"/>
                  </a:lnTo>
                  <a:lnTo>
                    <a:pt x="199" y="94"/>
                  </a:lnTo>
                  <a:lnTo>
                    <a:pt x="199" y="94"/>
                  </a:lnTo>
                  <a:lnTo>
                    <a:pt x="199" y="93"/>
                  </a:lnTo>
                  <a:lnTo>
                    <a:pt x="199" y="93"/>
                  </a:lnTo>
                  <a:lnTo>
                    <a:pt x="199" y="89"/>
                  </a:lnTo>
                  <a:lnTo>
                    <a:pt x="197" y="85"/>
                  </a:lnTo>
                  <a:lnTo>
                    <a:pt x="199" y="83"/>
                  </a:lnTo>
                  <a:lnTo>
                    <a:pt x="199" y="83"/>
                  </a:lnTo>
                  <a:lnTo>
                    <a:pt x="197" y="79"/>
                  </a:lnTo>
                  <a:lnTo>
                    <a:pt x="197" y="77"/>
                  </a:lnTo>
                  <a:lnTo>
                    <a:pt x="197" y="76"/>
                  </a:lnTo>
                  <a:lnTo>
                    <a:pt x="197" y="74"/>
                  </a:lnTo>
                  <a:lnTo>
                    <a:pt x="196" y="74"/>
                  </a:lnTo>
                  <a:lnTo>
                    <a:pt x="194" y="70"/>
                  </a:lnTo>
                  <a:lnTo>
                    <a:pt x="194" y="70"/>
                  </a:lnTo>
                  <a:lnTo>
                    <a:pt x="194" y="68"/>
                  </a:lnTo>
                  <a:lnTo>
                    <a:pt x="192" y="64"/>
                  </a:lnTo>
                  <a:lnTo>
                    <a:pt x="192" y="62"/>
                  </a:lnTo>
                  <a:lnTo>
                    <a:pt x="190" y="61"/>
                  </a:lnTo>
                  <a:lnTo>
                    <a:pt x="192" y="59"/>
                  </a:lnTo>
                  <a:lnTo>
                    <a:pt x="192" y="53"/>
                  </a:lnTo>
                  <a:lnTo>
                    <a:pt x="190" y="49"/>
                  </a:lnTo>
                  <a:lnTo>
                    <a:pt x="190" y="47"/>
                  </a:lnTo>
                  <a:lnTo>
                    <a:pt x="192" y="47"/>
                  </a:lnTo>
                  <a:lnTo>
                    <a:pt x="192" y="44"/>
                  </a:lnTo>
                  <a:lnTo>
                    <a:pt x="190" y="42"/>
                  </a:lnTo>
                  <a:lnTo>
                    <a:pt x="190" y="38"/>
                  </a:lnTo>
                  <a:lnTo>
                    <a:pt x="192" y="34"/>
                  </a:lnTo>
                  <a:lnTo>
                    <a:pt x="192" y="34"/>
                  </a:lnTo>
                  <a:lnTo>
                    <a:pt x="192" y="30"/>
                  </a:lnTo>
                  <a:lnTo>
                    <a:pt x="192" y="29"/>
                  </a:lnTo>
                  <a:lnTo>
                    <a:pt x="169" y="27"/>
                  </a:lnTo>
                  <a:lnTo>
                    <a:pt x="169" y="25"/>
                  </a:lnTo>
                  <a:lnTo>
                    <a:pt x="169" y="23"/>
                  </a:lnTo>
                  <a:lnTo>
                    <a:pt x="169" y="19"/>
                  </a:lnTo>
                  <a:lnTo>
                    <a:pt x="165" y="19"/>
                  </a:lnTo>
                  <a:lnTo>
                    <a:pt x="165" y="21"/>
                  </a:lnTo>
                  <a:lnTo>
                    <a:pt x="149" y="21"/>
                  </a:lnTo>
                  <a:lnTo>
                    <a:pt x="145" y="27"/>
                  </a:lnTo>
                  <a:lnTo>
                    <a:pt x="145" y="30"/>
                  </a:lnTo>
                  <a:lnTo>
                    <a:pt x="145" y="30"/>
                  </a:lnTo>
                  <a:lnTo>
                    <a:pt x="145" y="34"/>
                  </a:lnTo>
                  <a:lnTo>
                    <a:pt x="145" y="38"/>
                  </a:lnTo>
                  <a:lnTo>
                    <a:pt x="130" y="40"/>
                  </a:lnTo>
                  <a:lnTo>
                    <a:pt x="128" y="42"/>
                  </a:lnTo>
                  <a:lnTo>
                    <a:pt x="120" y="40"/>
                  </a:lnTo>
                  <a:lnTo>
                    <a:pt x="118" y="40"/>
                  </a:lnTo>
                  <a:lnTo>
                    <a:pt x="115" y="40"/>
                  </a:lnTo>
                  <a:lnTo>
                    <a:pt x="111" y="40"/>
                  </a:lnTo>
                  <a:lnTo>
                    <a:pt x="109" y="40"/>
                  </a:lnTo>
                  <a:lnTo>
                    <a:pt x="109" y="34"/>
                  </a:lnTo>
                  <a:lnTo>
                    <a:pt x="105" y="30"/>
                  </a:lnTo>
                  <a:lnTo>
                    <a:pt x="103" y="29"/>
                  </a:lnTo>
                  <a:lnTo>
                    <a:pt x="101" y="27"/>
                  </a:lnTo>
                  <a:lnTo>
                    <a:pt x="101" y="25"/>
                  </a:lnTo>
                  <a:lnTo>
                    <a:pt x="101" y="23"/>
                  </a:lnTo>
                  <a:lnTo>
                    <a:pt x="100" y="19"/>
                  </a:lnTo>
                  <a:lnTo>
                    <a:pt x="98" y="15"/>
                  </a:lnTo>
                  <a:lnTo>
                    <a:pt x="98" y="12"/>
                  </a:lnTo>
                  <a:lnTo>
                    <a:pt x="100" y="10"/>
                  </a:lnTo>
                  <a:lnTo>
                    <a:pt x="100" y="10"/>
                  </a:lnTo>
                  <a:lnTo>
                    <a:pt x="98" y="6"/>
                  </a:lnTo>
                  <a:lnTo>
                    <a:pt x="96" y="6"/>
                  </a:lnTo>
                  <a:lnTo>
                    <a:pt x="98" y="4"/>
                  </a:lnTo>
                  <a:lnTo>
                    <a:pt x="98" y="2"/>
                  </a:lnTo>
                  <a:lnTo>
                    <a:pt x="79" y="0"/>
                  </a:lnTo>
                  <a:lnTo>
                    <a:pt x="64" y="0"/>
                  </a:lnTo>
                  <a:lnTo>
                    <a:pt x="60" y="2"/>
                  </a:lnTo>
                  <a:lnTo>
                    <a:pt x="51" y="2"/>
                  </a:lnTo>
                  <a:lnTo>
                    <a:pt x="51" y="0"/>
                  </a:lnTo>
                  <a:lnTo>
                    <a:pt x="45" y="2"/>
                  </a:lnTo>
                  <a:lnTo>
                    <a:pt x="39" y="2"/>
                  </a:lnTo>
                  <a:lnTo>
                    <a:pt x="36" y="2"/>
                  </a:lnTo>
                  <a:lnTo>
                    <a:pt x="34" y="2"/>
                  </a:lnTo>
                  <a:lnTo>
                    <a:pt x="30" y="0"/>
                  </a:lnTo>
                  <a:lnTo>
                    <a:pt x="26" y="2"/>
                  </a:lnTo>
                  <a:lnTo>
                    <a:pt x="26" y="2"/>
                  </a:lnTo>
                  <a:lnTo>
                    <a:pt x="24" y="4"/>
                  </a:lnTo>
                  <a:lnTo>
                    <a:pt x="21" y="4"/>
                  </a:lnTo>
                  <a:lnTo>
                    <a:pt x="21" y="4"/>
                  </a:lnTo>
                  <a:lnTo>
                    <a:pt x="21" y="4"/>
                  </a:lnTo>
                  <a:lnTo>
                    <a:pt x="21" y="4"/>
                  </a:lnTo>
                  <a:lnTo>
                    <a:pt x="15" y="6"/>
                  </a:lnTo>
                  <a:lnTo>
                    <a:pt x="17" y="10"/>
                  </a:lnTo>
                  <a:lnTo>
                    <a:pt x="17" y="12"/>
                  </a:lnTo>
                  <a:lnTo>
                    <a:pt x="26" y="23"/>
                  </a:lnTo>
                  <a:lnTo>
                    <a:pt x="30" y="36"/>
                  </a:lnTo>
                  <a:lnTo>
                    <a:pt x="34" y="45"/>
                  </a:lnTo>
                  <a:lnTo>
                    <a:pt x="32" y="53"/>
                  </a:lnTo>
                  <a:lnTo>
                    <a:pt x="26" y="59"/>
                  </a:lnTo>
                  <a:lnTo>
                    <a:pt x="30" y="61"/>
                  </a:lnTo>
                  <a:lnTo>
                    <a:pt x="30" y="68"/>
                  </a:lnTo>
                  <a:lnTo>
                    <a:pt x="32" y="74"/>
                  </a:lnTo>
                  <a:lnTo>
                    <a:pt x="32" y="77"/>
                  </a:lnTo>
                  <a:lnTo>
                    <a:pt x="39" y="89"/>
                  </a:lnTo>
                  <a:lnTo>
                    <a:pt x="39" y="93"/>
                  </a:lnTo>
                  <a:lnTo>
                    <a:pt x="41" y="94"/>
                  </a:lnTo>
                  <a:lnTo>
                    <a:pt x="41" y="109"/>
                  </a:lnTo>
                  <a:lnTo>
                    <a:pt x="34" y="125"/>
                  </a:lnTo>
                  <a:lnTo>
                    <a:pt x="32" y="125"/>
                  </a:lnTo>
                  <a:lnTo>
                    <a:pt x="24" y="128"/>
                  </a:lnTo>
                  <a:lnTo>
                    <a:pt x="24" y="134"/>
                  </a:lnTo>
                  <a:lnTo>
                    <a:pt x="15" y="143"/>
                  </a:lnTo>
                  <a:lnTo>
                    <a:pt x="13" y="151"/>
                  </a:lnTo>
                  <a:lnTo>
                    <a:pt x="11" y="151"/>
                  </a:lnTo>
                  <a:lnTo>
                    <a:pt x="11" y="166"/>
                  </a:lnTo>
                  <a:lnTo>
                    <a:pt x="7" y="172"/>
                  </a:lnTo>
                  <a:lnTo>
                    <a:pt x="5" y="179"/>
                  </a:lnTo>
                  <a:lnTo>
                    <a:pt x="0" y="187"/>
                  </a:lnTo>
                  <a:lnTo>
                    <a:pt x="0" y="190"/>
                  </a:lnTo>
                  <a:lnTo>
                    <a:pt x="0" y="198"/>
                  </a:lnTo>
                  <a:lnTo>
                    <a:pt x="0" y="207"/>
                  </a:lnTo>
                  <a:lnTo>
                    <a:pt x="0" y="211"/>
                  </a:lnTo>
                  <a:lnTo>
                    <a:pt x="0" y="215"/>
                  </a:lnTo>
                  <a:lnTo>
                    <a:pt x="0" y="215"/>
                  </a:lnTo>
                  <a:lnTo>
                    <a:pt x="2" y="215"/>
                  </a:lnTo>
                  <a:lnTo>
                    <a:pt x="4" y="215"/>
                  </a:lnTo>
                  <a:lnTo>
                    <a:pt x="5" y="215"/>
                  </a:lnTo>
                  <a:lnTo>
                    <a:pt x="5" y="211"/>
                  </a:lnTo>
                  <a:lnTo>
                    <a:pt x="7" y="211"/>
                  </a:lnTo>
                  <a:lnTo>
                    <a:pt x="11" y="211"/>
                  </a:lnTo>
                  <a:lnTo>
                    <a:pt x="15" y="215"/>
                  </a:lnTo>
                  <a:lnTo>
                    <a:pt x="17" y="211"/>
                  </a:lnTo>
                  <a:lnTo>
                    <a:pt x="17" y="211"/>
                  </a:lnTo>
                  <a:lnTo>
                    <a:pt x="21" y="207"/>
                  </a:lnTo>
                  <a:lnTo>
                    <a:pt x="24" y="207"/>
                  </a:lnTo>
                  <a:lnTo>
                    <a:pt x="26" y="209"/>
                  </a:lnTo>
                  <a:lnTo>
                    <a:pt x="30" y="209"/>
                  </a:lnTo>
                  <a:lnTo>
                    <a:pt x="30" y="207"/>
                  </a:lnTo>
                  <a:lnTo>
                    <a:pt x="30" y="207"/>
                  </a:lnTo>
                  <a:lnTo>
                    <a:pt x="32" y="209"/>
                  </a:lnTo>
                  <a:lnTo>
                    <a:pt x="34" y="209"/>
                  </a:lnTo>
                  <a:lnTo>
                    <a:pt x="36" y="211"/>
                  </a:lnTo>
                  <a:lnTo>
                    <a:pt x="36" y="211"/>
                  </a:lnTo>
                  <a:lnTo>
                    <a:pt x="36" y="211"/>
                  </a:lnTo>
                  <a:lnTo>
                    <a:pt x="39" y="215"/>
                  </a:lnTo>
                  <a:lnTo>
                    <a:pt x="45" y="217"/>
                  </a:lnTo>
                  <a:lnTo>
                    <a:pt x="47" y="215"/>
                  </a:lnTo>
                  <a:lnTo>
                    <a:pt x="49" y="215"/>
                  </a:lnTo>
                  <a:lnTo>
                    <a:pt x="51" y="215"/>
                  </a:lnTo>
                  <a:lnTo>
                    <a:pt x="51" y="215"/>
                  </a:lnTo>
                  <a:lnTo>
                    <a:pt x="54" y="215"/>
                  </a:lnTo>
                  <a:lnTo>
                    <a:pt x="124" y="215"/>
                  </a:lnTo>
                  <a:lnTo>
                    <a:pt x="124" y="215"/>
                  </a:lnTo>
                  <a:lnTo>
                    <a:pt x="126" y="219"/>
                  </a:lnTo>
                  <a:lnTo>
                    <a:pt x="128" y="221"/>
                  </a:lnTo>
                  <a:lnTo>
                    <a:pt x="132" y="223"/>
                  </a:lnTo>
                  <a:lnTo>
                    <a:pt x="135" y="223"/>
                  </a:lnTo>
                  <a:lnTo>
                    <a:pt x="139" y="223"/>
                  </a:lnTo>
                  <a:lnTo>
                    <a:pt x="141" y="223"/>
                  </a:lnTo>
                  <a:lnTo>
                    <a:pt x="141" y="224"/>
                  </a:lnTo>
                  <a:lnTo>
                    <a:pt x="145" y="226"/>
                  </a:lnTo>
                  <a:lnTo>
                    <a:pt x="145" y="224"/>
                  </a:lnTo>
                  <a:lnTo>
                    <a:pt x="149" y="223"/>
                  </a:lnTo>
                  <a:lnTo>
                    <a:pt x="152" y="224"/>
                  </a:lnTo>
                  <a:lnTo>
                    <a:pt x="156" y="224"/>
                  </a:lnTo>
                  <a:lnTo>
                    <a:pt x="156" y="223"/>
                  </a:lnTo>
                  <a:lnTo>
                    <a:pt x="158" y="223"/>
                  </a:lnTo>
                  <a:lnTo>
                    <a:pt x="160" y="223"/>
                  </a:lnTo>
                  <a:lnTo>
                    <a:pt x="164" y="226"/>
                  </a:lnTo>
                  <a:lnTo>
                    <a:pt x="167" y="228"/>
                  </a:lnTo>
                  <a:lnTo>
                    <a:pt x="169" y="228"/>
                  </a:lnTo>
                  <a:lnTo>
                    <a:pt x="173" y="226"/>
                  </a:lnTo>
                  <a:lnTo>
                    <a:pt x="173" y="226"/>
                  </a:lnTo>
                  <a:lnTo>
                    <a:pt x="175" y="224"/>
                  </a:lnTo>
                  <a:lnTo>
                    <a:pt x="175" y="226"/>
                  </a:lnTo>
                  <a:lnTo>
                    <a:pt x="179" y="226"/>
                  </a:lnTo>
                  <a:lnTo>
                    <a:pt x="179" y="226"/>
                  </a:lnTo>
                  <a:lnTo>
                    <a:pt x="179" y="228"/>
                  </a:lnTo>
                  <a:lnTo>
                    <a:pt x="181" y="228"/>
                  </a:lnTo>
                  <a:lnTo>
                    <a:pt x="182" y="228"/>
                  </a:lnTo>
                  <a:lnTo>
                    <a:pt x="184" y="228"/>
                  </a:lnTo>
                  <a:lnTo>
                    <a:pt x="186" y="228"/>
                  </a:lnTo>
                  <a:lnTo>
                    <a:pt x="186" y="228"/>
                  </a:lnTo>
                  <a:lnTo>
                    <a:pt x="216" y="221"/>
                  </a:lnTo>
                  <a:lnTo>
                    <a:pt x="216" y="221"/>
                  </a:lnTo>
                  <a:lnTo>
                    <a:pt x="216" y="22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5" name="Freeform 146">
              <a:extLst>
                <a:ext uri="{FF2B5EF4-FFF2-40B4-BE49-F238E27FC236}">
                  <a16:creationId xmlns:a16="http://schemas.microsoft.com/office/drawing/2014/main" id="{2D20888F-83A4-654D-B8BC-D6052018BD90}"/>
                </a:ext>
              </a:extLst>
            </p:cNvPr>
            <p:cNvSpPr>
              <a:spLocks/>
            </p:cNvSpPr>
            <p:nvPr/>
          </p:nvSpPr>
          <p:spPr bwMode="auto">
            <a:xfrm>
              <a:off x="6516958" y="3212208"/>
              <a:ext cx="125440" cy="102780"/>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6" name="Freeform 147">
              <a:extLst>
                <a:ext uri="{FF2B5EF4-FFF2-40B4-BE49-F238E27FC236}">
                  <a16:creationId xmlns:a16="http://schemas.microsoft.com/office/drawing/2014/main" id="{AE589857-5249-8D42-BD68-800C8B0112CA}"/>
                </a:ext>
              </a:extLst>
            </p:cNvPr>
            <p:cNvSpPr>
              <a:spLocks/>
            </p:cNvSpPr>
            <p:nvPr/>
          </p:nvSpPr>
          <p:spPr bwMode="auto">
            <a:xfrm>
              <a:off x="6516958" y="3212208"/>
              <a:ext cx="125440" cy="102780"/>
            </a:xfrm>
            <a:custGeom>
              <a:avLst/>
              <a:gdLst/>
              <a:ahLst/>
              <a:cxnLst>
                <a:cxn ang="0">
                  <a:pos x="8" y="42"/>
                </a:cxn>
                <a:cxn ang="0">
                  <a:pos x="13" y="45"/>
                </a:cxn>
                <a:cxn ang="0">
                  <a:pos x="23" y="44"/>
                </a:cxn>
                <a:cxn ang="0">
                  <a:pos x="25" y="44"/>
                </a:cxn>
                <a:cxn ang="0">
                  <a:pos x="38" y="45"/>
                </a:cxn>
                <a:cxn ang="0">
                  <a:pos x="62" y="19"/>
                </a:cxn>
                <a:cxn ang="0">
                  <a:pos x="70" y="15"/>
                </a:cxn>
                <a:cxn ang="0">
                  <a:pos x="70" y="10"/>
                </a:cxn>
                <a:cxn ang="0">
                  <a:pos x="79" y="4"/>
                </a:cxn>
                <a:cxn ang="0">
                  <a:pos x="93" y="0"/>
                </a:cxn>
                <a:cxn ang="0">
                  <a:pos x="98" y="0"/>
                </a:cxn>
                <a:cxn ang="0">
                  <a:pos x="102" y="8"/>
                </a:cxn>
                <a:cxn ang="0">
                  <a:pos x="113" y="11"/>
                </a:cxn>
                <a:cxn ang="0">
                  <a:pos x="119" y="10"/>
                </a:cxn>
                <a:cxn ang="0">
                  <a:pos x="132" y="17"/>
                </a:cxn>
                <a:cxn ang="0">
                  <a:pos x="143" y="25"/>
                </a:cxn>
                <a:cxn ang="0">
                  <a:pos x="147" y="30"/>
                </a:cxn>
                <a:cxn ang="0">
                  <a:pos x="147" y="36"/>
                </a:cxn>
                <a:cxn ang="0">
                  <a:pos x="143" y="47"/>
                </a:cxn>
                <a:cxn ang="0">
                  <a:pos x="147" y="53"/>
                </a:cxn>
                <a:cxn ang="0">
                  <a:pos x="143" y="60"/>
                </a:cxn>
                <a:cxn ang="0">
                  <a:pos x="140" y="66"/>
                </a:cxn>
                <a:cxn ang="0">
                  <a:pos x="143" y="74"/>
                </a:cxn>
                <a:cxn ang="0">
                  <a:pos x="143" y="83"/>
                </a:cxn>
                <a:cxn ang="0">
                  <a:pos x="138" y="91"/>
                </a:cxn>
                <a:cxn ang="0">
                  <a:pos x="134" y="98"/>
                </a:cxn>
                <a:cxn ang="0">
                  <a:pos x="134" y="106"/>
                </a:cxn>
                <a:cxn ang="0">
                  <a:pos x="108" y="130"/>
                </a:cxn>
                <a:cxn ang="0">
                  <a:pos x="94" y="130"/>
                </a:cxn>
                <a:cxn ang="0">
                  <a:pos x="87" y="128"/>
                </a:cxn>
                <a:cxn ang="0">
                  <a:pos x="74" y="125"/>
                </a:cxn>
                <a:cxn ang="0">
                  <a:pos x="74" y="121"/>
                </a:cxn>
                <a:cxn ang="0">
                  <a:pos x="64" y="115"/>
                </a:cxn>
                <a:cxn ang="0">
                  <a:pos x="55" y="115"/>
                </a:cxn>
                <a:cxn ang="0">
                  <a:pos x="45" y="109"/>
                </a:cxn>
                <a:cxn ang="0">
                  <a:pos x="42" y="98"/>
                </a:cxn>
                <a:cxn ang="0">
                  <a:pos x="38" y="94"/>
                </a:cxn>
                <a:cxn ang="0">
                  <a:pos x="38" y="91"/>
                </a:cxn>
                <a:cxn ang="0">
                  <a:pos x="29" y="83"/>
                </a:cxn>
                <a:cxn ang="0">
                  <a:pos x="19" y="70"/>
                </a:cxn>
                <a:cxn ang="0">
                  <a:pos x="15" y="66"/>
                </a:cxn>
                <a:cxn ang="0">
                  <a:pos x="10" y="59"/>
                </a:cxn>
                <a:cxn ang="0">
                  <a:pos x="8" y="53"/>
                </a:cxn>
                <a:cxn ang="0">
                  <a:pos x="0" y="49"/>
                </a:cxn>
                <a:cxn ang="0">
                  <a:pos x="0" y="44"/>
                </a:cxn>
                <a:cxn ang="0">
                  <a:pos x="0" y="42"/>
                </a:cxn>
              </a:cxnLst>
              <a:rect l="0" t="0" r="r" b="b"/>
              <a:pathLst>
                <a:path w="147" h="134">
                  <a:moveTo>
                    <a:pt x="0" y="42"/>
                  </a:moveTo>
                  <a:lnTo>
                    <a:pt x="2" y="42"/>
                  </a:lnTo>
                  <a:lnTo>
                    <a:pt x="8" y="42"/>
                  </a:lnTo>
                  <a:lnTo>
                    <a:pt x="10" y="44"/>
                  </a:lnTo>
                  <a:lnTo>
                    <a:pt x="12" y="45"/>
                  </a:lnTo>
                  <a:lnTo>
                    <a:pt x="13" y="45"/>
                  </a:lnTo>
                  <a:lnTo>
                    <a:pt x="17" y="44"/>
                  </a:lnTo>
                  <a:lnTo>
                    <a:pt x="21" y="44"/>
                  </a:lnTo>
                  <a:lnTo>
                    <a:pt x="23" y="44"/>
                  </a:lnTo>
                  <a:lnTo>
                    <a:pt x="25" y="44"/>
                  </a:lnTo>
                  <a:lnTo>
                    <a:pt x="25" y="44"/>
                  </a:lnTo>
                  <a:lnTo>
                    <a:pt x="25" y="44"/>
                  </a:lnTo>
                  <a:lnTo>
                    <a:pt x="29" y="47"/>
                  </a:lnTo>
                  <a:lnTo>
                    <a:pt x="32" y="47"/>
                  </a:lnTo>
                  <a:lnTo>
                    <a:pt x="38" y="45"/>
                  </a:lnTo>
                  <a:lnTo>
                    <a:pt x="42" y="38"/>
                  </a:lnTo>
                  <a:lnTo>
                    <a:pt x="51" y="28"/>
                  </a:lnTo>
                  <a:lnTo>
                    <a:pt x="62" y="19"/>
                  </a:lnTo>
                  <a:lnTo>
                    <a:pt x="68" y="17"/>
                  </a:lnTo>
                  <a:lnTo>
                    <a:pt x="70" y="15"/>
                  </a:lnTo>
                  <a:lnTo>
                    <a:pt x="70" y="15"/>
                  </a:lnTo>
                  <a:lnTo>
                    <a:pt x="70" y="13"/>
                  </a:lnTo>
                  <a:lnTo>
                    <a:pt x="70" y="11"/>
                  </a:lnTo>
                  <a:lnTo>
                    <a:pt x="70" y="10"/>
                  </a:lnTo>
                  <a:lnTo>
                    <a:pt x="74" y="6"/>
                  </a:lnTo>
                  <a:lnTo>
                    <a:pt x="77" y="4"/>
                  </a:lnTo>
                  <a:lnTo>
                    <a:pt x="79" y="4"/>
                  </a:lnTo>
                  <a:lnTo>
                    <a:pt x="83" y="0"/>
                  </a:lnTo>
                  <a:lnTo>
                    <a:pt x="87" y="0"/>
                  </a:lnTo>
                  <a:lnTo>
                    <a:pt x="93" y="0"/>
                  </a:lnTo>
                  <a:lnTo>
                    <a:pt x="93" y="0"/>
                  </a:lnTo>
                  <a:lnTo>
                    <a:pt x="94" y="0"/>
                  </a:lnTo>
                  <a:lnTo>
                    <a:pt x="98" y="0"/>
                  </a:lnTo>
                  <a:lnTo>
                    <a:pt x="100" y="0"/>
                  </a:lnTo>
                  <a:lnTo>
                    <a:pt x="102" y="0"/>
                  </a:lnTo>
                  <a:lnTo>
                    <a:pt x="102" y="8"/>
                  </a:lnTo>
                  <a:lnTo>
                    <a:pt x="108" y="8"/>
                  </a:lnTo>
                  <a:lnTo>
                    <a:pt x="109" y="8"/>
                  </a:lnTo>
                  <a:lnTo>
                    <a:pt x="113" y="11"/>
                  </a:lnTo>
                  <a:lnTo>
                    <a:pt x="113" y="10"/>
                  </a:lnTo>
                  <a:lnTo>
                    <a:pt x="115" y="8"/>
                  </a:lnTo>
                  <a:lnTo>
                    <a:pt x="119" y="10"/>
                  </a:lnTo>
                  <a:lnTo>
                    <a:pt x="125" y="13"/>
                  </a:lnTo>
                  <a:lnTo>
                    <a:pt x="128" y="17"/>
                  </a:lnTo>
                  <a:lnTo>
                    <a:pt x="132" y="17"/>
                  </a:lnTo>
                  <a:lnTo>
                    <a:pt x="138" y="19"/>
                  </a:lnTo>
                  <a:lnTo>
                    <a:pt x="140" y="21"/>
                  </a:lnTo>
                  <a:lnTo>
                    <a:pt x="143" y="25"/>
                  </a:lnTo>
                  <a:lnTo>
                    <a:pt x="147" y="25"/>
                  </a:lnTo>
                  <a:lnTo>
                    <a:pt x="147" y="28"/>
                  </a:lnTo>
                  <a:lnTo>
                    <a:pt x="147" y="30"/>
                  </a:lnTo>
                  <a:lnTo>
                    <a:pt x="147" y="34"/>
                  </a:lnTo>
                  <a:lnTo>
                    <a:pt x="147" y="34"/>
                  </a:lnTo>
                  <a:lnTo>
                    <a:pt x="147" y="36"/>
                  </a:lnTo>
                  <a:lnTo>
                    <a:pt x="147" y="40"/>
                  </a:lnTo>
                  <a:lnTo>
                    <a:pt x="143" y="42"/>
                  </a:lnTo>
                  <a:lnTo>
                    <a:pt x="143" y="47"/>
                  </a:lnTo>
                  <a:lnTo>
                    <a:pt x="143" y="51"/>
                  </a:lnTo>
                  <a:lnTo>
                    <a:pt x="143" y="53"/>
                  </a:lnTo>
                  <a:lnTo>
                    <a:pt x="147" y="53"/>
                  </a:lnTo>
                  <a:lnTo>
                    <a:pt x="147" y="55"/>
                  </a:lnTo>
                  <a:lnTo>
                    <a:pt x="143" y="59"/>
                  </a:lnTo>
                  <a:lnTo>
                    <a:pt x="143" y="60"/>
                  </a:lnTo>
                  <a:lnTo>
                    <a:pt x="143" y="64"/>
                  </a:lnTo>
                  <a:lnTo>
                    <a:pt x="140" y="64"/>
                  </a:lnTo>
                  <a:lnTo>
                    <a:pt x="140" y="66"/>
                  </a:lnTo>
                  <a:lnTo>
                    <a:pt x="143" y="70"/>
                  </a:lnTo>
                  <a:lnTo>
                    <a:pt x="143" y="72"/>
                  </a:lnTo>
                  <a:lnTo>
                    <a:pt x="143" y="74"/>
                  </a:lnTo>
                  <a:lnTo>
                    <a:pt x="143" y="77"/>
                  </a:lnTo>
                  <a:lnTo>
                    <a:pt x="143" y="79"/>
                  </a:lnTo>
                  <a:lnTo>
                    <a:pt x="143" y="83"/>
                  </a:lnTo>
                  <a:lnTo>
                    <a:pt x="143" y="85"/>
                  </a:lnTo>
                  <a:lnTo>
                    <a:pt x="140" y="89"/>
                  </a:lnTo>
                  <a:lnTo>
                    <a:pt x="138" y="91"/>
                  </a:lnTo>
                  <a:lnTo>
                    <a:pt x="134" y="91"/>
                  </a:lnTo>
                  <a:lnTo>
                    <a:pt x="134" y="94"/>
                  </a:lnTo>
                  <a:lnTo>
                    <a:pt x="134" y="98"/>
                  </a:lnTo>
                  <a:lnTo>
                    <a:pt x="134" y="98"/>
                  </a:lnTo>
                  <a:lnTo>
                    <a:pt x="134" y="104"/>
                  </a:lnTo>
                  <a:lnTo>
                    <a:pt x="134" y="106"/>
                  </a:lnTo>
                  <a:lnTo>
                    <a:pt x="134" y="113"/>
                  </a:lnTo>
                  <a:lnTo>
                    <a:pt x="113" y="134"/>
                  </a:lnTo>
                  <a:lnTo>
                    <a:pt x="108" y="130"/>
                  </a:lnTo>
                  <a:lnTo>
                    <a:pt x="104" y="128"/>
                  </a:lnTo>
                  <a:lnTo>
                    <a:pt x="98" y="130"/>
                  </a:lnTo>
                  <a:lnTo>
                    <a:pt x="94" y="130"/>
                  </a:lnTo>
                  <a:lnTo>
                    <a:pt x="94" y="130"/>
                  </a:lnTo>
                  <a:lnTo>
                    <a:pt x="91" y="128"/>
                  </a:lnTo>
                  <a:lnTo>
                    <a:pt x="87" y="128"/>
                  </a:lnTo>
                  <a:lnTo>
                    <a:pt x="85" y="125"/>
                  </a:lnTo>
                  <a:lnTo>
                    <a:pt x="81" y="125"/>
                  </a:lnTo>
                  <a:lnTo>
                    <a:pt x="74" y="125"/>
                  </a:lnTo>
                  <a:lnTo>
                    <a:pt x="74" y="125"/>
                  </a:lnTo>
                  <a:lnTo>
                    <a:pt x="74" y="123"/>
                  </a:lnTo>
                  <a:lnTo>
                    <a:pt x="74" y="121"/>
                  </a:lnTo>
                  <a:lnTo>
                    <a:pt x="70" y="119"/>
                  </a:lnTo>
                  <a:lnTo>
                    <a:pt x="68" y="119"/>
                  </a:lnTo>
                  <a:lnTo>
                    <a:pt x="64" y="115"/>
                  </a:lnTo>
                  <a:lnTo>
                    <a:pt x="62" y="115"/>
                  </a:lnTo>
                  <a:lnTo>
                    <a:pt x="57" y="115"/>
                  </a:lnTo>
                  <a:lnTo>
                    <a:pt x="55" y="115"/>
                  </a:lnTo>
                  <a:lnTo>
                    <a:pt x="51" y="115"/>
                  </a:lnTo>
                  <a:lnTo>
                    <a:pt x="49" y="111"/>
                  </a:lnTo>
                  <a:lnTo>
                    <a:pt x="45" y="109"/>
                  </a:lnTo>
                  <a:lnTo>
                    <a:pt x="44" y="106"/>
                  </a:lnTo>
                  <a:lnTo>
                    <a:pt x="44" y="104"/>
                  </a:lnTo>
                  <a:lnTo>
                    <a:pt x="42" y="98"/>
                  </a:lnTo>
                  <a:lnTo>
                    <a:pt x="44" y="98"/>
                  </a:lnTo>
                  <a:lnTo>
                    <a:pt x="40" y="94"/>
                  </a:lnTo>
                  <a:lnTo>
                    <a:pt x="38" y="94"/>
                  </a:lnTo>
                  <a:lnTo>
                    <a:pt x="38" y="91"/>
                  </a:lnTo>
                  <a:lnTo>
                    <a:pt x="38" y="91"/>
                  </a:lnTo>
                  <a:lnTo>
                    <a:pt x="38" y="91"/>
                  </a:lnTo>
                  <a:lnTo>
                    <a:pt x="34" y="89"/>
                  </a:lnTo>
                  <a:lnTo>
                    <a:pt x="34" y="85"/>
                  </a:lnTo>
                  <a:lnTo>
                    <a:pt x="29" y="83"/>
                  </a:lnTo>
                  <a:lnTo>
                    <a:pt x="25" y="81"/>
                  </a:lnTo>
                  <a:lnTo>
                    <a:pt x="21" y="74"/>
                  </a:lnTo>
                  <a:lnTo>
                    <a:pt x="19" y="70"/>
                  </a:lnTo>
                  <a:lnTo>
                    <a:pt x="17" y="70"/>
                  </a:lnTo>
                  <a:lnTo>
                    <a:pt x="15" y="68"/>
                  </a:lnTo>
                  <a:lnTo>
                    <a:pt x="15" y="66"/>
                  </a:lnTo>
                  <a:lnTo>
                    <a:pt x="13" y="64"/>
                  </a:lnTo>
                  <a:lnTo>
                    <a:pt x="12" y="60"/>
                  </a:lnTo>
                  <a:lnTo>
                    <a:pt x="10" y="59"/>
                  </a:lnTo>
                  <a:lnTo>
                    <a:pt x="10" y="59"/>
                  </a:lnTo>
                  <a:lnTo>
                    <a:pt x="10" y="57"/>
                  </a:lnTo>
                  <a:lnTo>
                    <a:pt x="8" y="53"/>
                  </a:lnTo>
                  <a:lnTo>
                    <a:pt x="4" y="53"/>
                  </a:lnTo>
                  <a:lnTo>
                    <a:pt x="4" y="51"/>
                  </a:lnTo>
                  <a:lnTo>
                    <a:pt x="0" y="49"/>
                  </a:lnTo>
                  <a:lnTo>
                    <a:pt x="0" y="47"/>
                  </a:lnTo>
                  <a:lnTo>
                    <a:pt x="0" y="45"/>
                  </a:lnTo>
                  <a:lnTo>
                    <a:pt x="0" y="44"/>
                  </a:lnTo>
                  <a:lnTo>
                    <a:pt x="0" y="42"/>
                  </a:lnTo>
                  <a:lnTo>
                    <a:pt x="0" y="42"/>
                  </a:lnTo>
                  <a:lnTo>
                    <a:pt x="0" y="42"/>
                  </a:lnTo>
                  <a:lnTo>
                    <a:pt x="0" y="42"/>
                  </a:lnTo>
                  <a:lnTo>
                    <a:pt x="0"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7" name="Freeform 148">
              <a:extLst>
                <a:ext uri="{FF2B5EF4-FFF2-40B4-BE49-F238E27FC236}">
                  <a16:creationId xmlns:a16="http://schemas.microsoft.com/office/drawing/2014/main" id="{E50DCE6A-1F31-4F46-B290-C3F3912D3587}"/>
                </a:ext>
              </a:extLst>
            </p:cNvPr>
            <p:cNvSpPr>
              <a:spLocks/>
            </p:cNvSpPr>
            <p:nvPr/>
          </p:nvSpPr>
          <p:spPr bwMode="auto">
            <a:xfrm>
              <a:off x="6432478" y="3245958"/>
              <a:ext cx="147627" cy="132693"/>
            </a:xfrm>
            <a:custGeom>
              <a:avLst/>
              <a:gdLst/>
              <a:ahLst/>
              <a:cxnLst>
                <a:cxn ang="0">
                  <a:pos x="99" y="3"/>
                </a:cxn>
                <a:cxn ang="0">
                  <a:pos x="103" y="9"/>
                </a:cxn>
                <a:cxn ang="0">
                  <a:pos x="109" y="13"/>
                </a:cxn>
                <a:cxn ang="0">
                  <a:pos x="112" y="18"/>
                </a:cxn>
                <a:cxn ang="0">
                  <a:pos x="114" y="26"/>
                </a:cxn>
                <a:cxn ang="0">
                  <a:pos x="120" y="32"/>
                </a:cxn>
                <a:cxn ang="0">
                  <a:pos x="133" y="43"/>
                </a:cxn>
                <a:cxn ang="0">
                  <a:pos x="137" y="47"/>
                </a:cxn>
                <a:cxn ang="0">
                  <a:pos x="139" y="52"/>
                </a:cxn>
                <a:cxn ang="0">
                  <a:pos x="143" y="60"/>
                </a:cxn>
                <a:cxn ang="0">
                  <a:pos x="148" y="67"/>
                </a:cxn>
                <a:cxn ang="0">
                  <a:pos x="156" y="73"/>
                </a:cxn>
                <a:cxn ang="0">
                  <a:pos x="167" y="77"/>
                </a:cxn>
                <a:cxn ang="0">
                  <a:pos x="173" y="81"/>
                </a:cxn>
                <a:cxn ang="0">
                  <a:pos x="173" y="84"/>
                </a:cxn>
                <a:cxn ang="0">
                  <a:pos x="163" y="86"/>
                </a:cxn>
                <a:cxn ang="0">
                  <a:pos x="161" y="92"/>
                </a:cxn>
                <a:cxn ang="0">
                  <a:pos x="154" y="96"/>
                </a:cxn>
                <a:cxn ang="0">
                  <a:pos x="144" y="97"/>
                </a:cxn>
                <a:cxn ang="0">
                  <a:pos x="139" y="105"/>
                </a:cxn>
                <a:cxn ang="0">
                  <a:pos x="133" y="105"/>
                </a:cxn>
                <a:cxn ang="0">
                  <a:pos x="126" y="118"/>
                </a:cxn>
                <a:cxn ang="0">
                  <a:pos x="124" y="124"/>
                </a:cxn>
                <a:cxn ang="0">
                  <a:pos x="118" y="129"/>
                </a:cxn>
                <a:cxn ang="0">
                  <a:pos x="114" y="131"/>
                </a:cxn>
                <a:cxn ang="0">
                  <a:pos x="107" y="135"/>
                </a:cxn>
                <a:cxn ang="0">
                  <a:pos x="103" y="145"/>
                </a:cxn>
                <a:cxn ang="0">
                  <a:pos x="103" y="152"/>
                </a:cxn>
                <a:cxn ang="0">
                  <a:pos x="96" y="152"/>
                </a:cxn>
                <a:cxn ang="0">
                  <a:pos x="84" y="154"/>
                </a:cxn>
                <a:cxn ang="0">
                  <a:pos x="69" y="150"/>
                </a:cxn>
                <a:cxn ang="0">
                  <a:pos x="60" y="146"/>
                </a:cxn>
                <a:cxn ang="0">
                  <a:pos x="48" y="160"/>
                </a:cxn>
                <a:cxn ang="0">
                  <a:pos x="37" y="165"/>
                </a:cxn>
                <a:cxn ang="0">
                  <a:pos x="26" y="173"/>
                </a:cxn>
                <a:cxn ang="0">
                  <a:pos x="15" y="171"/>
                </a:cxn>
                <a:cxn ang="0">
                  <a:pos x="13" y="162"/>
                </a:cxn>
                <a:cxn ang="0">
                  <a:pos x="5" y="143"/>
                </a:cxn>
                <a:cxn ang="0">
                  <a:pos x="0" y="137"/>
                </a:cxn>
                <a:cxn ang="0">
                  <a:pos x="18" y="81"/>
                </a:cxn>
                <a:cxn ang="0">
                  <a:pos x="54" y="9"/>
                </a:cxn>
                <a:cxn ang="0">
                  <a:pos x="64" y="7"/>
                </a:cxn>
                <a:cxn ang="0">
                  <a:pos x="67" y="13"/>
                </a:cxn>
                <a:cxn ang="0">
                  <a:pos x="67" y="16"/>
                </a:cxn>
                <a:cxn ang="0">
                  <a:pos x="82" y="3"/>
                </a:cxn>
                <a:cxn ang="0">
                  <a:pos x="88" y="5"/>
                </a:cxn>
                <a:cxn ang="0">
                  <a:pos x="99" y="0"/>
                </a:cxn>
                <a:cxn ang="0">
                  <a:pos x="99" y="0"/>
                </a:cxn>
              </a:cxnLst>
              <a:rect l="0" t="0" r="r" b="b"/>
              <a:pathLst>
                <a:path w="173" h="173">
                  <a:moveTo>
                    <a:pt x="99" y="0"/>
                  </a:moveTo>
                  <a:lnTo>
                    <a:pt x="99" y="1"/>
                  </a:lnTo>
                  <a:lnTo>
                    <a:pt x="99" y="3"/>
                  </a:lnTo>
                  <a:lnTo>
                    <a:pt x="99" y="5"/>
                  </a:lnTo>
                  <a:lnTo>
                    <a:pt x="99" y="7"/>
                  </a:lnTo>
                  <a:lnTo>
                    <a:pt x="103" y="9"/>
                  </a:lnTo>
                  <a:lnTo>
                    <a:pt x="103" y="11"/>
                  </a:lnTo>
                  <a:lnTo>
                    <a:pt x="109" y="11"/>
                  </a:lnTo>
                  <a:lnTo>
                    <a:pt x="109" y="13"/>
                  </a:lnTo>
                  <a:lnTo>
                    <a:pt x="109" y="16"/>
                  </a:lnTo>
                  <a:lnTo>
                    <a:pt x="109" y="16"/>
                  </a:lnTo>
                  <a:lnTo>
                    <a:pt x="112" y="18"/>
                  </a:lnTo>
                  <a:lnTo>
                    <a:pt x="112" y="22"/>
                  </a:lnTo>
                  <a:lnTo>
                    <a:pt x="114" y="24"/>
                  </a:lnTo>
                  <a:lnTo>
                    <a:pt x="114" y="26"/>
                  </a:lnTo>
                  <a:lnTo>
                    <a:pt x="116" y="28"/>
                  </a:lnTo>
                  <a:lnTo>
                    <a:pt x="118" y="28"/>
                  </a:lnTo>
                  <a:lnTo>
                    <a:pt x="120" y="32"/>
                  </a:lnTo>
                  <a:lnTo>
                    <a:pt x="126" y="39"/>
                  </a:lnTo>
                  <a:lnTo>
                    <a:pt x="129" y="41"/>
                  </a:lnTo>
                  <a:lnTo>
                    <a:pt x="133" y="43"/>
                  </a:lnTo>
                  <a:lnTo>
                    <a:pt x="133" y="47"/>
                  </a:lnTo>
                  <a:lnTo>
                    <a:pt x="137" y="47"/>
                  </a:lnTo>
                  <a:lnTo>
                    <a:pt x="137" y="47"/>
                  </a:lnTo>
                  <a:lnTo>
                    <a:pt x="137" y="48"/>
                  </a:lnTo>
                  <a:lnTo>
                    <a:pt x="137" y="50"/>
                  </a:lnTo>
                  <a:lnTo>
                    <a:pt x="139" y="52"/>
                  </a:lnTo>
                  <a:lnTo>
                    <a:pt x="143" y="56"/>
                  </a:lnTo>
                  <a:lnTo>
                    <a:pt x="143" y="56"/>
                  </a:lnTo>
                  <a:lnTo>
                    <a:pt x="143" y="60"/>
                  </a:lnTo>
                  <a:lnTo>
                    <a:pt x="143" y="64"/>
                  </a:lnTo>
                  <a:lnTo>
                    <a:pt x="144" y="67"/>
                  </a:lnTo>
                  <a:lnTo>
                    <a:pt x="148" y="67"/>
                  </a:lnTo>
                  <a:lnTo>
                    <a:pt x="150" y="73"/>
                  </a:lnTo>
                  <a:lnTo>
                    <a:pt x="154" y="73"/>
                  </a:lnTo>
                  <a:lnTo>
                    <a:pt x="156" y="73"/>
                  </a:lnTo>
                  <a:lnTo>
                    <a:pt x="161" y="73"/>
                  </a:lnTo>
                  <a:lnTo>
                    <a:pt x="163" y="73"/>
                  </a:lnTo>
                  <a:lnTo>
                    <a:pt x="167" y="77"/>
                  </a:lnTo>
                  <a:lnTo>
                    <a:pt x="169" y="77"/>
                  </a:lnTo>
                  <a:lnTo>
                    <a:pt x="173" y="77"/>
                  </a:lnTo>
                  <a:lnTo>
                    <a:pt x="173" y="81"/>
                  </a:lnTo>
                  <a:lnTo>
                    <a:pt x="173" y="81"/>
                  </a:lnTo>
                  <a:lnTo>
                    <a:pt x="173" y="82"/>
                  </a:lnTo>
                  <a:lnTo>
                    <a:pt x="173" y="84"/>
                  </a:lnTo>
                  <a:lnTo>
                    <a:pt x="169" y="84"/>
                  </a:lnTo>
                  <a:lnTo>
                    <a:pt x="167" y="84"/>
                  </a:lnTo>
                  <a:lnTo>
                    <a:pt x="163" y="86"/>
                  </a:lnTo>
                  <a:lnTo>
                    <a:pt x="163" y="88"/>
                  </a:lnTo>
                  <a:lnTo>
                    <a:pt x="163" y="92"/>
                  </a:lnTo>
                  <a:lnTo>
                    <a:pt x="161" y="92"/>
                  </a:lnTo>
                  <a:lnTo>
                    <a:pt x="160" y="96"/>
                  </a:lnTo>
                  <a:lnTo>
                    <a:pt x="156" y="96"/>
                  </a:lnTo>
                  <a:lnTo>
                    <a:pt x="154" y="96"/>
                  </a:lnTo>
                  <a:lnTo>
                    <a:pt x="152" y="96"/>
                  </a:lnTo>
                  <a:lnTo>
                    <a:pt x="148" y="96"/>
                  </a:lnTo>
                  <a:lnTo>
                    <a:pt x="144" y="97"/>
                  </a:lnTo>
                  <a:lnTo>
                    <a:pt x="143" y="101"/>
                  </a:lnTo>
                  <a:lnTo>
                    <a:pt x="143" y="101"/>
                  </a:lnTo>
                  <a:lnTo>
                    <a:pt x="139" y="105"/>
                  </a:lnTo>
                  <a:lnTo>
                    <a:pt x="139" y="105"/>
                  </a:lnTo>
                  <a:lnTo>
                    <a:pt x="137" y="105"/>
                  </a:lnTo>
                  <a:lnTo>
                    <a:pt x="133" y="105"/>
                  </a:lnTo>
                  <a:lnTo>
                    <a:pt x="131" y="107"/>
                  </a:lnTo>
                  <a:lnTo>
                    <a:pt x="128" y="114"/>
                  </a:lnTo>
                  <a:lnTo>
                    <a:pt x="126" y="118"/>
                  </a:lnTo>
                  <a:lnTo>
                    <a:pt x="128" y="120"/>
                  </a:lnTo>
                  <a:lnTo>
                    <a:pt x="128" y="124"/>
                  </a:lnTo>
                  <a:lnTo>
                    <a:pt x="124" y="124"/>
                  </a:lnTo>
                  <a:lnTo>
                    <a:pt x="124" y="126"/>
                  </a:lnTo>
                  <a:lnTo>
                    <a:pt x="120" y="126"/>
                  </a:lnTo>
                  <a:lnTo>
                    <a:pt x="118" y="129"/>
                  </a:lnTo>
                  <a:lnTo>
                    <a:pt x="116" y="131"/>
                  </a:lnTo>
                  <a:lnTo>
                    <a:pt x="116" y="131"/>
                  </a:lnTo>
                  <a:lnTo>
                    <a:pt x="114" y="131"/>
                  </a:lnTo>
                  <a:lnTo>
                    <a:pt x="112" y="135"/>
                  </a:lnTo>
                  <a:lnTo>
                    <a:pt x="109" y="135"/>
                  </a:lnTo>
                  <a:lnTo>
                    <a:pt x="107" y="135"/>
                  </a:lnTo>
                  <a:lnTo>
                    <a:pt x="103" y="139"/>
                  </a:lnTo>
                  <a:lnTo>
                    <a:pt x="103" y="143"/>
                  </a:lnTo>
                  <a:lnTo>
                    <a:pt x="103" y="145"/>
                  </a:lnTo>
                  <a:lnTo>
                    <a:pt x="103" y="148"/>
                  </a:lnTo>
                  <a:lnTo>
                    <a:pt x="103" y="152"/>
                  </a:lnTo>
                  <a:lnTo>
                    <a:pt x="103" y="152"/>
                  </a:lnTo>
                  <a:lnTo>
                    <a:pt x="99" y="156"/>
                  </a:lnTo>
                  <a:lnTo>
                    <a:pt x="97" y="154"/>
                  </a:lnTo>
                  <a:lnTo>
                    <a:pt x="96" y="152"/>
                  </a:lnTo>
                  <a:lnTo>
                    <a:pt x="92" y="154"/>
                  </a:lnTo>
                  <a:lnTo>
                    <a:pt x="88" y="154"/>
                  </a:lnTo>
                  <a:lnTo>
                    <a:pt x="84" y="154"/>
                  </a:lnTo>
                  <a:lnTo>
                    <a:pt x="82" y="154"/>
                  </a:lnTo>
                  <a:lnTo>
                    <a:pt x="79" y="154"/>
                  </a:lnTo>
                  <a:lnTo>
                    <a:pt x="69" y="150"/>
                  </a:lnTo>
                  <a:lnTo>
                    <a:pt x="69" y="150"/>
                  </a:lnTo>
                  <a:lnTo>
                    <a:pt x="67" y="146"/>
                  </a:lnTo>
                  <a:lnTo>
                    <a:pt x="60" y="146"/>
                  </a:lnTo>
                  <a:lnTo>
                    <a:pt x="56" y="146"/>
                  </a:lnTo>
                  <a:lnTo>
                    <a:pt x="50" y="150"/>
                  </a:lnTo>
                  <a:lnTo>
                    <a:pt x="48" y="160"/>
                  </a:lnTo>
                  <a:lnTo>
                    <a:pt x="45" y="162"/>
                  </a:lnTo>
                  <a:lnTo>
                    <a:pt x="39" y="165"/>
                  </a:lnTo>
                  <a:lnTo>
                    <a:pt x="37" y="165"/>
                  </a:lnTo>
                  <a:lnTo>
                    <a:pt x="33" y="169"/>
                  </a:lnTo>
                  <a:lnTo>
                    <a:pt x="30" y="169"/>
                  </a:lnTo>
                  <a:lnTo>
                    <a:pt x="26" y="173"/>
                  </a:lnTo>
                  <a:lnTo>
                    <a:pt x="22" y="171"/>
                  </a:lnTo>
                  <a:lnTo>
                    <a:pt x="18" y="173"/>
                  </a:lnTo>
                  <a:lnTo>
                    <a:pt x="15" y="171"/>
                  </a:lnTo>
                  <a:lnTo>
                    <a:pt x="9" y="173"/>
                  </a:lnTo>
                  <a:lnTo>
                    <a:pt x="9" y="169"/>
                  </a:lnTo>
                  <a:lnTo>
                    <a:pt x="13" y="162"/>
                  </a:lnTo>
                  <a:lnTo>
                    <a:pt x="13" y="160"/>
                  </a:lnTo>
                  <a:lnTo>
                    <a:pt x="9" y="148"/>
                  </a:lnTo>
                  <a:lnTo>
                    <a:pt x="5" y="143"/>
                  </a:lnTo>
                  <a:lnTo>
                    <a:pt x="0" y="137"/>
                  </a:lnTo>
                  <a:lnTo>
                    <a:pt x="0" y="137"/>
                  </a:lnTo>
                  <a:lnTo>
                    <a:pt x="0" y="137"/>
                  </a:lnTo>
                  <a:lnTo>
                    <a:pt x="0" y="137"/>
                  </a:lnTo>
                  <a:lnTo>
                    <a:pt x="3" y="81"/>
                  </a:lnTo>
                  <a:lnTo>
                    <a:pt x="18" y="81"/>
                  </a:lnTo>
                  <a:lnTo>
                    <a:pt x="22" y="13"/>
                  </a:lnTo>
                  <a:lnTo>
                    <a:pt x="37" y="13"/>
                  </a:lnTo>
                  <a:lnTo>
                    <a:pt x="54" y="9"/>
                  </a:lnTo>
                  <a:lnTo>
                    <a:pt x="60" y="7"/>
                  </a:lnTo>
                  <a:lnTo>
                    <a:pt x="64" y="7"/>
                  </a:lnTo>
                  <a:lnTo>
                    <a:pt x="64" y="7"/>
                  </a:lnTo>
                  <a:lnTo>
                    <a:pt x="65" y="7"/>
                  </a:lnTo>
                  <a:lnTo>
                    <a:pt x="65" y="11"/>
                  </a:lnTo>
                  <a:lnTo>
                    <a:pt x="67" y="13"/>
                  </a:lnTo>
                  <a:lnTo>
                    <a:pt x="65" y="13"/>
                  </a:lnTo>
                  <a:lnTo>
                    <a:pt x="65" y="16"/>
                  </a:lnTo>
                  <a:lnTo>
                    <a:pt x="67" y="16"/>
                  </a:lnTo>
                  <a:lnTo>
                    <a:pt x="73" y="13"/>
                  </a:lnTo>
                  <a:lnTo>
                    <a:pt x="79" y="7"/>
                  </a:lnTo>
                  <a:lnTo>
                    <a:pt x="82" y="3"/>
                  </a:lnTo>
                  <a:lnTo>
                    <a:pt x="84" y="3"/>
                  </a:lnTo>
                  <a:lnTo>
                    <a:pt x="84" y="3"/>
                  </a:lnTo>
                  <a:lnTo>
                    <a:pt x="88" y="5"/>
                  </a:lnTo>
                  <a:lnTo>
                    <a:pt x="90" y="3"/>
                  </a:lnTo>
                  <a:lnTo>
                    <a:pt x="96" y="0"/>
                  </a:lnTo>
                  <a:lnTo>
                    <a:pt x="99" y="0"/>
                  </a:lnTo>
                  <a:lnTo>
                    <a:pt x="99" y="0"/>
                  </a:lnTo>
                  <a:lnTo>
                    <a:pt x="99" y="0"/>
                  </a:lnTo>
                  <a:lnTo>
                    <a:pt x="99" y="0"/>
                  </a:lnTo>
                  <a:lnTo>
                    <a:pt x="99"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8" name="Freeform 149">
              <a:extLst>
                <a:ext uri="{FF2B5EF4-FFF2-40B4-BE49-F238E27FC236}">
                  <a16:creationId xmlns:a16="http://schemas.microsoft.com/office/drawing/2014/main" id="{AAC17734-AB93-6E4F-A7E3-3DCDEF3BA3D7}"/>
                </a:ext>
              </a:extLst>
            </p:cNvPr>
            <p:cNvSpPr>
              <a:spLocks/>
            </p:cNvSpPr>
            <p:nvPr/>
          </p:nvSpPr>
          <p:spPr bwMode="auto">
            <a:xfrm>
              <a:off x="6305330" y="3232918"/>
              <a:ext cx="211627" cy="178714"/>
            </a:xfrm>
            <a:custGeom>
              <a:avLst/>
              <a:gdLst/>
              <a:ahLst/>
              <a:cxnLst>
                <a:cxn ang="0">
                  <a:pos x="152" y="96"/>
                </a:cxn>
                <a:cxn ang="0">
                  <a:pos x="186" y="30"/>
                </a:cxn>
                <a:cxn ang="0">
                  <a:pos x="213" y="24"/>
                </a:cxn>
                <a:cxn ang="0">
                  <a:pos x="213" y="28"/>
                </a:cxn>
                <a:cxn ang="0">
                  <a:pos x="213" y="33"/>
                </a:cxn>
                <a:cxn ang="0">
                  <a:pos x="226" y="24"/>
                </a:cxn>
                <a:cxn ang="0">
                  <a:pos x="233" y="20"/>
                </a:cxn>
                <a:cxn ang="0">
                  <a:pos x="243" y="17"/>
                </a:cxn>
                <a:cxn ang="0">
                  <a:pos x="246" y="13"/>
                </a:cxn>
                <a:cxn ang="0">
                  <a:pos x="241" y="11"/>
                </a:cxn>
                <a:cxn ang="0">
                  <a:pos x="235" y="11"/>
                </a:cxn>
                <a:cxn ang="0">
                  <a:pos x="186" y="20"/>
                </a:cxn>
                <a:cxn ang="0">
                  <a:pos x="181" y="20"/>
                </a:cxn>
                <a:cxn ang="0">
                  <a:pos x="177" y="20"/>
                </a:cxn>
                <a:cxn ang="0">
                  <a:pos x="171" y="20"/>
                </a:cxn>
                <a:cxn ang="0">
                  <a:pos x="167" y="20"/>
                </a:cxn>
                <a:cxn ang="0">
                  <a:pos x="158" y="17"/>
                </a:cxn>
                <a:cxn ang="0">
                  <a:pos x="152" y="18"/>
                </a:cxn>
                <a:cxn ang="0">
                  <a:pos x="143" y="20"/>
                </a:cxn>
                <a:cxn ang="0">
                  <a:pos x="137" y="17"/>
                </a:cxn>
                <a:cxn ang="0">
                  <a:pos x="128" y="15"/>
                </a:cxn>
                <a:cxn ang="0">
                  <a:pos x="122" y="9"/>
                </a:cxn>
                <a:cxn ang="0">
                  <a:pos x="51" y="7"/>
                </a:cxn>
                <a:cxn ang="0">
                  <a:pos x="45" y="11"/>
                </a:cxn>
                <a:cxn ang="0">
                  <a:pos x="36" y="5"/>
                </a:cxn>
                <a:cxn ang="0">
                  <a:pos x="32" y="3"/>
                </a:cxn>
                <a:cxn ang="0">
                  <a:pos x="30" y="3"/>
                </a:cxn>
                <a:cxn ang="0">
                  <a:pos x="21" y="0"/>
                </a:cxn>
                <a:cxn ang="0">
                  <a:pos x="15" y="7"/>
                </a:cxn>
                <a:cxn ang="0">
                  <a:pos x="5" y="5"/>
                </a:cxn>
                <a:cxn ang="0">
                  <a:pos x="2" y="9"/>
                </a:cxn>
                <a:cxn ang="0">
                  <a:pos x="0" y="24"/>
                </a:cxn>
                <a:cxn ang="0">
                  <a:pos x="26" y="65"/>
                </a:cxn>
                <a:cxn ang="0">
                  <a:pos x="37" y="92"/>
                </a:cxn>
                <a:cxn ang="0">
                  <a:pos x="45" y="114"/>
                </a:cxn>
                <a:cxn ang="0">
                  <a:pos x="54" y="152"/>
                </a:cxn>
                <a:cxn ang="0">
                  <a:pos x="51" y="167"/>
                </a:cxn>
                <a:cxn ang="0">
                  <a:pos x="58" y="180"/>
                </a:cxn>
                <a:cxn ang="0">
                  <a:pos x="58" y="190"/>
                </a:cxn>
                <a:cxn ang="0">
                  <a:pos x="64" y="205"/>
                </a:cxn>
                <a:cxn ang="0">
                  <a:pos x="75" y="220"/>
                </a:cxn>
                <a:cxn ang="0">
                  <a:pos x="86" y="222"/>
                </a:cxn>
                <a:cxn ang="0">
                  <a:pos x="88" y="214"/>
                </a:cxn>
                <a:cxn ang="0">
                  <a:pos x="98" y="218"/>
                </a:cxn>
                <a:cxn ang="0">
                  <a:pos x="105" y="229"/>
                </a:cxn>
                <a:cxn ang="0">
                  <a:pos x="115" y="231"/>
                </a:cxn>
                <a:cxn ang="0">
                  <a:pos x="122" y="229"/>
                </a:cxn>
                <a:cxn ang="0">
                  <a:pos x="128" y="233"/>
                </a:cxn>
                <a:cxn ang="0">
                  <a:pos x="133" y="226"/>
                </a:cxn>
                <a:cxn ang="0">
                  <a:pos x="145" y="220"/>
                </a:cxn>
                <a:cxn ang="0">
                  <a:pos x="149" y="152"/>
                </a:cxn>
              </a:cxnLst>
              <a:rect l="0" t="0" r="r" b="b"/>
              <a:pathLst>
                <a:path w="248" h="233">
                  <a:moveTo>
                    <a:pt x="149" y="152"/>
                  </a:moveTo>
                  <a:lnTo>
                    <a:pt x="149" y="152"/>
                  </a:lnTo>
                  <a:lnTo>
                    <a:pt x="152" y="96"/>
                  </a:lnTo>
                  <a:lnTo>
                    <a:pt x="167" y="96"/>
                  </a:lnTo>
                  <a:lnTo>
                    <a:pt x="171" y="28"/>
                  </a:lnTo>
                  <a:lnTo>
                    <a:pt x="186" y="30"/>
                  </a:lnTo>
                  <a:lnTo>
                    <a:pt x="203" y="24"/>
                  </a:lnTo>
                  <a:lnTo>
                    <a:pt x="209" y="24"/>
                  </a:lnTo>
                  <a:lnTo>
                    <a:pt x="213" y="24"/>
                  </a:lnTo>
                  <a:lnTo>
                    <a:pt x="213" y="24"/>
                  </a:lnTo>
                  <a:lnTo>
                    <a:pt x="213" y="24"/>
                  </a:lnTo>
                  <a:lnTo>
                    <a:pt x="213" y="28"/>
                  </a:lnTo>
                  <a:lnTo>
                    <a:pt x="216" y="28"/>
                  </a:lnTo>
                  <a:lnTo>
                    <a:pt x="213" y="28"/>
                  </a:lnTo>
                  <a:lnTo>
                    <a:pt x="213" y="33"/>
                  </a:lnTo>
                  <a:lnTo>
                    <a:pt x="216" y="33"/>
                  </a:lnTo>
                  <a:lnTo>
                    <a:pt x="222" y="28"/>
                  </a:lnTo>
                  <a:lnTo>
                    <a:pt x="226" y="24"/>
                  </a:lnTo>
                  <a:lnTo>
                    <a:pt x="229" y="20"/>
                  </a:lnTo>
                  <a:lnTo>
                    <a:pt x="233" y="20"/>
                  </a:lnTo>
                  <a:lnTo>
                    <a:pt x="233" y="20"/>
                  </a:lnTo>
                  <a:lnTo>
                    <a:pt x="237" y="20"/>
                  </a:lnTo>
                  <a:lnTo>
                    <a:pt x="239" y="20"/>
                  </a:lnTo>
                  <a:lnTo>
                    <a:pt x="243" y="17"/>
                  </a:lnTo>
                  <a:lnTo>
                    <a:pt x="248" y="17"/>
                  </a:lnTo>
                  <a:lnTo>
                    <a:pt x="246" y="13"/>
                  </a:lnTo>
                  <a:lnTo>
                    <a:pt x="246" y="13"/>
                  </a:lnTo>
                  <a:lnTo>
                    <a:pt x="243" y="11"/>
                  </a:lnTo>
                  <a:lnTo>
                    <a:pt x="243" y="13"/>
                  </a:lnTo>
                  <a:lnTo>
                    <a:pt x="241" y="11"/>
                  </a:lnTo>
                  <a:lnTo>
                    <a:pt x="241" y="11"/>
                  </a:lnTo>
                  <a:lnTo>
                    <a:pt x="239" y="11"/>
                  </a:lnTo>
                  <a:lnTo>
                    <a:pt x="235" y="11"/>
                  </a:lnTo>
                  <a:lnTo>
                    <a:pt x="233" y="11"/>
                  </a:lnTo>
                  <a:lnTo>
                    <a:pt x="186" y="20"/>
                  </a:lnTo>
                  <a:lnTo>
                    <a:pt x="186" y="20"/>
                  </a:lnTo>
                  <a:lnTo>
                    <a:pt x="184" y="20"/>
                  </a:lnTo>
                  <a:lnTo>
                    <a:pt x="182" y="20"/>
                  </a:lnTo>
                  <a:lnTo>
                    <a:pt x="181" y="20"/>
                  </a:lnTo>
                  <a:lnTo>
                    <a:pt x="179" y="20"/>
                  </a:lnTo>
                  <a:lnTo>
                    <a:pt x="179" y="20"/>
                  </a:lnTo>
                  <a:lnTo>
                    <a:pt x="177" y="20"/>
                  </a:lnTo>
                  <a:lnTo>
                    <a:pt x="175" y="20"/>
                  </a:lnTo>
                  <a:lnTo>
                    <a:pt x="173" y="18"/>
                  </a:lnTo>
                  <a:lnTo>
                    <a:pt x="171" y="20"/>
                  </a:lnTo>
                  <a:lnTo>
                    <a:pt x="171" y="20"/>
                  </a:lnTo>
                  <a:lnTo>
                    <a:pt x="169" y="20"/>
                  </a:lnTo>
                  <a:lnTo>
                    <a:pt x="167" y="20"/>
                  </a:lnTo>
                  <a:lnTo>
                    <a:pt x="164" y="20"/>
                  </a:lnTo>
                  <a:lnTo>
                    <a:pt x="160" y="17"/>
                  </a:lnTo>
                  <a:lnTo>
                    <a:pt x="158" y="17"/>
                  </a:lnTo>
                  <a:lnTo>
                    <a:pt x="154" y="17"/>
                  </a:lnTo>
                  <a:lnTo>
                    <a:pt x="154" y="18"/>
                  </a:lnTo>
                  <a:lnTo>
                    <a:pt x="152" y="18"/>
                  </a:lnTo>
                  <a:lnTo>
                    <a:pt x="149" y="17"/>
                  </a:lnTo>
                  <a:lnTo>
                    <a:pt x="145" y="18"/>
                  </a:lnTo>
                  <a:lnTo>
                    <a:pt x="143" y="20"/>
                  </a:lnTo>
                  <a:lnTo>
                    <a:pt x="139" y="18"/>
                  </a:lnTo>
                  <a:lnTo>
                    <a:pt x="139" y="17"/>
                  </a:lnTo>
                  <a:lnTo>
                    <a:pt x="137" y="17"/>
                  </a:lnTo>
                  <a:lnTo>
                    <a:pt x="133" y="17"/>
                  </a:lnTo>
                  <a:lnTo>
                    <a:pt x="130" y="17"/>
                  </a:lnTo>
                  <a:lnTo>
                    <a:pt x="128" y="15"/>
                  </a:lnTo>
                  <a:lnTo>
                    <a:pt x="126" y="13"/>
                  </a:lnTo>
                  <a:lnTo>
                    <a:pt x="124" y="9"/>
                  </a:lnTo>
                  <a:lnTo>
                    <a:pt x="122" y="9"/>
                  </a:lnTo>
                  <a:lnTo>
                    <a:pt x="54" y="9"/>
                  </a:lnTo>
                  <a:lnTo>
                    <a:pt x="51" y="7"/>
                  </a:lnTo>
                  <a:lnTo>
                    <a:pt x="51" y="7"/>
                  </a:lnTo>
                  <a:lnTo>
                    <a:pt x="49" y="9"/>
                  </a:lnTo>
                  <a:lnTo>
                    <a:pt x="47" y="9"/>
                  </a:lnTo>
                  <a:lnTo>
                    <a:pt x="45" y="11"/>
                  </a:lnTo>
                  <a:lnTo>
                    <a:pt x="39" y="9"/>
                  </a:lnTo>
                  <a:lnTo>
                    <a:pt x="36" y="5"/>
                  </a:lnTo>
                  <a:lnTo>
                    <a:pt x="36" y="5"/>
                  </a:lnTo>
                  <a:lnTo>
                    <a:pt x="36" y="3"/>
                  </a:lnTo>
                  <a:lnTo>
                    <a:pt x="34" y="3"/>
                  </a:lnTo>
                  <a:lnTo>
                    <a:pt x="32" y="3"/>
                  </a:lnTo>
                  <a:lnTo>
                    <a:pt x="30" y="0"/>
                  </a:lnTo>
                  <a:lnTo>
                    <a:pt x="30" y="0"/>
                  </a:lnTo>
                  <a:lnTo>
                    <a:pt x="30" y="3"/>
                  </a:lnTo>
                  <a:lnTo>
                    <a:pt x="26" y="3"/>
                  </a:lnTo>
                  <a:lnTo>
                    <a:pt x="24" y="0"/>
                  </a:lnTo>
                  <a:lnTo>
                    <a:pt x="21" y="0"/>
                  </a:lnTo>
                  <a:lnTo>
                    <a:pt x="17" y="3"/>
                  </a:lnTo>
                  <a:lnTo>
                    <a:pt x="17" y="5"/>
                  </a:lnTo>
                  <a:lnTo>
                    <a:pt x="15" y="7"/>
                  </a:lnTo>
                  <a:lnTo>
                    <a:pt x="11" y="5"/>
                  </a:lnTo>
                  <a:lnTo>
                    <a:pt x="7" y="5"/>
                  </a:lnTo>
                  <a:lnTo>
                    <a:pt x="5" y="5"/>
                  </a:lnTo>
                  <a:lnTo>
                    <a:pt x="5" y="9"/>
                  </a:lnTo>
                  <a:lnTo>
                    <a:pt x="4" y="9"/>
                  </a:lnTo>
                  <a:lnTo>
                    <a:pt x="2" y="9"/>
                  </a:lnTo>
                  <a:lnTo>
                    <a:pt x="0" y="7"/>
                  </a:lnTo>
                  <a:lnTo>
                    <a:pt x="0" y="7"/>
                  </a:lnTo>
                  <a:lnTo>
                    <a:pt x="0" y="24"/>
                  </a:lnTo>
                  <a:lnTo>
                    <a:pt x="11" y="33"/>
                  </a:lnTo>
                  <a:lnTo>
                    <a:pt x="17" y="45"/>
                  </a:lnTo>
                  <a:lnTo>
                    <a:pt x="26" y="65"/>
                  </a:lnTo>
                  <a:lnTo>
                    <a:pt x="30" y="73"/>
                  </a:lnTo>
                  <a:lnTo>
                    <a:pt x="37" y="86"/>
                  </a:lnTo>
                  <a:lnTo>
                    <a:pt x="37" y="92"/>
                  </a:lnTo>
                  <a:lnTo>
                    <a:pt x="49" y="107"/>
                  </a:lnTo>
                  <a:lnTo>
                    <a:pt x="49" y="113"/>
                  </a:lnTo>
                  <a:lnTo>
                    <a:pt x="45" y="114"/>
                  </a:lnTo>
                  <a:lnTo>
                    <a:pt x="49" y="124"/>
                  </a:lnTo>
                  <a:lnTo>
                    <a:pt x="49" y="137"/>
                  </a:lnTo>
                  <a:lnTo>
                    <a:pt x="54" y="152"/>
                  </a:lnTo>
                  <a:lnTo>
                    <a:pt x="54" y="160"/>
                  </a:lnTo>
                  <a:lnTo>
                    <a:pt x="54" y="165"/>
                  </a:lnTo>
                  <a:lnTo>
                    <a:pt x="51" y="167"/>
                  </a:lnTo>
                  <a:lnTo>
                    <a:pt x="54" y="169"/>
                  </a:lnTo>
                  <a:lnTo>
                    <a:pt x="54" y="180"/>
                  </a:lnTo>
                  <a:lnTo>
                    <a:pt x="58" y="180"/>
                  </a:lnTo>
                  <a:lnTo>
                    <a:pt x="60" y="182"/>
                  </a:lnTo>
                  <a:lnTo>
                    <a:pt x="58" y="186"/>
                  </a:lnTo>
                  <a:lnTo>
                    <a:pt x="58" y="190"/>
                  </a:lnTo>
                  <a:lnTo>
                    <a:pt x="60" y="192"/>
                  </a:lnTo>
                  <a:lnTo>
                    <a:pt x="60" y="199"/>
                  </a:lnTo>
                  <a:lnTo>
                    <a:pt x="64" y="205"/>
                  </a:lnTo>
                  <a:lnTo>
                    <a:pt x="69" y="214"/>
                  </a:lnTo>
                  <a:lnTo>
                    <a:pt x="73" y="216"/>
                  </a:lnTo>
                  <a:lnTo>
                    <a:pt x="75" y="220"/>
                  </a:lnTo>
                  <a:lnTo>
                    <a:pt x="79" y="224"/>
                  </a:lnTo>
                  <a:lnTo>
                    <a:pt x="85" y="224"/>
                  </a:lnTo>
                  <a:lnTo>
                    <a:pt x="86" y="222"/>
                  </a:lnTo>
                  <a:lnTo>
                    <a:pt x="86" y="220"/>
                  </a:lnTo>
                  <a:lnTo>
                    <a:pt x="86" y="218"/>
                  </a:lnTo>
                  <a:lnTo>
                    <a:pt x="88" y="214"/>
                  </a:lnTo>
                  <a:lnTo>
                    <a:pt x="92" y="214"/>
                  </a:lnTo>
                  <a:lnTo>
                    <a:pt x="94" y="218"/>
                  </a:lnTo>
                  <a:lnTo>
                    <a:pt x="98" y="218"/>
                  </a:lnTo>
                  <a:lnTo>
                    <a:pt x="96" y="222"/>
                  </a:lnTo>
                  <a:lnTo>
                    <a:pt x="100" y="226"/>
                  </a:lnTo>
                  <a:lnTo>
                    <a:pt x="105" y="229"/>
                  </a:lnTo>
                  <a:lnTo>
                    <a:pt x="109" y="231"/>
                  </a:lnTo>
                  <a:lnTo>
                    <a:pt x="111" y="231"/>
                  </a:lnTo>
                  <a:lnTo>
                    <a:pt x="115" y="231"/>
                  </a:lnTo>
                  <a:lnTo>
                    <a:pt x="117" y="231"/>
                  </a:lnTo>
                  <a:lnTo>
                    <a:pt x="118" y="229"/>
                  </a:lnTo>
                  <a:lnTo>
                    <a:pt x="122" y="229"/>
                  </a:lnTo>
                  <a:lnTo>
                    <a:pt x="124" y="233"/>
                  </a:lnTo>
                  <a:lnTo>
                    <a:pt x="126" y="233"/>
                  </a:lnTo>
                  <a:lnTo>
                    <a:pt x="128" y="233"/>
                  </a:lnTo>
                  <a:lnTo>
                    <a:pt x="128" y="229"/>
                  </a:lnTo>
                  <a:lnTo>
                    <a:pt x="130" y="226"/>
                  </a:lnTo>
                  <a:lnTo>
                    <a:pt x="133" y="226"/>
                  </a:lnTo>
                  <a:lnTo>
                    <a:pt x="133" y="222"/>
                  </a:lnTo>
                  <a:lnTo>
                    <a:pt x="137" y="220"/>
                  </a:lnTo>
                  <a:lnTo>
                    <a:pt x="145" y="220"/>
                  </a:lnTo>
                  <a:lnTo>
                    <a:pt x="147" y="220"/>
                  </a:lnTo>
                  <a:lnTo>
                    <a:pt x="149" y="152"/>
                  </a:lnTo>
                  <a:lnTo>
                    <a:pt x="149" y="152"/>
                  </a:lnTo>
                  <a:lnTo>
                    <a:pt x="149" y="152"/>
                  </a:lnTo>
                  <a:lnTo>
                    <a:pt x="149" y="15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9" name="Freeform 150">
              <a:extLst>
                <a:ext uri="{FF2B5EF4-FFF2-40B4-BE49-F238E27FC236}">
                  <a16:creationId xmlns:a16="http://schemas.microsoft.com/office/drawing/2014/main" id="{7F365C48-01F5-6D40-9634-970C28A4EB84}"/>
                </a:ext>
              </a:extLst>
            </p:cNvPr>
            <p:cNvSpPr>
              <a:spLocks noEditPoints="1"/>
            </p:cNvSpPr>
            <p:nvPr/>
          </p:nvSpPr>
          <p:spPr bwMode="auto">
            <a:xfrm>
              <a:off x="6796853" y="3160053"/>
              <a:ext cx="116907" cy="202491"/>
            </a:xfrm>
            <a:custGeom>
              <a:avLst/>
              <a:gdLst/>
              <a:ahLst/>
              <a:cxnLst>
                <a:cxn ang="0">
                  <a:pos x="39" y="260"/>
                </a:cxn>
                <a:cxn ang="0">
                  <a:pos x="64" y="253"/>
                </a:cxn>
                <a:cxn ang="0">
                  <a:pos x="71" y="240"/>
                </a:cxn>
                <a:cxn ang="0">
                  <a:pos x="75" y="226"/>
                </a:cxn>
                <a:cxn ang="0">
                  <a:pos x="79" y="217"/>
                </a:cxn>
                <a:cxn ang="0">
                  <a:pos x="90" y="191"/>
                </a:cxn>
                <a:cxn ang="0">
                  <a:pos x="103" y="153"/>
                </a:cxn>
                <a:cxn ang="0">
                  <a:pos x="113" y="132"/>
                </a:cxn>
                <a:cxn ang="0">
                  <a:pos x="120" y="108"/>
                </a:cxn>
                <a:cxn ang="0">
                  <a:pos x="122" y="91"/>
                </a:cxn>
                <a:cxn ang="0">
                  <a:pos x="126" y="78"/>
                </a:cxn>
                <a:cxn ang="0">
                  <a:pos x="126" y="68"/>
                </a:cxn>
                <a:cxn ang="0">
                  <a:pos x="133" y="78"/>
                </a:cxn>
                <a:cxn ang="0">
                  <a:pos x="135" y="68"/>
                </a:cxn>
                <a:cxn ang="0">
                  <a:pos x="132" y="53"/>
                </a:cxn>
                <a:cxn ang="0">
                  <a:pos x="133" y="40"/>
                </a:cxn>
                <a:cxn ang="0">
                  <a:pos x="128" y="15"/>
                </a:cxn>
                <a:cxn ang="0">
                  <a:pos x="122" y="10"/>
                </a:cxn>
                <a:cxn ang="0">
                  <a:pos x="118" y="8"/>
                </a:cxn>
                <a:cxn ang="0">
                  <a:pos x="113" y="14"/>
                </a:cxn>
                <a:cxn ang="0">
                  <a:pos x="111" y="21"/>
                </a:cxn>
                <a:cxn ang="0">
                  <a:pos x="103" y="32"/>
                </a:cxn>
                <a:cxn ang="0">
                  <a:pos x="100" y="32"/>
                </a:cxn>
                <a:cxn ang="0">
                  <a:pos x="98" y="44"/>
                </a:cxn>
                <a:cxn ang="0">
                  <a:pos x="92" y="44"/>
                </a:cxn>
                <a:cxn ang="0">
                  <a:pos x="96" y="53"/>
                </a:cxn>
                <a:cxn ang="0">
                  <a:pos x="85" y="59"/>
                </a:cxn>
                <a:cxn ang="0">
                  <a:pos x="83" y="55"/>
                </a:cxn>
                <a:cxn ang="0">
                  <a:pos x="79" y="64"/>
                </a:cxn>
                <a:cxn ang="0">
                  <a:pos x="77" y="68"/>
                </a:cxn>
                <a:cxn ang="0">
                  <a:pos x="75" y="63"/>
                </a:cxn>
                <a:cxn ang="0">
                  <a:pos x="66" y="78"/>
                </a:cxn>
                <a:cxn ang="0">
                  <a:pos x="60" y="72"/>
                </a:cxn>
                <a:cxn ang="0">
                  <a:pos x="51" y="74"/>
                </a:cxn>
                <a:cxn ang="0">
                  <a:pos x="49" y="78"/>
                </a:cxn>
                <a:cxn ang="0">
                  <a:pos x="36" y="81"/>
                </a:cxn>
                <a:cxn ang="0">
                  <a:pos x="26" y="83"/>
                </a:cxn>
                <a:cxn ang="0">
                  <a:pos x="19" y="104"/>
                </a:cxn>
                <a:cxn ang="0">
                  <a:pos x="21" y="119"/>
                </a:cxn>
                <a:cxn ang="0">
                  <a:pos x="26" y="140"/>
                </a:cxn>
                <a:cxn ang="0">
                  <a:pos x="22" y="153"/>
                </a:cxn>
                <a:cxn ang="0">
                  <a:pos x="17" y="166"/>
                </a:cxn>
                <a:cxn ang="0">
                  <a:pos x="5" y="179"/>
                </a:cxn>
                <a:cxn ang="0">
                  <a:pos x="2" y="196"/>
                </a:cxn>
                <a:cxn ang="0">
                  <a:pos x="5" y="213"/>
                </a:cxn>
                <a:cxn ang="0">
                  <a:pos x="11" y="221"/>
                </a:cxn>
                <a:cxn ang="0">
                  <a:pos x="5" y="232"/>
                </a:cxn>
                <a:cxn ang="0">
                  <a:pos x="7" y="247"/>
                </a:cxn>
                <a:cxn ang="0">
                  <a:pos x="17" y="255"/>
                </a:cxn>
                <a:cxn ang="0">
                  <a:pos x="26" y="260"/>
                </a:cxn>
                <a:cxn ang="0">
                  <a:pos x="30" y="264"/>
                </a:cxn>
                <a:cxn ang="0">
                  <a:pos x="107" y="19"/>
                </a:cxn>
                <a:cxn ang="0">
                  <a:pos x="107" y="19"/>
                </a:cxn>
                <a:cxn ang="0">
                  <a:pos x="107" y="25"/>
                </a:cxn>
                <a:cxn ang="0">
                  <a:pos x="107" y="25"/>
                </a:cxn>
                <a:cxn ang="0">
                  <a:pos x="101" y="23"/>
                </a:cxn>
                <a:cxn ang="0">
                  <a:pos x="101" y="27"/>
                </a:cxn>
                <a:cxn ang="0">
                  <a:pos x="101" y="25"/>
                </a:cxn>
                <a:cxn ang="0">
                  <a:pos x="126" y="95"/>
                </a:cxn>
                <a:cxn ang="0">
                  <a:pos x="128" y="93"/>
                </a:cxn>
                <a:cxn ang="0">
                  <a:pos x="126" y="98"/>
                </a:cxn>
              </a:cxnLst>
              <a:rect l="0" t="0" r="r" b="b"/>
              <a:pathLst>
                <a:path w="137" h="264">
                  <a:moveTo>
                    <a:pt x="30" y="264"/>
                  </a:moveTo>
                  <a:lnTo>
                    <a:pt x="30" y="262"/>
                  </a:lnTo>
                  <a:lnTo>
                    <a:pt x="36" y="262"/>
                  </a:lnTo>
                  <a:lnTo>
                    <a:pt x="39" y="260"/>
                  </a:lnTo>
                  <a:lnTo>
                    <a:pt x="41" y="257"/>
                  </a:lnTo>
                  <a:lnTo>
                    <a:pt x="54" y="255"/>
                  </a:lnTo>
                  <a:lnTo>
                    <a:pt x="58" y="255"/>
                  </a:lnTo>
                  <a:lnTo>
                    <a:pt x="64" y="253"/>
                  </a:lnTo>
                  <a:lnTo>
                    <a:pt x="64" y="251"/>
                  </a:lnTo>
                  <a:lnTo>
                    <a:pt x="68" y="251"/>
                  </a:lnTo>
                  <a:lnTo>
                    <a:pt x="69" y="245"/>
                  </a:lnTo>
                  <a:lnTo>
                    <a:pt x="71" y="240"/>
                  </a:lnTo>
                  <a:lnTo>
                    <a:pt x="73" y="236"/>
                  </a:lnTo>
                  <a:lnTo>
                    <a:pt x="77" y="234"/>
                  </a:lnTo>
                  <a:lnTo>
                    <a:pt x="75" y="228"/>
                  </a:lnTo>
                  <a:lnTo>
                    <a:pt x="75" y="226"/>
                  </a:lnTo>
                  <a:lnTo>
                    <a:pt x="77" y="225"/>
                  </a:lnTo>
                  <a:lnTo>
                    <a:pt x="79" y="221"/>
                  </a:lnTo>
                  <a:lnTo>
                    <a:pt x="79" y="217"/>
                  </a:lnTo>
                  <a:lnTo>
                    <a:pt x="79" y="217"/>
                  </a:lnTo>
                  <a:lnTo>
                    <a:pt x="85" y="213"/>
                  </a:lnTo>
                  <a:lnTo>
                    <a:pt x="85" y="200"/>
                  </a:lnTo>
                  <a:lnTo>
                    <a:pt x="88" y="193"/>
                  </a:lnTo>
                  <a:lnTo>
                    <a:pt x="90" y="191"/>
                  </a:lnTo>
                  <a:lnTo>
                    <a:pt x="92" y="183"/>
                  </a:lnTo>
                  <a:lnTo>
                    <a:pt x="98" y="174"/>
                  </a:lnTo>
                  <a:lnTo>
                    <a:pt x="101" y="159"/>
                  </a:lnTo>
                  <a:lnTo>
                    <a:pt x="103" y="153"/>
                  </a:lnTo>
                  <a:lnTo>
                    <a:pt x="103" y="147"/>
                  </a:lnTo>
                  <a:lnTo>
                    <a:pt x="107" y="140"/>
                  </a:lnTo>
                  <a:lnTo>
                    <a:pt x="109" y="138"/>
                  </a:lnTo>
                  <a:lnTo>
                    <a:pt x="113" y="132"/>
                  </a:lnTo>
                  <a:lnTo>
                    <a:pt x="115" y="121"/>
                  </a:lnTo>
                  <a:lnTo>
                    <a:pt x="117" y="113"/>
                  </a:lnTo>
                  <a:lnTo>
                    <a:pt x="118" y="112"/>
                  </a:lnTo>
                  <a:lnTo>
                    <a:pt x="120" y="108"/>
                  </a:lnTo>
                  <a:lnTo>
                    <a:pt x="118" y="102"/>
                  </a:lnTo>
                  <a:lnTo>
                    <a:pt x="120" y="98"/>
                  </a:lnTo>
                  <a:lnTo>
                    <a:pt x="122" y="93"/>
                  </a:lnTo>
                  <a:lnTo>
                    <a:pt x="122" y="91"/>
                  </a:lnTo>
                  <a:lnTo>
                    <a:pt x="126" y="87"/>
                  </a:lnTo>
                  <a:lnTo>
                    <a:pt x="126" y="83"/>
                  </a:lnTo>
                  <a:lnTo>
                    <a:pt x="122" y="81"/>
                  </a:lnTo>
                  <a:lnTo>
                    <a:pt x="126" y="78"/>
                  </a:lnTo>
                  <a:lnTo>
                    <a:pt x="122" y="74"/>
                  </a:lnTo>
                  <a:lnTo>
                    <a:pt x="122" y="74"/>
                  </a:lnTo>
                  <a:lnTo>
                    <a:pt x="122" y="68"/>
                  </a:lnTo>
                  <a:lnTo>
                    <a:pt x="126" y="68"/>
                  </a:lnTo>
                  <a:lnTo>
                    <a:pt x="126" y="68"/>
                  </a:lnTo>
                  <a:lnTo>
                    <a:pt x="126" y="74"/>
                  </a:lnTo>
                  <a:lnTo>
                    <a:pt x="130" y="78"/>
                  </a:lnTo>
                  <a:lnTo>
                    <a:pt x="133" y="78"/>
                  </a:lnTo>
                  <a:lnTo>
                    <a:pt x="133" y="74"/>
                  </a:lnTo>
                  <a:lnTo>
                    <a:pt x="133" y="72"/>
                  </a:lnTo>
                  <a:lnTo>
                    <a:pt x="135" y="72"/>
                  </a:lnTo>
                  <a:lnTo>
                    <a:pt x="135" y="68"/>
                  </a:lnTo>
                  <a:lnTo>
                    <a:pt x="137" y="64"/>
                  </a:lnTo>
                  <a:lnTo>
                    <a:pt x="137" y="63"/>
                  </a:lnTo>
                  <a:lnTo>
                    <a:pt x="133" y="57"/>
                  </a:lnTo>
                  <a:lnTo>
                    <a:pt x="132" y="53"/>
                  </a:lnTo>
                  <a:lnTo>
                    <a:pt x="133" y="51"/>
                  </a:lnTo>
                  <a:lnTo>
                    <a:pt x="133" y="47"/>
                  </a:lnTo>
                  <a:lnTo>
                    <a:pt x="132" y="44"/>
                  </a:lnTo>
                  <a:lnTo>
                    <a:pt x="133" y="40"/>
                  </a:lnTo>
                  <a:lnTo>
                    <a:pt x="133" y="32"/>
                  </a:lnTo>
                  <a:lnTo>
                    <a:pt x="130" y="29"/>
                  </a:lnTo>
                  <a:lnTo>
                    <a:pt x="130" y="19"/>
                  </a:lnTo>
                  <a:lnTo>
                    <a:pt x="128" y="15"/>
                  </a:lnTo>
                  <a:lnTo>
                    <a:pt x="128" y="19"/>
                  </a:lnTo>
                  <a:lnTo>
                    <a:pt x="126" y="14"/>
                  </a:lnTo>
                  <a:lnTo>
                    <a:pt x="122" y="10"/>
                  </a:lnTo>
                  <a:lnTo>
                    <a:pt x="122" y="10"/>
                  </a:lnTo>
                  <a:lnTo>
                    <a:pt x="122" y="4"/>
                  </a:lnTo>
                  <a:lnTo>
                    <a:pt x="122" y="0"/>
                  </a:lnTo>
                  <a:lnTo>
                    <a:pt x="117" y="6"/>
                  </a:lnTo>
                  <a:lnTo>
                    <a:pt x="118" y="8"/>
                  </a:lnTo>
                  <a:lnTo>
                    <a:pt x="115" y="10"/>
                  </a:lnTo>
                  <a:lnTo>
                    <a:pt x="111" y="8"/>
                  </a:lnTo>
                  <a:lnTo>
                    <a:pt x="109" y="8"/>
                  </a:lnTo>
                  <a:lnTo>
                    <a:pt x="113" y="14"/>
                  </a:lnTo>
                  <a:lnTo>
                    <a:pt x="113" y="14"/>
                  </a:lnTo>
                  <a:lnTo>
                    <a:pt x="115" y="15"/>
                  </a:lnTo>
                  <a:lnTo>
                    <a:pt x="115" y="19"/>
                  </a:lnTo>
                  <a:lnTo>
                    <a:pt x="111" y="21"/>
                  </a:lnTo>
                  <a:lnTo>
                    <a:pt x="111" y="27"/>
                  </a:lnTo>
                  <a:lnTo>
                    <a:pt x="109" y="31"/>
                  </a:lnTo>
                  <a:lnTo>
                    <a:pt x="107" y="29"/>
                  </a:lnTo>
                  <a:lnTo>
                    <a:pt x="103" y="32"/>
                  </a:lnTo>
                  <a:lnTo>
                    <a:pt x="103" y="34"/>
                  </a:lnTo>
                  <a:lnTo>
                    <a:pt x="101" y="38"/>
                  </a:lnTo>
                  <a:lnTo>
                    <a:pt x="100" y="34"/>
                  </a:lnTo>
                  <a:lnTo>
                    <a:pt x="100" y="32"/>
                  </a:lnTo>
                  <a:lnTo>
                    <a:pt x="98" y="32"/>
                  </a:lnTo>
                  <a:lnTo>
                    <a:pt x="94" y="34"/>
                  </a:lnTo>
                  <a:lnTo>
                    <a:pt x="94" y="38"/>
                  </a:lnTo>
                  <a:lnTo>
                    <a:pt x="98" y="44"/>
                  </a:lnTo>
                  <a:lnTo>
                    <a:pt x="100" y="44"/>
                  </a:lnTo>
                  <a:lnTo>
                    <a:pt x="98" y="44"/>
                  </a:lnTo>
                  <a:lnTo>
                    <a:pt x="96" y="44"/>
                  </a:lnTo>
                  <a:lnTo>
                    <a:pt x="92" y="44"/>
                  </a:lnTo>
                  <a:lnTo>
                    <a:pt x="92" y="47"/>
                  </a:lnTo>
                  <a:lnTo>
                    <a:pt x="96" y="49"/>
                  </a:lnTo>
                  <a:lnTo>
                    <a:pt x="98" y="51"/>
                  </a:lnTo>
                  <a:lnTo>
                    <a:pt x="96" y="53"/>
                  </a:lnTo>
                  <a:lnTo>
                    <a:pt x="94" y="51"/>
                  </a:lnTo>
                  <a:lnTo>
                    <a:pt x="90" y="53"/>
                  </a:lnTo>
                  <a:lnTo>
                    <a:pt x="90" y="55"/>
                  </a:lnTo>
                  <a:lnTo>
                    <a:pt x="85" y="59"/>
                  </a:lnTo>
                  <a:lnTo>
                    <a:pt x="85" y="55"/>
                  </a:lnTo>
                  <a:lnTo>
                    <a:pt x="85" y="55"/>
                  </a:lnTo>
                  <a:lnTo>
                    <a:pt x="85" y="51"/>
                  </a:lnTo>
                  <a:lnTo>
                    <a:pt x="83" y="55"/>
                  </a:lnTo>
                  <a:lnTo>
                    <a:pt x="85" y="57"/>
                  </a:lnTo>
                  <a:lnTo>
                    <a:pt x="83" y="59"/>
                  </a:lnTo>
                  <a:lnTo>
                    <a:pt x="79" y="61"/>
                  </a:lnTo>
                  <a:lnTo>
                    <a:pt x="79" y="64"/>
                  </a:lnTo>
                  <a:lnTo>
                    <a:pt x="83" y="64"/>
                  </a:lnTo>
                  <a:lnTo>
                    <a:pt x="83" y="68"/>
                  </a:lnTo>
                  <a:lnTo>
                    <a:pt x="79" y="68"/>
                  </a:lnTo>
                  <a:lnTo>
                    <a:pt x="77" y="68"/>
                  </a:lnTo>
                  <a:lnTo>
                    <a:pt x="77" y="68"/>
                  </a:lnTo>
                  <a:lnTo>
                    <a:pt x="75" y="68"/>
                  </a:lnTo>
                  <a:lnTo>
                    <a:pt x="77" y="64"/>
                  </a:lnTo>
                  <a:lnTo>
                    <a:pt x="75" y="63"/>
                  </a:lnTo>
                  <a:lnTo>
                    <a:pt x="68" y="68"/>
                  </a:lnTo>
                  <a:lnTo>
                    <a:pt x="68" y="74"/>
                  </a:lnTo>
                  <a:lnTo>
                    <a:pt x="68" y="78"/>
                  </a:lnTo>
                  <a:lnTo>
                    <a:pt x="66" y="78"/>
                  </a:lnTo>
                  <a:lnTo>
                    <a:pt x="64" y="78"/>
                  </a:lnTo>
                  <a:lnTo>
                    <a:pt x="64" y="78"/>
                  </a:lnTo>
                  <a:lnTo>
                    <a:pt x="64" y="72"/>
                  </a:lnTo>
                  <a:lnTo>
                    <a:pt x="60" y="72"/>
                  </a:lnTo>
                  <a:lnTo>
                    <a:pt x="58" y="74"/>
                  </a:lnTo>
                  <a:lnTo>
                    <a:pt x="53" y="74"/>
                  </a:lnTo>
                  <a:lnTo>
                    <a:pt x="53" y="74"/>
                  </a:lnTo>
                  <a:lnTo>
                    <a:pt x="51" y="74"/>
                  </a:lnTo>
                  <a:lnTo>
                    <a:pt x="51" y="78"/>
                  </a:lnTo>
                  <a:lnTo>
                    <a:pt x="49" y="78"/>
                  </a:lnTo>
                  <a:lnTo>
                    <a:pt x="49" y="79"/>
                  </a:lnTo>
                  <a:lnTo>
                    <a:pt x="49" y="78"/>
                  </a:lnTo>
                  <a:lnTo>
                    <a:pt x="45" y="74"/>
                  </a:lnTo>
                  <a:lnTo>
                    <a:pt x="45" y="78"/>
                  </a:lnTo>
                  <a:lnTo>
                    <a:pt x="41" y="74"/>
                  </a:lnTo>
                  <a:lnTo>
                    <a:pt x="36" y="81"/>
                  </a:lnTo>
                  <a:lnTo>
                    <a:pt x="34" y="81"/>
                  </a:lnTo>
                  <a:lnTo>
                    <a:pt x="32" y="81"/>
                  </a:lnTo>
                  <a:lnTo>
                    <a:pt x="30" y="81"/>
                  </a:lnTo>
                  <a:lnTo>
                    <a:pt x="26" y="83"/>
                  </a:lnTo>
                  <a:lnTo>
                    <a:pt x="30" y="89"/>
                  </a:lnTo>
                  <a:lnTo>
                    <a:pt x="22" y="98"/>
                  </a:lnTo>
                  <a:lnTo>
                    <a:pt x="22" y="98"/>
                  </a:lnTo>
                  <a:lnTo>
                    <a:pt x="19" y="104"/>
                  </a:lnTo>
                  <a:lnTo>
                    <a:pt x="19" y="108"/>
                  </a:lnTo>
                  <a:lnTo>
                    <a:pt x="21" y="110"/>
                  </a:lnTo>
                  <a:lnTo>
                    <a:pt x="19" y="113"/>
                  </a:lnTo>
                  <a:lnTo>
                    <a:pt x="21" y="119"/>
                  </a:lnTo>
                  <a:lnTo>
                    <a:pt x="21" y="125"/>
                  </a:lnTo>
                  <a:lnTo>
                    <a:pt x="26" y="132"/>
                  </a:lnTo>
                  <a:lnTo>
                    <a:pt x="22" y="136"/>
                  </a:lnTo>
                  <a:lnTo>
                    <a:pt x="26" y="140"/>
                  </a:lnTo>
                  <a:lnTo>
                    <a:pt x="26" y="142"/>
                  </a:lnTo>
                  <a:lnTo>
                    <a:pt x="26" y="144"/>
                  </a:lnTo>
                  <a:lnTo>
                    <a:pt x="26" y="145"/>
                  </a:lnTo>
                  <a:lnTo>
                    <a:pt x="22" y="153"/>
                  </a:lnTo>
                  <a:lnTo>
                    <a:pt x="21" y="159"/>
                  </a:lnTo>
                  <a:lnTo>
                    <a:pt x="21" y="162"/>
                  </a:lnTo>
                  <a:lnTo>
                    <a:pt x="17" y="162"/>
                  </a:lnTo>
                  <a:lnTo>
                    <a:pt x="17" y="166"/>
                  </a:lnTo>
                  <a:lnTo>
                    <a:pt x="13" y="168"/>
                  </a:lnTo>
                  <a:lnTo>
                    <a:pt x="13" y="176"/>
                  </a:lnTo>
                  <a:lnTo>
                    <a:pt x="11" y="177"/>
                  </a:lnTo>
                  <a:lnTo>
                    <a:pt x="5" y="179"/>
                  </a:lnTo>
                  <a:lnTo>
                    <a:pt x="5" y="181"/>
                  </a:lnTo>
                  <a:lnTo>
                    <a:pt x="5" y="187"/>
                  </a:lnTo>
                  <a:lnTo>
                    <a:pt x="2" y="191"/>
                  </a:lnTo>
                  <a:lnTo>
                    <a:pt x="2" y="196"/>
                  </a:lnTo>
                  <a:lnTo>
                    <a:pt x="0" y="198"/>
                  </a:lnTo>
                  <a:lnTo>
                    <a:pt x="2" y="200"/>
                  </a:lnTo>
                  <a:lnTo>
                    <a:pt x="2" y="208"/>
                  </a:lnTo>
                  <a:lnTo>
                    <a:pt x="5" y="213"/>
                  </a:lnTo>
                  <a:lnTo>
                    <a:pt x="5" y="217"/>
                  </a:lnTo>
                  <a:lnTo>
                    <a:pt x="5" y="221"/>
                  </a:lnTo>
                  <a:lnTo>
                    <a:pt x="7" y="221"/>
                  </a:lnTo>
                  <a:lnTo>
                    <a:pt x="11" y="221"/>
                  </a:lnTo>
                  <a:lnTo>
                    <a:pt x="7" y="221"/>
                  </a:lnTo>
                  <a:lnTo>
                    <a:pt x="5" y="223"/>
                  </a:lnTo>
                  <a:lnTo>
                    <a:pt x="5" y="226"/>
                  </a:lnTo>
                  <a:lnTo>
                    <a:pt x="5" y="232"/>
                  </a:lnTo>
                  <a:lnTo>
                    <a:pt x="5" y="241"/>
                  </a:lnTo>
                  <a:lnTo>
                    <a:pt x="7" y="241"/>
                  </a:lnTo>
                  <a:lnTo>
                    <a:pt x="7" y="245"/>
                  </a:lnTo>
                  <a:lnTo>
                    <a:pt x="7" y="247"/>
                  </a:lnTo>
                  <a:lnTo>
                    <a:pt x="11" y="251"/>
                  </a:lnTo>
                  <a:lnTo>
                    <a:pt x="11" y="251"/>
                  </a:lnTo>
                  <a:lnTo>
                    <a:pt x="13" y="253"/>
                  </a:lnTo>
                  <a:lnTo>
                    <a:pt x="17" y="255"/>
                  </a:lnTo>
                  <a:lnTo>
                    <a:pt x="19" y="255"/>
                  </a:lnTo>
                  <a:lnTo>
                    <a:pt x="21" y="257"/>
                  </a:lnTo>
                  <a:lnTo>
                    <a:pt x="22" y="257"/>
                  </a:lnTo>
                  <a:lnTo>
                    <a:pt x="26" y="260"/>
                  </a:lnTo>
                  <a:lnTo>
                    <a:pt x="26" y="262"/>
                  </a:lnTo>
                  <a:lnTo>
                    <a:pt x="30" y="262"/>
                  </a:lnTo>
                  <a:lnTo>
                    <a:pt x="30" y="264"/>
                  </a:lnTo>
                  <a:lnTo>
                    <a:pt x="30" y="264"/>
                  </a:lnTo>
                  <a:lnTo>
                    <a:pt x="30" y="264"/>
                  </a:lnTo>
                  <a:lnTo>
                    <a:pt x="30" y="264"/>
                  </a:lnTo>
                  <a:close/>
                  <a:moveTo>
                    <a:pt x="107" y="19"/>
                  </a:moveTo>
                  <a:lnTo>
                    <a:pt x="107" y="19"/>
                  </a:lnTo>
                  <a:lnTo>
                    <a:pt x="109" y="14"/>
                  </a:lnTo>
                  <a:lnTo>
                    <a:pt x="109" y="15"/>
                  </a:lnTo>
                  <a:lnTo>
                    <a:pt x="107" y="19"/>
                  </a:lnTo>
                  <a:lnTo>
                    <a:pt x="107" y="19"/>
                  </a:lnTo>
                  <a:lnTo>
                    <a:pt x="107" y="19"/>
                  </a:lnTo>
                  <a:lnTo>
                    <a:pt x="107" y="19"/>
                  </a:lnTo>
                  <a:close/>
                  <a:moveTo>
                    <a:pt x="107" y="25"/>
                  </a:moveTo>
                  <a:lnTo>
                    <a:pt x="107" y="25"/>
                  </a:lnTo>
                  <a:lnTo>
                    <a:pt x="107" y="27"/>
                  </a:lnTo>
                  <a:lnTo>
                    <a:pt x="107" y="27"/>
                  </a:lnTo>
                  <a:lnTo>
                    <a:pt x="107" y="25"/>
                  </a:lnTo>
                  <a:lnTo>
                    <a:pt x="107" y="25"/>
                  </a:lnTo>
                  <a:lnTo>
                    <a:pt x="107" y="25"/>
                  </a:lnTo>
                  <a:lnTo>
                    <a:pt x="107" y="25"/>
                  </a:lnTo>
                  <a:close/>
                  <a:moveTo>
                    <a:pt x="101" y="25"/>
                  </a:moveTo>
                  <a:lnTo>
                    <a:pt x="101" y="23"/>
                  </a:lnTo>
                  <a:lnTo>
                    <a:pt x="101" y="25"/>
                  </a:lnTo>
                  <a:lnTo>
                    <a:pt x="103" y="25"/>
                  </a:lnTo>
                  <a:lnTo>
                    <a:pt x="103" y="29"/>
                  </a:lnTo>
                  <a:lnTo>
                    <a:pt x="101" y="27"/>
                  </a:lnTo>
                  <a:lnTo>
                    <a:pt x="100" y="27"/>
                  </a:lnTo>
                  <a:lnTo>
                    <a:pt x="101" y="25"/>
                  </a:lnTo>
                  <a:lnTo>
                    <a:pt x="101" y="25"/>
                  </a:lnTo>
                  <a:lnTo>
                    <a:pt x="101" y="25"/>
                  </a:lnTo>
                  <a:lnTo>
                    <a:pt x="101" y="25"/>
                  </a:lnTo>
                  <a:close/>
                  <a:moveTo>
                    <a:pt x="126" y="98"/>
                  </a:moveTo>
                  <a:lnTo>
                    <a:pt x="126" y="96"/>
                  </a:lnTo>
                  <a:lnTo>
                    <a:pt x="126" y="95"/>
                  </a:lnTo>
                  <a:lnTo>
                    <a:pt x="126" y="93"/>
                  </a:lnTo>
                  <a:lnTo>
                    <a:pt x="126" y="93"/>
                  </a:lnTo>
                  <a:lnTo>
                    <a:pt x="128" y="91"/>
                  </a:lnTo>
                  <a:lnTo>
                    <a:pt x="128" y="93"/>
                  </a:lnTo>
                  <a:lnTo>
                    <a:pt x="126" y="96"/>
                  </a:lnTo>
                  <a:lnTo>
                    <a:pt x="126" y="98"/>
                  </a:lnTo>
                  <a:lnTo>
                    <a:pt x="126" y="98"/>
                  </a:lnTo>
                  <a:lnTo>
                    <a:pt x="126" y="9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0" name="Freeform 151">
              <a:extLst>
                <a:ext uri="{FF2B5EF4-FFF2-40B4-BE49-F238E27FC236}">
                  <a16:creationId xmlns:a16="http://schemas.microsoft.com/office/drawing/2014/main" id="{D7E671C5-CB49-8540-942A-9F53E4A99EC4}"/>
                </a:ext>
              </a:extLst>
            </p:cNvPr>
            <p:cNvSpPr>
              <a:spLocks/>
            </p:cNvSpPr>
            <p:nvPr/>
          </p:nvSpPr>
          <p:spPr bwMode="auto">
            <a:xfrm>
              <a:off x="6597172" y="3140110"/>
              <a:ext cx="167254" cy="238541"/>
            </a:xfrm>
            <a:custGeom>
              <a:avLst/>
              <a:gdLst/>
              <a:ahLst/>
              <a:cxnLst>
                <a:cxn ang="0">
                  <a:pos x="34" y="194"/>
                </a:cxn>
                <a:cxn ang="0">
                  <a:pos x="40" y="183"/>
                </a:cxn>
                <a:cxn ang="0">
                  <a:pos x="44" y="170"/>
                </a:cxn>
                <a:cxn ang="0">
                  <a:pos x="44" y="158"/>
                </a:cxn>
                <a:cxn ang="0">
                  <a:pos x="46" y="147"/>
                </a:cxn>
                <a:cxn ang="0">
                  <a:pos x="47" y="130"/>
                </a:cxn>
                <a:cxn ang="0">
                  <a:pos x="49" y="119"/>
                </a:cxn>
                <a:cxn ang="0">
                  <a:pos x="31" y="111"/>
                </a:cxn>
                <a:cxn ang="0">
                  <a:pos x="14" y="105"/>
                </a:cxn>
                <a:cxn ang="0">
                  <a:pos x="0" y="89"/>
                </a:cxn>
                <a:cxn ang="0">
                  <a:pos x="36" y="72"/>
                </a:cxn>
                <a:cxn ang="0">
                  <a:pos x="61" y="70"/>
                </a:cxn>
                <a:cxn ang="0">
                  <a:pos x="68" y="73"/>
                </a:cxn>
                <a:cxn ang="0">
                  <a:pos x="81" y="81"/>
                </a:cxn>
                <a:cxn ang="0">
                  <a:pos x="74" y="100"/>
                </a:cxn>
                <a:cxn ang="0">
                  <a:pos x="85" y="117"/>
                </a:cxn>
                <a:cxn ang="0">
                  <a:pos x="91" y="126"/>
                </a:cxn>
                <a:cxn ang="0">
                  <a:pos x="95" y="105"/>
                </a:cxn>
                <a:cxn ang="0">
                  <a:pos x="100" y="90"/>
                </a:cxn>
                <a:cxn ang="0">
                  <a:pos x="104" y="85"/>
                </a:cxn>
                <a:cxn ang="0">
                  <a:pos x="98" y="70"/>
                </a:cxn>
                <a:cxn ang="0">
                  <a:pos x="85" y="55"/>
                </a:cxn>
                <a:cxn ang="0">
                  <a:pos x="102" y="17"/>
                </a:cxn>
                <a:cxn ang="0">
                  <a:pos x="111" y="19"/>
                </a:cxn>
                <a:cxn ang="0">
                  <a:pos x="123" y="17"/>
                </a:cxn>
                <a:cxn ang="0">
                  <a:pos x="132" y="19"/>
                </a:cxn>
                <a:cxn ang="0">
                  <a:pos x="143" y="13"/>
                </a:cxn>
                <a:cxn ang="0">
                  <a:pos x="157" y="13"/>
                </a:cxn>
                <a:cxn ang="0">
                  <a:pos x="174" y="9"/>
                </a:cxn>
                <a:cxn ang="0">
                  <a:pos x="189" y="0"/>
                </a:cxn>
                <a:cxn ang="0">
                  <a:pos x="194" y="4"/>
                </a:cxn>
                <a:cxn ang="0">
                  <a:pos x="191" y="15"/>
                </a:cxn>
                <a:cxn ang="0">
                  <a:pos x="192" y="30"/>
                </a:cxn>
                <a:cxn ang="0">
                  <a:pos x="191" y="47"/>
                </a:cxn>
                <a:cxn ang="0">
                  <a:pos x="187" y="66"/>
                </a:cxn>
                <a:cxn ang="0">
                  <a:pos x="194" y="79"/>
                </a:cxn>
                <a:cxn ang="0">
                  <a:pos x="189" y="85"/>
                </a:cxn>
                <a:cxn ang="0">
                  <a:pos x="189" y="90"/>
                </a:cxn>
                <a:cxn ang="0">
                  <a:pos x="177" y="109"/>
                </a:cxn>
                <a:cxn ang="0">
                  <a:pos x="159" y="121"/>
                </a:cxn>
                <a:cxn ang="0">
                  <a:pos x="130" y="134"/>
                </a:cxn>
                <a:cxn ang="0">
                  <a:pos x="119" y="139"/>
                </a:cxn>
                <a:cxn ang="0">
                  <a:pos x="110" y="154"/>
                </a:cxn>
                <a:cxn ang="0">
                  <a:pos x="91" y="166"/>
                </a:cxn>
                <a:cxn ang="0">
                  <a:pos x="79" y="173"/>
                </a:cxn>
                <a:cxn ang="0">
                  <a:pos x="78" y="181"/>
                </a:cxn>
                <a:cxn ang="0">
                  <a:pos x="79" y="200"/>
                </a:cxn>
                <a:cxn ang="0">
                  <a:pos x="85" y="224"/>
                </a:cxn>
                <a:cxn ang="0">
                  <a:pos x="89" y="224"/>
                </a:cxn>
                <a:cxn ang="0">
                  <a:pos x="89" y="235"/>
                </a:cxn>
                <a:cxn ang="0">
                  <a:pos x="83" y="251"/>
                </a:cxn>
                <a:cxn ang="0">
                  <a:pos x="85" y="264"/>
                </a:cxn>
                <a:cxn ang="0">
                  <a:pos x="40" y="286"/>
                </a:cxn>
                <a:cxn ang="0">
                  <a:pos x="31" y="294"/>
                </a:cxn>
                <a:cxn ang="0">
                  <a:pos x="36" y="303"/>
                </a:cxn>
                <a:cxn ang="0">
                  <a:pos x="34" y="309"/>
                </a:cxn>
                <a:cxn ang="0">
                  <a:pos x="23" y="309"/>
                </a:cxn>
                <a:cxn ang="0">
                  <a:pos x="21" y="298"/>
                </a:cxn>
                <a:cxn ang="0">
                  <a:pos x="21" y="279"/>
                </a:cxn>
                <a:cxn ang="0">
                  <a:pos x="19" y="252"/>
                </a:cxn>
                <a:cxn ang="0">
                  <a:pos x="14" y="228"/>
                </a:cxn>
              </a:cxnLst>
              <a:rect l="0" t="0" r="r" b="b"/>
              <a:pathLst>
                <a:path w="196" h="311">
                  <a:moveTo>
                    <a:pt x="14" y="228"/>
                  </a:moveTo>
                  <a:lnTo>
                    <a:pt x="34" y="207"/>
                  </a:lnTo>
                  <a:lnTo>
                    <a:pt x="34" y="200"/>
                  </a:lnTo>
                  <a:lnTo>
                    <a:pt x="34" y="200"/>
                  </a:lnTo>
                  <a:lnTo>
                    <a:pt x="34" y="194"/>
                  </a:lnTo>
                  <a:lnTo>
                    <a:pt x="36" y="192"/>
                  </a:lnTo>
                  <a:lnTo>
                    <a:pt x="36" y="188"/>
                  </a:lnTo>
                  <a:lnTo>
                    <a:pt x="36" y="186"/>
                  </a:lnTo>
                  <a:lnTo>
                    <a:pt x="40" y="185"/>
                  </a:lnTo>
                  <a:lnTo>
                    <a:pt x="40" y="183"/>
                  </a:lnTo>
                  <a:lnTo>
                    <a:pt x="44" y="181"/>
                  </a:lnTo>
                  <a:lnTo>
                    <a:pt x="46" y="177"/>
                  </a:lnTo>
                  <a:lnTo>
                    <a:pt x="46" y="173"/>
                  </a:lnTo>
                  <a:lnTo>
                    <a:pt x="44" y="173"/>
                  </a:lnTo>
                  <a:lnTo>
                    <a:pt x="44" y="170"/>
                  </a:lnTo>
                  <a:lnTo>
                    <a:pt x="46" y="166"/>
                  </a:lnTo>
                  <a:lnTo>
                    <a:pt x="44" y="164"/>
                  </a:lnTo>
                  <a:lnTo>
                    <a:pt x="42" y="160"/>
                  </a:lnTo>
                  <a:lnTo>
                    <a:pt x="42" y="160"/>
                  </a:lnTo>
                  <a:lnTo>
                    <a:pt x="44" y="158"/>
                  </a:lnTo>
                  <a:lnTo>
                    <a:pt x="44" y="154"/>
                  </a:lnTo>
                  <a:lnTo>
                    <a:pt x="44" y="153"/>
                  </a:lnTo>
                  <a:lnTo>
                    <a:pt x="47" y="149"/>
                  </a:lnTo>
                  <a:lnTo>
                    <a:pt x="47" y="147"/>
                  </a:lnTo>
                  <a:lnTo>
                    <a:pt x="46" y="147"/>
                  </a:lnTo>
                  <a:lnTo>
                    <a:pt x="44" y="145"/>
                  </a:lnTo>
                  <a:lnTo>
                    <a:pt x="46" y="141"/>
                  </a:lnTo>
                  <a:lnTo>
                    <a:pt x="46" y="136"/>
                  </a:lnTo>
                  <a:lnTo>
                    <a:pt x="47" y="134"/>
                  </a:lnTo>
                  <a:lnTo>
                    <a:pt x="47" y="130"/>
                  </a:lnTo>
                  <a:lnTo>
                    <a:pt x="47" y="130"/>
                  </a:lnTo>
                  <a:lnTo>
                    <a:pt x="47" y="128"/>
                  </a:lnTo>
                  <a:lnTo>
                    <a:pt x="47" y="124"/>
                  </a:lnTo>
                  <a:lnTo>
                    <a:pt x="49" y="122"/>
                  </a:lnTo>
                  <a:lnTo>
                    <a:pt x="49" y="119"/>
                  </a:lnTo>
                  <a:lnTo>
                    <a:pt x="44" y="119"/>
                  </a:lnTo>
                  <a:lnTo>
                    <a:pt x="42" y="115"/>
                  </a:lnTo>
                  <a:lnTo>
                    <a:pt x="40" y="113"/>
                  </a:lnTo>
                  <a:lnTo>
                    <a:pt x="34" y="111"/>
                  </a:lnTo>
                  <a:lnTo>
                    <a:pt x="31" y="111"/>
                  </a:lnTo>
                  <a:lnTo>
                    <a:pt x="27" y="109"/>
                  </a:lnTo>
                  <a:lnTo>
                    <a:pt x="21" y="104"/>
                  </a:lnTo>
                  <a:lnTo>
                    <a:pt x="17" y="104"/>
                  </a:lnTo>
                  <a:lnTo>
                    <a:pt x="15" y="104"/>
                  </a:lnTo>
                  <a:lnTo>
                    <a:pt x="14" y="105"/>
                  </a:lnTo>
                  <a:lnTo>
                    <a:pt x="12" y="104"/>
                  </a:lnTo>
                  <a:lnTo>
                    <a:pt x="10" y="104"/>
                  </a:lnTo>
                  <a:lnTo>
                    <a:pt x="4" y="104"/>
                  </a:lnTo>
                  <a:lnTo>
                    <a:pt x="4" y="94"/>
                  </a:lnTo>
                  <a:lnTo>
                    <a:pt x="0" y="89"/>
                  </a:lnTo>
                  <a:lnTo>
                    <a:pt x="4" y="85"/>
                  </a:lnTo>
                  <a:lnTo>
                    <a:pt x="10" y="81"/>
                  </a:lnTo>
                  <a:lnTo>
                    <a:pt x="14" y="81"/>
                  </a:lnTo>
                  <a:lnTo>
                    <a:pt x="34" y="73"/>
                  </a:lnTo>
                  <a:lnTo>
                    <a:pt x="36" y="72"/>
                  </a:lnTo>
                  <a:lnTo>
                    <a:pt x="47" y="70"/>
                  </a:lnTo>
                  <a:lnTo>
                    <a:pt x="53" y="66"/>
                  </a:lnTo>
                  <a:lnTo>
                    <a:pt x="59" y="66"/>
                  </a:lnTo>
                  <a:lnTo>
                    <a:pt x="59" y="66"/>
                  </a:lnTo>
                  <a:lnTo>
                    <a:pt x="61" y="70"/>
                  </a:lnTo>
                  <a:lnTo>
                    <a:pt x="61" y="70"/>
                  </a:lnTo>
                  <a:lnTo>
                    <a:pt x="61" y="73"/>
                  </a:lnTo>
                  <a:lnTo>
                    <a:pt x="64" y="75"/>
                  </a:lnTo>
                  <a:lnTo>
                    <a:pt x="64" y="73"/>
                  </a:lnTo>
                  <a:lnTo>
                    <a:pt x="68" y="73"/>
                  </a:lnTo>
                  <a:lnTo>
                    <a:pt x="70" y="72"/>
                  </a:lnTo>
                  <a:lnTo>
                    <a:pt x="74" y="72"/>
                  </a:lnTo>
                  <a:lnTo>
                    <a:pt x="79" y="73"/>
                  </a:lnTo>
                  <a:lnTo>
                    <a:pt x="81" y="79"/>
                  </a:lnTo>
                  <a:lnTo>
                    <a:pt x="81" y="81"/>
                  </a:lnTo>
                  <a:lnTo>
                    <a:pt x="79" y="87"/>
                  </a:lnTo>
                  <a:lnTo>
                    <a:pt x="76" y="90"/>
                  </a:lnTo>
                  <a:lnTo>
                    <a:pt x="76" y="96"/>
                  </a:lnTo>
                  <a:lnTo>
                    <a:pt x="72" y="98"/>
                  </a:lnTo>
                  <a:lnTo>
                    <a:pt x="74" y="100"/>
                  </a:lnTo>
                  <a:lnTo>
                    <a:pt x="74" y="105"/>
                  </a:lnTo>
                  <a:lnTo>
                    <a:pt x="76" y="109"/>
                  </a:lnTo>
                  <a:lnTo>
                    <a:pt x="78" y="111"/>
                  </a:lnTo>
                  <a:lnTo>
                    <a:pt x="81" y="115"/>
                  </a:lnTo>
                  <a:lnTo>
                    <a:pt x="85" y="117"/>
                  </a:lnTo>
                  <a:lnTo>
                    <a:pt x="85" y="119"/>
                  </a:lnTo>
                  <a:lnTo>
                    <a:pt x="89" y="122"/>
                  </a:lnTo>
                  <a:lnTo>
                    <a:pt x="85" y="124"/>
                  </a:lnTo>
                  <a:lnTo>
                    <a:pt x="89" y="126"/>
                  </a:lnTo>
                  <a:lnTo>
                    <a:pt x="91" y="126"/>
                  </a:lnTo>
                  <a:lnTo>
                    <a:pt x="91" y="122"/>
                  </a:lnTo>
                  <a:lnTo>
                    <a:pt x="91" y="117"/>
                  </a:lnTo>
                  <a:lnTo>
                    <a:pt x="95" y="115"/>
                  </a:lnTo>
                  <a:lnTo>
                    <a:pt x="95" y="111"/>
                  </a:lnTo>
                  <a:lnTo>
                    <a:pt x="95" y="105"/>
                  </a:lnTo>
                  <a:lnTo>
                    <a:pt x="98" y="104"/>
                  </a:lnTo>
                  <a:lnTo>
                    <a:pt x="102" y="104"/>
                  </a:lnTo>
                  <a:lnTo>
                    <a:pt x="102" y="100"/>
                  </a:lnTo>
                  <a:lnTo>
                    <a:pt x="102" y="94"/>
                  </a:lnTo>
                  <a:lnTo>
                    <a:pt x="100" y="90"/>
                  </a:lnTo>
                  <a:lnTo>
                    <a:pt x="102" y="89"/>
                  </a:lnTo>
                  <a:lnTo>
                    <a:pt x="100" y="89"/>
                  </a:lnTo>
                  <a:lnTo>
                    <a:pt x="100" y="87"/>
                  </a:lnTo>
                  <a:lnTo>
                    <a:pt x="104" y="87"/>
                  </a:lnTo>
                  <a:lnTo>
                    <a:pt x="104" y="85"/>
                  </a:lnTo>
                  <a:lnTo>
                    <a:pt x="106" y="83"/>
                  </a:lnTo>
                  <a:lnTo>
                    <a:pt x="106" y="81"/>
                  </a:lnTo>
                  <a:lnTo>
                    <a:pt x="106" y="79"/>
                  </a:lnTo>
                  <a:lnTo>
                    <a:pt x="104" y="73"/>
                  </a:lnTo>
                  <a:lnTo>
                    <a:pt x="98" y="70"/>
                  </a:lnTo>
                  <a:lnTo>
                    <a:pt x="98" y="66"/>
                  </a:lnTo>
                  <a:lnTo>
                    <a:pt x="91" y="60"/>
                  </a:lnTo>
                  <a:lnTo>
                    <a:pt x="89" y="58"/>
                  </a:lnTo>
                  <a:lnTo>
                    <a:pt x="89" y="57"/>
                  </a:lnTo>
                  <a:lnTo>
                    <a:pt x="85" y="55"/>
                  </a:lnTo>
                  <a:lnTo>
                    <a:pt x="79" y="51"/>
                  </a:lnTo>
                  <a:lnTo>
                    <a:pt x="78" y="34"/>
                  </a:lnTo>
                  <a:lnTo>
                    <a:pt x="81" y="17"/>
                  </a:lnTo>
                  <a:lnTo>
                    <a:pt x="98" y="17"/>
                  </a:lnTo>
                  <a:lnTo>
                    <a:pt x="102" y="17"/>
                  </a:lnTo>
                  <a:lnTo>
                    <a:pt x="102" y="15"/>
                  </a:lnTo>
                  <a:lnTo>
                    <a:pt x="106" y="15"/>
                  </a:lnTo>
                  <a:lnTo>
                    <a:pt x="106" y="15"/>
                  </a:lnTo>
                  <a:lnTo>
                    <a:pt x="108" y="17"/>
                  </a:lnTo>
                  <a:lnTo>
                    <a:pt x="111" y="19"/>
                  </a:lnTo>
                  <a:lnTo>
                    <a:pt x="113" y="19"/>
                  </a:lnTo>
                  <a:lnTo>
                    <a:pt x="115" y="21"/>
                  </a:lnTo>
                  <a:lnTo>
                    <a:pt x="115" y="23"/>
                  </a:lnTo>
                  <a:lnTo>
                    <a:pt x="119" y="21"/>
                  </a:lnTo>
                  <a:lnTo>
                    <a:pt x="123" y="17"/>
                  </a:lnTo>
                  <a:lnTo>
                    <a:pt x="125" y="17"/>
                  </a:lnTo>
                  <a:lnTo>
                    <a:pt x="128" y="15"/>
                  </a:lnTo>
                  <a:lnTo>
                    <a:pt x="128" y="17"/>
                  </a:lnTo>
                  <a:lnTo>
                    <a:pt x="128" y="19"/>
                  </a:lnTo>
                  <a:lnTo>
                    <a:pt x="132" y="19"/>
                  </a:lnTo>
                  <a:lnTo>
                    <a:pt x="134" y="21"/>
                  </a:lnTo>
                  <a:lnTo>
                    <a:pt x="138" y="19"/>
                  </a:lnTo>
                  <a:lnTo>
                    <a:pt x="143" y="19"/>
                  </a:lnTo>
                  <a:lnTo>
                    <a:pt x="143" y="15"/>
                  </a:lnTo>
                  <a:lnTo>
                    <a:pt x="143" y="13"/>
                  </a:lnTo>
                  <a:lnTo>
                    <a:pt x="143" y="11"/>
                  </a:lnTo>
                  <a:lnTo>
                    <a:pt x="149" y="13"/>
                  </a:lnTo>
                  <a:lnTo>
                    <a:pt x="153" y="11"/>
                  </a:lnTo>
                  <a:lnTo>
                    <a:pt x="153" y="13"/>
                  </a:lnTo>
                  <a:lnTo>
                    <a:pt x="157" y="13"/>
                  </a:lnTo>
                  <a:lnTo>
                    <a:pt x="159" y="11"/>
                  </a:lnTo>
                  <a:lnTo>
                    <a:pt x="166" y="9"/>
                  </a:lnTo>
                  <a:lnTo>
                    <a:pt x="168" y="11"/>
                  </a:lnTo>
                  <a:lnTo>
                    <a:pt x="172" y="9"/>
                  </a:lnTo>
                  <a:lnTo>
                    <a:pt x="174" y="9"/>
                  </a:lnTo>
                  <a:lnTo>
                    <a:pt x="177" y="9"/>
                  </a:lnTo>
                  <a:lnTo>
                    <a:pt x="179" y="6"/>
                  </a:lnTo>
                  <a:lnTo>
                    <a:pt x="183" y="6"/>
                  </a:lnTo>
                  <a:lnTo>
                    <a:pt x="185" y="4"/>
                  </a:lnTo>
                  <a:lnTo>
                    <a:pt x="189" y="0"/>
                  </a:lnTo>
                  <a:lnTo>
                    <a:pt x="191" y="0"/>
                  </a:lnTo>
                  <a:lnTo>
                    <a:pt x="192" y="0"/>
                  </a:lnTo>
                  <a:lnTo>
                    <a:pt x="194" y="0"/>
                  </a:lnTo>
                  <a:lnTo>
                    <a:pt x="196" y="0"/>
                  </a:lnTo>
                  <a:lnTo>
                    <a:pt x="194" y="4"/>
                  </a:lnTo>
                  <a:lnTo>
                    <a:pt x="194" y="6"/>
                  </a:lnTo>
                  <a:lnTo>
                    <a:pt x="194" y="6"/>
                  </a:lnTo>
                  <a:lnTo>
                    <a:pt x="191" y="11"/>
                  </a:lnTo>
                  <a:lnTo>
                    <a:pt x="191" y="13"/>
                  </a:lnTo>
                  <a:lnTo>
                    <a:pt x="191" y="15"/>
                  </a:lnTo>
                  <a:lnTo>
                    <a:pt x="191" y="17"/>
                  </a:lnTo>
                  <a:lnTo>
                    <a:pt x="191" y="19"/>
                  </a:lnTo>
                  <a:lnTo>
                    <a:pt x="191" y="24"/>
                  </a:lnTo>
                  <a:lnTo>
                    <a:pt x="192" y="30"/>
                  </a:lnTo>
                  <a:lnTo>
                    <a:pt x="192" y="30"/>
                  </a:lnTo>
                  <a:lnTo>
                    <a:pt x="192" y="36"/>
                  </a:lnTo>
                  <a:lnTo>
                    <a:pt x="192" y="36"/>
                  </a:lnTo>
                  <a:lnTo>
                    <a:pt x="192" y="40"/>
                  </a:lnTo>
                  <a:lnTo>
                    <a:pt x="191" y="41"/>
                  </a:lnTo>
                  <a:lnTo>
                    <a:pt x="191" y="47"/>
                  </a:lnTo>
                  <a:lnTo>
                    <a:pt x="191" y="57"/>
                  </a:lnTo>
                  <a:lnTo>
                    <a:pt x="189" y="57"/>
                  </a:lnTo>
                  <a:lnTo>
                    <a:pt x="191" y="58"/>
                  </a:lnTo>
                  <a:lnTo>
                    <a:pt x="191" y="66"/>
                  </a:lnTo>
                  <a:lnTo>
                    <a:pt x="187" y="66"/>
                  </a:lnTo>
                  <a:lnTo>
                    <a:pt x="187" y="70"/>
                  </a:lnTo>
                  <a:lnTo>
                    <a:pt x="189" y="70"/>
                  </a:lnTo>
                  <a:lnTo>
                    <a:pt x="192" y="70"/>
                  </a:lnTo>
                  <a:lnTo>
                    <a:pt x="192" y="70"/>
                  </a:lnTo>
                  <a:lnTo>
                    <a:pt x="194" y="79"/>
                  </a:lnTo>
                  <a:lnTo>
                    <a:pt x="192" y="79"/>
                  </a:lnTo>
                  <a:lnTo>
                    <a:pt x="191" y="81"/>
                  </a:lnTo>
                  <a:lnTo>
                    <a:pt x="191" y="83"/>
                  </a:lnTo>
                  <a:lnTo>
                    <a:pt x="191" y="85"/>
                  </a:lnTo>
                  <a:lnTo>
                    <a:pt x="189" y="85"/>
                  </a:lnTo>
                  <a:lnTo>
                    <a:pt x="185" y="89"/>
                  </a:lnTo>
                  <a:lnTo>
                    <a:pt x="187" y="89"/>
                  </a:lnTo>
                  <a:lnTo>
                    <a:pt x="187" y="89"/>
                  </a:lnTo>
                  <a:lnTo>
                    <a:pt x="191" y="89"/>
                  </a:lnTo>
                  <a:lnTo>
                    <a:pt x="189" y="90"/>
                  </a:lnTo>
                  <a:lnTo>
                    <a:pt x="187" y="94"/>
                  </a:lnTo>
                  <a:lnTo>
                    <a:pt x="185" y="96"/>
                  </a:lnTo>
                  <a:lnTo>
                    <a:pt x="183" y="100"/>
                  </a:lnTo>
                  <a:lnTo>
                    <a:pt x="183" y="104"/>
                  </a:lnTo>
                  <a:lnTo>
                    <a:pt x="177" y="109"/>
                  </a:lnTo>
                  <a:lnTo>
                    <a:pt x="174" y="109"/>
                  </a:lnTo>
                  <a:lnTo>
                    <a:pt x="174" y="111"/>
                  </a:lnTo>
                  <a:lnTo>
                    <a:pt x="162" y="119"/>
                  </a:lnTo>
                  <a:lnTo>
                    <a:pt x="160" y="119"/>
                  </a:lnTo>
                  <a:lnTo>
                    <a:pt x="159" y="121"/>
                  </a:lnTo>
                  <a:lnTo>
                    <a:pt x="149" y="128"/>
                  </a:lnTo>
                  <a:lnTo>
                    <a:pt x="143" y="126"/>
                  </a:lnTo>
                  <a:lnTo>
                    <a:pt x="143" y="128"/>
                  </a:lnTo>
                  <a:lnTo>
                    <a:pt x="138" y="130"/>
                  </a:lnTo>
                  <a:lnTo>
                    <a:pt x="130" y="134"/>
                  </a:lnTo>
                  <a:lnTo>
                    <a:pt x="128" y="134"/>
                  </a:lnTo>
                  <a:lnTo>
                    <a:pt x="128" y="136"/>
                  </a:lnTo>
                  <a:lnTo>
                    <a:pt x="123" y="141"/>
                  </a:lnTo>
                  <a:lnTo>
                    <a:pt x="123" y="141"/>
                  </a:lnTo>
                  <a:lnTo>
                    <a:pt x="119" y="139"/>
                  </a:lnTo>
                  <a:lnTo>
                    <a:pt x="119" y="145"/>
                  </a:lnTo>
                  <a:lnTo>
                    <a:pt x="119" y="145"/>
                  </a:lnTo>
                  <a:lnTo>
                    <a:pt x="117" y="147"/>
                  </a:lnTo>
                  <a:lnTo>
                    <a:pt x="110" y="153"/>
                  </a:lnTo>
                  <a:lnTo>
                    <a:pt x="110" y="154"/>
                  </a:lnTo>
                  <a:lnTo>
                    <a:pt x="108" y="156"/>
                  </a:lnTo>
                  <a:lnTo>
                    <a:pt x="106" y="156"/>
                  </a:lnTo>
                  <a:lnTo>
                    <a:pt x="106" y="160"/>
                  </a:lnTo>
                  <a:lnTo>
                    <a:pt x="100" y="160"/>
                  </a:lnTo>
                  <a:lnTo>
                    <a:pt x="91" y="166"/>
                  </a:lnTo>
                  <a:lnTo>
                    <a:pt x="91" y="170"/>
                  </a:lnTo>
                  <a:lnTo>
                    <a:pt x="89" y="173"/>
                  </a:lnTo>
                  <a:lnTo>
                    <a:pt x="85" y="173"/>
                  </a:lnTo>
                  <a:lnTo>
                    <a:pt x="83" y="175"/>
                  </a:lnTo>
                  <a:lnTo>
                    <a:pt x="79" y="173"/>
                  </a:lnTo>
                  <a:lnTo>
                    <a:pt x="78" y="173"/>
                  </a:lnTo>
                  <a:lnTo>
                    <a:pt x="78" y="173"/>
                  </a:lnTo>
                  <a:lnTo>
                    <a:pt x="79" y="177"/>
                  </a:lnTo>
                  <a:lnTo>
                    <a:pt x="79" y="179"/>
                  </a:lnTo>
                  <a:lnTo>
                    <a:pt x="78" y="181"/>
                  </a:lnTo>
                  <a:lnTo>
                    <a:pt x="78" y="185"/>
                  </a:lnTo>
                  <a:lnTo>
                    <a:pt x="76" y="186"/>
                  </a:lnTo>
                  <a:lnTo>
                    <a:pt x="81" y="194"/>
                  </a:lnTo>
                  <a:lnTo>
                    <a:pt x="81" y="198"/>
                  </a:lnTo>
                  <a:lnTo>
                    <a:pt x="79" y="200"/>
                  </a:lnTo>
                  <a:lnTo>
                    <a:pt x="81" y="200"/>
                  </a:lnTo>
                  <a:lnTo>
                    <a:pt x="83" y="203"/>
                  </a:lnTo>
                  <a:lnTo>
                    <a:pt x="83" y="207"/>
                  </a:lnTo>
                  <a:lnTo>
                    <a:pt x="85" y="211"/>
                  </a:lnTo>
                  <a:lnTo>
                    <a:pt x="85" y="224"/>
                  </a:lnTo>
                  <a:lnTo>
                    <a:pt x="85" y="228"/>
                  </a:lnTo>
                  <a:lnTo>
                    <a:pt x="85" y="228"/>
                  </a:lnTo>
                  <a:lnTo>
                    <a:pt x="85" y="224"/>
                  </a:lnTo>
                  <a:lnTo>
                    <a:pt x="89" y="219"/>
                  </a:lnTo>
                  <a:lnTo>
                    <a:pt x="89" y="224"/>
                  </a:lnTo>
                  <a:lnTo>
                    <a:pt x="89" y="224"/>
                  </a:lnTo>
                  <a:lnTo>
                    <a:pt x="89" y="228"/>
                  </a:lnTo>
                  <a:lnTo>
                    <a:pt x="89" y="230"/>
                  </a:lnTo>
                  <a:lnTo>
                    <a:pt x="89" y="234"/>
                  </a:lnTo>
                  <a:lnTo>
                    <a:pt x="89" y="235"/>
                  </a:lnTo>
                  <a:lnTo>
                    <a:pt x="85" y="243"/>
                  </a:lnTo>
                  <a:lnTo>
                    <a:pt x="85" y="245"/>
                  </a:lnTo>
                  <a:lnTo>
                    <a:pt x="85" y="247"/>
                  </a:lnTo>
                  <a:lnTo>
                    <a:pt x="85" y="251"/>
                  </a:lnTo>
                  <a:lnTo>
                    <a:pt x="83" y="251"/>
                  </a:lnTo>
                  <a:lnTo>
                    <a:pt x="85" y="254"/>
                  </a:lnTo>
                  <a:lnTo>
                    <a:pt x="85" y="252"/>
                  </a:lnTo>
                  <a:lnTo>
                    <a:pt x="89" y="254"/>
                  </a:lnTo>
                  <a:lnTo>
                    <a:pt x="85" y="258"/>
                  </a:lnTo>
                  <a:lnTo>
                    <a:pt x="85" y="264"/>
                  </a:lnTo>
                  <a:lnTo>
                    <a:pt x="78" y="269"/>
                  </a:lnTo>
                  <a:lnTo>
                    <a:pt x="64" y="275"/>
                  </a:lnTo>
                  <a:lnTo>
                    <a:pt x="49" y="279"/>
                  </a:lnTo>
                  <a:lnTo>
                    <a:pt x="42" y="284"/>
                  </a:lnTo>
                  <a:lnTo>
                    <a:pt x="40" y="286"/>
                  </a:lnTo>
                  <a:lnTo>
                    <a:pt x="36" y="288"/>
                  </a:lnTo>
                  <a:lnTo>
                    <a:pt x="34" y="290"/>
                  </a:lnTo>
                  <a:lnTo>
                    <a:pt x="34" y="294"/>
                  </a:lnTo>
                  <a:lnTo>
                    <a:pt x="31" y="294"/>
                  </a:lnTo>
                  <a:lnTo>
                    <a:pt x="31" y="294"/>
                  </a:lnTo>
                  <a:lnTo>
                    <a:pt x="31" y="298"/>
                  </a:lnTo>
                  <a:lnTo>
                    <a:pt x="31" y="300"/>
                  </a:lnTo>
                  <a:lnTo>
                    <a:pt x="31" y="303"/>
                  </a:lnTo>
                  <a:lnTo>
                    <a:pt x="34" y="303"/>
                  </a:lnTo>
                  <a:lnTo>
                    <a:pt x="36" y="303"/>
                  </a:lnTo>
                  <a:lnTo>
                    <a:pt x="36" y="298"/>
                  </a:lnTo>
                  <a:lnTo>
                    <a:pt x="40" y="298"/>
                  </a:lnTo>
                  <a:lnTo>
                    <a:pt x="40" y="300"/>
                  </a:lnTo>
                  <a:lnTo>
                    <a:pt x="36" y="305"/>
                  </a:lnTo>
                  <a:lnTo>
                    <a:pt x="34" y="309"/>
                  </a:lnTo>
                  <a:lnTo>
                    <a:pt x="34" y="311"/>
                  </a:lnTo>
                  <a:lnTo>
                    <a:pt x="31" y="311"/>
                  </a:lnTo>
                  <a:lnTo>
                    <a:pt x="27" y="311"/>
                  </a:lnTo>
                  <a:lnTo>
                    <a:pt x="25" y="311"/>
                  </a:lnTo>
                  <a:lnTo>
                    <a:pt x="23" y="309"/>
                  </a:lnTo>
                  <a:lnTo>
                    <a:pt x="25" y="305"/>
                  </a:lnTo>
                  <a:lnTo>
                    <a:pt x="25" y="303"/>
                  </a:lnTo>
                  <a:lnTo>
                    <a:pt x="25" y="303"/>
                  </a:lnTo>
                  <a:lnTo>
                    <a:pt x="23" y="300"/>
                  </a:lnTo>
                  <a:lnTo>
                    <a:pt x="21" y="298"/>
                  </a:lnTo>
                  <a:lnTo>
                    <a:pt x="19" y="298"/>
                  </a:lnTo>
                  <a:lnTo>
                    <a:pt x="19" y="298"/>
                  </a:lnTo>
                  <a:lnTo>
                    <a:pt x="19" y="290"/>
                  </a:lnTo>
                  <a:lnTo>
                    <a:pt x="19" y="284"/>
                  </a:lnTo>
                  <a:lnTo>
                    <a:pt x="21" y="279"/>
                  </a:lnTo>
                  <a:lnTo>
                    <a:pt x="21" y="264"/>
                  </a:lnTo>
                  <a:lnTo>
                    <a:pt x="19" y="260"/>
                  </a:lnTo>
                  <a:lnTo>
                    <a:pt x="19" y="256"/>
                  </a:lnTo>
                  <a:lnTo>
                    <a:pt x="19" y="252"/>
                  </a:lnTo>
                  <a:lnTo>
                    <a:pt x="19" y="252"/>
                  </a:lnTo>
                  <a:lnTo>
                    <a:pt x="19" y="243"/>
                  </a:lnTo>
                  <a:lnTo>
                    <a:pt x="17" y="237"/>
                  </a:lnTo>
                  <a:lnTo>
                    <a:pt x="15" y="234"/>
                  </a:lnTo>
                  <a:lnTo>
                    <a:pt x="14" y="230"/>
                  </a:lnTo>
                  <a:lnTo>
                    <a:pt x="14" y="228"/>
                  </a:lnTo>
                  <a:lnTo>
                    <a:pt x="14" y="228"/>
                  </a:lnTo>
                  <a:lnTo>
                    <a:pt x="14" y="22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1" name="Freeform 152">
              <a:extLst>
                <a:ext uri="{FF2B5EF4-FFF2-40B4-BE49-F238E27FC236}">
                  <a16:creationId xmlns:a16="http://schemas.microsoft.com/office/drawing/2014/main" id="{FDEC61E5-915E-0949-A205-3409BBF38DCA}"/>
                </a:ext>
              </a:extLst>
            </p:cNvPr>
            <p:cNvSpPr>
              <a:spLocks/>
            </p:cNvSpPr>
            <p:nvPr/>
          </p:nvSpPr>
          <p:spPr bwMode="auto">
            <a:xfrm>
              <a:off x="6597172" y="3362543"/>
              <a:ext cx="23040" cy="19942"/>
            </a:xfrm>
            <a:custGeom>
              <a:avLst/>
              <a:gdLst/>
              <a:ahLst/>
              <a:cxnLst>
                <a:cxn ang="0">
                  <a:pos x="23" y="8"/>
                </a:cxn>
                <a:cxn ang="0">
                  <a:pos x="23" y="8"/>
                </a:cxn>
                <a:cxn ang="0">
                  <a:pos x="23" y="8"/>
                </a:cxn>
                <a:cxn ang="0">
                  <a:pos x="25" y="10"/>
                </a:cxn>
                <a:cxn ang="0">
                  <a:pos x="27" y="11"/>
                </a:cxn>
                <a:cxn ang="0">
                  <a:pos x="27" y="13"/>
                </a:cxn>
                <a:cxn ang="0">
                  <a:pos x="27" y="15"/>
                </a:cxn>
                <a:cxn ang="0">
                  <a:pos x="25" y="17"/>
                </a:cxn>
                <a:cxn ang="0">
                  <a:pos x="27" y="21"/>
                </a:cxn>
                <a:cxn ang="0">
                  <a:pos x="25" y="21"/>
                </a:cxn>
                <a:cxn ang="0">
                  <a:pos x="23" y="21"/>
                </a:cxn>
                <a:cxn ang="0">
                  <a:pos x="23" y="23"/>
                </a:cxn>
                <a:cxn ang="0">
                  <a:pos x="23" y="26"/>
                </a:cxn>
                <a:cxn ang="0">
                  <a:pos x="19" y="26"/>
                </a:cxn>
                <a:cxn ang="0">
                  <a:pos x="14" y="26"/>
                </a:cxn>
                <a:cxn ang="0">
                  <a:pos x="8" y="25"/>
                </a:cxn>
                <a:cxn ang="0">
                  <a:pos x="4" y="21"/>
                </a:cxn>
                <a:cxn ang="0">
                  <a:pos x="4" y="17"/>
                </a:cxn>
                <a:cxn ang="0">
                  <a:pos x="0" y="17"/>
                </a:cxn>
                <a:cxn ang="0">
                  <a:pos x="4" y="13"/>
                </a:cxn>
                <a:cxn ang="0">
                  <a:pos x="8" y="6"/>
                </a:cxn>
                <a:cxn ang="0">
                  <a:pos x="8" y="2"/>
                </a:cxn>
                <a:cxn ang="0">
                  <a:pos x="12" y="0"/>
                </a:cxn>
                <a:cxn ang="0">
                  <a:pos x="17" y="4"/>
                </a:cxn>
                <a:cxn ang="0">
                  <a:pos x="19" y="6"/>
                </a:cxn>
                <a:cxn ang="0">
                  <a:pos x="23" y="8"/>
                </a:cxn>
                <a:cxn ang="0">
                  <a:pos x="23" y="8"/>
                </a:cxn>
                <a:cxn ang="0">
                  <a:pos x="23" y="8"/>
                </a:cxn>
                <a:cxn ang="0">
                  <a:pos x="23" y="8"/>
                </a:cxn>
              </a:cxnLst>
              <a:rect l="0" t="0" r="r" b="b"/>
              <a:pathLst>
                <a:path w="27" h="26">
                  <a:moveTo>
                    <a:pt x="23" y="8"/>
                  </a:moveTo>
                  <a:lnTo>
                    <a:pt x="23" y="8"/>
                  </a:lnTo>
                  <a:lnTo>
                    <a:pt x="23" y="8"/>
                  </a:lnTo>
                  <a:lnTo>
                    <a:pt x="25" y="10"/>
                  </a:lnTo>
                  <a:lnTo>
                    <a:pt x="27" y="11"/>
                  </a:lnTo>
                  <a:lnTo>
                    <a:pt x="27" y="13"/>
                  </a:lnTo>
                  <a:lnTo>
                    <a:pt x="27" y="15"/>
                  </a:lnTo>
                  <a:lnTo>
                    <a:pt x="25" y="17"/>
                  </a:lnTo>
                  <a:lnTo>
                    <a:pt x="27" y="21"/>
                  </a:lnTo>
                  <a:lnTo>
                    <a:pt x="25" y="21"/>
                  </a:lnTo>
                  <a:lnTo>
                    <a:pt x="23" y="21"/>
                  </a:lnTo>
                  <a:lnTo>
                    <a:pt x="23" y="23"/>
                  </a:lnTo>
                  <a:lnTo>
                    <a:pt x="23" y="26"/>
                  </a:lnTo>
                  <a:lnTo>
                    <a:pt x="19" y="26"/>
                  </a:lnTo>
                  <a:lnTo>
                    <a:pt x="14" y="26"/>
                  </a:lnTo>
                  <a:lnTo>
                    <a:pt x="8" y="25"/>
                  </a:lnTo>
                  <a:lnTo>
                    <a:pt x="4" y="21"/>
                  </a:lnTo>
                  <a:lnTo>
                    <a:pt x="4" y="17"/>
                  </a:lnTo>
                  <a:lnTo>
                    <a:pt x="0" y="17"/>
                  </a:lnTo>
                  <a:lnTo>
                    <a:pt x="4" y="13"/>
                  </a:lnTo>
                  <a:lnTo>
                    <a:pt x="8" y="6"/>
                  </a:lnTo>
                  <a:lnTo>
                    <a:pt x="8" y="2"/>
                  </a:lnTo>
                  <a:lnTo>
                    <a:pt x="12" y="0"/>
                  </a:lnTo>
                  <a:lnTo>
                    <a:pt x="17" y="4"/>
                  </a:lnTo>
                  <a:lnTo>
                    <a:pt x="19" y="6"/>
                  </a:lnTo>
                  <a:lnTo>
                    <a:pt x="23" y="8"/>
                  </a:lnTo>
                  <a:lnTo>
                    <a:pt x="23" y="8"/>
                  </a:lnTo>
                  <a:lnTo>
                    <a:pt x="23" y="8"/>
                  </a:lnTo>
                  <a:lnTo>
                    <a:pt x="23"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2" name="Freeform 153">
              <a:extLst>
                <a:ext uri="{FF2B5EF4-FFF2-40B4-BE49-F238E27FC236}">
                  <a16:creationId xmlns:a16="http://schemas.microsoft.com/office/drawing/2014/main" id="{C37FE5E0-2C65-C242-A5BA-8DE85C1EBC52}"/>
                </a:ext>
              </a:extLst>
            </p:cNvPr>
            <p:cNvSpPr>
              <a:spLocks/>
            </p:cNvSpPr>
            <p:nvPr/>
          </p:nvSpPr>
          <p:spPr bwMode="auto">
            <a:xfrm>
              <a:off x="6534878" y="3407030"/>
              <a:ext cx="40106" cy="33749"/>
            </a:xfrm>
            <a:custGeom>
              <a:avLst/>
              <a:gdLst/>
              <a:ahLst/>
              <a:cxnLst>
                <a:cxn ang="0">
                  <a:pos x="6" y="34"/>
                </a:cxn>
                <a:cxn ang="0">
                  <a:pos x="6" y="33"/>
                </a:cxn>
                <a:cxn ang="0">
                  <a:pos x="6" y="29"/>
                </a:cxn>
                <a:cxn ang="0">
                  <a:pos x="6" y="25"/>
                </a:cxn>
                <a:cxn ang="0">
                  <a:pos x="0" y="25"/>
                </a:cxn>
                <a:cxn ang="0">
                  <a:pos x="0" y="21"/>
                </a:cxn>
                <a:cxn ang="0">
                  <a:pos x="2" y="19"/>
                </a:cxn>
                <a:cxn ang="0">
                  <a:pos x="9" y="16"/>
                </a:cxn>
                <a:cxn ang="0">
                  <a:pos x="11" y="10"/>
                </a:cxn>
                <a:cxn ang="0">
                  <a:pos x="15" y="8"/>
                </a:cxn>
                <a:cxn ang="0">
                  <a:pos x="23" y="4"/>
                </a:cxn>
                <a:cxn ang="0">
                  <a:pos x="23" y="2"/>
                </a:cxn>
                <a:cxn ang="0">
                  <a:pos x="26" y="2"/>
                </a:cxn>
                <a:cxn ang="0">
                  <a:pos x="26" y="0"/>
                </a:cxn>
                <a:cxn ang="0">
                  <a:pos x="30" y="0"/>
                </a:cxn>
                <a:cxn ang="0">
                  <a:pos x="32" y="2"/>
                </a:cxn>
                <a:cxn ang="0">
                  <a:pos x="34" y="0"/>
                </a:cxn>
                <a:cxn ang="0">
                  <a:pos x="36" y="2"/>
                </a:cxn>
                <a:cxn ang="0">
                  <a:pos x="40" y="2"/>
                </a:cxn>
                <a:cxn ang="0">
                  <a:pos x="43" y="4"/>
                </a:cxn>
                <a:cxn ang="0">
                  <a:pos x="47" y="12"/>
                </a:cxn>
                <a:cxn ang="0">
                  <a:pos x="47" y="17"/>
                </a:cxn>
                <a:cxn ang="0">
                  <a:pos x="43" y="21"/>
                </a:cxn>
                <a:cxn ang="0">
                  <a:pos x="40" y="23"/>
                </a:cxn>
                <a:cxn ang="0">
                  <a:pos x="40" y="25"/>
                </a:cxn>
                <a:cxn ang="0">
                  <a:pos x="41" y="25"/>
                </a:cxn>
                <a:cxn ang="0">
                  <a:pos x="41" y="29"/>
                </a:cxn>
                <a:cxn ang="0">
                  <a:pos x="38" y="33"/>
                </a:cxn>
                <a:cxn ang="0">
                  <a:pos x="34" y="31"/>
                </a:cxn>
                <a:cxn ang="0">
                  <a:pos x="32" y="33"/>
                </a:cxn>
                <a:cxn ang="0">
                  <a:pos x="28" y="33"/>
                </a:cxn>
                <a:cxn ang="0">
                  <a:pos x="23" y="34"/>
                </a:cxn>
                <a:cxn ang="0">
                  <a:pos x="23" y="38"/>
                </a:cxn>
                <a:cxn ang="0">
                  <a:pos x="23" y="38"/>
                </a:cxn>
                <a:cxn ang="0">
                  <a:pos x="21" y="40"/>
                </a:cxn>
                <a:cxn ang="0">
                  <a:pos x="17" y="44"/>
                </a:cxn>
                <a:cxn ang="0">
                  <a:pos x="11" y="40"/>
                </a:cxn>
                <a:cxn ang="0">
                  <a:pos x="11" y="38"/>
                </a:cxn>
                <a:cxn ang="0">
                  <a:pos x="6" y="34"/>
                </a:cxn>
                <a:cxn ang="0">
                  <a:pos x="6" y="34"/>
                </a:cxn>
                <a:cxn ang="0">
                  <a:pos x="6" y="34"/>
                </a:cxn>
              </a:cxnLst>
              <a:rect l="0" t="0" r="r" b="b"/>
              <a:pathLst>
                <a:path w="47" h="44">
                  <a:moveTo>
                    <a:pt x="6" y="34"/>
                  </a:moveTo>
                  <a:lnTo>
                    <a:pt x="6" y="33"/>
                  </a:lnTo>
                  <a:lnTo>
                    <a:pt x="6" y="29"/>
                  </a:lnTo>
                  <a:lnTo>
                    <a:pt x="6" y="25"/>
                  </a:lnTo>
                  <a:lnTo>
                    <a:pt x="0" y="25"/>
                  </a:lnTo>
                  <a:lnTo>
                    <a:pt x="0" y="21"/>
                  </a:lnTo>
                  <a:lnTo>
                    <a:pt x="2" y="19"/>
                  </a:lnTo>
                  <a:lnTo>
                    <a:pt x="9" y="16"/>
                  </a:lnTo>
                  <a:lnTo>
                    <a:pt x="11" y="10"/>
                  </a:lnTo>
                  <a:lnTo>
                    <a:pt x="15" y="8"/>
                  </a:lnTo>
                  <a:lnTo>
                    <a:pt x="23" y="4"/>
                  </a:lnTo>
                  <a:lnTo>
                    <a:pt x="23" y="2"/>
                  </a:lnTo>
                  <a:lnTo>
                    <a:pt x="26" y="2"/>
                  </a:lnTo>
                  <a:lnTo>
                    <a:pt x="26" y="0"/>
                  </a:lnTo>
                  <a:lnTo>
                    <a:pt x="30" y="0"/>
                  </a:lnTo>
                  <a:lnTo>
                    <a:pt x="32" y="2"/>
                  </a:lnTo>
                  <a:lnTo>
                    <a:pt x="34" y="0"/>
                  </a:lnTo>
                  <a:lnTo>
                    <a:pt x="36" y="2"/>
                  </a:lnTo>
                  <a:lnTo>
                    <a:pt x="40" y="2"/>
                  </a:lnTo>
                  <a:lnTo>
                    <a:pt x="43" y="4"/>
                  </a:lnTo>
                  <a:lnTo>
                    <a:pt x="47" y="12"/>
                  </a:lnTo>
                  <a:lnTo>
                    <a:pt x="47" y="17"/>
                  </a:lnTo>
                  <a:lnTo>
                    <a:pt x="43" y="21"/>
                  </a:lnTo>
                  <a:lnTo>
                    <a:pt x="40" y="23"/>
                  </a:lnTo>
                  <a:lnTo>
                    <a:pt x="40" y="25"/>
                  </a:lnTo>
                  <a:lnTo>
                    <a:pt x="41" y="25"/>
                  </a:lnTo>
                  <a:lnTo>
                    <a:pt x="41" y="29"/>
                  </a:lnTo>
                  <a:lnTo>
                    <a:pt x="38" y="33"/>
                  </a:lnTo>
                  <a:lnTo>
                    <a:pt x="34" y="31"/>
                  </a:lnTo>
                  <a:lnTo>
                    <a:pt x="32" y="33"/>
                  </a:lnTo>
                  <a:lnTo>
                    <a:pt x="28" y="33"/>
                  </a:lnTo>
                  <a:lnTo>
                    <a:pt x="23" y="34"/>
                  </a:lnTo>
                  <a:lnTo>
                    <a:pt x="23" y="38"/>
                  </a:lnTo>
                  <a:lnTo>
                    <a:pt x="23" y="38"/>
                  </a:lnTo>
                  <a:lnTo>
                    <a:pt x="21" y="40"/>
                  </a:lnTo>
                  <a:lnTo>
                    <a:pt x="17" y="44"/>
                  </a:lnTo>
                  <a:lnTo>
                    <a:pt x="11" y="40"/>
                  </a:lnTo>
                  <a:lnTo>
                    <a:pt x="11" y="38"/>
                  </a:lnTo>
                  <a:lnTo>
                    <a:pt x="6" y="34"/>
                  </a:lnTo>
                  <a:lnTo>
                    <a:pt x="6" y="34"/>
                  </a:lnTo>
                  <a:lnTo>
                    <a:pt x="6" y="3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3" name="Freeform 154">
              <a:extLst>
                <a:ext uri="{FF2B5EF4-FFF2-40B4-BE49-F238E27FC236}">
                  <a16:creationId xmlns:a16="http://schemas.microsoft.com/office/drawing/2014/main" id="{4494C498-A2F1-9F47-B903-B4A73F9FA758}"/>
                </a:ext>
              </a:extLst>
            </p:cNvPr>
            <p:cNvSpPr>
              <a:spLocks noEditPoints="1"/>
            </p:cNvSpPr>
            <p:nvPr/>
          </p:nvSpPr>
          <p:spPr bwMode="auto">
            <a:xfrm>
              <a:off x="6225117" y="1392091"/>
              <a:ext cx="166401" cy="161839"/>
            </a:xfrm>
            <a:custGeom>
              <a:avLst/>
              <a:gdLst/>
              <a:ahLst/>
              <a:cxnLst>
                <a:cxn ang="0">
                  <a:pos x="88" y="21"/>
                </a:cxn>
                <a:cxn ang="0">
                  <a:pos x="131" y="43"/>
                </a:cxn>
                <a:cxn ang="0">
                  <a:pos x="122" y="54"/>
                </a:cxn>
                <a:cxn ang="0">
                  <a:pos x="120" y="60"/>
                </a:cxn>
                <a:cxn ang="0">
                  <a:pos x="150" y="75"/>
                </a:cxn>
                <a:cxn ang="0">
                  <a:pos x="180" y="62"/>
                </a:cxn>
                <a:cxn ang="0">
                  <a:pos x="192" y="24"/>
                </a:cxn>
                <a:cxn ang="0">
                  <a:pos x="162" y="11"/>
                </a:cxn>
                <a:cxn ang="0">
                  <a:pos x="152" y="9"/>
                </a:cxn>
                <a:cxn ang="0">
                  <a:pos x="143" y="11"/>
                </a:cxn>
                <a:cxn ang="0">
                  <a:pos x="131" y="7"/>
                </a:cxn>
                <a:cxn ang="0">
                  <a:pos x="128" y="17"/>
                </a:cxn>
                <a:cxn ang="0">
                  <a:pos x="107" y="9"/>
                </a:cxn>
                <a:cxn ang="0">
                  <a:pos x="101" y="21"/>
                </a:cxn>
                <a:cxn ang="0">
                  <a:pos x="86" y="22"/>
                </a:cxn>
                <a:cxn ang="0">
                  <a:pos x="90" y="43"/>
                </a:cxn>
                <a:cxn ang="0">
                  <a:pos x="143" y="124"/>
                </a:cxn>
                <a:cxn ang="0">
                  <a:pos x="167" y="137"/>
                </a:cxn>
                <a:cxn ang="0">
                  <a:pos x="162" y="167"/>
                </a:cxn>
                <a:cxn ang="0">
                  <a:pos x="150" y="158"/>
                </a:cxn>
                <a:cxn ang="0">
                  <a:pos x="141" y="147"/>
                </a:cxn>
                <a:cxn ang="0">
                  <a:pos x="116" y="83"/>
                </a:cxn>
                <a:cxn ang="0">
                  <a:pos x="124" y="113"/>
                </a:cxn>
                <a:cxn ang="0">
                  <a:pos x="145" y="117"/>
                </a:cxn>
                <a:cxn ang="0">
                  <a:pos x="131" y="102"/>
                </a:cxn>
                <a:cxn ang="0">
                  <a:pos x="15" y="122"/>
                </a:cxn>
                <a:cxn ang="0">
                  <a:pos x="9" y="103"/>
                </a:cxn>
                <a:cxn ang="0">
                  <a:pos x="19" y="128"/>
                </a:cxn>
                <a:cxn ang="0">
                  <a:pos x="79" y="201"/>
                </a:cxn>
                <a:cxn ang="0">
                  <a:pos x="71" y="188"/>
                </a:cxn>
                <a:cxn ang="0">
                  <a:pos x="52" y="173"/>
                </a:cxn>
                <a:cxn ang="0">
                  <a:pos x="54" y="160"/>
                </a:cxn>
                <a:cxn ang="0">
                  <a:pos x="56" y="152"/>
                </a:cxn>
                <a:cxn ang="0">
                  <a:pos x="83" y="141"/>
                </a:cxn>
                <a:cxn ang="0">
                  <a:pos x="54" y="147"/>
                </a:cxn>
                <a:cxn ang="0">
                  <a:pos x="49" y="135"/>
                </a:cxn>
                <a:cxn ang="0">
                  <a:pos x="73" y="118"/>
                </a:cxn>
                <a:cxn ang="0">
                  <a:pos x="73" y="100"/>
                </a:cxn>
                <a:cxn ang="0">
                  <a:pos x="60" y="102"/>
                </a:cxn>
                <a:cxn ang="0">
                  <a:pos x="49" y="102"/>
                </a:cxn>
                <a:cxn ang="0">
                  <a:pos x="37" y="130"/>
                </a:cxn>
                <a:cxn ang="0">
                  <a:pos x="28" y="109"/>
                </a:cxn>
                <a:cxn ang="0">
                  <a:pos x="9" y="92"/>
                </a:cxn>
                <a:cxn ang="0">
                  <a:pos x="15" y="88"/>
                </a:cxn>
                <a:cxn ang="0">
                  <a:pos x="7" y="83"/>
                </a:cxn>
                <a:cxn ang="0">
                  <a:pos x="3" y="51"/>
                </a:cxn>
                <a:cxn ang="0">
                  <a:pos x="19" y="49"/>
                </a:cxn>
                <a:cxn ang="0">
                  <a:pos x="24" y="54"/>
                </a:cxn>
                <a:cxn ang="0">
                  <a:pos x="34" y="62"/>
                </a:cxn>
                <a:cxn ang="0">
                  <a:pos x="43" y="49"/>
                </a:cxn>
                <a:cxn ang="0">
                  <a:pos x="54" y="79"/>
                </a:cxn>
                <a:cxn ang="0">
                  <a:pos x="60" y="64"/>
                </a:cxn>
                <a:cxn ang="0">
                  <a:pos x="69" y="39"/>
                </a:cxn>
                <a:cxn ang="0">
                  <a:pos x="83" y="69"/>
                </a:cxn>
                <a:cxn ang="0">
                  <a:pos x="107" y="75"/>
                </a:cxn>
                <a:cxn ang="0">
                  <a:pos x="122" y="100"/>
                </a:cxn>
                <a:cxn ang="0">
                  <a:pos x="107" y="134"/>
                </a:cxn>
                <a:cxn ang="0">
                  <a:pos x="98" y="162"/>
                </a:cxn>
                <a:cxn ang="0">
                  <a:pos x="94" y="201"/>
                </a:cxn>
              </a:cxnLst>
              <a:rect l="0" t="0" r="r" b="b"/>
              <a:pathLst>
                <a:path w="195" h="211">
                  <a:moveTo>
                    <a:pt x="88" y="21"/>
                  </a:moveTo>
                  <a:lnTo>
                    <a:pt x="86" y="17"/>
                  </a:lnTo>
                  <a:lnTo>
                    <a:pt x="84" y="15"/>
                  </a:lnTo>
                  <a:lnTo>
                    <a:pt x="86" y="13"/>
                  </a:lnTo>
                  <a:lnTo>
                    <a:pt x="88" y="11"/>
                  </a:lnTo>
                  <a:lnTo>
                    <a:pt x="90" y="13"/>
                  </a:lnTo>
                  <a:lnTo>
                    <a:pt x="92" y="15"/>
                  </a:lnTo>
                  <a:lnTo>
                    <a:pt x="92" y="17"/>
                  </a:lnTo>
                  <a:lnTo>
                    <a:pt x="90" y="19"/>
                  </a:lnTo>
                  <a:lnTo>
                    <a:pt x="88" y="21"/>
                  </a:lnTo>
                  <a:lnTo>
                    <a:pt x="88" y="21"/>
                  </a:lnTo>
                  <a:lnTo>
                    <a:pt x="88" y="21"/>
                  </a:lnTo>
                  <a:lnTo>
                    <a:pt x="88" y="21"/>
                  </a:lnTo>
                  <a:close/>
                  <a:moveTo>
                    <a:pt x="107" y="49"/>
                  </a:moveTo>
                  <a:lnTo>
                    <a:pt x="107" y="49"/>
                  </a:lnTo>
                  <a:lnTo>
                    <a:pt x="107" y="47"/>
                  </a:lnTo>
                  <a:lnTo>
                    <a:pt x="111" y="45"/>
                  </a:lnTo>
                  <a:lnTo>
                    <a:pt x="113" y="43"/>
                  </a:lnTo>
                  <a:lnTo>
                    <a:pt x="120" y="43"/>
                  </a:lnTo>
                  <a:lnTo>
                    <a:pt x="126" y="43"/>
                  </a:lnTo>
                  <a:lnTo>
                    <a:pt x="128" y="41"/>
                  </a:lnTo>
                  <a:lnTo>
                    <a:pt x="131" y="41"/>
                  </a:lnTo>
                  <a:lnTo>
                    <a:pt x="131" y="41"/>
                  </a:lnTo>
                  <a:lnTo>
                    <a:pt x="131" y="43"/>
                  </a:lnTo>
                  <a:lnTo>
                    <a:pt x="131" y="45"/>
                  </a:lnTo>
                  <a:lnTo>
                    <a:pt x="128" y="47"/>
                  </a:lnTo>
                  <a:lnTo>
                    <a:pt x="128" y="49"/>
                  </a:lnTo>
                  <a:lnTo>
                    <a:pt x="124" y="47"/>
                  </a:lnTo>
                  <a:lnTo>
                    <a:pt x="118" y="49"/>
                  </a:lnTo>
                  <a:lnTo>
                    <a:pt x="115" y="47"/>
                  </a:lnTo>
                  <a:lnTo>
                    <a:pt x="115" y="49"/>
                  </a:lnTo>
                  <a:lnTo>
                    <a:pt x="116" y="51"/>
                  </a:lnTo>
                  <a:lnTo>
                    <a:pt x="122" y="51"/>
                  </a:lnTo>
                  <a:lnTo>
                    <a:pt x="124" y="53"/>
                  </a:lnTo>
                  <a:lnTo>
                    <a:pt x="124" y="54"/>
                  </a:lnTo>
                  <a:lnTo>
                    <a:pt x="122" y="54"/>
                  </a:lnTo>
                  <a:lnTo>
                    <a:pt x="118" y="53"/>
                  </a:lnTo>
                  <a:lnTo>
                    <a:pt x="116" y="54"/>
                  </a:lnTo>
                  <a:lnTo>
                    <a:pt x="115" y="54"/>
                  </a:lnTo>
                  <a:lnTo>
                    <a:pt x="111" y="53"/>
                  </a:lnTo>
                  <a:lnTo>
                    <a:pt x="107" y="51"/>
                  </a:lnTo>
                  <a:lnTo>
                    <a:pt x="103" y="53"/>
                  </a:lnTo>
                  <a:lnTo>
                    <a:pt x="103" y="54"/>
                  </a:lnTo>
                  <a:lnTo>
                    <a:pt x="107" y="54"/>
                  </a:lnTo>
                  <a:lnTo>
                    <a:pt x="113" y="60"/>
                  </a:lnTo>
                  <a:lnTo>
                    <a:pt x="115" y="60"/>
                  </a:lnTo>
                  <a:lnTo>
                    <a:pt x="118" y="58"/>
                  </a:lnTo>
                  <a:lnTo>
                    <a:pt x="120" y="60"/>
                  </a:lnTo>
                  <a:lnTo>
                    <a:pt x="122" y="64"/>
                  </a:lnTo>
                  <a:lnTo>
                    <a:pt x="122" y="66"/>
                  </a:lnTo>
                  <a:lnTo>
                    <a:pt x="124" y="68"/>
                  </a:lnTo>
                  <a:lnTo>
                    <a:pt x="128" y="66"/>
                  </a:lnTo>
                  <a:lnTo>
                    <a:pt x="131" y="66"/>
                  </a:lnTo>
                  <a:lnTo>
                    <a:pt x="137" y="64"/>
                  </a:lnTo>
                  <a:lnTo>
                    <a:pt x="141" y="64"/>
                  </a:lnTo>
                  <a:lnTo>
                    <a:pt x="145" y="62"/>
                  </a:lnTo>
                  <a:lnTo>
                    <a:pt x="147" y="64"/>
                  </a:lnTo>
                  <a:lnTo>
                    <a:pt x="145" y="68"/>
                  </a:lnTo>
                  <a:lnTo>
                    <a:pt x="147" y="71"/>
                  </a:lnTo>
                  <a:lnTo>
                    <a:pt x="150" y="75"/>
                  </a:lnTo>
                  <a:lnTo>
                    <a:pt x="154" y="75"/>
                  </a:lnTo>
                  <a:lnTo>
                    <a:pt x="160" y="73"/>
                  </a:lnTo>
                  <a:lnTo>
                    <a:pt x="162" y="71"/>
                  </a:lnTo>
                  <a:lnTo>
                    <a:pt x="162" y="69"/>
                  </a:lnTo>
                  <a:lnTo>
                    <a:pt x="162" y="68"/>
                  </a:lnTo>
                  <a:lnTo>
                    <a:pt x="162" y="66"/>
                  </a:lnTo>
                  <a:lnTo>
                    <a:pt x="165" y="62"/>
                  </a:lnTo>
                  <a:lnTo>
                    <a:pt x="167" y="62"/>
                  </a:lnTo>
                  <a:lnTo>
                    <a:pt x="171" y="64"/>
                  </a:lnTo>
                  <a:lnTo>
                    <a:pt x="173" y="66"/>
                  </a:lnTo>
                  <a:lnTo>
                    <a:pt x="175" y="66"/>
                  </a:lnTo>
                  <a:lnTo>
                    <a:pt x="180" y="62"/>
                  </a:lnTo>
                  <a:lnTo>
                    <a:pt x="180" y="60"/>
                  </a:lnTo>
                  <a:lnTo>
                    <a:pt x="180" y="54"/>
                  </a:lnTo>
                  <a:lnTo>
                    <a:pt x="179" y="54"/>
                  </a:lnTo>
                  <a:lnTo>
                    <a:pt x="182" y="53"/>
                  </a:lnTo>
                  <a:lnTo>
                    <a:pt x="184" y="49"/>
                  </a:lnTo>
                  <a:lnTo>
                    <a:pt x="186" y="43"/>
                  </a:lnTo>
                  <a:lnTo>
                    <a:pt x="190" y="39"/>
                  </a:lnTo>
                  <a:lnTo>
                    <a:pt x="192" y="36"/>
                  </a:lnTo>
                  <a:lnTo>
                    <a:pt x="195" y="34"/>
                  </a:lnTo>
                  <a:lnTo>
                    <a:pt x="195" y="30"/>
                  </a:lnTo>
                  <a:lnTo>
                    <a:pt x="192" y="28"/>
                  </a:lnTo>
                  <a:lnTo>
                    <a:pt x="192" y="24"/>
                  </a:lnTo>
                  <a:lnTo>
                    <a:pt x="192" y="22"/>
                  </a:lnTo>
                  <a:lnTo>
                    <a:pt x="192" y="21"/>
                  </a:lnTo>
                  <a:lnTo>
                    <a:pt x="192" y="19"/>
                  </a:lnTo>
                  <a:lnTo>
                    <a:pt x="186" y="19"/>
                  </a:lnTo>
                  <a:lnTo>
                    <a:pt x="184" y="17"/>
                  </a:lnTo>
                  <a:lnTo>
                    <a:pt x="182" y="17"/>
                  </a:lnTo>
                  <a:lnTo>
                    <a:pt x="175" y="17"/>
                  </a:lnTo>
                  <a:lnTo>
                    <a:pt x="173" y="17"/>
                  </a:lnTo>
                  <a:lnTo>
                    <a:pt x="171" y="15"/>
                  </a:lnTo>
                  <a:lnTo>
                    <a:pt x="165" y="15"/>
                  </a:lnTo>
                  <a:lnTo>
                    <a:pt x="165" y="13"/>
                  </a:lnTo>
                  <a:lnTo>
                    <a:pt x="162" y="11"/>
                  </a:lnTo>
                  <a:lnTo>
                    <a:pt x="162" y="9"/>
                  </a:lnTo>
                  <a:lnTo>
                    <a:pt x="160" y="11"/>
                  </a:lnTo>
                  <a:lnTo>
                    <a:pt x="160" y="11"/>
                  </a:lnTo>
                  <a:lnTo>
                    <a:pt x="160" y="7"/>
                  </a:lnTo>
                  <a:lnTo>
                    <a:pt x="160" y="5"/>
                  </a:lnTo>
                  <a:lnTo>
                    <a:pt x="158" y="7"/>
                  </a:lnTo>
                  <a:lnTo>
                    <a:pt x="156" y="11"/>
                  </a:lnTo>
                  <a:lnTo>
                    <a:pt x="154" y="11"/>
                  </a:lnTo>
                  <a:lnTo>
                    <a:pt x="154" y="7"/>
                  </a:lnTo>
                  <a:lnTo>
                    <a:pt x="152" y="5"/>
                  </a:lnTo>
                  <a:lnTo>
                    <a:pt x="152" y="7"/>
                  </a:lnTo>
                  <a:lnTo>
                    <a:pt x="152" y="9"/>
                  </a:lnTo>
                  <a:lnTo>
                    <a:pt x="152" y="11"/>
                  </a:lnTo>
                  <a:lnTo>
                    <a:pt x="148" y="15"/>
                  </a:lnTo>
                  <a:lnTo>
                    <a:pt x="148" y="17"/>
                  </a:lnTo>
                  <a:lnTo>
                    <a:pt x="148" y="21"/>
                  </a:lnTo>
                  <a:lnTo>
                    <a:pt x="145" y="19"/>
                  </a:lnTo>
                  <a:lnTo>
                    <a:pt x="145" y="17"/>
                  </a:lnTo>
                  <a:lnTo>
                    <a:pt x="143" y="17"/>
                  </a:lnTo>
                  <a:lnTo>
                    <a:pt x="143" y="19"/>
                  </a:lnTo>
                  <a:lnTo>
                    <a:pt x="143" y="21"/>
                  </a:lnTo>
                  <a:lnTo>
                    <a:pt x="141" y="19"/>
                  </a:lnTo>
                  <a:lnTo>
                    <a:pt x="141" y="17"/>
                  </a:lnTo>
                  <a:lnTo>
                    <a:pt x="143" y="11"/>
                  </a:lnTo>
                  <a:lnTo>
                    <a:pt x="143" y="5"/>
                  </a:lnTo>
                  <a:lnTo>
                    <a:pt x="141" y="4"/>
                  </a:lnTo>
                  <a:lnTo>
                    <a:pt x="137" y="0"/>
                  </a:lnTo>
                  <a:lnTo>
                    <a:pt x="137" y="0"/>
                  </a:lnTo>
                  <a:lnTo>
                    <a:pt x="135" y="0"/>
                  </a:lnTo>
                  <a:lnTo>
                    <a:pt x="135" y="4"/>
                  </a:lnTo>
                  <a:lnTo>
                    <a:pt x="137" y="4"/>
                  </a:lnTo>
                  <a:lnTo>
                    <a:pt x="137" y="5"/>
                  </a:lnTo>
                  <a:lnTo>
                    <a:pt x="135" y="5"/>
                  </a:lnTo>
                  <a:lnTo>
                    <a:pt x="131" y="4"/>
                  </a:lnTo>
                  <a:lnTo>
                    <a:pt x="131" y="4"/>
                  </a:lnTo>
                  <a:lnTo>
                    <a:pt x="131" y="7"/>
                  </a:lnTo>
                  <a:lnTo>
                    <a:pt x="135" y="11"/>
                  </a:lnTo>
                  <a:lnTo>
                    <a:pt x="135" y="15"/>
                  </a:lnTo>
                  <a:lnTo>
                    <a:pt x="135" y="19"/>
                  </a:lnTo>
                  <a:lnTo>
                    <a:pt x="135" y="22"/>
                  </a:lnTo>
                  <a:lnTo>
                    <a:pt x="137" y="28"/>
                  </a:lnTo>
                  <a:lnTo>
                    <a:pt x="135" y="30"/>
                  </a:lnTo>
                  <a:lnTo>
                    <a:pt x="135" y="30"/>
                  </a:lnTo>
                  <a:lnTo>
                    <a:pt x="131" y="28"/>
                  </a:lnTo>
                  <a:lnTo>
                    <a:pt x="128" y="24"/>
                  </a:lnTo>
                  <a:lnTo>
                    <a:pt x="126" y="22"/>
                  </a:lnTo>
                  <a:lnTo>
                    <a:pt x="126" y="21"/>
                  </a:lnTo>
                  <a:lnTo>
                    <a:pt x="128" y="17"/>
                  </a:lnTo>
                  <a:lnTo>
                    <a:pt x="128" y="15"/>
                  </a:lnTo>
                  <a:lnTo>
                    <a:pt x="126" y="15"/>
                  </a:lnTo>
                  <a:lnTo>
                    <a:pt x="122" y="17"/>
                  </a:lnTo>
                  <a:lnTo>
                    <a:pt x="120" y="17"/>
                  </a:lnTo>
                  <a:lnTo>
                    <a:pt x="118" y="17"/>
                  </a:lnTo>
                  <a:lnTo>
                    <a:pt x="116" y="21"/>
                  </a:lnTo>
                  <a:lnTo>
                    <a:pt x="113" y="19"/>
                  </a:lnTo>
                  <a:lnTo>
                    <a:pt x="113" y="17"/>
                  </a:lnTo>
                  <a:lnTo>
                    <a:pt x="113" y="15"/>
                  </a:lnTo>
                  <a:lnTo>
                    <a:pt x="111" y="15"/>
                  </a:lnTo>
                  <a:lnTo>
                    <a:pt x="109" y="11"/>
                  </a:lnTo>
                  <a:lnTo>
                    <a:pt x="107" y="9"/>
                  </a:lnTo>
                  <a:lnTo>
                    <a:pt x="107" y="7"/>
                  </a:lnTo>
                  <a:lnTo>
                    <a:pt x="103" y="7"/>
                  </a:lnTo>
                  <a:lnTo>
                    <a:pt x="103" y="5"/>
                  </a:lnTo>
                  <a:lnTo>
                    <a:pt x="103" y="4"/>
                  </a:lnTo>
                  <a:lnTo>
                    <a:pt x="101" y="0"/>
                  </a:lnTo>
                  <a:lnTo>
                    <a:pt x="101" y="0"/>
                  </a:lnTo>
                  <a:lnTo>
                    <a:pt x="99" y="4"/>
                  </a:lnTo>
                  <a:lnTo>
                    <a:pt x="98" y="5"/>
                  </a:lnTo>
                  <a:lnTo>
                    <a:pt x="99" y="11"/>
                  </a:lnTo>
                  <a:lnTo>
                    <a:pt x="101" y="15"/>
                  </a:lnTo>
                  <a:lnTo>
                    <a:pt x="101" y="21"/>
                  </a:lnTo>
                  <a:lnTo>
                    <a:pt x="101" y="21"/>
                  </a:lnTo>
                  <a:lnTo>
                    <a:pt x="98" y="19"/>
                  </a:lnTo>
                  <a:lnTo>
                    <a:pt x="98" y="15"/>
                  </a:lnTo>
                  <a:lnTo>
                    <a:pt x="96" y="13"/>
                  </a:lnTo>
                  <a:lnTo>
                    <a:pt x="96" y="17"/>
                  </a:lnTo>
                  <a:lnTo>
                    <a:pt x="96" y="21"/>
                  </a:lnTo>
                  <a:lnTo>
                    <a:pt x="98" y="24"/>
                  </a:lnTo>
                  <a:lnTo>
                    <a:pt x="98" y="24"/>
                  </a:lnTo>
                  <a:lnTo>
                    <a:pt x="98" y="30"/>
                  </a:lnTo>
                  <a:lnTo>
                    <a:pt x="96" y="28"/>
                  </a:lnTo>
                  <a:lnTo>
                    <a:pt x="94" y="24"/>
                  </a:lnTo>
                  <a:lnTo>
                    <a:pt x="92" y="22"/>
                  </a:lnTo>
                  <a:lnTo>
                    <a:pt x="86" y="22"/>
                  </a:lnTo>
                  <a:lnTo>
                    <a:pt x="83" y="21"/>
                  </a:lnTo>
                  <a:lnTo>
                    <a:pt x="83" y="22"/>
                  </a:lnTo>
                  <a:lnTo>
                    <a:pt x="83" y="28"/>
                  </a:lnTo>
                  <a:lnTo>
                    <a:pt x="84" y="24"/>
                  </a:lnTo>
                  <a:lnTo>
                    <a:pt x="88" y="28"/>
                  </a:lnTo>
                  <a:lnTo>
                    <a:pt x="86" y="30"/>
                  </a:lnTo>
                  <a:lnTo>
                    <a:pt x="86" y="30"/>
                  </a:lnTo>
                  <a:lnTo>
                    <a:pt x="90" y="30"/>
                  </a:lnTo>
                  <a:lnTo>
                    <a:pt x="92" y="34"/>
                  </a:lnTo>
                  <a:lnTo>
                    <a:pt x="86" y="36"/>
                  </a:lnTo>
                  <a:lnTo>
                    <a:pt x="86" y="37"/>
                  </a:lnTo>
                  <a:lnTo>
                    <a:pt x="90" y="43"/>
                  </a:lnTo>
                  <a:lnTo>
                    <a:pt x="94" y="45"/>
                  </a:lnTo>
                  <a:lnTo>
                    <a:pt x="96" y="47"/>
                  </a:lnTo>
                  <a:lnTo>
                    <a:pt x="101" y="47"/>
                  </a:lnTo>
                  <a:lnTo>
                    <a:pt x="103" y="47"/>
                  </a:lnTo>
                  <a:lnTo>
                    <a:pt x="107" y="49"/>
                  </a:lnTo>
                  <a:lnTo>
                    <a:pt x="107" y="49"/>
                  </a:lnTo>
                  <a:lnTo>
                    <a:pt x="107" y="49"/>
                  </a:lnTo>
                  <a:lnTo>
                    <a:pt x="107" y="49"/>
                  </a:lnTo>
                  <a:close/>
                  <a:moveTo>
                    <a:pt x="131" y="132"/>
                  </a:moveTo>
                  <a:lnTo>
                    <a:pt x="131" y="128"/>
                  </a:lnTo>
                  <a:lnTo>
                    <a:pt x="137" y="126"/>
                  </a:lnTo>
                  <a:lnTo>
                    <a:pt x="143" y="124"/>
                  </a:lnTo>
                  <a:lnTo>
                    <a:pt x="147" y="122"/>
                  </a:lnTo>
                  <a:lnTo>
                    <a:pt x="152" y="118"/>
                  </a:lnTo>
                  <a:lnTo>
                    <a:pt x="158" y="117"/>
                  </a:lnTo>
                  <a:lnTo>
                    <a:pt x="158" y="120"/>
                  </a:lnTo>
                  <a:lnTo>
                    <a:pt x="162" y="124"/>
                  </a:lnTo>
                  <a:lnTo>
                    <a:pt x="162" y="126"/>
                  </a:lnTo>
                  <a:lnTo>
                    <a:pt x="158" y="128"/>
                  </a:lnTo>
                  <a:lnTo>
                    <a:pt x="158" y="130"/>
                  </a:lnTo>
                  <a:lnTo>
                    <a:pt x="158" y="134"/>
                  </a:lnTo>
                  <a:lnTo>
                    <a:pt x="162" y="137"/>
                  </a:lnTo>
                  <a:lnTo>
                    <a:pt x="165" y="141"/>
                  </a:lnTo>
                  <a:lnTo>
                    <a:pt x="167" y="137"/>
                  </a:lnTo>
                  <a:lnTo>
                    <a:pt x="173" y="137"/>
                  </a:lnTo>
                  <a:lnTo>
                    <a:pt x="175" y="137"/>
                  </a:lnTo>
                  <a:lnTo>
                    <a:pt x="177" y="141"/>
                  </a:lnTo>
                  <a:lnTo>
                    <a:pt x="180" y="141"/>
                  </a:lnTo>
                  <a:lnTo>
                    <a:pt x="179" y="141"/>
                  </a:lnTo>
                  <a:lnTo>
                    <a:pt x="175" y="143"/>
                  </a:lnTo>
                  <a:lnTo>
                    <a:pt x="171" y="149"/>
                  </a:lnTo>
                  <a:lnTo>
                    <a:pt x="171" y="152"/>
                  </a:lnTo>
                  <a:lnTo>
                    <a:pt x="171" y="160"/>
                  </a:lnTo>
                  <a:lnTo>
                    <a:pt x="165" y="162"/>
                  </a:lnTo>
                  <a:lnTo>
                    <a:pt x="162" y="162"/>
                  </a:lnTo>
                  <a:lnTo>
                    <a:pt x="162" y="167"/>
                  </a:lnTo>
                  <a:lnTo>
                    <a:pt x="162" y="167"/>
                  </a:lnTo>
                  <a:lnTo>
                    <a:pt x="158" y="171"/>
                  </a:lnTo>
                  <a:lnTo>
                    <a:pt x="156" y="171"/>
                  </a:lnTo>
                  <a:lnTo>
                    <a:pt x="156" y="167"/>
                  </a:lnTo>
                  <a:lnTo>
                    <a:pt x="158" y="166"/>
                  </a:lnTo>
                  <a:lnTo>
                    <a:pt x="156" y="162"/>
                  </a:lnTo>
                  <a:lnTo>
                    <a:pt x="158" y="156"/>
                  </a:lnTo>
                  <a:lnTo>
                    <a:pt x="158" y="152"/>
                  </a:lnTo>
                  <a:lnTo>
                    <a:pt x="156" y="152"/>
                  </a:lnTo>
                  <a:lnTo>
                    <a:pt x="154" y="152"/>
                  </a:lnTo>
                  <a:lnTo>
                    <a:pt x="152" y="154"/>
                  </a:lnTo>
                  <a:lnTo>
                    <a:pt x="150" y="158"/>
                  </a:lnTo>
                  <a:lnTo>
                    <a:pt x="147" y="160"/>
                  </a:lnTo>
                  <a:lnTo>
                    <a:pt x="145" y="160"/>
                  </a:lnTo>
                  <a:lnTo>
                    <a:pt x="141" y="162"/>
                  </a:lnTo>
                  <a:lnTo>
                    <a:pt x="137" y="162"/>
                  </a:lnTo>
                  <a:lnTo>
                    <a:pt x="135" y="166"/>
                  </a:lnTo>
                  <a:lnTo>
                    <a:pt x="131" y="166"/>
                  </a:lnTo>
                  <a:lnTo>
                    <a:pt x="131" y="162"/>
                  </a:lnTo>
                  <a:lnTo>
                    <a:pt x="135" y="160"/>
                  </a:lnTo>
                  <a:lnTo>
                    <a:pt x="131" y="158"/>
                  </a:lnTo>
                  <a:lnTo>
                    <a:pt x="137" y="154"/>
                  </a:lnTo>
                  <a:lnTo>
                    <a:pt x="137" y="149"/>
                  </a:lnTo>
                  <a:lnTo>
                    <a:pt x="141" y="147"/>
                  </a:lnTo>
                  <a:lnTo>
                    <a:pt x="141" y="141"/>
                  </a:lnTo>
                  <a:lnTo>
                    <a:pt x="141" y="137"/>
                  </a:lnTo>
                  <a:lnTo>
                    <a:pt x="141" y="137"/>
                  </a:lnTo>
                  <a:lnTo>
                    <a:pt x="137" y="137"/>
                  </a:lnTo>
                  <a:lnTo>
                    <a:pt x="131" y="134"/>
                  </a:lnTo>
                  <a:lnTo>
                    <a:pt x="131" y="132"/>
                  </a:lnTo>
                  <a:lnTo>
                    <a:pt x="131" y="132"/>
                  </a:lnTo>
                  <a:lnTo>
                    <a:pt x="131" y="132"/>
                  </a:lnTo>
                  <a:lnTo>
                    <a:pt x="131" y="132"/>
                  </a:lnTo>
                  <a:close/>
                  <a:moveTo>
                    <a:pt x="113" y="79"/>
                  </a:moveTo>
                  <a:lnTo>
                    <a:pt x="115" y="83"/>
                  </a:lnTo>
                  <a:lnTo>
                    <a:pt x="116" y="83"/>
                  </a:lnTo>
                  <a:lnTo>
                    <a:pt x="120" y="86"/>
                  </a:lnTo>
                  <a:lnTo>
                    <a:pt x="124" y="83"/>
                  </a:lnTo>
                  <a:lnTo>
                    <a:pt x="124" y="79"/>
                  </a:lnTo>
                  <a:lnTo>
                    <a:pt x="120" y="79"/>
                  </a:lnTo>
                  <a:lnTo>
                    <a:pt x="115" y="77"/>
                  </a:lnTo>
                  <a:lnTo>
                    <a:pt x="113" y="77"/>
                  </a:lnTo>
                  <a:lnTo>
                    <a:pt x="113" y="79"/>
                  </a:lnTo>
                  <a:lnTo>
                    <a:pt x="113" y="79"/>
                  </a:lnTo>
                  <a:lnTo>
                    <a:pt x="113" y="79"/>
                  </a:lnTo>
                  <a:lnTo>
                    <a:pt x="113" y="79"/>
                  </a:lnTo>
                  <a:close/>
                  <a:moveTo>
                    <a:pt x="120" y="111"/>
                  </a:moveTo>
                  <a:lnTo>
                    <a:pt x="124" y="113"/>
                  </a:lnTo>
                  <a:lnTo>
                    <a:pt x="128" y="113"/>
                  </a:lnTo>
                  <a:lnTo>
                    <a:pt x="128" y="117"/>
                  </a:lnTo>
                  <a:lnTo>
                    <a:pt x="128" y="117"/>
                  </a:lnTo>
                  <a:lnTo>
                    <a:pt x="128" y="118"/>
                  </a:lnTo>
                  <a:lnTo>
                    <a:pt x="131" y="120"/>
                  </a:lnTo>
                  <a:lnTo>
                    <a:pt x="128" y="124"/>
                  </a:lnTo>
                  <a:lnTo>
                    <a:pt x="131" y="122"/>
                  </a:lnTo>
                  <a:lnTo>
                    <a:pt x="135" y="124"/>
                  </a:lnTo>
                  <a:lnTo>
                    <a:pt x="135" y="122"/>
                  </a:lnTo>
                  <a:lnTo>
                    <a:pt x="141" y="118"/>
                  </a:lnTo>
                  <a:lnTo>
                    <a:pt x="143" y="118"/>
                  </a:lnTo>
                  <a:lnTo>
                    <a:pt x="145" y="117"/>
                  </a:lnTo>
                  <a:lnTo>
                    <a:pt x="145" y="117"/>
                  </a:lnTo>
                  <a:lnTo>
                    <a:pt x="145" y="113"/>
                  </a:lnTo>
                  <a:lnTo>
                    <a:pt x="147" y="111"/>
                  </a:lnTo>
                  <a:lnTo>
                    <a:pt x="148" y="107"/>
                  </a:lnTo>
                  <a:lnTo>
                    <a:pt x="147" y="103"/>
                  </a:lnTo>
                  <a:lnTo>
                    <a:pt x="143" y="103"/>
                  </a:lnTo>
                  <a:lnTo>
                    <a:pt x="143" y="102"/>
                  </a:lnTo>
                  <a:lnTo>
                    <a:pt x="141" y="102"/>
                  </a:lnTo>
                  <a:lnTo>
                    <a:pt x="141" y="103"/>
                  </a:lnTo>
                  <a:lnTo>
                    <a:pt x="135" y="103"/>
                  </a:lnTo>
                  <a:lnTo>
                    <a:pt x="135" y="103"/>
                  </a:lnTo>
                  <a:lnTo>
                    <a:pt x="131" y="102"/>
                  </a:lnTo>
                  <a:lnTo>
                    <a:pt x="128" y="103"/>
                  </a:lnTo>
                  <a:lnTo>
                    <a:pt x="128" y="107"/>
                  </a:lnTo>
                  <a:lnTo>
                    <a:pt x="128" y="107"/>
                  </a:lnTo>
                  <a:lnTo>
                    <a:pt x="126" y="107"/>
                  </a:lnTo>
                  <a:lnTo>
                    <a:pt x="122" y="111"/>
                  </a:lnTo>
                  <a:lnTo>
                    <a:pt x="120" y="111"/>
                  </a:lnTo>
                  <a:lnTo>
                    <a:pt x="120" y="111"/>
                  </a:lnTo>
                  <a:lnTo>
                    <a:pt x="120" y="111"/>
                  </a:lnTo>
                  <a:lnTo>
                    <a:pt x="120" y="111"/>
                  </a:lnTo>
                  <a:close/>
                  <a:moveTo>
                    <a:pt x="19" y="128"/>
                  </a:moveTo>
                  <a:lnTo>
                    <a:pt x="15" y="122"/>
                  </a:lnTo>
                  <a:lnTo>
                    <a:pt x="15" y="122"/>
                  </a:lnTo>
                  <a:lnTo>
                    <a:pt x="15" y="118"/>
                  </a:lnTo>
                  <a:lnTo>
                    <a:pt x="11" y="117"/>
                  </a:lnTo>
                  <a:lnTo>
                    <a:pt x="7" y="117"/>
                  </a:lnTo>
                  <a:lnTo>
                    <a:pt x="5" y="113"/>
                  </a:lnTo>
                  <a:lnTo>
                    <a:pt x="5" y="107"/>
                  </a:lnTo>
                  <a:lnTo>
                    <a:pt x="3" y="103"/>
                  </a:lnTo>
                  <a:lnTo>
                    <a:pt x="2" y="102"/>
                  </a:lnTo>
                  <a:lnTo>
                    <a:pt x="2" y="96"/>
                  </a:lnTo>
                  <a:lnTo>
                    <a:pt x="2" y="94"/>
                  </a:lnTo>
                  <a:lnTo>
                    <a:pt x="3" y="96"/>
                  </a:lnTo>
                  <a:lnTo>
                    <a:pt x="7" y="100"/>
                  </a:lnTo>
                  <a:lnTo>
                    <a:pt x="9" y="103"/>
                  </a:lnTo>
                  <a:lnTo>
                    <a:pt x="7" y="107"/>
                  </a:lnTo>
                  <a:lnTo>
                    <a:pt x="11" y="111"/>
                  </a:lnTo>
                  <a:lnTo>
                    <a:pt x="13" y="113"/>
                  </a:lnTo>
                  <a:lnTo>
                    <a:pt x="15" y="113"/>
                  </a:lnTo>
                  <a:lnTo>
                    <a:pt x="15" y="113"/>
                  </a:lnTo>
                  <a:lnTo>
                    <a:pt x="15" y="113"/>
                  </a:lnTo>
                  <a:lnTo>
                    <a:pt x="19" y="117"/>
                  </a:lnTo>
                  <a:lnTo>
                    <a:pt x="19" y="122"/>
                  </a:lnTo>
                  <a:lnTo>
                    <a:pt x="22" y="126"/>
                  </a:lnTo>
                  <a:lnTo>
                    <a:pt x="22" y="128"/>
                  </a:lnTo>
                  <a:lnTo>
                    <a:pt x="19" y="128"/>
                  </a:lnTo>
                  <a:lnTo>
                    <a:pt x="19" y="128"/>
                  </a:lnTo>
                  <a:lnTo>
                    <a:pt x="19" y="128"/>
                  </a:lnTo>
                  <a:lnTo>
                    <a:pt x="19" y="128"/>
                  </a:lnTo>
                  <a:lnTo>
                    <a:pt x="19" y="128"/>
                  </a:lnTo>
                  <a:lnTo>
                    <a:pt x="19" y="128"/>
                  </a:lnTo>
                  <a:close/>
                  <a:moveTo>
                    <a:pt x="86" y="211"/>
                  </a:moveTo>
                  <a:lnTo>
                    <a:pt x="84" y="209"/>
                  </a:lnTo>
                  <a:lnTo>
                    <a:pt x="83" y="209"/>
                  </a:lnTo>
                  <a:lnTo>
                    <a:pt x="83" y="211"/>
                  </a:lnTo>
                  <a:lnTo>
                    <a:pt x="83" y="211"/>
                  </a:lnTo>
                  <a:lnTo>
                    <a:pt x="83" y="209"/>
                  </a:lnTo>
                  <a:lnTo>
                    <a:pt x="83" y="205"/>
                  </a:lnTo>
                  <a:lnTo>
                    <a:pt x="79" y="201"/>
                  </a:lnTo>
                  <a:lnTo>
                    <a:pt x="77" y="201"/>
                  </a:lnTo>
                  <a:lnTo>
                    <a:pt x="73" y="196"/>
                  </a:lnTo>
                  <a:lnTo>
                    <a:pt x="73" y="192"/>
                  </a:lnTo>
                  <a:lnTo>
                    <a:pt x="77" y="192"/>
                  </a:lnTo>
                  <a:lnTo>
                    <a:pt x="77" y="192"/>
                  </a:lnTo>
                  <a:lnTo>
                    <a:pt x="77" y="190"/>
                  </a:lnTo>
                  <a:lnTo>
                    <a:pt x="77" y="188"/>
                  </a:lnTo>
                  <a:lnTo>
                    <a:pt x="77" y="186"/>
                  </a:lnTo>
                  <a:lnTo>
                    <a:pt x="77" y="186"/>
                  </a:lnTo>
                  <a:lnTo>
                    <a:pt x="73" y="186"/>
                  </a:lnTo>
                  <a:lnTo>
                    <a:pt x="73" y="186"/>
                  </a:lnTo>
                  <a:lnTo>
                    <a:pt x="71" y="188"/>
                  </a:lnTo>
                  <a:lnTo>
                    <a:pt x="67" y="190"/>
                  </a:lnTo>
                  <a:lnTo>
                    <a:pt x="64" y="186"/>
                  </a:lnTo>
                  <a:lnTo>
                    <a:pt x="64" y="184"/>
                  </a:lnTo>
                  <a:lnTo>
                    <a:pt x="62" y="183"/>
                  </a:lnTo>
                  <a:lnTo>
                    <a:pt x="60" y="181"/>
                  </a:lnTo>
                  <a:lnTo>
                    <a:pt x="58" y="181"/>
                  </a:lnTo>
                  <a:lnTo>
                    <a:pt x="56" y="181"/>
                  </a:lnTo>
                  <a:lnTo>
                    <a:pt x="54" y="177"/>
                  </a:lnTo>
                  <a:lnTo>
                    <a:pt x="54" y="175"/>
                  </a:lnTo>
                  <a:lnTo>
                    <a:pt x="52" y="173"/>
                  </a:lnTo>
                  <a:lnTo>
                    <a:pt x="52" y="173"/>
                  </a:lnTo>
                  <a:lnTo>
                    <a:pt x="52" y="173"/>
                  </a:lnTo>
                  <a:lnTo>
                    <a:pt x="52" y="171"/>
                  </a:lnTo>
                  <a:lnTo>
                    <a:pt x="49" y="171"/>
                  </a:lnTo>
                  <a:lnTo>
                    <a:pt x="49" y="167"/>
                  </a:lnTo>
                  <a:lnTo>
                    <a:pt x="49" y="167"/>
                  </a:lnTo>
                  <a:lnTo>
                    <a:pt x="49" y="167"/>
                  </a:lnTo>
                  <a:lnTo>
                    <a:pt x="49" y="162"/>
                  </a:lnTo>
                  <a:lnTo>
                    <a:pt x="49" y="162"/>
                  </a:lnTo>
                  <a:lnTo>
                    <a:pt x="47" y="160"/>
                  </a:lnTo>
                  <a:lnTo>
                    <a:pt x="47" y="158"/>
                  </a:lnTo>
                  <a:lnTo>
                    <a:pt x="49" y="156"/>
                  </a:lnTo>
                  <a:lnTo>
                    <a:pt x="52" y="156"/>
                  </a:lnTo>
                  <a:lnTo>
                    <a:pt x="54" y="160"/>
                  </a:lnTo>
                  <a:lnTo>
                    <a:pt x="54" y="160"/>
                  </a:lnTo>
                  <a:lnTo>
                    <a:pt x="56" y="160"/>
                  </a:lnTo>
                  <a:lnTo>
                    <a:pt x="58" y="158"/>
                  </a:lnTo>
                  <a:lnTo>
                    <a:pt x="60" y="160"/>
                  </a:lnTo>
                  <a:lnTo>
                    <a:pt x="62" y="160"/>
                  </a:lnTo>
                  <a:lnTo>
                    <a:pt x="66" y="160"/>
                  </a:lnTo>
                  <a:lnTo>
                    <a:pt x="71" y="160"/>
                  </a:lnTo>
                  <a:lnTo>
                    <a:pt x="73" y="158"/>
                  </a:lnTo>
                  <a:lnTo>
                    <a:pt x="69" y="156"/>
                  </a:lnTo>
                  <a:lnTo>
                    <a:pt x="66" y="156"/>
                  </a:lnTo>
                  <a:lnTo>
                    <a:pt x="60" y="154"/>
                  </a:lnTo>
                  <a:lnTo>
                    <a:pt x="56" y="152"/>
                  </a:lnTo>
                  <a:lnTo>
                    <a:pt x="56" y="152"/>
                  </a:lnTo>
                  <a:lnTo>
                    <a:pt x="60" y="150"/>
                  </a:lnTo>
                  <a:lnTo>
                    <a:pt x="62" y="150"/>
                  </a:lnTo>
                  <a:lnTo>
                    <a:pt x="69" y="149"/>
                  </a:lnTo>
                  <a:lnTo>
                    <a:pt x="73" y="147"/>
                  </a:lnTo>
                  <a:lnTo>
                    <a:pt x="77" y="147"/>
                  </a:lnTo>
                  <a:lnTo>
                    <a:pt x="79" y="147"/>
                  </a:lnTo>
                  <a:lnTo>
                    <a:pt x="79" y="147"/>
                  </a:lnTo>
                  <a:lnTo>
                    <a:pt x="83" y="147"/>
                  </a:lnTo>
                  <a:lnTo>
                    <a:pt x="83" y="143"/>
                  </a:lnTo>
                  <a:lnTo>
                    <a:pt x="83" y="141"/>
                  </a:lnTo>
                  <a:lnTo>
                    <a:pt x="83" y="141"/>
                  </a:lnTo>
                  <a:lnTo>
                    <a:pt x="83" y="141"/>
                  </a:lnTo>
                  <a:lnTo>
                    <a:pt x="79" y="141"/>
                  </a:lnTo>
                  <a:lnTo>
                    <a:pt x="77" y="143"/>
                  </a:lnTo>
                  <a:lnTo>
                    <a:pt x="71" y="143"/>
                  </a:lnTo>
                  <a:lnTo>
                    <a:pt x="67" y="143"/>
                  </a:lnTo>
                  <a:lnTo>
                    <a:pt x="67" y="141"/>
                  </a:lnTo>
                  <a:lnTo>
                    <a:pt x="64" y="141"/>
                  </a:lnTo>
                  <a:lnTo>
                    <a:pt x="64" y="143"/>
                  </a:lnTo>
                  <a:lnTo>
                    <a:pt x="62" y="143"/>
                  </a:lnTo>
                  <a:lnTo>
                    <a:pt x="60" y="147"/>
                  </a:lnTo>
                  <a:lnTo>
                    <a:pt x="56" y="147"/>
                  </a:lnTo>
                  <a:lnTo>
                    <a:pt x="54" y="147"/>
                  </a:lnTo>
                  <a:lnTo>
                    <a:pt x="52" y="149"/>
                  </a:lnTo>
                  <a:lnTo>
                    <a:pt x="49" y="149"/>
                  </a:lnTo>
                  <a:lnTo>
                    <a:pt x="47" y="150"/>
                  </a:lnTo>
                  <a:lnTo>
                    <a:pt x="43" y="150"/>
                  </a:lnTo>
                  <a:lnTo>
                    <a:pt x="43" y="149"/>
                  </a:lnTo>
                  <a:lnTo>
                    <a:pt x="43" y="147"/>
                  </a:lnTo>
                  <a:lnTo>
                    <a:pt x="41" y="141"/>
                  </a:lnTo>
                  <a:lnTo>
                    <a:pt x="43" y="137"/>
                  </a:lnTo>
                  <a:lnTo>
                    <a:pt x="43" y="137"/>
                  </a:lnTo>
                  <a:lnTo>
                    <a:pt x="43" y="135"/>
                  </a:lnTo>
                  <a:lnTo>
                    <a:pt x="47" y="134"/>
                  </a:lnTo>
                  <a:lnTo>
                    <a:pt x="49" y="135"/>
                  </a:lnTo>
                  <a:lnTo>
                    <a:pt x="49" y="137"/>
                  </a:lnTo>
                  <a:lnTo>
                    <a:pt x="49" y="137"/>
                  </a:lnTo>
                  <a:lnTo>
                    <a:pt x="49" y="135"/>
                  </a:lnTo>
                  <a:lnTo>
                    <a:pt x="52" y="134"/>
                  </a:lnTo>
                  <a:lnTo>
                    <a:pt x="54" y="134"/>
                  </a:lnTo>
                  <a:lnTo>
                    <a:pt x="56" y="130"/>
                  </a:lnTo>
                  <a:lnTo>
                    <a:pt x="60" y="126"/>
                  </a:lnTo>
                  <a:lnTo>
                    <a:pt x="64" y="124"/>
                  </a:lnTo>
                  <a:lnTo>
                    <a:pt x="64" y="122"/>
                  </a:lnTo>
                  <a:lnTo>
                    <a:pt x="64" y="120"/>
                  </a:lnTo>
                  <a:lnTo>
                    <a:pt x="69" y="118"/>
                  </a:lnTo>
                  <a:lnTo>
                    <a:pt x="73" y="118"/>
                  </a:lnTo>
                  <a:lnTo>
                    <a:pt x="77" y="117"/>
                  </a:lnTo>
                  <a:lnTo>
                    <a:pt x="83" y="117"/>
                  </a:lnTo>
                  <a:lnTo>
                    <a:pt x="83" y="113"/>
                  </a:lnTo>
                  <a:lnTo>
                    <a:pt x="83" y="113"/>
                  </a:lnTo>
                  <a:lnTo>
                    <a:pt x="83" y="113"/>
                  </a:lnTo>
                  <a:lnTo>
                    <a:pt x="77" y="113"/>
                  </a:lnTo>
                  <a:lnTo>
                    <a:pt x="77" y="117"/>
                  </a:lnTo>
                  <a:lnTo>
                    <a:pt x="73" y="113"/>
                  </a:lnTo>
                  <a:lnTo>
                    <a:pt x="73" y="111"/>
                  </a:lnTo>
                  <a:lnTo>
                    <a:pt x="73" y="107"/>
                  </a:lnTo>
                  <a:lnTo>
                    <a:pt x="73" y="103"/>
                  </a:lnTo>
                  <a:lnTo>
                    <a:pt x="73" y="100"/>
                  </a:lnTo>
                  <a:lnTo>
                    <a:pt x="71" y="100"/>
                  </a:lnTo>
                  <a:lnTo>
                    <a:pt x="71" y="103"/>
                  </a:lnTo>
                  <a:lnTo>
                    <a:pt x="71" y="107"/>
                  </a:lnTo>
                  <a:lnTo>
                    <a:pt x="69" y="111"/>
                  </a:lnTo>
                  <a:lnTo>
                    <a:pt x="64" y="117"/>
                  </a:lnTo>
                  <a:lnTo>
                    <a:pt x="62" y="117"/>
                  </a:lnTo>
                  <a:lnTo>
                    <a:pt x="60" y="117"/>
                  </a:lnTo>
                  <a:lnTo>
                    <a:pt x="58" y="111"/>
                  </a:lnTo>
                  <a:lnTo>
                    <a:pt x="60" y="109"/>
                  </a:lnTo>
                  <a:lnTo>
                    <a:pt x="62" y="107"/>
                  </a:lnTo>
                  <a:lnTo>
                    <a:pt x="62" y="103"/>
                  </a:lnTo>
                  <a:lnTo>
                    <a:pt x="60" y="102"/>
                  </a:lnTo>
                  <a:lnTo>
                    <a:pt x="60" y="98"/>
                  </a:lnTo>
                  <a:lnTo>
                    <a:pt x="58" y="96"/>
                  </a:lnTo>
                  <a:lnTo>
                    <a:pt x="56" y="96"/>
                  </a:lnTo>
                  <a:lnTo>
                    <a:pt x="56" y="98"/>
                  </a:lnTo>
                  <a:lnTo>
                    <a:pt x="56" y="103"/>
                  </a:lnTo>
                  <a:lnTo>
                    <a:pt x="56" y="107"/>
                  </a:lnTo>
                  <a:lnTo>
                    <a:pt x="54" y="109"/>
                  </a:lnTo>
                  <a:lnTo>
                    <a:pt x="52" y="107"/>
                  </a:lnTo>
                  <a:lnTo>
                    <a:pt x="54" y="103"/>
                  </a:lnTo>
                  <a:lnTo>
                    <a:pt x="52" y="102"/>
                  </a:lnTo>
                  <a:lnTo>
                    <a:pt x="52" y="102"/>
                  </a:lnTo>
                  <a:lnTo>
                    <a:pt x="49" y="102"/>
                  </a:lnTo>
                  <a:lnTo>
                    <a:pt x="49" y="103"/>
                  </a:lnTo>
                  <a:lnTo>
                    <a:pt x="49" y="107"/>
                  </a:lnTo>
                  <a:lnTo>
                    <a:pt x="49" y="111"/>
                  </a:lnTo>
                  <a:lnTo>
                    <a:pt x="52" y="113"/>
                  </a:lnTo>
                  <a:lnTo>
                    <a:pt x="52" y="117"/>
                  </a:lnTo>
                  <a:lnTo>
                    <a:pt x="52" y="120"/>
                  </a:lnTo>
                  <a:lnTo>
                    <a:pt x="52" y="118"/>
                  </a:lnTo>
                  <a:lnTo>
                    <a:pt x="49" y="120"/>
                  </a:lnTo>
                  <a:lnTo>
                    <a:pt x="47" y="124"/>
                  </a:lnTo>
                  <a:lnTo>
                    <a:pt x="47" y="128"/>
                  </a:lnTo>
                  <a:lnTo>
                    <a:pt x="43" y="130"/>
                  </a:lnTo>
                  <a:lnTo>
                    <a:pt x="37" y="130"/>
                  </a:lnTo>
                  <a:lnTo>
                    <a:pt x="34" y="130"/>
                  </a:lnTo>
                  <a:lnTo>
                    <a:pt x="34" y="128"/>
                  </a:lnTo>
                  <a:lnTo>
                    <a:pt x="35" y="126"/>
                  </a:lnTo>
                  <a:lnTo>
                    <a:pt x="34" y="122"/>
                  </a:lnTo>
                  <a:lnTo>
                    <a:pt x="30" y="118"/>
                  </a:lnTo>
                  <a:lnTo>
                    <a:pt x="28" y="118"/>
                  </a:lnTo>
                  <a:lnTo>
                    <a:pt x="28" y="118"/>
                  </a:lnTo>
                  <a:lnTo>
                    <a:pt x="22" y="117"/>
                  </a:lnTo>
                  <a:lnTo>
                    <a:pt x="22" y="113"/>
                  </a:lnTo>
                  <a:lnTo>
                    <a:pt x="28" y="113"/>
                  </a:lnTo>
                  <a:lnTo>
                    <a:pt x="30" y="111"/>
                  </a:lnTo>
                  <a:lnTo>
                    <a:pt x="28" y="109"/>
                  </a:lnTo>
                  <a:lnTo>
                    <a:pt x="28" y="109"/>
                  </a:lnTo>
                  <a:lnTo>
                    <a:pt x="24" y="111"/>
                  </a:lnTo>
                  <a:lnTo>
                    <a:pt x="22" y="109"/>
                  </a:lnTo>
                  <a:lnTo>
                    <a:pt x="22" y="107"/>
                  </a:lnTo>
                  <a:lnTo>
                    <a:pt x="19" y="103"/>
                  </a:lnTo>
                  <a:lnTo>
                    <a:pt x="15" y="103"/>
                  </a:lnTo>
                  <a:lnTo>
                    <a:pt x="15" y="100"/>
                  </a:lnTo>
                  <a:lnTo>
                    <a:pt x="15" y="98"/>
                  </a:lnTo>
                  <a:lnTo>
                    <a:pt x="15" y="98"/>
                  </a:lnTo>
                  <a:lnTo>
                    <a:pt x="15" y="96"/>
                  </a:lnTo>
                  <a:lnTo>
                    <a:pt x="11" y="94"/>
                  </a:lnTo>
                  <a:lnTo>
                    <a:pt x="9" y="92"/>
                  </a:lnTo>
                  <a:lnTo>
                    <a:pt x="9" y="88"/>
                  </a:lnTo>
                  <a:lnTo>
                    <a:pt x="11" y="88"/>
                  </a:lnTo>
                  <a:lnTo>
                    <a:pt x="15" y="92"/>
                  </a:lnTo>
                  <a:lnTo>
                    <a:pt x="15" y="94"/>
                  </a:lnTo>
                  <a:lnTo>
                    <a:pt x="15" y="94"/>
                  </a:lnTo>
                  <a:lnTo>
                    <a:pt x="19" y="94"/>
                  </a:lnTo>
                  <a:lnTo>
                    <a:pt x="19" y="92"/>
                  </a:lnTo>
                  <a:lnTo>
                    <a:pt x="19" y="88"/>
                  </a:lnTo>
                  <a:lnTo>
                    <a:pt x="19" y="88"/>
                  </a:lnTo>
                  <a:lnTo>
                    <a:pt x="19" y="88"/>
                  </a:lnTo>
                  <a:lnTo>
                    <a:pt x="15" y="88"/>
                  </a:lnTo>
                  <a:lnTo>
                    <a:pt x="15" y="88"/>
                  </a:lnTo>
                  <a:lnTo>
                    <a:pt x="13" y="83"/>
                  </a:lnTo>
                  <a:lnTo>
                    <a:pt x="13" y="83"/>
                  </a:lnTo>
                  <a:lnTo>
                    <a:pt x="13" y="83"/>
                  </a:lnTo>
                  <a:lnTo>
                    <a:pt x="15" y="77"/>
                  </a:lnTo>
                  <a:lnTo>
                    <a:pt x="15" y="73"/>
                  </a:lnTo>
                  <a:lnTo>
                    <a:pt x="15" y="73"/>
                  </a:lnTo>
                  <a:lnTo>
                    <a:pt x="13" y="73"/>
                  </a:lnTo>
                  <a:lnTo>
                    <a:pt x="11" y="71"/>
                  </a:lnTo>
                  <a:lnTo>
                    <a:pt x="9" y="71"/>
                  </a:lnTo>
                  <a:lnTo>
                    <a:pt x="9" y="77"/>
                  </a:lnTo>
                  <a:lnTo>
                    <a:pt x="9" y="79"/>
                  </a:lnTo>
                  <a:lnTo>
                    <a:pt x="7" y="83"/>
                  </a:lnTo>
                  <a:lnTo>
                    <a:pt x="5" y="83"/>
                  </a:lnTo>
                  <a:lnTo>
                    <a:pt x="5" y="79"/>
                  </a:lnTo>
                  <a:lnTo>
                    <a:pt x="0" y="75"/>
                  </a:lnTo>
                  <a:lnTo>
                    <a:pt x="0" y="69"/>
                  </a:lnTo>
                  <a:lnTo>
                    <a:pt x="0" y="66"/>
                  </a:lnTo>
                  <a:lnTo>
                    <a:pt x="0" y="62"/>
                  </a:lnTo>
                  <a:lnTo>
                    <a:pt x="2" y="62"/>
                  </a:lnTo>
                  <a:lnTo>
                    <a:pt x="3" y="58"/>
                  </a:lnTo>
                  <a:lnTo>
                    <a:pt x="5" y="58"/>
                  </a:lnTo>
                  <a:lnTo>
                    <a:pt x="5" y="54"/>
                  </a:lnTo>
                  <a:lnTo>
                    <a:pt x="3" y="54"/>
                  </a:lnTo>
                  <a:lnTo>
                    <a:pt x="3" y="51"/>
                  </a:lnTo>
                  <a:lnTo>
                    <a:pt x="7" y="47"/>
                  </a:lnTo>
                  <a:lnTo>
                    <a:pt x="11" y="47"/>
                  </a:lnTo>
                  <a:lnTo>
                    <a:pt x="13" y="53"/>
                  </a:lnTo>
                  <a:lnTo>
                    <a:pt x="15" y="54"/>
                  </a:lnTo>
                  <a:lnTo>
                    <a:pt x="15" y="54"/>
                  </a:lnTo>
                  <a:lnTo>
                    <a:pt x="19" y="54"/>
                  </a:lnTo>
                  <a:lnTo>
                    <a:pt x="15" y="49"/>
                  </a:lnTo>
                  <a:lnTo>
                    <a:pt x="15" y="45"/>
                  </a:lnTo>
                  <a:lnTo>
                    <a:pt x="15" y="45"/>
                  </a:lnTo>
                  <a:lnTo>
                    <a:pt x="19" y="45"/>
                  </a:lnTo>
                  <a:lnTo>
                    <a:pt x="19" y="49"/>
                  </a:lnTo>
                  <a:lnTo>
                    <a:pt x="19" y="49"/>
                  </a:lnTo>
                  <a:lnTo>
                    <a:pt x="22" y="49"/>
                  </a:lnTo>
                  <a:lnTo>
                    <a:pt x="28" y="41"/>
                  </a:lnTo>
                  <a:lnTo>
                    <a:pt x="34" y="41"/>
                  </a:lnTo>
                  <a:lnTo>
                    <a:pt x="35" y="43"/>
                  </a:lnTo>
                  <a:lnTo>
                    <a:pt x="37" y="47"/>
                  </a:lnTo>
                  <a:lnTo>
                    <a:pt x="37" y="51"/>
                  </a:lnTo>
                  <a:lnTo>
                    <a:pt x="34" y="53"/>
                  </a:lnTo>
                  <a:lnTo>
                    <a:pt x="32" y="53"/>
                  </a:lnTo>
                  <a:lnTo>
                    <a:pt x="32" y="51"/>
                  </a:lnTo>
                  <a:lnTo>
                    <a:pt x="30" y="51"/>
                  </a:lnTo>
                  <a:lnTo>
                    <a:pt x="24" y="54"/>
                  </a:lnTo>
                  <a:lnTo>
                    <a:pt x="24" y="54"/>
                  </a:lnTo>
                  <a:lnTo>
                    <a:pt x="22" y="54"/>
                  </a:lnTo>
                  <a:lnTo>
                    <a:pt x="22" y="58"/>
                  </a:lnTo>
                  <a:lnTo>
                    <a:pt x="24" y="58"/>
                  </a:lnTo>
                  <a:lnTo>
                    <a:pt x="28" y="58"/>
                  </a:lnTo>
                  <a:lnTo>
                    <a:pt x="32" y="54"/>
                  </a:lnTo>
                  <a:lnTo>
                    <a:pt x="34" y="58"/>
                  </a:lnTo>
                  <a:lnTo>
                    <a:pt x="34" y="58"/>
                  </a:lnTo>
                  <a:lnTo>
                    <a:pt x="30" y="60"/>
                  </a:lnTo>
                  <a:lnTo>
                    <a:pt x="30" y="62"/>
                  </a:lnTo>
                  <a:lnTo>
                    <a:pt x="32" y="64"/>
                  </a:lnTo>
                  <a:lnTo>
                    <a:pt x="32" y="62"/>
                  </a:lnTo>
                  <a:lnTo>
                    <a:pt x="34" y="62"/>
                  </a:lnTo>
                  <a:lnTo>
                    <a:pt x="35" y="64"/>
                  </a:lnTo>
                  <a:lnTo>
                    <a:pt x="37" y="66"/>
                  </a:lnTo>
                  <a:lnTo>
                    <a:pt x="37" y="68"/>
                  </a:lnTo>
                  <a:lnTo>
                    <a:pt x="37" y="73"/>
                  </a:lnTo>
                  <a:lnTo>
                    <a:pt x="39" y="75"/>
                  </a:lnTo>
                  <a:lnTo>
                    <a:pt x="41" y="75"/>
                  </a:lnTo>
                  <a:lnTo>
                    <a:pt x="41" y="69"/>
                  </a:lnTo>
                  <a:lnTo>
                    <a:pt x="37" y="66"/>
                  </a:lnTo>
                  <a:lnTo>
                    <a:pt x="37" y="62"/>
                  </a:lnTo>
                  <a:lnTo>
                    <a:pt x="39" y="58"/>
                  </a:lnTo>
                  <a:lnTo>
                    <a:pt x="43" y="53"/>
                  </a:lnTo>
                  <a:lnTo>
                    <a:pt x="43" y="49"/>
                  </a:lnTo>
                  <a:lnTo>
                    <a:pt x="43" y="47"/>
                  </a:lnTo>
                  <a:lnTo>
                    <a:pt x="47" y="47"/>
                  </a:lnTo>
                  <a:lnTo>
                    <a:pt x="49" y="53"/>
                  </a:lnTo>
                  <a:lnTo>
                    <a:pt x="52" y="54"/>
                  </a:lnTo>
                  <a:lnTo>
                    <a:pt x="52" y="54"/>
                  </a:lnTo>
                  <a:lnTo>
                    <a:pt x="52" y="62"/>
                  </a:lnTo>
                  <a:lnTo>
                    <a:pt x="56" y="71"/>
                  </a:lnTo>
                  <a:lnTo>
                    <a:pt x="56" y="73"/>
                  </a:lnTo>
                  <a:lnTo>
                    <a:pt x="56" y="77"/>
                  </a:lnTo>
                  <a:lnTo>
                    <a:pt x="52" y="79"/>
                  </a:lnTo>
                  <a:lnTo>
                    <a:pt x="52" y="79"/>
                  </a:lnTo>
                  <a:lnTo>
                    <a:pt x="54" y="79"/>
                  </a:lnTo>
                  <a:lnTo>
                    <a:pt x="56" y="79"/>
                  </a:lnTo>
                  <a:lnTo>
                    <a:pt x="60" y="79"/>
                  </a:lnTo>
                  <a:lnTo>
                    <a:pt x="62" y="83"/>
                  </a:lnTo>
                  <a:lnTo>
                    <a:pt x="64" y="88"/>
                  </a:lnTo>
                  <a:lnTo>
                    <a:pt x="66" y="92"/>
                  </a:lnTo>
                  <a:lnTo>
                    <a:pt x="67" y="92"/>
                  </a:lnTo>
                  <a:lnTo>
                    <a:pt x="69" y="88"/>
                  </a:lnTo>
                  <a:lnTo>
                    <a:pt x="66" y="83"/>
                  </a:lnTo>
                  <a:lnTo>
                    <a:pt x="66" y="79"/>
                  </a:lnTo>
                  <a:lnTo>
                    <a:pt x="62" y="75"/>
                  </a:lnTo>
                  <a:lnTo>
                    <a:pt x="60" y="69"/>
                  </a:lnTo>
                  <a:lnTo>
                    <a:pt x="60" y="64"/>
                  </a:lnTo>
                  <a:lnTo>
                    <a:pt x="60" y="54"/>
                  </a:lnTo>
                  <a:lnTo>
                    <a:pt x="58" y="53"/>
                  </a:lnTo>
                  <a:lnTo>
                    <a:pt x="58" y="51"/>
                  </a:lnTo>
                  <a:lnTo>
                    <a:pt x="58" y="47"/>
                  </a:lnTo>
                  <a:lnTo>
                    <a:pt x="58" y="43"/>
                  </a:lnTo>
                  <a:lnTo>
                    <a:pt x="60" y="39"/>
                  </a:lnTo>
                  <a:lnTo>
                    <a:pt x="60" y="34"/>
                  </a:lnTo>
                  <a:lnTo>
                    <a:pt x="62" y="30"/>
                  </a:lnTo>
                  <a:lnTo>
                    <a:pt x="64" y="30"/>
                  </a:lnTo>
                  <a:lnTo>
                    <a:pt x="66" y="30"/>
                  </a:lnTo>
                  <a:lnTo>
                    <a:pt x="69" y="36"/>
                  </a:lnTo>
                  <a:lnTo>
                    <a:pt x="69" y="39"/>
                  </a:lnTo>
                  <a:lnTo>
                    <a:pt x="71" y="41"/>
                  </a:lnTo>
                  <a:lnTo>
                    <a:pt x="73" y="37"/>
                  </a:lnTo>
                  <a:lnTo>
                    <a:pt x="77" y="36"/>
                  </a:lnTo>
                  <a:lnTo>
                    <a:pt x="77" y="37"/>
                  </a:lnTo>
                  <a:lnTo>
                    <a:pt x="83" y="43"/>
                  </a:lnTo>
                  <a:lnTo>
                    <a:pt x="83" y="49"/>
                  </a:lnTo>
                  <a:lnTo>
                    <a:pt x="83" y="53"/>
                  </a:lnTo>
                  <a:lnTo>
                    <a:pt x="83" y="54"/>
                  </a:lnTo>
                  <a:lnTo>
                    <a:pt x="83" y="60"/>
                  </a:lnTo>
                  <a:lnTo>
                    <a:pt x="83" y="66"/>
                  </a:lnTo>
                  <a:lnTo>
                    <a:pt x="83" y="68"/>
                  </a:lnTo>
                  <a:lnTo>
                    <a:pt x="83" y="69"/>
                  </a:lnTo>
                  <a:lnTo>
                    <a:pt x="84" y="66"/>
                  </a:lnTo>
                  <a:lnTo>
                    <a:pt x="84" y="62"/>
                  </a:lnTo>
                  <a:lnTo>
                    <a:pt x="84" y="54"/>
                  </a:lnTo>
                  <a:lnTo>
                    <a:pt x="84" y="53"/>
                  </a:lnTo>
                  <a:lnTo>
                    <a:pt x="88" y="51"/>
                  </a:lnTo>
                  <a:lnTo>
                    <a:pt x="92" y="54"/>
                  </a:lnTo>
                  <a:lnTo>
                    <a:pt x="96" y="60"/>
                  </a:lnTo>
                  <a:lnTo>
                    <a:pt x="98" y="69"/>
                  </a:lnTo>
                  <a:lnTo>
                    <a:pt x="98" y="71"/>
                  </a:lnTo>
                  <a:lnTo>
                    <a:pt x="99" y="75"/>
                  </a:lnTo>
                  <a:lnTo>
                    <a:pt x="103" y="75"/>
                  </a:lnTo>
                  <a:lnTo>
                    <a:pt x="107" y="75"/>
                  </a:lnTo>
                  <a:lnTo>
                    <a:pt x="109" y="79"/>
                  </a:lnTo>
                  <a:lnTo>
                    <a:pt x="111" y="83"/>
                  </a:lnTo>
                  <a:lnTo>
                    <a:pt x="116" y="88"/>
                  </a:lnTo>
                  <a:lnTo>
                    <a:pt x="120" y="88"/>
                  </a:lnTo>
                  <a:lnTo>
                    <a:pt x="128" y="92"/>
                  </a:lnTo>
                  <a:lnTo>
                    <a:pt x="131" y="92"/>
                  </a:lnTo>
                  <a:lnTo>
                    <a:pt x="131" y="96"/>
                  </a:lnTo>
                  <a:lnTo>
                    <a:pt x="131" y="98"/>
                  </a:lnTo>
                  <a:lnTo>
                    <a:pt x="128" y="102"/>
                  </a:lnTo>
                  <a:lnTo>
                    <a:pt x="128" y="102"/>
                  </a:lnTo>
                  <a:lnTo>
                    <a:pt x="126" y="98"/>
                  </a:lnTo>
                  <a:lnTo>
                    <a:pt x="122" y="100"/>
                  </a:lnTo>
                  <a:lnTo>
                    <a:pt x="120" y="100"/>
                  </a:lnTo>
                  <a:lnTo>
                    <a:pt x="115" y="103"/>
                  </a:lnTo>
                  <a:lnTo>
                    <a:pt x="111" y="103"/>
                  </a:lnTo>
                  <a:lnTo>
                    <a:pt x="111" y="103"/>
                  </a:lnTo>
                  <a:lnTo>
                    <a:pt x="111" y="107"/>
                  </a:lnTo>
                  <a:lnTo>
                    <a:pt x="111" y="109"/>
                  </a:lnTo>
                  <a:lnTo>
                    <a:pt x="107" y="113"/>
                  </a:lnTo>
                  <a:lnTo>
                    <a:pt x="107" y="113"/>
                  </a:lnTo>
                  <a:lnTo>
                    <a:pt x="107" y="118"/>
                  </a:lnTo>
                  <a:lnTo>
                    <a:pt x="107" y="126"/>
                  </a:lnTo>
                  <a:lnTo>
                    <a:pt x="107" y="128"/>
                  </a:lnTo>
                  <a:lnTo>
                    <a:pt x="107" y="134"/>
                  </a:lnTo>
                  <a:lnTo>
                    <a:pt x="107" y="134"/>
                  </a:lnTo>
                  <a:lnTo>
                    <a:pt x="107" y="137"/>
                  </a:lnTo>
                  <a:lnTo>
                    <a:pt x="103" y="135"/>
                  </a:lnTo>
                  <a:lnTo>
                    <a:pt x="103" y="137"/>
                  </a:lnTo>
                  <a:lnTo>
                    <a:pt x="103" y="141"/>
                  </a:lnTo>
                  <a:lnTo>
                    <a:pt x="103" y="147"/>
                  </a:lnTo>
                  <a:lnTo>
                    <a:pt x="103" y="149"/>
                  </a:lnTo>
                  <a:lnTo>
                    <a:pt x="103" y="152"/>
                  </a:lnTo>
                  <a:lnTo>
                    <a:pt x="103" y="158"/>
                  </a:lnTo>
                  <a:lnTo>
                    <a:pt x="103" y="162"/>
                  </a:lnTo>
                  <a:lnTo>
                    <a:pt x="103" y="162"/>
                  </a:lnTo>
                  <a:lnTo>
                    <a:pt x="98" y="162"/>
                  </a:lnTo>
                  <a:lnTo>
                    <a:pt x="96" y="162"/>
                  </a:lnTo>
                  <a:lnTo>
                    <a:pt x="98" y="166"/>
                  </a:lnTo>
                  <a:lnTo>
                    <a:pt x="98" y="167"/>
                  </a:lnTo>
                  <a:lnTo>
                    <a:pt x="96" y="167"/>
                  </a:lnTo>
                  <a:lnTo>
                    <a:pt x="96" y="171"/>
                  </a:lnTo>
                  <a:lnTo>
                    <a:pt x="96" y="173"/>
                  </a:lnTo>
                  <a:lnTo>
                    <a:pt x="94" y="186"/>
                  </a:lnTo>
                  <a:lnTo>
                    <a:pt x="94" y="190"/>
                  </a:lnTo>
                  <a:lnTo>
                    <a:pt x="92" y="192"/>
                  </a:lnTo>
                  <a:lnTo>
                    <a:pt x="92" y="196"/>
                  </a:lnTo>
                  <a:lnTo>
                    <a:pt x="94" y="199"/>
                  </a:lnTo>
                  <a:lnTo>
                    <a:pt x="94" y="201"/>
                  </a:lnTo>
                  <a:lnTo>
                    <a:pt x="92" y="205"/>
                  </a:lnTo>
                  <a:lnTo>
                    <a:pt x="92" y="207"/>
                  </a:lnTo>
                  <a:lnTo>
                    <a:pt x="90" y="211"/>
                  </a:lnTo>
                  <a:lnTo>
                    <a:pt x="86" y="211"/>
                  </a:lnTo>
                  <a:lnTo>
                    <a:pt x="86" y="211"/>
                  </a:lnTo>
                  <a:lnTo>
                    <a:pt x="86" y="211"/>
                  </a:lnTo>
                  <a:lnTo>
                    <a:pt x="86"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4" name="Freeform 155">
              <a:extLst>
                <a:ext uri="{FF2B5EF4-FFF2-40B4-BE49-F238E27FC236}">
                  <a16:creationId xmlns:a16="http://schemas.microsoft.com/office/drawing/2014/main" id="{8743ED09-E671-8F49-A54D-0352CF58C229}"/>
                </a:ext>
              </a:extLst>
            </p:cNvPr>
            <p:cNvSpPr>
              <a:spLocks noEditPoints="1"/>
            </p:cNvSpPr>
            <p:nvPr/>
          </p:nvSpPr>
          <p:spPr bwMode="auto">
            <a:xfrm>
              <a:off x="5810395" y="1849996"/>
              <a:ext cx="139947" cy="80536"/>
            </a:xfrm>
            <a:custGeom>
              <a:avLst/>
              <a:gdLst/>
              <a:ahLst/>
              <a:cxnLst>
                <a:cxn ang="0">
                  <a:pos x="60" y="104"/>
                </a:cxn>
                <a:cxn ang="0">
                  <a:pos x="49" y="88"/>
                </a:cxn>
                <a:cxn ang="0">
                  <a:pos x="62" y="94"/>
                </a:cxn>
                <a:cxn ang="0">
                  <a:pos x="89" y="100"/>
                </a:cxn>
                <a:cxn ang="0">
                  <a:pos x="96" y="94"/>
                </a:cxn>
                <a:cxn ang="0">
                  <a:pos x="104" y="90"/>
                </a:cxn>
                <a:cxn ang="0">
                  <a:pos x="115" y="87"/>
                </a:cxn>
                <a:cxn ang="0">
                  <a:pos x="137" y="73"/>
                </a:cxn>
                <a:cxn ang="0">
                  <a:pos x="141" y="71"/>
                </a:cxn>
                <a:cxn ang="0">
                  <a:pos x="149" y="62"/>
                </a:cxn>
                <a:cxn ang="0">
                  <a:pos x="154" y="60"/>
                </a:cxn>
                <a:cxn ang="0">
                  <a:pos x="154" y="45"/>
                </a:cxn>
                <a:cxn ang="0">
                  <a:pos x="164" y="36"/>
                </a:cxn>
                <a:cxn ang="0">
                  <a:pos x="154" y="26"/>
                </a:cxn>
                <a:cxn ang="0">
                  <a:pos x="151" y="21"/>
                </a:cxn>
                <a:cxn ang="0">
                  <a:pos x="143" y="11"/>
                </a:cxn>
                <a:cxn ang="0">
                  <a:pos x="149" y="2"/>
                </a:cxn>
                <a:cxn ang="0">
                  <a:pos x="134" y="9"/>
                </a:cxn>
                <a:cxn ang="0">
                  <a:pos x="124" y="2"/>
                </a:cxn>
                <a:cxn ang="0">
                  <a:pos x="119" y="11"/>
                </a:cxn>
                <a:cxn ang="0">
                  <a:pos x="109" y="15"/>
                </a:cxn>
                <a:cxn ang="0">
                  <a:pos x="94" y="11"/>
                </a:cxn>
                <a:cxn ang="0">
                  <a:pos x="90" y="21"/>
                </a:cxn>
                <a:cxn ang="0">
                  <a:pos x="79" y="15"/>
                </a:cxn>
                <a:cxn ang="0">
                  <a:pos x="72" y="21"/>
                </a:cxn>
                <a:cxn ang="0">
                  <a:pos x="62" y="21"/>
                </a:cxn>
                <a:cxn ang="0">
                  <a:pos x="60" y="30"/>
                </a:cxn>
                <a:cxn ang="0">
                  <a:pos x="49" y="38"/>
                </a:cxn>
                <a:cxn ang="0">
                  <a:pos x="45" y="26"/>
                </a:cxn>
                <a:cxn ang="0">
                  <a:pos x="51" y="17"/>
                </a:cxn>
                <a:cxn ang="0">
                  <a:pos x="43" y="9"/>
                </a:cxn>
                <a:cxn ang="0">
                  <a:pos x="30" y="0"/>
                </a:cxn>
                <a:cxn ang="0">
                  <a:pos x="26" y="2"/>
                </a:cxn>
                <a:cxn ang="0">
                  <a:pos x="30" y="6"/>
                </a:cxn>
                <a:cxn ang="0">
                  <a:pos x="34" y="15"/>
                </a:cxn>
                <a:cxn ang="0">
                  <a:pos x="25" y="15"/>
                </a:cxn>
                <a:cxn ang="0">
                  <a:pos x="19" y="11"/>
                </a:cxn>
                <a:cxn ang="0">
                  <a:pos x="15" y="15"/>
                </a:cxn>
                <a:cxn ang="0">
                  <a:pos x="13" y="21"/>
                </a:cxn>
                <a:cxn ang="0">
                  <a:pos x="15" y="24"/>
                </a:cxn>
                <a:cxn ang="0">
                  <a:pos x="9" y="30"/>
                </a:cxn>
                <a:cxn ang="0">
                  <a:pos x="4" y="30"/>
                </a:cxn>
                <a:cxn ang="0">
                  <a:pos x="21" y="24"/>
                </a:cxn>
                <a:cxn ang="0">
                  <a:pos x="25" y="30"/>
                </a:cxn>
                <a:cxn ang="0">
                  <a:pos x="32" y="30"/>
                </a:cxn>
                <a:cxn ang="0">
                  <a:pos x="40" y="30"/>
                </a:cxn>
                <a:cxn ang="0">
                  <a:pos x="32" y="38"/>
                </a:cxn>
                <a:cxn ang="0">
                  <a:pos x="38" y="39"/>
                </a:cxn>
                <a:cxn ang="0">
                  <a:pos x="30" y="45"/>
                </a:cxn>
                <a:cxn ang="0">
                  <a:pos x="21" y="43"/>
                </a:cxn>
                <a:cxn ang="0">
                  <a:pos x="15" y="47"/>
                </a:cxn>
                <a:cxn ang="0">
                  <a:pos x="6" y="51"/>
                </a:cxn>
                <a:cxn ang="0">
                  <a:pos x="25" y="55"/>
                </a:cxn>
                <a:cxn ang="0">
                  <a:pos x="30" y="62"/>
                </a:cxn>
                <a:cxn ang="0">
                  <a:pos x="32" y="66"/>
                </a:cxn>
                <a:cxn ang="0">
                  <a:pos x="43" y="71"/>
                </a:cxn>
                <a:cxn ang="0">
                  <a:pos x="30" y="75"/>
                </a:cxn>
                <a:cxn ang="0">
                  <a:pos x="21" y="73"/>
                </a:cxn>
                <a:cxn ang="0">
                  <a:pos x="21" y="81"/>
                </a:cxn>
                <a:cxn ang="0">
                  <a:pos x="34" y="88"/>
                </a:cxn>
                <a:cxn ang="0">
                  <a:pos x="49" y="88"/>
                </a:cxn>
              </a:cxnLst>
              <a:rect l="0" t="0" r="r" b="b"/>
              <a:pathLst>
                <a:path w="164" h="105">
                  <a:moveTo>
                    <a:pt x="57" y="105"/>
                  </a:moveTo>
                  <a:lnTo>
                    <a:pt x="55" y="104"/>
                  </a:lnTo>
                  <a:lnTo>
                    <a:pt x="57" y="100"/>
                  </a:lnTo>
                  <a:lnTo>
                    <a:pt x="60" y="100"/>
                  </a:lnTo>
                  <a:lnTo>
                    <a:pt x="60" y="104"/>
                  </a:lnTo>
                  <a:lnTo>
                    <a:pt x="57" y="105"/>
                  </a:lnTo>
                  <a:lnTo>
                    <a:pt x="57" y="105"/>
                  </a:lnTo>
                  <a:lnTo>
                    <a:pt x="57" y="105"/>
                  </a:lnTo>
                  <a:lnTo>
                    <a:pt x="57" y="105"/>
                  </a:lnTo>
                  <a:close/>
                  <a:moveTo>
                    <a:pt x="49" y="88"/>
                  </a:moveTo>
                  <a:lnTo>
                    <a:pt x="51" y="87"/>
                  </a:lnTo>
                  <a:lnTo>
                    <a:pt x="51" y="90"/>
                  </a:lnTo>
                  <a:lnTo>
                    <a:pt x="57" y="96"/>
                  </a:lnTo>
                  <a:lnTo>
                    <a:pt x="60" y="98"/>
                  </a:lnTo>
                  <a:lnTo>
                    <a:pt x="62" y="94"/>
                  </a:lnTo>
                  <a:lnTo>
                    <a:pt x="66" y="94"/>
                  </a:lnTo>
                  <a:lnTo>
                    <a:pt x="72" y="102"/>
                  </a:lnTo>
                  <a:lnTo>
                    <a:pt x="79" y="100"/>
                  </a:lnTo>
                  <a:lnTo>
                    <a:pt x="81" y="102"/>
                  </a:lnTo>
                  <a:lnTo>
                    <a:pt x="89" y="100"/>
                  </a:lnTo>
                  <a:lnTo>
                    <a:pt x="89" y="96"/>
                  </a:lnTo>
                  <a:lnTo>
                    <a:pt x="89" y="94"/>
                  </a:lnTo>
                  <a:lnTo>
                    <a:pt x="90" y="96"/>
                  </a:lnTo>
                  <a:lnTo>
                    <a:pt x="94" y="98"/>
                  </a:lnTo>
                  <a:lnTo>
                    <a:pt x="96" y="94"/>
                  </a:lnTo>
                  <a:lnTo>
                    <a:pt x="98" y="88"/>
                  </a:lnTo>
                  <a:lnTo>
                    <a:pt x="102" y="88"/>
                  </a:lnTo>
                  <a:lnTo>
                    <a:pt x="100" y="90"/>
                  </a:lnTo>
                  <a:lnTo>
                    <a:pt x="102" y="92"/>
                  </a:lnTo>
                  <a:lnTo>
                    <a:pt x="104" y="90"/>
                  </a:lnTo>
                  <a:lnTo>
                    <a:pt x="105" y="90"/>
                  </a:lnTo>
                  <a:lnTo>
                    <a:pt x="109" y="85"/>
                  </a:lnTo>
                  <a:lnTo>
                    <a:pt x="111" y="87"/>
                  </a:lnTo>
                  <a:lnTo>
                    <a:pt x="113" y="87"/>
                  </a:lnTo>
                  <a:lnTo>
                    <a:pt x="115" y="87"/>
                  </a:lnTo>
                  <a:lnTo>
                    <a:pt x="115" y="87"/>
                  </a:lnTo>
                  <a:lnTo>
                    <a:pt x="119" y="87"/>
                  </a:lnTo>
                  <a:lnTo>
                    <a:pt x="124" y="81"/>
                  </a:lnTo>
                  <a:lnTo>
                    <a:pt x="128" y="75"/>
                  </a:lnTo>
                  <a:lnTo>
                    <a:pt x="137" y="73"/>
                  </a:lnTo>
                  <a:lnTo>
                    <a:pt x="139" y="71"/>
                  </a:lnTo>
                  <a:lnTo>
                    <a:pt x="137" y="68"/>
                  </a:lnTo>
                  <a:lnTo>
                    <a:pt x="139" y="66"/>
                  </a:lnTo>
                  <a:lnTo>
                    <a:pt x="141" y="66"/>
                  </a:lnTo>
                  <a:lnTo>
                    <a:pt x="141" y="71"/>
                  </a:lnTo>
                  <a:lnTo>
                    <a:pt x="145" y="71"/>
                  </a:lnTo>
                  <a:lnTo>
                    <a:pt x="149" y="68"/>
                  </a:lnTo>
                  <a:lnTo>
                    <a:pt x="149" y="66"/>
                  </a:lnTo>
                  <a:lnTo>
                    <a:pt x="149" y="66"/>
                  </a:lnTo>
                  <a:lnTo>
                    <a:pt x="149" y="62"/>
                  </a:lnTo>
                  <a:lnTo>
                    <a:pt x="149" y="62"/>
                  </a:lnTo>
                  <a:lnTo>
                    <a:pt x="149" y="58"/>
                  </a:lnTo>
                  <a:lnTo>
                    <a:pt x="149" y="56"/>
                  </a:lnTo>
                  <a:lnTo>
                    <a:pt x="154" y="58"/>
                  </a:lnTo>
                  <a:lnTo>
                    <a:pt x="154" y="60"/>
                  </a:lnTo>
                  <a:lnTo>
                    <a:pt x="156" y="60"/>
                  </a:lnTo>
                  <a:lnTo>
                    <a:pt x="158" y="56"/>
                  </a:lnTo>
                  <a:lnTo>
                    <a:pt x="158" y="53"/>
                  </a:lnTo>
                  <a:lnTo>
                    <a:pt x="154" y="49"/>
                  </a:lnTo>
                  <a:lnTo>
                    <a:pt x="154" y="45"/>
                  </a:lnTo>
                  <a:lnTo>
                    <a:pt x="156" y="43"/>
                  </a:lnTo>
                  <a:lnTo>
                    <a:pt x="156" y="39"/>
                  </a:lnTo>
                  <a:lnTo>
                    <a:pt x="160" y="38"/>
                  </a:lnTo>
                  <a:lnTo>
                    <a:pt x="162" y="38"/>
                  </a:lnTo>
                  <a:lnTo>
                    <a:pt x="164" y="36"/>
                  </a:lnTo>
                  <a:lnTo>
                    <a:pt x="160" y="32"/>
                  </a:lnTo>
                  <a:lnTo>
                    <a:pt x="154" y="32"/>
                  </a:lnTo>
                  <a:lnTo>
                    <a:pt x="151" y="34"/>
                  </a:lnTo>
                  <a:lnTo>
                    <a:pt x="154" y="30"/>
                  </a:lnTo>
                  <a:lnTo>
                    <a:pt x="154" y="26"/>
                  </a:lnTo>
                  <a:lnTo>
                    <a:pt x="149" y="26"/>
                  </a:lnTo>
                  <a:lnTo>
                    <a:pt x="149" y="30"/>
                  </a:lnTo>
                  <a:lnTo>
                    <a:pt x="145" y="24"/>
                  </a:lnTo>
                  <a:lnTo>
                    <a:pt x="149" y="21"/>
                  </a:lnTo>
                  <a:lnTo>
                    <a:pt x="151" y="21"/>
                  </a:lnTo>
                  <a:lnTo>
                    <a:pt x="151" y="15"/>
                  </a:lnTo>
                  <a:lnTo>
                    <a:pt x="149" y="15"/>
                  </a:lnTo>
                  <a:lnTo>
                    <a:pt x="145" y="15"/>
                  </a:lnTo>
                  <a:lnTo>
                    <a:pt x="145" y="15"/>
                  </a:lnTo>
                  <a:lnTo>
                    <a:pt x="143" y="11"/>
                  </a:lnTo>
                  <a:lnTo>
                    <a:pt x="145" y="11"/>
                  </a:lnTo>
                  <a:lnTo>
                    <a:pt x="145" y="6"/>
                  </a:lnTo>
                  <a:lnTo>
                    <a:pt x="149" y="6"/>
                  </a:lnTo>
                  <a:lnTo>
                    <a:pt x="151" y="6"/>
                  </a:lnTo>
                  <a:lnTo>
                    <a:pt x="149" y="2"/>
                  </a:lnTo>
                  <a:lnTo>
                    <a:pt x="145" y="2"/>
                  </a:lnTo>
                  <a:lnTo>
                    <a:pt x="139" y="11"/>
                  </a:lnTo>
                  <a:lnTo>
                    <a:pt x="137" y="11"/>
                  </a:lnTo>
                  <a:lnTo>
                    <a:pt x="136" y="11"/>
                  </a:lnTo>
                  <a:lnTo>
                    <a:pt x="134" y="9"/>
                  </a:lnTo>
                  <a:lnTo>
                    <a:pt x="134" y="6"/>
                  </a:lnTo>
                  <a:lnTo>
                    <a:pt x="132" y="6"/>
                  </a:lnTo>
                  <a:lnTo>
                    <a:pt x="132" y="2"/>
                  </a:lnTo>
                  <a:lnTo>
                    <a:pt x="128" y="2"/>
                  </a:lnTo>
                  <a:lnTo>
                    <a:pt x="124" y="2"/>
                  </a:lnTo>
                  <a:lnTo>
                    <a:pt x="124" y="2"/>
                  </a:lnTo>
                  <a:lnTo>
                    <a:pt x="121" y="6"/>
                  </a:lnTo>
                  <a:lnTo>
                    <a:pt x="124" y="9"/>
                  </a:lnTo>
                  <a:lnTo>
                    <a:pt x="121" y="11"/>
                  </a:lnTo>
                  <a:lnTo>
                    <a:pt x="119" y="11"/>
                  </a:lnTo>
                  <a:lnTo>
                    <a:pt x="115" y="15"/>
                  </a:lnTo>
                  <a:lnTo>
                    <a:pt x="115" y="11"/>
                  </a:lnTo>
                  <a:lnTo>
                    <a:pt x="113" y="9"/>
                  </a:lnTo>
                  <a:lnTo>
                    <a:pt x="111" y="11"/>
                  </a:lnTo>
                  <a:lnTo>
                    <a:pt x="109" y="15"/>
                  </a:lnTo>
                  <a:lnTo>
                    <a:pt x="105" y="15"/>
                  </a:lnTo>
                  <a:lnTo>
                    <a:pt x="102" y="11"/>
                  </a:lnTo>
                  <a:lnTo>
                    <a:pt x="98" y="11"/>
                  </a:lnTo>
                  <a:lnTo>
                    <a:pt x="98" y="11"/>
                  </a:lnTo>
                  <a:lnTo>
                    <a:pt x="94" y="11"/>
                  </a:lnTo>
                  <a:lnTo>
                    <a:pt x="94" y="15"/>
                  </a:lnTo>
                  <a:lnTo>
                    <a:pt x="96" y="23"/>
                  </a:lnTo>
                  <a:lnTo>
                    <a:pt x="94" y="32"/>
                  </a:lnTo>
                  <a:lnTo>
                    <a:pt x="94" y="24"/>
                  </a:lnTo>
                  <a:lnTo>
                    <a:pt x="90" y="21"/>
                  </a:lnTo>
                  <a:lnTo>
                    <a:pt x="90" y="15"/>
                  </a:lnTo>
                  <a:lnTo>
                    <a:pt x="90" y="15"/>
                  </a:lnTo>
                  <a:lnTo>
                    <a:pt x="90" y="11"/>
                  </a:lnTo>
                  <a:lnTo>
                    <a:pt x="85" y="9"/>
                  </a:lnTo>
                  <a:lnTo>
                    <a:pt x="79" y="15"/>
                  </a:lnTo>
                  <a:lnTo>
                    <a:pt x="77" y="17"/>
                  </a:lnTo>
                  <a:lnTo>
                    <a:pt x="79" y="21"/>
                  </a:lnTo>
                  <a:lnTo>
                    <a:pt x="75" y="24"/>
                  </a:lnTo>
                  <a:lnTo>
                    <a:pt x="73" y="24"/>
                  </a:lnTo>
                  <a:lnTo>
                    <a:pt x="72" y="21"/>
                  </a:lnTo>
                  <a:lnTo>
                    <a:pt x="70" y="21"/>
                  </a:lnTo>
                  <a:lnTo>
                    <a:pt x="70" y="11"/>
                  </a:lnTo>
                  <a:lnTo>
                    <a:pt x="66" y="9"/>
                  </a:lnTo>
                  <a:lnTo>
                    <a:pt x="62" y="11"/>
                  </a:lnTo>
                  <a:lnTo>
                    <a:pt x="62" y="21"/>
                  </a:lnTo>
                  <a:lnTo>
                    <a:pt x="64" y="24"/>
                  </a:lnTo>
                  <a:lnTo>
                    <a:pt x="64" y="30"/>
                  </a:lnTo>
                  <a:lnTo>
                    <a:pt x="62" y="34"/>
                  </a:lnTo>
                  <a:lnTo>
                    <a:pt x="60" y="34"/>
                  </a:lnTo>
                  <a:lnTo>
                    <a:pt x="60" y="30"/>
                  </a:lnTo>
                  <a:lnTo>
                    <a:pt x="55" y="30"/>
                  </a:lnTo>
                  <a:lnTo>
                    <a:pt x="55" y="36"/>
                  </a:lnTo>
                  <a:lnTo>
                    <a:pt x="51" y="38"/>
                  </a:lnTo>
                  <a:lnTo>
                    <a:pt x="51" y="43"/>
                  </a:lnTo>
                  <a:lnTo>
                    <a:pt x="49" y="38"/>
                  </a:lnTo>
                  <a:lnTo>
                    <a:pt x="47" y="36"/>
                  </a:lnTo>
                  <a:lnTo>
                    <a:pt x="47" y="34"/>
                  </a:lnTo>
                  <a:lnTo>
                    <a:pt x="49" y="30"/>
                  </a:lnTo>
                  <a:lnTo>
                    <a:pt x="49" y="26"/>
                  </a:lnTo>
                  <a:lnTo>
                    <a:pt x="45" y="26"/>
                  </a:lnTo>
                  <a:lnTo>
                    <a:pt x="47" y="24"/>
                  </a:lnTo>
                  <a:lnTo>
                    <a:pt x="45" y="21"/>
                  </a:lnTo>
                  <a:lnTo>
                    <a:pt x="47" y="23"/>
                  </a:lnTo>
                  <a:lnTo>
                    <a:pt x="51" y="21"/>
                  </a:lnTo>
                  <a:lnTo>
                    <a:pt x="51" y="17"/>
                  </a:lnTo>
                  <a:lnTo>
                    <a:pt x="47" y="15"/>
                  </a:lnTo>
                  <a:lnTo>
                    <a:pt x="49" y="11"/>
                  </a:lnTo>
                  <a:lnTo>
                    <a:pt x="47" y="11"/>
                  </a:lnTo>
                  <a:lnTo>
                    <a:pt x="45" y="11"/>
                  </a:lnTo>
                  <a:lnTo>
                    <a:pt x="43" y="9"/>
                  </a:lnTo>
                  <a:lnTo>
                    <a:pt x="38" y="6"/>
                  </a:lnTo>
                  <a:lnTo>
                    <a:pt x="38" y="2"/>
                  </a:lnTo>
                  <a:lnTo>
                    <a:pt x="36" y="0"/>
                  </a:lnTo>
                  <a:lnTo>
                    <a:pt x="32" y="0"/>
                  </a:lnTo>
                  <a:lnTo>
                    <a:pt x="30" y="0"/>
                  </a:lnTo>
                  <a:lnTo>
                    <a:pt x="25" y="0"/>
                  </a:lnTo>
                  <a:lnTo>
                    <a:pt x="21" y="2"/>
                  </a:lnTo>
                  <a:lnTo>
                    <a:pt x="25" y="2"/>
                  </a:lnTo>
                  <a:lnTo>
                    <a:pt x="26" y="2"/>
                  </a:lnTo>
                  <a:lnTo>
                    <a:pt x="26" y="2"/>
                  </a:lnTo>
                  <a:lnTo>
                    <a:pt x="30" y="2"/>
                  </a:lnTo>
                  <a:lnTo>
                    <a:pt x="32" y="2"/>
                  </a:lnTo>
                  <a:lnTo>
                    <a:pt x="34" y="2"/>
                  </a:lnTo>
                  <a:lnTo>
                    <a:pt x="32" y="6"/>
                  </a:lnTo>
                  <a:lnTo>
                    <a:pt x="30" y="6"/>
                  </a:lnTo>
                  <a:lnTo>
                    <a:pt x="26" y="6"/>
                  </a:lnTo>
                  <a:lnTo>
                    <a:pt x="26" y="6"/>
                  </a:lnTo>
                  <a:lnTo>
                    <a:pt x="32" y="9"/>
                  </a:lnTo>
                  <a:lnTo>
                    <a:pt x="36" y="15"/>
                  </a:lnTo>
                  <a:lnTo>
                    <a:pt x="34" y="15"/>
                  </a:lnTo>
                  <a:lnTo>
                    <a:pt x="32" y="15"/>
                  </a:lnTo>
                  <a:lnTo>
                    <a:pt x="32" y="15"/>
                  </a:lnTo>
                  <a:lnTo>
                    <a:pt x="30" y="11"/>
                  </a:lnTo>
                  <a:lnTo>
                    <a:pt x="26" y="15"/>
                  </a:lnTo>
                  <a:lnTo>
                    <a:pt x="25" y="15"/>
                  </a:lnTo>
                  <a:lnTo>
                    <a:pt x="25" y="11"/>
                  </a:lnTo>
                  <a:lnTo>
                    <a:pt x="21" y="6"/>
                  </a:lnTo>
                  <a:lnTo>
                    <a:pt x="19" y="6"/>
                  </a:lnTo>
                  <a:lnTo>
                    <a:pt x="17" y="6"/>
                  </a:lnTo>
                  <a:lnTo>
                    <a:pt x="19" y="11"/>
                  </a:lnTo>
                  <a:lnTo>
                    <a:pt x="19" y="11"/>
                  </a:lnTo>
                  <a:lnTo>
                    <a:pt x="17" y="9"/>
                  </a:lnTo>
                  <a:lnTo>
                    <a:pt x="13" y="9"/>
                  </a:lnTo>
                  <a:lnTo>
                    <a:pt x="11" y="11"/>
                  </a:lnTo>
                  <a:lnTo>
                    <a:pt x="15" y="15"/>
                  </a:lnTo>
                  <a:lnTo>
                    <a:pt x="17" y="15"/>
                  </a:lnTo>
                  <a:lnTo>
                    <a:pt x="19" y="15"/>
                  </a:lnTo>
                  <a:lnTo>
                    <a:pt x="15" y="15"/>
                  </a:lnTo>
                  <a:lnTo>
                    <a:pt x="11" y="15"/>
                  </a:lnTo>
                  <a:lnTo>
                    <a:pt x="13" y="21"/>
                  </a:lnTo>
                  <a:lnTo>
                    <a:pt x="19" y="21"/>
                  </a:lnTo>
                  <a:lnTo>
                    <a:pt x="15" y="21"/>
                  </a:lnTo>
                  <a:lnTo>
                    <a:pt x="15" y="23"/>
                  </a:lnTo>
                  <a:lnTo>
                    <a:pt x="15" y="24"/>
                  </a:lnTo>
                  <a:lnTo>
                    <a:pt x="15" y="24"/>
                  </a:lnTo>
                  <a:lnTo>
                    <a:pt x="9" y="21"/>
                  </a:lnTo>
                  <a:lnTo>
                    <a:pt x="8" y="21"/>
                  </a:lnTo>
                  <a:lnTo>
                    <a:pt x="6" y="21"/>
                  </a:lnTo>
                  <a:lnTo>
                    <a:pt x="8" y="24"/>
                  </a:lnTo>
                  <a:lnTo>
                    <a:pt x="9" y="30"/>
                  </a:lnTo>
                  <a:lnTo>
                    <a:pt x="8" y="30"/>
                  </a:lnTo>
                  <a:lnTo>
                    <a:pt x="4" y="24"/>
                  </a:lnTo>
                  <a:lnTo>
                    <a:pt x="2" y="23"/>
                  </a:lnTo>
                  <a:lnTo>
                    <a:pt x="0" y="26"/>
                  </a:lnTo>
                  <a:lnTo>
                    <a:pt x="4" y="30"/>
                  </a:lnTo>
                  <a:lnTo>
                    <a:pt x="6" y="32"/>
                  </a:lnTo>
                  <a:lnTo>
                    <a:pt x="11" y="34"/>
                  </a:lnTo>
                  <a:lnTo>
                    <a:pt x="13" y="30"/>
                  </a:lnTo>
                  <a:lnTo>
                    <a:pt x="19" y="30"/>
                  </a:lnTo>
                  <a:lnTo>
                    <a:pt x="21" y="24"/>
                  </a:lnTo>
                  <a:lnTo>
                    <a:pt x="21" y="26"/>
                  </a:lnTo>
                  <a:lnTo>
                    <a:pt x="21" y="30"/>
                  </a:lnTo>
                  <a:lnTo>
                    <a:pt x="21" y="30"/>
                  </a:lnTo>
                  <a:lnTo>
                    <a:pt x="25" y="26"/>
                  </a:lnTo>
                  <a:lnTo>
                    <a:pt x="25" y="30"/>
                  </a:lnTo>
                  <a:lnTo>
                    <a:pt x="26" y="30"/>
                  </a:lnTo>
                  <a:lnTo>
                    <a:pt x="30" y="30"/>
                  </a:lnTo>
                  <a:lnTo>
                    <a:pt x="30" y="26"/>
                  </a:lnTo>
                  <a:lnTo>
                    <a:pt x="30" y="30"/>
                  </a:lnTo>
                  <a:lnTo>
                    <a:pt x="32" y="30"/>
                  </a:lnTo>
                  <a:lnTo>
                    <a:pt x="36" y="26"/>
                  </a:lnTo>
                  <a:lnTo>
                    <a:pt x="36" y="30"/>
                  </a:lnTo>
                  <a:lnTo>
                    <a:pt x="34" y="32"/>
                  </a:lnTo>
                  <a:lnTo>
                    <a:pt x="36" y="34"/>
                  </a:lnTo>
                  <a:lnTo>
                    <a:pt x="40" y="30"/>
                  </a:lnTo>
                  <a:lnTo>
                    <a:pt x="43" y="34"/>
                  </a:lnTo>
                  <a:lnTo>
                    <a:pt x="41" y="34"/>
                  </a:lnTo>
                  <a:lnTo>
                    <a:pt x="38" y="34"/>
                  </a:lnTo>
                  <a:lnTo>
                    <a:pt x="36" y="36"/>
                  </a:lnTo>
                  <a:lnTo>
                    <a:pt x="32" y="38"/>
                  </a:lnTo>
                  <a:lnTo>
                    <a:pt x="26" y="39"/>
                  </a:lnTo>
                  <a:lnTo>
                    <a:pt x="26" y="39"/>
                  </a:lnTo>
                  <a:lnTo>
                    <a:pt x="34" y="41"/>
                  </a:lnTo>
                  <a:lnTo>
                    <a:pt x="38" y="41"/>
                  </a:lnTo>
                  <a:lnTo>
                    <a:pt x="38" y="39"/>
                  </a:lnTo>
                  <a:lnTo>
                    <a:pt x="41" y="38"/>
                  </a:lnTo>
                  <a:lnTo>
                    <a:pt x="41" y="41"/>
                  </a:lnTo>
                  <a:lnTo>
                    <a:pt x="38" y="45"/>
                  </a:lnTo>
                  <a:lnTo>
                    <a:pt x="32" y="45"/>
                  </a:lnTo>
                  <a:lnTo>
                    <a:pt x="30" y="45"/>
                  </a:lnTo>
                  <a:lnTo>
                    <a:pt x="26" y="47"/>
                  </a:lnTo>
                  <a:lnTo>
                    <a:pt x="25" y="45"/>
                  </a:lnTo>
                  <a:lnTo>
                    <a:pt x="25" y="45"/>
                  </a:lnTo>
                  <a:lnTo>
                    <a:pt x="25" y="43"/>
                  </a:lnTo>
                  <a:lnTo>
                    <a:pt x="21" y="43"/>
                  </a:lnTo>
                  <a:lnTo>
                    <a:pt x="21" y="43"/>
                  </a:lnTo>
                  <a:lnTo>
                    <a:pt x="21" y="45"/>
                  </a:lnTo>
                  <a:lnTo>
                    <a:pt x="21" y="47"/>
                  </a:lnTo>
                  <a:lnTo>
                    <a:pt x="19" y="45"/>
                  </a:lnTo>
                  <a:lnTo>
                    <a:pt x="15" y="47"/>
                  </a:lnTo>
                  <a:lnTo>
                    <a:pt x="11" y="47"/>
                  </a:lnTo>
                  <a:lnTo>
                    <a:pt x="8" y="47"/>
                  </a:lnTo>
                  <a:lnTo>
                    <a:pt x="4" y="47"/>
                  </a:lnTo>
                  <a:lnTo>
                    <a:pt x="2" y="47"/>
                  </a:lnTo>
                  <a:lnTo>
                    <a:pt x="6" y="51"/>
                  </a:lnTo>
                  <a:lnTo>
                    <a:pt x="8" y="55"/>
                  </a:lnTo>
                  <a:lnTo>
                    <a:pt x="11" y="55"/>
                  </a:lnTo>
                  <a:lnTo>
                    <a:pt x="11" y="55"/>
                  </a:lnTo>
                  <a:lnTo>
                    <a:pt x="19" y="56"/>
                  </a:lnTo>
                  <a:lnTo>
                    <a:pt x="25" y="55"/>
                  </a:lnTo>
                  <a:lnTo>
                    <a:pt x="30" y="55"/>
                  </a:lnTo>
                  <a:lnTo>
                    <a:pt x="30" y="56"/>
                  </a:lnTo>
                  <a:lnTo>
                    <a:pt x="25" y="58"/>
                  </a:lnTo>
                  <a:lnTo>
                    <a:pt x="25" y="60"/>
                  </a:lnTo>
                  <a:lnTo>
                    <a:pt x="30" y="62"/>
                  </a:lnTo>
                  <a:lnTo>
                    <a:pt x="30" y="66"/>
                  </a:lnTo>
                  <a:lnTo>
                    <a:pt x="32" y="66"/>
                  </a:lnTo>
                  <a:lnTo>
                    <a:pt x="38" y="62"/>
                  </a:lnTo>
                  <a:lnTo>
                    <a:pt x="36" y="62"/>
                  </a:lnTo>
                  <a:lnTo>
                    <a:pt x="32" y="66"/>
                  </a:lnTo>
                  <a:lnTo>
                    <a:pt x="30" y="68"/>
                  </a:lnTo>
                  <a:lnTo>
                    <a:pt x="34" y="71"/>
                  </a:lnTo>
                  <a:lnTo>
                    <a:pt x="40" y="66"/>
                  </a:lnTo>
                  <a:lnTo>
                    <a:pt x="43" y="68"/>
                  </a:lnTo>
                  <a:lnTo>
                    <a:pt x="43" y="71"/>
                  </a:lnTo>
                  <a:lnTo>
                    <a:pt x="41" y="68"/>
                  </a:lnTo>
                  <a:lnTo>
                    <a:pt x="38" y="71"/>
                  </a:lnTo>
                  <a:lnTo>
                    <a:pt x="36" y="71"/>
                  </a:lnTo>
                  <a:lnTo>
                    <a:pt x="32" y="71"/>
                  </a:lnTo>
                  <a:lnTo>
                    <a:pt x="30" y="75"/>
                  </a:lnTo>
                  <a:lnTo>
                    <a:pt x="30" y="77"/>
                  </a:lnTo>
                  <a:lnTo>
                    <a:pt x="26" y="77"/>
                  </a:lnTo>
                  <a:lnTo>
                    <a:pt x="25" y="77"/>
                  </a:lnTo>
                  <a:lnTo>
                    <a:pt x="25" y="75"/>
                  </a:lnTo>
                  <a:lnTo>
                    <a:pt x="21" y="73"/>
                  </a:lnTo>
                  <a:lnTo>
                    <a:pt x="21" y="75"/>
                  </a:lnTo>
                  <a:lnTo>
                    <a:pt x="21" y="75"/>
                  </a:lnTo>
                  <a:lnTo>
                    <a:pt x="21" y="81"/>
                  </a:lnTo>
                  <a:lnTo>
                    <a:pt x="21" y="81"/>
                  </a:lnTo>
                  <a:lnTo>
                    <a:pt x="21" y="81"/>
                  </a:lnTo>
                  <a:lnTo>
                    <a:pt x="21" y="88"/>
                  </a:lnTo>
                  <a:lnTo>
                    <a:pt x="25" y="88"/>
                  </a:lnTo>
                  <a:lnTo>
                    <a:pt x="25" y="87"/>
                  </a:lnTo>
                  <a:lnTo>
                    <a:pt x="30" y="88"/>
                  </a:lnTo>
                  <a:lnTo>
                    <a:pt x="34" y="88"/>
                  </a:lnTo>
                  <a:lnTo>
                    <a:pt x="40" y="85"/>
                  </a:lnTo>
                  <a:lnTo>
                    <a:pt x="43" y="87"/>
                  </a:lnTo>
                  <a:lnTo>
                    <a:pt x="47" y="85"/>
                  </a:lnTo>
                  <a:lnTo>
                    <a:pt x="47" y="88"/>
                  </a:lnTo>
                  <a:lnTo>
                    <a:pt x="49" y="88"/>
                  </a:lnTo>
                  <a:lnTo>
                    <a:pt x="49" y="88"/>
                  </a:lnTo>
                  <a:lnTo>
                    <a:pt x="49" y="8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5" name="Freeform 156">
              <a:extLst>
                <a:ext uri="{FF2B5EF4-FFF2-40B4-BE49-F238E27FC236}">
                  <a16:creationId xmlns:a16="http://schemas.microsoft.com/office/drawing/2014/main" id="{64306EE3-B8BD-1844-83BD-F8A0F2F7FBAC}"/>
                </a:ext>
              </a:extLst>
            </p:cNvPr>
            <p:cNvSpPr>
              <a:spLocks noEditPoints="1"/>
            </p:cNvSpPr>
            <p:nvPr/>
          </p:nvSpPr>
          <p:spPr bwMode="auto">
            <a:xfrm>
              <a:off x="5342766" y="1221815"/>
              <a:ext cx="666456" cy="773915"/>
            </a:xfrm>
            <a:custGeom>
              <a:avLst/>
              <a:gdLst/>
              <a:ahLst/>
              <a:cxnLst>
                <a:cxn ang="0">
                  <a:pos x="194" y="958"/>
                </a:cxn>
                <a:cxn ang="0">
                  <a:pos x="147" y="924"/>
                </a:cxn>
                <a:cxn ang="0">
                  <a:pos x="141" y="866"/>
                </a:cxn>
                <a:cxn ang="0">
                  <a:pos x="126" y="832"/>
                </a:cxn>
                <a:cxn ang="0">
                  <a:pos x="156" y="777"/>
                </a:cxn>
                <a:cxn ang="0">
                  <a:pos x="117" y="755"/>
                </a:cxn>
                <a:cxn ang="0">
                  <a:pos x="132" y="734"/>
                </a:cxn>
                <a:cxn ang="0">
                  <a:pos x="175" y="706"/>
                </a:cxn>
                <a:cxn ang="0">
                  <a:pos x="145" y="644"/>
                </a:cxn>
                <a:cxn ang="0">
                  <a:pos x="173" y="615"/>
                </a:cxn>
                <a:cxn ang="0">
                  <a:pos x="141" y="604"/>
                </a:cxn>
                <a:cxn ang="0">
                  <a:pos x="155" y="514"/>
                </a:cxn>
                <a:cxn ang="0">
                  <a:pos x="132" y="393"/>
                </a:cxn>
                <a:cxn ang="0">
                  <a:pos x="27" y="344"/>
                </a:cxn>
                <a:cxn ang="0">
                  <a:pos x="72" y="291"/>
                </a:cxn>
                <a:cxn ang="0">
                  <a:pos x="49" y="231"/>
                </a:cxn>
                <a:cxn ang="0">
                  <a:pos x="130" y="163"/>
                </a:cxn>
                <a:cxn ang="0">
                  <a:pos x="224" y="94"/>
                </a:cxn>
                <a:cxn ang="0">
                  <a:pos x="322" y="94"/>
                </a:cxn>
                <a:cxn ang="0">
                  <a:pos x="396" y="88"/>
                </a:cxn>
                <a:cxn ang="0">
                  <a:pos x="460" y="56"/>
                </a:cxn>
                <a:cxn ang="0">
                  <a:pos x="490" y="33"/>
                </a:cxn>
                <a:cxn ang="0">
                  <a:pos x="635" y="30"/>
                </a:cxn>
                <a:cxn ang="0">
                  <a:pos x="554" y="47"/>
                </a:cxn>
                <a:cxn ang="0">
                  <a:pos x="674" y="69"/>
                </a:cxn>
                <a:cxn ang="0">
                  <a:pos x="571" y="118"/>
                </a:cxn>
                <a:cxn ang="0">
                  <a:pos x="640" y="152"/>
                </a:cxn>
                <a:cxn ang="0">
                  <a:pos x="669" y="182"/>
                </a:cxn>
                <a:cxn ang="0">
                  <a:pos x="744" y="197"/>
                </a:cxn>
                <a:cxn ang="0">
                  <a:pos x="674" y="248"/>
                </a:cxn>
                <a:cxn ang="0">
                  <a:pos x="670" y="384"/>
                </a:cxn>
                <a:cxn ang="0">
                  <a:pos x="633" y="418"/>
                </a:cxn>
                <a:cxn ang="0">
                  <a:pos x="644" y="487"/>
                </a:cxn>
                <a:cxn ang="0">
                  <a:pos x="644" y="525"/>
                </a:cxn>
                <a:cxn ang="0">
                  <a:pos x="588" y="550"/>
                </a:cxn>
                <a:cxn ang="0">
                  <a:pos x="539" y="568"/>
                </a:cxn>
                <a:cxn ang="0">
                  <a:pos x="573" y="599"/>
                </a:cxn>
                <a:cxn ang="0">
                  <a:pos x="601" y="678"/>
                </a:cxn>
                <a:cxn ang="0">
                  <a:pos x="533" y="636"/>
                </a:cxn>
                <a:cxn ang="0">
                  <a:pos x="524" y="691"/>
                </a:cxn>
                <a:cxn ang="0">
                  <a:pos x="546" y="727"/>
                </a:cxn>
                <a:cxn ang="0">
                  <a:pos x="441" y="734"/>
                </a:cxn>
                <a:cxn ang="0">
                  <a:pos x="377" y="821"/>
                </a:cxn>
                <a:cxn ang="0">
                  <a:pos x="311" y="845"/>
                </a:cxn>
                <a:cxn ang="0">
                  <a:pos x="279" y="906"/>
                </a:cxn>
                <a:cxn ang="0">
                  <a:pos x="252" y="949"/>
                </a:cxn>
                <a:cxn ang="0">
                  <a:pos x="234" y="998"/>
                </a:cxn>
                <a:cxn ang="0">
                  <a:pos x="262" y="923"/>
                </a:cxn>
                <a:cxn ang="0">
                  <a:pos x="347" y="832"/>
                </a:cxn>
                <a:cxn ang="0">
                  <a:pos x="599" y="597"/>
                </a:cxn>
                <a:cxn ang="0">
                  <a:pos x="578" y="563"/>
                </a:cxn>
                <a:cxn ang="0">
                  <a:pos x="682" y="497"/>
                </a:cxn>
                <a:cxn ang="0">
                  <a:pos x="661" y="363"/>
                </a:cxn>
                <a:cxn ang="0">
                  <a:pos x="719" y="146"/>
                </a:cxn>
                <a:cxn ang="0">
                  <a:pos x="484" y="20"/>
                </a:cxn>
                <a:cxn ang="0">
                  <a:pos x="401" y="107"/>
                </a:cxn>
                <a:cxn ang="0">
                  <a:pos x="17" y="295"/>
                </a:cxn>
                <a:cxn ang="0">
                  <a:pos x="155" y="521"/>
                </a:cxn>
                <a:cxn ang="0">
                  <a:pos x="147" y="551"/>
                </a:cxn>
                <a:cxn ang="0">
                  <a:pos x="187" y="973"/>
                </a:cxn>
                <a:cxn ang="0">
                  <a:pos x="117" y="777"/>
                </a:cxn>
                <a:cxn ang="0">
                  <a:pos x="179" y="634"/>
                </a:cxn>
                <a:cxn ang="0">
                  <a:pos x="175" y="668"/>
                </a:cxn>
              </a:cxnLst>
              <a:rect l="0" t="0" r="r" b="b"/>
              <a:pathLst>
                <a:path w="781" h="1009">
                  <a:moveTo>
                    <a:pt x="234" y="998"/>
                  </a:moveTo>
                  <a:lnTo>
                    <a:pt x="224" y="994"/>
                  </a:lnTo>
                  <a:lnTo>
                    <a:pt x="220" y="994"/>
                  </a:lnTo>
                  <a:lnTo>
                    <a:pt x="219" y="994"/>
                  </a:lnTo>
                  <a:lnTo>
                    <a:pt x="220" y="990"/>
                  </a:lnTo>
                  <a:lnTo>
                    <a:pt x="220" y="990"/>
                  </a:lnTo>
                  <a:lnTo>
                    <a:pt x="220" y="988"/>
                  </a:lnTo>
                  <a:lnTo>
                    <a:pt x="219" y="988"/>
                  </a:lnTo>
                  <a:lnTo>
                    <a:pt x="217" y="990"/>
                  </a:lnTo>
                  <a:lnTo>
                    <a:pt x="217" y="990"/>
                  </a:lnTo>
                  <a:lnTo>
                    <a:pt x="215" y="994"/>
                  </a:lnTo>
                  <a:lnTo>
                    <a:pt x="213" y="994"/>
                  </a:lnTo>
                  <a:lnTo>
                    <a:pt x="211" y="994"/>
                  </a:lnTo>
                  <a:lnTo>
                    <a:pt x="211" y="994"/>
                  </a:lnTo>
                  <a:lnTo>
                    <a:pt x="211" y="998"/>
                  </a:lnTo>
                  <a:lnTo>
                    <a:pt x="209" y="1000"/>
                  </a:lnTo>
                  <a:lnTo>
                    <a:pt x="207" y="998"/>
                  </a:lnTo>
                  <a:lnTo>
                    <a:pt x="209" y="994"/>
                  </a:lnTo>
                  <a:lnTo>
                    <a:pt x="209" y="994"/>
                  </a:lnTo>
                  <a:lnTo>
                    <a:pt x="209" y="990"/>
                  </a:lnTo>
                  <a:lnTo>
                    <a:pt x="213" y="987"/>
                  </a:lnTo>
                  <a:lnTo>
                    <a:pt x="213" y="985"/>
                  </a:lnTo>
                  <a:lnTo>
                    <a:pt x="211" y="987"/>
                  </a:lnTo>
                  <a:lnTo>
                    <a:pt x="207" y="994"/>
                  </a:lnTo>
                  <a:lnTo>
                    <a:pt x="204" y="994"/>
                  </a:lnTo>
                  <a:lnTo>
                    <a:pt x="204" y="994"/>
                  </a:lnTo>
                  <a:lnTo>
                    <a:pt x="204" y="994"/>
                  </a:lnTo>
                  <a:lnTo>
                    <a:pt x="207" y="990"/>
                  </a:lnTo>
                  <a:lnTo>
                    <a:pt x="207" y="987"/>
                  </a:lnTo>
                  <a:lnTo>
                    <a:pt x="209" y="983"/>
                  </a:lnTo>
                  <a:lnTo>
                    <a:pt x="207" y="983"/>
                  </a:lnTo>
                  <a:lnTo>
                    <a:pt x="205" y="983"/>
                  </a:lnTo>
                  <a:lnTo>
                    <a:pt x="204" y="987"/>
                  </a:lnTo>
                  <a:lnTo>
                    <a:pt x="204" y="987"/>
                  </a:lnTo>
                  <a:lnTo>
                    <a:pt x="204" y="987"/>
                  </a:lnTo>
                  <a:lnTo>
                    <a:pt x="204" y="983"/>
                  </a:lnTo>
                  <a:lnTo>
                    <a:pt x="205" y="981"/>
                  </a:lnTo>
                  <a:lnTo>
                    <a:pt x="204" y="979"/>
                  </a:lnTo>
                  <a:lnTo>
                    <a:pt x="204" y="981"/>
                  </a:lnTo>
                  <a:lnTo>
                    <a:pt x="200" y="983"/>
                  </a:lnTo>
                  <a:lnTo>
                    <a:pt x="200" y="983"/>
                  </a:lnTo>
                  <a:lnTo>
                    <a:pt x="200" y="987"/>
                  </a:lnTo>
                  <a:lnTo>
                    <a:pt x="198" y="983"/>
                  </a:lnTo>
                  <a:lnTo>
                    <a:pt x="198" y="981"/>
                  </a:lnTo>
                  <a:lnTo>
                    <a:pt x="196" y="981"/>
                  </a:lnTo>
                  <a:lnTo>
                    <a:pt x="194" y="983"/>
                  </a:lnTo>
                  <a:lnTo>
                    <a:pt x="192" y="983"/>
                  </a:lnTo>
                  <a:lnTo>
                    <a:pt x="194" y="981"/>
                  </a:lnTo>
                  <a:lnTo>
                    <a:pt x="200" y="977"/>
                  </a:lnTo>
                  <a:lnTo>
                    <a:pt x="200" y="975"/>
                  </a:lnTo>
                  <a:lnTo>
                    <a:pt x="200" y="973"/>
                  </a:lnTo>
                  <a:lnTo>
                    <a:pt x="204" y="973"/>
                  </a:lnTo>
                  <a:lnTo>
                    <a:pt x="204" y="970"/>
                  </a:lnTo>
                  <a:lnTo>
                    <a:pt x="200" y="973"/>
                  </a:lnTo>
                  <a:lnTo>
                    <a:pt x="198" y="973"/>
                  </a:lnTo>
                  <a:lnTo>
                    <a:pt x="196" y="973"/>
                  </a:lnTo>
                  <a:lnTo>
                    <a:pt x="198" y="973"/>
                  </a:lnTo>
                  <a:lnTo>
                    <a:pt x="200" y="973"/>
                  </a:lnTo>
                  <a:lnTo>
                    <a:pt x="204" y="970"/>
                  </a:lnTo>
                  <a:lnTo>
                    <a:pt x="205" y="970"/>
                  </a:lnTo>
                  <a:lnTo>
                    <a:pt x="207" y="968"/>
                  </a:lnTo>
                  <a:lnTo>
                    <a:pt x="207" y="964"/>
                  </a:lnTo>
                  <a:lnTo>
                    <a:pt x="207" y="960"/>
                  </a:lnTo>
                  <a:lnTo>
                    <a:pt x="205" y="960"/>
                  </a:lnTo>
                  <a:lnTo>
                    <a:pt x="204" y="968"/>
                  </a:lnTo>
                  <a:lnTo>
                    <a:pt x="198" y="970"/>
                  </a:lnTo>
                  <a:lnTo>
                    <a:pt x="194" y="970"/>
                  </a:lnTo>
                  <a:lnTo>
                    <a:pt x="192" y="970"/>
                  </a:lnTo>
                  <a:lnTo>
                    <a:pt x="194" y="970"/>
                  </a:lnTo>
                  <a:lnTo>
                    <a:pt x="196" y="970"/>
                  </a:lnTo>
                  <a:lnTo>
                    <a:pt x="200" y="964"/>
                  </a:lnTo>
                  <a:lnTo>
                    <a:pt x="200" y="960"/>
                  </a:lnTo>
                  <a:lnTo>
                    <a:pt x="198" y="958"/>
                  </a:lnTo>
                  <a:lnTo>
                    <a:pt x="196" y="958"/>
                  </a:lnTo>
                  <a:lnTo>
                    <a:pt x="194" y="958"/>
                  </a:lnTo>
                  <a:lnTo>
                    <a:pt x="194" y="960"/>
                  </a:lnTo>
                  <a:lnTo>
                    <a:pt x="196" y="960"/>
                  </a:lnTo>
                  <a:lnTo>
                    <a:pt x="196" y="964"/>
                  </a:lnTo>
                  <a:lnTo>
                    <a:pt x="194" y="964"/>
                  </a:lnTo>
                  <a:lnTo>
                    <a:pt x="192" y="964"/>
                  </a:lnTo>
                  <a:lnTo>
                    <a:pt x="188" y="964"/>
                  </a:lnTo>
                  <a:lnTo>
                    <a:pt x="187" y="964"/>
                  </a:lnTo>
                  <a:lnTo>
                    <a:pt x="185" y="968"/>
                  </a:lnTo>
                  <a:lnTo>
                    <a:pt x="183" y="970"/>
                  </a:lnTo>
                  <a:lnTo>
                    <a:pt x="181" y="970"/>
                  </a:lnTo>
                  <a:lnTo>
                    <a:pt x="179" y="970"/>
                  </a:lnTo>
                  <a:lnTo>
                    <a:pt x="179" y="970"/>
                  </a:lnTo>
                  <a:lnTo>
                    <a:pt x="175" y="970"/>
                  </a:lnTo>
                  <a:lnTo>
                    <a:pt x="173" y="970"/>
                  </a:lnTo>
                  <a:lnTo>
                    <a:pt x="172" y="970"/>
                  </a:lnTo>
                  <a:lnTo>
                    <a:pt x="170" y="970"/>
                  </a:lnTo>
                  <a:lnTo>
                    <a:pt x="170" y="973"/>
                  </a:lnTo>
                  <a:lnTo>
                    <a:pt x="170" y="973"/>
                  </a:lnTo>
                  <a:lnTo>
                    <a:pt x="170" y="973"/>
                  </a:lnTo>
                  <a:lnTo>
                    <a:pt x="164" y="973"/>
                  </a:lnTo>
                  <a:lnTo>
                    <a:pt x="162" y="970"/>
                  </a:lnTo>
                  <a:lnTo>
                    <a:pt x="164" y="970"/>
                  </a:lnTo>
                  <a:lnTo>
                    <a:pt x="168" y="970"/>
                  </a:lnTo>
                  <a:lnTo>
                    <a:pt x="170" y="968"/>
                  </a:lnTo>
                  <a:lnTo>
                    <a:pt x="170" y="964"/>
                  </a:lnTo>
                  <a:lnTo>
                    <a:pt x="166" y="964"/>
                  </a:lnTo>
                  <a:lnTo>
                    <a:pt x="166" y="960"/>
                  </a:lnTo>
                  <a:lnTo>
                    <a:pt x="162" y="958"/>
                  </a:lnTo>
                  <a:lnTo>
                    <a:pt x="162" y="956"/>
                  </a:lnTo>
                  <a:lnTo>
                    <a:pt x="160" y="958"/>
                  </a:lnTo>
                  <a:lnTo>
                    <a:pt x="155" y="960"/>
                  </a:lnTo>
                  <a:lnTo>
                    <a:pt x="155" y="960"/>
                  </a:lnTo>
                  <a:lnTo>
                    <a:pt x="151" y="958"/>
                  </a:lnTo>
                  <a:lnTo>
                    <a:pt x="155" y="955"/>
                  </a:lnTo>
                  <a:lnTo>
                    <a:pt x="155" y="953"/>
                  </a:lnTo>
                  <a:lnTo>
                    <a:pt x="151" y="953"/>
                  </a:lnTo>
                  <a:lnTo>
                    <a:pt x="151" y="953"/>
                  </a:lnTo>
                  <a:lnTo>
                    <a:pt x="155" y="951"/>
                  </a:lnTo>
                  <a:lnTo>
                    <a:pt x="158" y="951"/>
                  </a:lnTo>
                  <a:lnTo>
                    <a:pt x="158" y="949"/>
                  </a:lnTo>
                  <a:lnTo>
                    <a:pt x="158" y="947"/>
                  </a:lnTo>
                  <a:lnTo>
                    <a:pt x="156" y="947"/>
                  </a:lnTo>
                  <a:lnTo>
                    <a:pt x="155" y="947"/>
                  </a:lnTo>
                  <a:lnTo>
                    <a:pt x="151" y="949"/>
                  </a:lnTo>
                  <a:lnTo>
                    <a:pt x="147" y="951"/>
                  </a:lnTo>
                  <a:lnTo>
                    <a:pt x="141" y="949"/>
                  </a:lnTo>
                  <a:lnTo>
                    <a:pt x="145" y="947"/>
                  </a:lnTo>
                  <a:lnTo>
                    <a:pt x="147" y="947"/>
                  </a:lnTo>
                  <a:lnTo>
                    <a:pt x="149" y="945"/>
                  </a:lnTo>
                  <a:lnTo>
                    <a:pt x="149" y="943"/>
                  </a:lnTo>
                  <a:lnTo>
                    <a:pt x="151" y="939"/>
                  </a:lnTo>
                  <a:lnTo>
                    <a:pt x="155" y="939"/>
                  </a:lnTo>
                  <a:lnTo>
                    <a:pt x="155" y="939"/>
                  </a:lnTo>
                  <a:lnTo>
                    <a:pt x="151" y="936"/>
                  </a:lnTo>
                  <a:lnTo>
                    <a:pt x="149" y="939"/>
                  </a:lnTo>
                  <a:lnTo>
                    <a:pt x="145" y="939"/>
                  </a:lnTo>
                  <a:lnTo>
                    <a:pt x="141" y="939"/>
                  </a:lnTo>
                  <a:lnTo>
                    <a:pt x="145" y="936"/>
                  </a:lnTo>
                  <a:lnTo>
                    <a:pt x="147" y="934"/>
                  </a:lnTo>
                  <a:lnTo>
                    <a:pt x="151" y="936"/>
                  </a:lnTo>
                  <a:lnTo>
                    <a:pt x="151" y="934"/>
                  </a:lnTo>
                  <a:lnTo>
                    <a:pt x="155" y="934"/>
                  </a:lnTo>
                  <a:lnTo>
                    <a:pt x="155" y="930"/>
                  </a:lnTo>
                  <a:lnTo>
                    <a:pt x="155" y="930"/>
                  </a:lnTo>
                  <a:lnTo>
                    <a:pt x="155" y="928"/>
                  </a:lnTo>
                  <a:lnTo>
                    <a:pt x="149" y="930"/>
                  </a:lnTo>
                  <a:lnTo>
                    <a:pt x="149" y="930"/>
                  </a:lnTo>
                  <a:lnTo>
                    <a:pt x="147" y="934"/>
                  </a:lnTo>
                  <a:lnTo>
                    <a:pt x="141" y="934"/>
                  </a:lnTo>
                  <a:lnTo>
                    <a:pt x="145" y="930"/>
                  </a:lnTo>
                  <a:lnTo>
                    <a:pt x="147" y="930"/>
                  </a:lnTo>
                  <a:lnTo>
                    <a:pt x="147" y="928"/>
                  </a:lnTo>
                  <a:lnTo>
                    <a:pt x="145" y="926"/>
                  </a:lnTo>
                  <a:lnTo>
                    <a:pt x="147" y="924"/>
                  </a:lnTo>
                  <a:lnTo>
                    <a:pt x="147" y="924"/>
                  </a:lnTo>
                  <a:lnTo>
                    <a:pt x="145" y="923"/>
                  </a:lnTo>
                  <a:lnTo>
                    <a:pt x="141" y="923"/>
                  </a:lnTo>
                  <a:lnTo>
                    <a:pt x="141" y="923"/>
                  </a:lnTo>
                  <a:lnTo>
                    <a:pt x="145" y="921"/>
                  </a:lnTo>
                  <a:lnTo>
                    <a:pt x="141" y="917"/>
                  </a:lnTo>
                  <a:lnTo>
                    <a:pt x="141" y="917"/>
                  </a:lnTo>
                  <a:lnTo>
                    <a:pt x="140" y="919"/>
                  </a:lnTo>
                  <a:lnTo>
                    <a:pt x="138" y="919"/>
                  </a:lnTo>
                  <a:lnTo>
                    <a:pt x="138" y="917"/>
                  </a:lnTo>
                  <a:lnTo>
                    <a:pt x="140" y="915"/>
                  </a:lnTo>
                  <a:lnTo>
                    <a:pt x="141" y="911"/>
                  </a:lnTo>
                  <a:lnTo>
                    <a:pt x="141" y="911"/>
                  </a:lnTo>
                  <a:lnTo>
                    <a:pt x="145" y="909"/>
                  </a:lnTo>
                  <a:lnTo>
                    <a:pt x="141" y="906"/>
                  </a:lnTo>
                  <a:lnTo>
                    <a:pt x="145" y="906"/>
                  </a:lnTo>
                  <a:lnTo>
                    <a:pt x="145" y="904"/>
                  </a:lnTo>
                  <a:lnTo>
                    <a:pt x="145" y="900"/>
                  </a:lnTo>
                  <a:lnTo>
                    <a:pt x="141" y="904"/>
                  </a:lnTo>
                  <a:lnTo>
                    <a:pt x="141" y="904"/>
                  </a:lnTo>
                  <a:lnTo>
                    <a:pt x="141" y="900"/>
                  </a:lnTo>
                  <a:lnTo>
                    <a:pt x="138" y="900"/>
                  </a:lnTo>
                  <a:lnTo>
                    <a:pt x="138" y="904"/>
                  </a:lnTo>
                  <a:lnTo>
                    <a:pt x="136" y="904"/>
                  </a:lnTo>
                  <a:lnTo>
                    <a:pt x="134" y="900"/>
                  </a:lnTo>
                  <a:lnTo>
                    <a:pt x="136" y="898"/>
                  </a:lnTo>
                  <a:lnTo>
                    <a:pt x="140" y="896"/>
                  </a:lnTo>
                  <a:lnTo>
                    <a:pt x="140" y="894"/>
                  </a:lnTo>
                  <a:lnTo>
                    <a:pt x="138" y="892"/>
                  </a:lnTo>
                  <a:lnTo>
                    <a:pt x="134" y="892"/>
                  </a:lnTo>
                  <a:lnTo>
                    <a:pt x="132" y="894"/>
                  </a:lnTo>
                  <a:lnTo>
                    <a:pt x="130" y="894"/>
                  </a:lnTo>
                  <a:lnTo>
                    <a:pt x="130" y="892"/>
                  </a:lnTo>
                  <a:lnTo>
                    <a:pt x="130" y="890"/>
                  </a:lnTo>
                  <a:lnTo>
                    <a:pt x="132" y="890"/>
                  </a:lnTo>
                  <a:lnTo>
                    <a:pt x="136" y="890"/>
                  </a:lnTo>
                  <a:lnTo>
                    <a:pt x="140" y="890"/>
                  </a:lnTo>
                  <a:lnTo>
                    <a:pt x="141" y="889"/>
                  </a:lnTo>
                  <a:lnTo>
                    <a:pt x="140" y="889"/>
                  </a:lnTo>
                  <a:lnTo>
                    <a:pt x="138" y="887"/>
                  </a:lnTo>
                  <a:lnTo>
                    <a:pt x="134" y="887"/>
                  </a:lnTo>
                  <a:lnTo>
                    <a:pt x="132" y="889"/>
                  </a:lnTo>
                  <a:lnTo>
                    <a:pt x="130" y="889"/>
                  </a:lnTo>
                  <a:lnTo>
                    <a:pt x="130" y="887"/>
                  </a:lnTo>
                  <a:lnTo>
                    <a:pt x="132" y="883"/>
                  </a:lnTo>
                  <a:lnTo>
                    <a:pt x="136" y="883"/>
                  </a:lnTo>
                  <a:lnTo>
                    <a:pt x="138" y="883"/>
                  </a:lnTo>
                  <a:lnTo>
                    <a:pt x="136" y="881"/>
                  </a:lnTo>
                  <a:lnTo>
                    <a:pt x="134" y="881"/>
                  </a:lnTo>
                  <a:lnTo>
                    <a:pt x="132" y="879"/>
                  </a:lnTo>
                  <a:lnTo>
                    <a:pt x="134" y="879"/>
                  </a:lnTo>
                  <a:lnTo>
                    <a:pt x="136" y="879"/>
                  </a:lnTo>
                  <a:lnTo>
                    <a:pt x="138" y="881"/>
                  </a:lnTo>
                  <a:lnTo>
                    <a:pt x="141" y="879"/>
                  </a:lnTo>
                  <a:lnTo>
                    <a:pt x="141" y="879"/>
                  </a:lnTo>
                  <a:lnTo>
                    <a:pt x="141" y="875"/>
                  </a:lnTo>
                  <a:lnTo>
                    <a:pt x="141" y="879"/>
                  </a:lnTo>
                  <a:lnTo>
                    <a:pt x="138" y="879"/>
                  </a:lnTo>
                  <a:lnTo>
                    <a:pt x="136" y="879"/>
                  </a:lnTo>
                  <a:lnTo>
                    <a:pt x="134" y="879"/>
                  </a:lnTo>
                  <a:lnTo>
                    <a:pt x="132" y="879"/>
                  </a:lnTo>
                  <a:lnTo>
                    <a:pt x="130" y="879"/>
                  </a:lnTo>
                  <a:lnTo>
                    <a:pt x="130" y="881"/>
                  </a:lnTo>
                  <a:lnTo>
                    <a:pt x="126" y="879"/>
                  </a:lnTo>
                  <a:lnTo>
                    <a:pt x="126" y="875"/>
                  </a:lnTo>
                  <a:lnTo>
                    <a:pt x="126" y="875"/>
                  </a:lnTo>
                  <a:lnTo>
                    <a:pt x="130" y="875"/>
                  </a:lnTo>
                  <a:lnTo>
                    <a:pt x="134" y="874"/>
                  </a:lnTo>
                  <a:lnTo>
                    <a:pt x="134" y="870"/>
                  </a:lnTo>
                  <a:lnTo>
                    <a:pt x="130" y="874"/>
                  </a:lnTo>
                  <a:lnTo>
                    <a:pt x="126" y="870"/>
                  </a:lnTo>
                  <a:lnTo>
                    <a:pt x="126" y="870"/>
                  </a:lnTo>
                  <a:lnTo>
                    <a:pt x="126" y="866"/>
                  </a:lnTo>
                  <a:lnTo>
                    <a:pt x="130" y="866"/>
                  </a:lnTo>
                  <a:lnTo>
                    <a:pt x="138" y="866"/>
                  </a:lnTo>
                  <a:lnTo>
                    <a:pt x="141" y="866"/>
                  </a:lnTo>
                  <a:lnTo>
                    <a:pt x="147" y="866"/>
                  </a:lnTo>
                  <a:lnTo>
                    <a:pt x="149" y="862"/>
                  </a:lnTo>
                  <a:lnTo>
                    <a:pt x="149" y="862"/>
                  </a:lnTo>
                  <a:lnTo>
                    <a:pt x="147" y="862"/>
                  </a:lnTo>
                  <a:lnTo>
                    <a:pt x="141" y="860"/>
                  </a:lnTo>
                  <a:lnTo>
                    <a:pt x="140" y="862"/>
                  </a:lnTo>
                  <a:lnTo>
                    <a:pt x="134" y="864"/>
                  </a:lnTo>
                  <a:lnTo>
                    <a:pt x="132" y="866"/>
                  </a:lnTo>
                  <a:lnTo>
                    <a:pt x="130" y="866"/>
                  </a:lnTo>
                  <a:lnTo>
                    <a:pt x="126" y="864"/>
                  </a:lnTo>
                  <a:lnTo>
                    <a:pt x="130" y="862"/>
                  </a:lnTo>
                  <a:lnTo>
                    <a:pt x="134" y="864"/>
                  </a:lnTo>
                  <a:lnTo>
                    <a:pt x="136" y="862"/>
                  </a:lnTo>
                  <a:lnTo>
                    <a:pt x="140" y="857"/>
                  </a:lnTo>
                  <a:lnTo>
                    <a:pt x="141" y="857"/>
                  </a:lnTo>
                  <a:lnTo>
                    <a:pt x="145" y="857"/>
                  </a:lnTo>
                  <a:lnTo>
                    <a:pt x="147" y="860"/>
                  </a:lnTo>
                  <a:lnTo>
                    <a:pt x="149" y="860"/>
                  </a:lnTo>
                  <a:lnTo>
                    <a:pt x="151" y="858"/>
                  </a:lnTo>
                  <a:lnTo>
                    <a:pt x="149" y="858"/>
                  </a:lnTo>
                  <a:lnTo>
                    <a:pt x="145" y="855"/>
                  </a:lnTo>
                  <a:lnTo>
                    <a:pt x="141" y="855"/>
                  </a:lnTo>
                  <a:lnTo>
                    <a:pt x="141" y="853"/>
                  </a:lnTo>
                  <a:lnTo>
                    <a:pt x="141" y="851"/>
                  </a:lnTo>
                  <a:lnTo>
                    <a:pt x="145" y="851"/>
                  </a:lnTo>
                  <a:lnTo>
                    <a:pt x="147" y="849"/>
                  </a:lnTo>
                  <a:lnTo>
                    <a:pt x="147" y="849"/>
                  </a:lnTo>
                  <a:lnTo>
                    <a:pt x="149" y="853"/>
                  </a:lnTo>
                  <a:lnTo>
                    <a:pt x="151" y="857"/>
                  </a:lnTo>
                  <a:lnTo>
                    <a:pt x="155" y="858"/>
                  </a:lnTo>
                  <a:lnTo>
                    <a:pt x="155" y="857"/>
                  </a:lnTo>
                  <a:lnTo>
                    <a:pt x="155" y="855"/>
                  </a:lnTo>
                  <a:lnTo>
                    <a:pt x="151" y="853"/>
                  </a:lnTo>
                  <a:lnTo>
                    <a:pt x="151" y="849"/>
                  </a:lnTo>
                  <a:lnTo>
                    <a:pt x="155" y="845"/>
                  </a:lnTo>
                  <a:lnTo>
                    <a:pt x="155" y="845"/>
                  </a:lnTo>
                  <a:lnTo>
                    <a:pt x="151" y="845"/>
                  </a:lnTo>
                  <a:lnTo>
                    <a:pt x="151" y="845"/>
                  </a:lnTo>
                  <a:lnTo>
                    <a:pt x="149" y="845"/>
                  </a:lnTo>
                  <a:lnTo>
                    <a:pt x="147" y="845"/>
                  </a:lnTo>
                  <a:lnTo>
                    <a:pt x="145" y="845"/>
                  </a:lnTo>
                  <a:lnTo>
                    <a:pt x="141" y="849"/>
                  </a:lnTo>
                  <a:lnTo>
                    <a:pt x="140" y="849"/>
                  </a:lnTo>
                  <a:lnTo>
                    <a:pt x="138" y="849"/>
                  </a:lnTo>
                  <a:lnTo>
                    <a:pt x="138" y="849"/>
                  </a:lnTo>
                  <a:lnTo>
                    <a:pt x="140" y="845"/>
                  </a:lnTo>
                  <a:lnTo>
                    <a:pt x="140" y="845"/>
                  </a:lnTo>
                  <a:lnTo>
                    <a:pt x="138" y="845"/>
                  </a:lnTo>
                  <a:lnTo>
                    <a:pt x="136" y="849"/>
                  </a:lnTo>
                  <a:lnTo>
                    <a:pt x="134" y="849"/>
                  </a:lnTo>
                  <a:lnTo>
                    <a:pt x="130" y="853"/>
                  </a:lnTo>
                  <a:lnTo>
                    <a:pt x="130" y="855"/>
                  </a:lnTo>
                  <a:lnTo>
                    <a:pt x="126" y="858"/>
                  </a:lnTo>
                  <a:lnTo>
                    <a:pt x="124" y="858"/>
                  </a:lnTo>
                  <a:lnTo>
                    <a:pt x="124" y="855"/>
                  </a:lnTo>
                  <a:lnTo>
                    <a:pt x="124" y="851"/>
                  </a:lnTo>
                  <a:lnTo>
                    <a:pt x="126" y="849"/>
                  </a:lnTo>
                  <a:lnTo>
                    <a:pt x="123" y="849"/>
                  </a:lnTo>
                  <a:lnTo>
                    <a:pt x="124" y="845"/>
                  </a:lnTo>
                  <a:lnTo>
                    <a:pt x="124" y="842"/>
                  </a:lnTo>
                  <a:lnTo>
                    <a:pt x="126" y="842"/>
                  </a:lnTo>
                  <a:lnTo>
                    <a:pt x="130" y="842"/>
                  </a:lnTo>
                  <a:lnTo>
                    <a:pt x="134" y="842"/>
                  </a:lnTo>
                  <a:lnTo>
                    <a:pt x="136" y="836"/>
                  </a:lnTo>
                  <a:lnTo>
                    <a:pt x="138" y="836"/>
                  </a:lnTo>
                  <a:lnTo>
                    <a:pt x="136" y="836"/>
                  </a:lnTo>
                  <a:lnTo>
                    <a:pt x="134" y="836"/>
                  </a:lnTo>
                  <a:lnTo>
                    <a:pt x="132" y="836"/>
                  </a:lnTo>
                  <a:lnTo>
                    <a:pt x="130" y="836"/>
                  </a:lnTo>
                  <a:lnTo>
                    <a:pt x="130" y="840"/>
                  </a:lnTo>
                  <a:lnTo>
                    <a:pt x="126" y="842"/>
                  </a:lnTo>
                  <a:lnTo>
                    <a:pt x="126" y="842"/>
                  </a:lnTo>
                  <a:lnTo>
                    <a:pt x="124" y="836"/>
                  </a:lnTo>
                  <a:lnTo>
                    <a:pt x="124" y="832"/>
                  </a:lnTo>
                  <a:lnTo>
                    <a:pt x="126" y="832"/>
                  </a:lnTo>
                  <a:lnTo>
                    <a:pt x="126" y="828"/>
                  </a:lnTo>
                  <a:lnTo>
                    <a:pt x="124" y="825"/>
                  </a:lnTo>
                  <a:lnTo>
                    <a:pt x="124" y="825"/>
                  </a:lnTo>
                  <a:lnTo>
                    <a:pt x="123" y="828"/>
                  </a:lnTo>
                  <a:lnTo>
                    <a:pt x="121" y="826"/>
                  </a:lnTo>
                  <a:lnTo>
                    <a:pt x="117" y="825"/>
                  </a:lnTo>
                  <a:lnTo>
                    <a:pt x="123" y="823"/>
                  </a:lnTo>
                  <a:lnTo>
                    <a:pt x="126" y="823"/>
                  </a:lnTo>
                  <a:lnTo>
                    <a:pt x="126" y="821"/>
                  </a:lnTo>
                  <a:lnTo>
                    <a:pt x="132" y="819"/>
                  </a:lnTo>
                  <a:lnTo>
                    <a:pt x="134" y="817"/>
                  </a:lnTo>
                  <a:lnTo>
                    <a:pt x="136" y="817"/>
                  </a:lnTo>
                  <a:lnTo>
                    <a:pt x="136" y="815"/>
                  </a:lnTo>
                  <a:lnTo>
                    <a:pt x="138" y="811"/>
                  </a:lnTo>
                  <a:lnTo>
                    <a:pt x="140" y="815"/>
                  </a:lnTo>
                  <a:lnTo>
                    <a:pt x="140" y="811"/>
                  </a:lnTo>
                  <a:lnTo>
                    <a:pt x="147" y="811"/>
                  </a:lnTo>
                  <a:lnTo>
                    <a:pt x="149" y="815"/>
                  </a:lnTo>
                  <a:lnTo>
                    <a:pt x="151" y="815"/>
                  </a:lnTo>
                  <a:lnTo>
                    <a:pt x="151" y="811"/>
                  </a:lnTo>
                  <a:lnTo>
                    <a:pt x="147" y="811"/>
                  </a:lnTo>
                  <a:lnTo>
                    <a:pt x="145" y="809"/>
                  </a:lnTo>
                  <a:lnTo>
                    <a:pt x="141" y="809"/>
                  </a:lnTo>
                  <a:lnTo>
                    <a:pt x="136" y="811"/>
                  </a:lnTo>
                  <a:lnTo>
                    <a:pt x="134" y="811"/>
                  </a:lnTo>
                  <a:lnTo>
                    <a:pt x="132" y="811"/>
                  </a:lnTo>
                  <a:lnTo>
                    <a:pt x="132" y="815"/>
                  </a:lnTo>
                  <a:lnTo>
                    <a:pt x="130" y="817"/>
                  </a:lnTo>
                  <a:lnTo>
                    <a:pt x="126" y="817"/>
                  </a:lnTo>
                  <a:lnTo>
                    <a:pt x="126" y="821"/>
                  </a:lnTo>
                  <a:lnTo>
                    <a:pt x="124" y="821"/>
                  </a:lnTo>
                  <a:lnTo>
                    <a:pt x="123" y="819"/>
                  </a:lnTo>
                  <a:lnTo>
                    <a:pt x="124" y="817"/>
                  </a:lnTo>
                  <a:lnTo>
                    <a:pt x="121" y="815"/>
                  </a:lnTo>
                  <a:lnTo>
                    <a:pt x="123" y="815"/>
                  </a:lnTo>
                  <a:lnTo>
                    <a:pt x="124" y="811"/>
                  </a:lnTo>
                  <a:lnTo>
                    <a:pt x="121" y="811"/>
                  </a:lnTo>
                  <a:lnTo>
                    <a:pt x="117" y="811"/>
                  </a:lnTo>
                  <a:lnTo>
                    <a:pt x="117" y="809"/>
                  </a:lnTo>
                  <a:lnTo>
                    <a:pt x="117" y="806"/>
                  </a:lnTo>
                  <a:lnTo>
                    <a:pt x="121" y="806"/>
                  </a:lnTo>
                  <a:lnTo>
                    <a:pt x="124" y="804"/>
                  </a:lnTo>
                  <a:lnTo>
                    <a:pt x="126" y="804"/>
                  </a:lnTo>
                  <a:lnTo>
                    <a:pt x="126" y="806"/>
                  </a:lnTo>
                  <a:lnTo>
                    <a:pt x="130" y="806"/>
                  </a:lnTo>
                  <a:lnTo>
                    <a:pt x="132" y="804"/>
                  </a:lnTo>
                  <a:lnTo>
                    <a:pt x="134" y="802"/>
                  </a:lnTo>
                  <a:lnTo>
                    <a:pt x="138" y="802"/>
                  </a:lnTo>
                  <a:lnTo>
                    <a:pt x="138" y="800"/>
                  </a:lnTo>
                  <a:lnTo>
                    <a:pt x="138" y="800"/>
                  </a:lnTo>
                  <a:lnTo>
                    <a:pt x="134" y="798"/>
                  </a:lnTo>
                  <a:lnTo>
                    <a:pt x="130" y="802"/>
                  </a:lnTo>
                  <a:lnTo>
                    <a:pt x="130" y="804"/>
                  </a:lnTo>
                  <a:lnTo>
                    <a:pt x="126" y="802"/>
                  </a:lnTo>
                  <a:lnTo>
                    <a:pt x="126" y="800"/>
                  </a:lnTo>
                  <a:lnTo>
                    <a:pt x="124" y="800"/>
                  </a:lnTo>
                  <a:lnTo>
                    <a:pt x="123" y="802"/>
                  </a:lnTo>
                  <a:lnTo>
                    <a:pt x="117" y="804"/>
                  </a:lnTo>
                  <a:lnTo>
                    <a:pt x="117" y="802"/>
                  </a:lnTo>
                  <a:lnTo>
                    <a:pt x="117" y="802"/>
                  </a:lnTo>
                  <a:lnTo>
                    <a:pt x="115" y="802"/>
                  </a:lnTo>
                  <a:lnTo>
                    <a:pt x="113" y="802"/>
                  </a:lnTo>
                  <a:lnTo>
                    <a:pt x="113" y="800"/>
                  </a:lnTo>
                  <a:lnTo>
                    <a:pt x="115" y="800"/>
                  </a:lnTo>
                  <a:lnTo>
                    <a:pt x="121" y="798"/>
                  </a:lnTo>
                  <a:lnTo>
                    <a:pt x="126" y="794"/>
                  </a:lnTo>
                  <a:lnTo>
                    <a:pt x="130" y="794"/>
                  </a:lnTo>
                  <a:lnTo>
                    <a:pt x="134" y="793"/>
                  </a:lnTo>
                  <a:lnTo>
                    <a:pt x="136" y="789"/>
                  </a:lnTo>
                  <a:lnTo>
                    <a:pt x="141" y="785"/>
                  </a:lnTo>
                  <a:lnTo>
                    <a:pt x="149" y="781"/>
                  </a:lnTo>
                  <a:lnTo>
                    <a:pt x="151" y="779"/>
                  </a:lnTo>
                  <a:lnTo>
                    <a:pt x="155" y="779"/>
                  </a:lnTo>
                  <a:lnTo>
                    <a:pt x="156" y="777"/>
                  </a:lnTo>
                  <a:lnTo>
                    <a:pt x="156" y="777"/>
                  </a:lnTo>
                  <a:lnTo>
                    <a:pt x="155" y="776"/>
                  </a:lnTo>
                  <a:lnTo>
                    <a:pt x="151" y="777"/>
                  </a:lnTo>
                  <a:lnTo>
                    <a:pt x="140" y="781"/>
                  </a:lnTo>
                  <a:lnTo>
                    <a:pt x="136" y="785"/>
                  </a:lnTo>
                  <a:lnTo>
                    <a:pt x="134" y="789"/>
                  </a:lnTo>
                  <a:lnTo>
                    <a:pt x="130" y="791"/>
                  </a:lnTo>
                  <a:lnTo>
                    <a:pt x="124" y="793"/>
                  </a:lnTo>
                  <a:lnTo>
                    <a:pt x="123" y="794"/>
                  </a:lnTo>
                  <a:lnTo>
                    <a:pt x="115" y="796"/>
                  </a:lnTo>
                  <a:lnTo>
                    <a:pt x="111" y="796"/>
                  </a:lnTo>
                  <a:lnTo>
                    <a:pt x="111" y="794"/>
                  </a:lnTo>
                  <a:lnTo>
                    <a:pt x="113" y="794"/>
                  </a:lnTo>
                  <a:lnTo>
                    <a:pt x="113" y="787"/>
                  </a:lnTo>
                  <a:lnTo>
                    <a:pt x="115" y="785"/>
                  </a:lnTo>
                  <a:lnTo>
                    <a:pt x="117" y="785"/>
                  </a:lnTo>
                  <a:lnTo>
                    <a:pt x="117" y="787"/>
                  </a:lnTo>
                  <a:lnTo>
                    <a:pt x="123" y="785"/>
                  </a:lnTo>
                  <a:lnTo>
                    <a:pt x="126" y="785"/>
                  </a:lnTo>
                  <a:lnTo>
                    <a:pt x="130" y="785"/>
                  </a:lnTo>
                  <a:lnTo>
                    <a:pt x="126" y="785"/>
                  </a:lnTo>
                  <a:lnTo>
                    <a:pt x="126" y="785"/>
                  </a:lnTo>
                  <a:lnTo>
                    <a:pt x="123" y="785"/>
                  </a:lnTo>
                  <a:lnTo>
                    <a:pt x="121" y="785"/>
                  </a:lnTo>
                  <a:lnTo>
                    <a:pt x="117" y="785"/>
                  </a:lnTo>
                  <a:lnTo>
                    <a:pt x="117" y="781"/>
                  </a:lnTo>
                  <a:lnTo>
                    <a:pt x="117" y="781"/>
                  </a:lnTo>
                  <a:lnTo>
                    <a:pt x="121" y="779"/>
                  </a:lnTo>
                  <a:lnTo>
                    <a:pt x="124" y="781"/>
                  </a:lnTo>
                  <a:lnTo>
                    <a:pt x="126" y="781"/>
                  </a:lnTo>
                  <a:lnTo>
                    <a:pt x="130" y="781"/>
                  </a:lnTo>
                  <a:lnTo>
                    <a:pt x="130" y="779"/>
                  </a:lnTo>
                  <a:lnTo>
                    <a:pt x="126" y="779"/>
                  </a:lnTo>
                  <a:lnTo>
                    <a:pt x="126" y="779"/>
                  </a:lnTo>
                  <a:lnTo>
                    <a:pt x="126" y="777"/>
                  </a:lnTo>
                  <a:lnTo>
                    <a:pt x="126" y="776"/>
                  </a:lnTo>
                  <a:lnTo>
                    <a:pt x="130" y="776"/>
                  </a:lnTo>
                  <a:lnTo>
                    <a:pt x="130" y="776"/>
                  </a:lnTo>
                  <a:lnTo>
                    <a:pt x="130" y="776"/>
                  </a:lnTo>
                  <a:lnTo>
                    <a:pt x="132" y="776"/>
                  </a:lnTo>
                  <a:lnTo>
                    <a:pt x="134" y="776"/>
                  </a:lnTo>
                  <a:lnTo>
                    <a:pt x="134" y="772"/>
                  </a:lnTo>
                  <a:lnTo>
                    <a:pt x="134" y="770"/>
                  </a:lnTo>
                  <a:lnTo>
                    <a:pt x="134" y="770"/>
                  </a:lnTo>
                  <a:lnTo>
                    <a:pt x="130" y="770"/>
                  </a:lnTo>
                  <a:lnTo>
                    <a:pt x="130" y="772"/>
                  </a:lnTo>
                  <a:lnTo>
                    <a:pt x="126" y="772"/>
                  </a:lnTo>
                  <a:lnTo>
                    <a:pt x="117" y="768"/>
                  </a:lnTo>
                  <a:lnTo>
                    <a:pt x="117" y="768"/>
                  </a:lnTo>
                  <a:lnTo>
                    <a:pt x="113" y="766"/>
                  </a:lnTo>
                  <a:lnTo>
                    <a:pt x="115" y="766"/>
                  </a:lnTo>
                  <a:lnTo>
                    <a:pt x="117" y="766"/>
                  </a:lnTo>
                  <a:lnTo>
                    <a:pt x="121" y="766"/>
                  </a:lnTo>
                  <a:lnTo>
                    <a:pt x="123" y="766"/>
                  </a:lnTo>
                  <a:lnTo>
                    <a:pt x="121" y="764"/>
                  </a:lnTo>
                  <a:lnTo>
                    <a:pt x="117" y="764"/>
                  </a:lnTo>
                  <a:lnTo>
                    <a:pt x="117" y="762"/>
                  </a:lnTo>
                  <a:lnTo>
                    <a:pt x="117" y="761"/>
                  </a:lnTo>
                  <a:lnTo>
                    <a:pt x="123" y="761"/>
                  </a:lnTo>
                  <a:lnTo>
                    <a:pt x="123" y="761"/>
                  </a:lnTo>
                  <a:lnTo>
                    <a:pt x="126" y="761"/>
                  </a:lnTo>
                  <a:lnTo>
                    <a:pt x="138" y="761"/>
                  </a:lnTo>
                  <a:lnTo>
                    <a:pt x="141" y="761"/>
                  </a:lnTo>
                  <a:lnTo>
                    <a:pt x="145" y="761"/>
                  </a:lnTo>
                  <a:lnTo>
                    <a:pt x="147" y="761"/>
                  </a:lnTo>
                  <a:lnTo>
                    <a:pt x="147" y="761"/>
                  </a:lnTo>
                  <a:lnTo>
                    <a:pt x="141" y="757"/>
                  </a:lnTo>
                  <a:lnTo>
                    <a:pt x="136" y="757"/>
                  </a:lnTo>
                  <a:lnTo>
                    <a:pt x="130" y="757"/>
                  </a:lnTo>
                  <a:lnTo>
                    <a:pt x="126" y="761"/>
                  </a:lnTo>
                  <a:lnTo>
                    <a:pt x="126" y="757"/>
                  </a:lnTo>
                  <a:lnTo>
                    <a:pt x="124" y="757"/>
                  </a:lnTo>
                  <a:lnTo>
                    <a:pt x="121" y="757"/>
                  </a:lnTo>
                  <a:lnTo>
                    <a:pt x="117" y="761"/>
                  </a:lnTo>
                  <a:lnTo>
                    <a:pt x="117" y="761"/>
                  </a:lnTo>
                  <a:lnTo>
                    <a:pt x="117" y="755"/>
                  </a:lnTo>
                  <a:lnTo>
                    <a:pt x="121" y="755"/>
                  </a:lnTo>
                  <a:lnTo>
                    <a:pt x="123" y="751"/>
                  </a:lnTo>
                  <a:lnTo>
                    <a:pt x="126" y="751"/>
                  </a:lnTo>
                  <a:lnTo>
                    <a:pt x="130" y="747"/>
                  </a:lnTo>
                  <a:lnTo>
                    <a:pt x="130" y="745"/>
                  </a:lnTo>
                  <a:lnTo>
                    <a:pt x="132" y="742"/>
                  </a:lnTo>
                  <a:lnTo>
                    <a:pt x="134" y="742"/>
                  </a:lnTo>
                  <a:lnTo>
                    <a:pt x="136" y="745"/>
                  </a:lnTo>
                  <a:lnTo>
                    <a:pt x="140" y="742"/>
                  </a:lnTo>
                  <a:lnTo>
                    <a:pt x="141" y="742"/>
                  </a:lnTo>
                  <a:lnTo>
                    <a:pt x="141" y="742"/>
                  </a:lnTo>
                  <a:lnTo>
                    <a:pt x="145" y="745"/>
                  </a:lnTo>
                  <a:lnTo>
                    <a:pt x="149" y="745"/>
                  </a:lnTo>
                  <a:lnTo>
                    <a:pt x="151" y="747"/>
                  </a:lnTo>
                  <a:lnTo>
                    <a:pt x="155" y="747"/>
                  </a:lnTo>
                  <a:lnTo>
                    <a:pt x="158" y="751"/>
                  </a:lnTo>
                  <a:lnTo>
                    <a:pt x="162" y="755"/>
                  </a:lnTo>
                  <a:lnTo>
                    <a:pt x="166" y="755"/>
                  </a:lnTo>
                  <a:lnTo>
                    <a:pt x="172" y="757"/>
                  </a:lnTo>
                  <a:lnTo>
                    <a:pt x="173" y="755"/>
                  </a:lnTo>
                  <a:lnTo>
                    <a:pt x="175" y="755"/>
                  </a:lnTo>
                  <a:lnTo>
                    <a:pt x="175" y="755"/>
                  </a:lnTo>
                  <a:lnTo>
                    <a:pt x="175" y="755"/>
                  </a:lnTo>
                  <a:lnTo>
                    <a:pt x="172" y="755"/>
                  </a:lnTo>
                  <a:lnTo>
                    <a:pt x="172" y="755"/>
                  </a:lnTo>
                  <a:lnTo>
                    <a:pt x="168" y="755"/>
                  </a:lnTo>
                  <a:lnTo>
                    <a:pt x="164" y="751"/>
                  </a:lnTo>
                  <a:lnTo>
                    <a:pt x="160" y="747"/>
                  </a:lnTo>
                  <a:lnTo>
                    <a:pt x="160" y="747"/>
                  </a:lnTo>
                  <a:lnTo>
                    <a:pt x="162" y="747"/>
                  </a:lnTo>
                  <a:lnTo>
                    <a:pt x="168" y="747"/>
                  </a:lnTo>
                  <a:lnTo>
                    <a:pt x="173" y="745"/>
                  </a:lnTo>
                  <a:lnTo>
                    <a:pt x="175" y="742"/>
                  </a:lnTo>
                  <a:lnTo>
                    <a:pt x="173" y="742"/>
                  </a:lnTo>
                  <a:lnTo>
                    <a:pt x="170" y="740"/>
                  </a:lnTo>
                  <a:lnTo>
                    <a:pt x="168" y="740"/>
                  </a:lnTo>
                  <a:lnTo>
                    <a:pt x="168" y="742"/>
                  </a:lnTo>
                  <a:lnTo>
                    <a:pt x="168" y="742"/>
                  </a:lnTo>
                  <a:lnTo>
                    <a:pt x="168" y="742"/>
                  </a:lnTo>
                  <a:lnTo>
                    <a:pt x="162" y="742"/>
                  </a:lnTo>
                  <a:lnTo>
                    <a:pt x="160" y="742"/>
                  </a:lnTo>
                  <a:lnTo>
                    <a:pt x="160" y="740"/>
                  </a:lnTo>
                  <a:lnTo>
                    <a:pt x="162" y="740"/>
                  </a:lnTo>
                  <a:lnTo>
                    <a:pt x="164" y="740"/>
                  </a:lnTo>
                  <a:lnTo>
                    <a:pt x="164" y="738"/>
                  </a:lnTo>
                  <a:lnTo>
                    <a:pt x="162" y="736"/>
                  </a:lnTo>
                  <a:lnTo>
                    <a:pt x="160" y="736"/>
                  </a:lnTo>
                  <a:lnTo>
                    <a:pt x="160" y="736"/>
                  </a:lnTo>
                  <a:lnTo>
                    <a:pt x="158" y="736"/>
                  </a:lnTo>
                  <a:lnTo>
                    <a:pt x="156" y="736"/>
                  </a:lnTo>
                  <a:lnTo>
                    <a:pt x="156" y="738"/>
                  </a:lnTo>
                  <a:lnTo>
                    <a:pt x="156" y="740"/>
                  </a:lnTo>
                  <a:lnTo>
                    <a:pt x="156" y="742"/>
                  </a:lnTo>
                  <a:lnTo>
                    <a:pt x="155" y="745"/>
                  </a:lnTo>
                  <a:lnTo>
                    <a:pt x="151" y="747"/>
                  </a:lnTo>
                  <a:lnTo>
                    <a:pt x="151" y="745"/>
                  </a:lnTo>
                  <a:lnTo>
                    <a:pt x="147" y="742"/>
                  </a:lnTo>
                  <a:lnTo>
                    <a:pt x="145" y="742"/>
                  </a:lnTo>
                  <a:lnTo>
                    <a:pt x="141" y="740"/>
                  </a:lnTo>
                  <a:lnTo>
                    <a:pt x="141" y="738"/>
                  </a:lnTo>
                  <a:lnTo>
                    <a:pt x="141" y="738"/>
                  </a:lnTo>
                  <a:lnTo>
                    <a:pt x="140" y="740"/>
                  </a:lnTo>
                  <a:lnTo>
                    <a:pt x="136" y="742"/>
                  </a:lnTo>
                  <a:lnTo>
                    <a:pt x="132" y="742"/>
                  </a:lnTo>
                  <a:lnTo>
                    <a:pt x="130" y="742"/>
                  </a:lnTo>
                  <a:lnTo>
                    <a:pt x="126" y="747"/>
                  </a:lnTo>
                  <a:lnTo>
                    <a:pt x="124" y="747"/>
                  </a:lnTo>
                  <a:lnTo>
                    <a:pt x="123" y="747"/>
                  </a:lnTo>
                  <a:lnTo>
                    <a:pt x="123" y="745"/>
                  </a:lnTo>
                  <a:lnTo>
                    <a:pt x="126" y="740"/>
                  </a:lnTo>
                  <a:lnTo>
                    <a:pt x="130" y="740"/>
                  </a:lnTo>
                  <a:lnTo>
                    <a:pt x="130" y="738"/>
                  </a:lnTo>
                  <a:lnTo>
                    <a:pt x="130" y="736"/>
                  </a:lnTo>
                  <a:lnTo>
                    <a:pt x="130" y="736"/>
                  </a:lnTo>
                  <a:lnTo>
                    <a:pt x="132" y="734"/>
                  </a:lnTo>
                  <a:lnTo>
                    <a:pt x="132" y="732"/>
                  </a:lnTo>
                  <a:lnTo>
                    <a:pt x="134" y="730"/>
                  </a:lnTo>
                  <a:lnTo>
                    <a:pt x="136" y="730"/>
                  </a:lnTo>
                  <a:lnTo>
                    <a:pt x="138" y="732"/>
                  </a:lnTo>
                  <a:lnTo>
                    <a:pt x="141" y="734"/>
                  </a:lnTo>
                  <a:lnTo>
                    <a:pt x="147" y="734"/>
                  </a:lnTo>
                  <a:lnTo>
                    <a:pt x="147" y="734"/>
                  </a:lnTo>
                  <a:lnTo>
                    <a:pt x="145" y="732"/>
                  </a:lnTo>
                  <a:lnTo>
                    <a:pt x="141" y="732"/>
                  </a:lnTo>
                  <a:lnTo>
                    <a:pt x="140" y="730"/>
                  </a:lnTo>
                  <a:lnTo>
                    <a:pt x="136" y="727"/>
                  </a:lnTo>
                  <a:lnTo>
                    <a:pt x="134" y="725"/>
                  </a:lnTo>
                  <a:lnTo>
                    <a:pt x="132" y="723"/>
                  </a:lnTo>
                  <a:lnTo>
                    <a:pt x="132" y="721"/>
                  </a:lnTo>
                  <a:lnTo>
                    <a:pt x="134" y="721"/>
                  </a:lnTo>
                  <a:lnTo>
                    <a:pt x="138" y="721"/>
                  </a:lnTo>
                  <a:lnTo>
                    <a:pt x="141" y="727"/>
                  </a:lnTo>
                  <a:lnTo>
                    <a:pt x="145" y="730"/>
                  </a:lnTo>
                  <a:lnTo>
                    <a:pt x="145" y="728"/>
                  </a:lnTo>
                  <a:lnTo>
                    <a:pt x="145" y="727"/>
                  </a:lnTo>
                  <a:lnTo>
                    <a:pt x="141" y="723"/>
                  </a:lnTo>
                  <a:lnTo>
                    <a:pt x="145" y="723"/>
                  </a:lnTo>
                  <a:lnTo>
                    <a:pt x="147" y="727"/>
                  </a:lnTo>
                  <a:lnTo>
                    <a:pt x="147" y="728"/>
                  </a:lnTo>
                  <a:lnTo>
                    <a:pt x="155" y="732"/>
                  </a:lnTo>
                  <a:lnTo>
                    <a:pt x="155" y="732"/>
                  </a:lnTo>
                  <a:lnTo>
                    <a:pt x="156" y="730"/>
                  </a:lnTo>
                  <a:lnTo>
                    <a:pt x="160" y="730"/>
                  </a:lnTo>
                  <a:lnTo>
                    <a:pt x="162" y="732"/>
                  </a:lnTo>
                  <a:lnTo>
                    <a:pt x="166" y="736"/>
                  </a:lnTo>
                  <a:lnTo>
                    <a:pt x="170" y="736"/>
                  </a:lnTo>
                  <a:lnTo>
                    <a:pt x="170" y="738"/>
                  </a:lnTo>
                  <a:lnTo>
                    <a:pt x="173" y="738"/>
                  </a:lnTo>
                  <a:lnTo>
                    <a:pt x="173" y="736"/>
                  </a:lnTo>
                  <a:lnTo>
                    <a:pt x="170" y="734"/>
                  </a:lnTo>
                  <a:lnTo>
                    <a:pt x="162" y="727"/>
                  </a:lnTo>
                  <a:lnTo>
                    <a:pt x="160" y="725"/>
                  </a:lnTo>
                  <a:lnTo>
                    <a:pt x="162" y="723"/>
                  </a:lnTo>
                  <a:lnTo>
                    <a:pt x="166" y="723"/>
                  </a:lnTo>
                  <a:lnTo>
                    <a:pt x="166" y="721"/>
                  </a:lnTo>
                  <a:lnTo>
                    <a:pt x="168" y="717"/>
                  </a:lnTo>
                  <a:lnTo>
                    <a:pt x="170" y="717"/>
                  </a:lnTo>
                  <a:lnTo>
                    <a:pt x="170" y="717"/>
                  </a:lnTo>
                  <a:lnTo>
                    <a:pt x="166" y="717"/>
                  </a:lnTo>
                  <a:lnTo>
                    <a:pt x="164" y="717"/>
                  </a:lnTo>
                  <a:lnTo>
                    <a:pt x="158" y="717"/>
                  </a:lnTo>
                  <a:lnTo>
                    <a:pt x="156" y="717"/>
                  </a:lnTo>
                  <a:lnTo>
                    <a:pt x="158" y="721"/>
                  </a:lnTo>
                  <a:lnTo>
                    <a:pt x="160" y="721"/>
                  </a:lnTo>
                  <a:lnTo>
                    <a:pt x="160" y="723"/>
                  </a:lnTo>
                  <a:lnTo>
                    <a:pt x="155" y="723"/>
                  </a:lnTo>
                  <a:lnTo>
                    <a:pt x="155" y="723"/>
                  </a:lnTo>
                  <a:lnTo>
                    <a:pt x="151" y="723"/>
                  </a:lnTo>
                  <a:lnTo>
                    <a:pt x="149" y="723"/>
                  </a:lnTo>
                  <a:lnTo>
                    <a:pt x="147" y="721"/>
                  </a:lnTo>
                  <a:lnTo>
                    <a:pt x="145" y="721"/>
                  </a:lnTo>
                  <a:lnTo>
                    <a:pt x="141" y="717"/>
                  </a:lnTo>
                  <a:lnTo>
                    <a:pt x="145" y="717"/>
                  </a:lnTo>
                  <a:lnTo>
                    <a:pt x="147" y="717"/>
                  </a:lnTo>
                  <a:lnTo>
                    <a:pt x="145" y="717"/>
                  </a:lnTo>
                  <a:lnTo>
                    <a:pt x="141" y="717"/>
                  </a:lnTo>
                  <a:lnTo>
                    <a:pt x="141" y="717"/>
                  </a:lnTo>
                  <a:lnTo>
                    <a:pt x="145" y="715"/>
                  </a:lnTo>
                  <a:lnTo>
                    <a:pt x="151" y="713"/>
                  </a:lnTo>
                  <a:lnTo>
                    <a:pt x="151" y="712"/>
                  </a:lnTo>
                  <a:lnTo>
                    <a:pt x="155" y="712"/>
                  </a:lnTo>
                  <a:lnTo>
                    <a:pt x="156" y="713"/>
                  </a:lnTo>
                  <a:lnTo>
                    <a:pt x="160" y="713"/>
                  </a:lnTo>
                  <a:lnTo>
                    <a:pt x="164" y="713"/>
                  </a:lnTo>
                  <a:lnTo>
                    <a:pt x="168" y="713"/>
                  </a:lnTo>
                  <a:lnTo>
                    <a:pt x="168" y="712"/>
                  </a:lnTo>
                  <a:lnTo>
                    <a:pt x="170" y="710"/>
                  </a:lnTo>
                  <a:lnTo>
                    <a:pt x="172" y="710"/>
                  </a:lnTo>
                  <a:lnTo>
                    <a:pt x="173" y="708"/>
                  </a:lnTo>
                  <a:lnTo>
                    <a:pt x="175" y="706"/>
                  </a:lnTo>
                  <a:lnTo>
                    <a:pt x="173" y="704"/>
                  </a:lnTo>
                  <a:lnTo>
                    <a:pt x="172" y="708"/>
                  </a:lnTo>
                  <a:lnTo>
                    <a:pt x="170" y="708"/>
                  </a:lnTo>
                  <a:lnTo>
                    <a:pt x="168" y="706"/>
                  </a:lnTo>
                  <a:lnTo>
                    <a:pt x="170" y="702"/>
                  </a:lnTo>
                  <a:lnTo>
                    <a:pt x="172" y="696"/>
                  </a:lnTo>
                  <a:lnTo>
                    <a:pt x="172" y="691"/>
                  </a:lnTo>
                  <a:lnTo>
                    <a:pt x="173" y="691"/>
                  </a:lnTo>
                  <a:lnTo>
                    <a:pt x="175" y="691"/>
                  </a:lnTo>
                  <a:lnTo>
                    <a:pt x="175" y="696"/>
                  </a:lnTo>
                  <a:lnTo>
                    <a:pt x="175" y="696"/>
                  </a:lnTo>
                  <a:lnTo>
                    <a:pt x="175" y="698"/>
                  </a:lnTo>
                  <a:lnTo>
                    <a:pt x="179" y="698"/>
                  </a:lnTo>
                  <a:lnTo>
                    <a:pt x="179" y="698"/>
                  </a:lnTo>
                  <a:lnTo>
                    <a:pt x="181" y="700"/>
                  </a:lnTo>
                  <a:lnTo>
                    <a:pt x="183" y="700"/>
                  </a:lnTo>
                  <a:lnTo>
                    <a:pt x="185" y="698"/>
                  </a:lnTo>
                  <a:lnTo>
                    <a:pt x="187" y="700"/>
                  </a:lnTo>
                  <a:lnTo>
                    <a:pt x="187" y="700"/>
                  </a:lnTo>
                  <a:lnTo>
                    <a:pt x="187" y="698"/>
                  </a:lnTo>
                  <a:lnTo>
                    <a:pt x="185" y="696"/>
                  </a:lnTo>
                  <a:lnTo>
                    <a:pt x="181" y="696"/>
                  </a:lnTo>
                  <a:lnTo>
                    <a:pt x="181" y="696"/>
                  </a:lnTo>
                  <a:lnTo>
                    <a:pt x="183" y="696"/>
                  </a:lnTo>
                  <a:lnTo>
                    <a:pt x="187" y="693"/>
                  </a:lnTo>
                  <a:lnTo>
                    <a:pt x="187" y="693"/>
                  </a:lnTo>
                  <a:lnTo>
                    <a:pt x="185" y="691"/>
                  </a:lnTo>
                  <a:lnTo>
                    <a:pt x="183" y="691"/>
                  </a:lnTo>
                  <a:lnTo>
                    <a:pt x="183" y="691"/>
                  </a:lnTo>
                  <a:lnTo>
                    <a:pt x="181" y="691"/>
                  </a:lnTo>
                  <a:lnTo>
                    <a:pt x="179" y="691"/>
                  </a:lnTo>
                  <a:lnTo>
                    <a:pt x="179" y="691"/>
                  </a:lnTo>
                  <a:lnTo>
                    <a:pt x="175" y="691"/>
                  </a:lnTo>
                  <a:lnTo>
                    <a:pt x="175" y="687"/>
                  </a:lnTo>
                  <a:lnTo>
                    <a:pt x="175" y="687"/>
                  </a:lnTo>
                  <a:lnTo>
                    <a:pt x="179" y="687"/>
                  </a:lnTo>
                  <a:lnTo>
                    <a:pt x="181" y="683"/>
                  </a:lnTo>
                  <a:lnTo>
                    <a:pt x="183" y="681"/>
                  </a:lnTo>
                  <a:lnTo>
                    <a:pt x="185" y="681"/>
                  </a:lnTo>
                  <a:lnTo>
                    <a:pt x="187" y="681"/>
                  </a:lnTo>
                  <a:lnTo>
                    <a:pt x="188" y="681"/>
                  </a:lnTo>
                  <a:lnTo>
                    <a:pt x="188" y="678"/>
                  </a:lnTo>
                  <a:lnTo>
                    <a:pt x="185" y="678"/>
                  </a:lnTo>
                  <a:lnTo>
                    <a:pt x="183" y="678"/>
                  </a:lnTo>
                  <a:lnTo>
                    <a:pt x="181" y="678"/>
                  </a:lnTo>
                  <a:lnTo>
                    <a:pt x="183" y="676"/>
                  </a:lnTo>
                  <a:lnTo>
                    <a:pt x="187" y="674"/>
                  </a:lnTo>
                  <a:lnTo>
                    <a:pt x="188" y="672"/>
                  </a:lnTo>
                  <a:lnTo>
                    <a:pt x="190" y="672"/>
                  </a:lnTo>
                  <a:lnTo>
                    <a:pt x="190" y="670"/>
                  </a:lnTo>
                  <a:lnTo>
                    <a:pt x="194" y="668"/>
                  </a:lnTo>
                  <a:lnTo>
                    <a:pt x="192" y="666"/>
                  </a:lnTo>
                  <a:lnTo>
                    <a:pt x="188" y="666"/>
                  </a:lnTo>
                  <a:lnTo>
                    <a:pt x="188" y="666"/>
                  </a:lnTo>
                  <a:lnTo>
                    <a:pt x="192" y="663"/>
                  </a:lnTo>
                  <a:lnTo>
                    <a:pt x="194" y="666"/>
                  </a:lnTo>
                  <a:lnTo>
                    <a:pt x="194" y="661"/>
                  </a:lnTo>
                  <a:lnTo>
                    <a:pt x="192" y="661"/>
                  </a:lnTo>
                  <a:lnTo>
                    <a:pt x="188" y="661"/>
                  </a:lnTo>
                  <a:lnTo>
                    <a:pt x="185" y="663"/>
                  </a:lnTo>
                  <a:lnTo>
                    <a:pt x="183" y="663"/>
                  </a:lnTo>
                  <a:lnTo>
                    <a:pt x="179" y="661"/>
                  </a:lnTo>
                  <a:lnTo>
                    <a:pt x="179" y="663"/>
                  </a:lnTo>
                  <a:lnTo>
                    <a:pt x="175" y="661"/>
                  </a:lnTo>
                  <a:lnTo>
                    <a:pt x="175" y="661"/>
                  </a:lnTo>
                  <a:lnTo>
                    <a:pt x="173" y="661"/>
                  </a:lnTo>
                  <a:lnTo>
                    <a:pt x="170" y="661"/>
                  </a:lnTo>
                  <a:lnTo>
                    <a:pt x="168" y="657"/>
                  </a:lnTo>
                  <a:lnTo>
                    <a:pt x="164" y="657"/>
                  </a:lnTo>
                  <a:lnTo>
                    <a:pt x="162" y="657"/>
                  </a:lnTo>
                  <a:lnTo>
                    <a:pt x="162" y="653"/>
                  </a:lnTo>
                  <a:lnTo>
                    <a:pt x="160" y="651"/>
                  </a:lnTo>
                  <a:lnTo>
                    <a:pt x="156" y="649"/>
                  </a:lnTo>
                  <a:lnTo>
                    <a:pt x="151" y="646"/>
                  </a:lnTo>
                  <a:lnTo>
                    <a:pt x="145" y="644"/>
                  </a:lnTo>
                  <a:lnTo>
                    <a:pt x="141" y="640"/>
                  </a:lnTo>
                  <a:lnTo>
                    <a:pt x="141" y="638"/>
                  </a:lnTo>
                  <a:lnTo>
                    <a:pt x="141" y="634"/>
                  </a:lnTo>
                  <a:lnTo>
                    <a:pt x="138" y="632"/>
                  </a:lnTo>
                  <a:lnTo>
                    <a:pt x="136" y="629"/>
                  </a:lnTo>
                  <a:lnTo>
                    <a:pt x="136" y="627"/>
                  </a:lnTo>
                  <a:lnTo>
                    <a:pt x="141" y="623"/>
                  </a:lnTo>
                  <a:lnTo>
                    <a:pt x="145" y="623"/>
                  </a:lnTo>
                  <a:lnTo>
                    <a:pt x="147" y="623"/>
                  </a:lnTo>
                  <a:lnTo>
                    <a:pt x="149" y="623"/>
                  </a:lnTo>
                  <a:lnTo>
                    <a:pt x="151" y="623"/>
                  </a:lnTo>
                  <a:lnTo>
                    <a:pt x="155" y="627"/>
                  </a:lnTo>
                  <a:lnTo>
                    <a:pt x="158" y="627"/>
                  </a:lnTo>
                  <a:lnTo>
                    <a:pt x="160" y="629"/>
                  </a:lnTo>
                  <a:lnTo>
                    <a:pt x="162" y="629"/>
                  </a:lnTo>
                  <a:lnTo>
                    <a:pt x="166" y="629"/>
                  </a:lnTo>
                  <a:lnTo>
                    <a:pt x="168" y="632"/>
                  </a:lnTo>
                  <a:lnTo>
                    <a:pt x="172" y="632"/>
                  </a:lnTo>
                  <a:lnTo>
                    <a:pt x="173" y="632"/>
                  </a:lnTo>
                  <a:lnTo>
                    <a:pt x="175" y="634"/>
                  </a:lnTo>
                  <a:lnTo>
                    <a:pt x="175" y="642"/>
                  </a:lnTo>
                  <a:lnTo>
                    <a:pt x="179" y="646"/>
                  </a:lnTo>
                  <a:lnTo>
                    <a:pt x="181" y="648"/>
                  </a:lnTo>
                  <a:lnTo>
                    <a:pt x="185" y="651"/>
                  </a:lnTo>
                  <a:lnTo>
                    <a:pt x="188" y="651"/>
                  </a:lnTo>
                  <a:lnTo>
                    <a:pt x="190" y="651"/>
                  </a:lnTo>
                  <a:lnTo>
                    <a:pt x="192" y="648"/>
                  </a:lnTo>
                  <a:lnTo>
                    <a:pt x="192" y="648"/>
                  </a:lnTo>
                  <a:lnTo>
                    <a:pt x="188" y="648"/>
                  </a:lnTo>
                  <a:lnTo>
                    <a:pt x="188" y="649"/>
                  </a:lnTo>
                  <a:lnTo>
                    <a:pt x="185" y="648"/>
                  </a:lnTo>
                  <a:lnTo>
                    <a:pt x="181" y="642"/>
                  </a:lnTo>
                  <a:lnTo>
                    <a:pt x="181" y="640"/>
                  </a:lnTo>
                  <a:lnTo>
                    <a:pt x="183" y="640"/>
                  </a:lnTo>
                  <a:lnTo>
                    <a:pt x="187" y="644"/>
                  </a:lnTo>
                  <a:lnTo>
                    <a:pt x="188" y="644"/>
                  </a:lnTo>
                  <a:lnTo>
                    <a:pt x="188" y="642"/>
                  </a:lnTo>
                  <a:lnTo>
                    <a:pt x="190" y="642"/>
                  </a:lnTo>
                  <a:lnTo>
                    <a:pt x="190" y="640"/>
                  </a:lnTo>
                  <a:lnTo>
                    <a:pt x="187" y="638"/>
                  </a:lnTo>
                  <a:lnTo>
                    <a:pt x="181" y="634"/>
                  </a:lnTo>
                  <a:lnTo>
                    <a:pt x="181" y="632"/>
                  </a:lnTo>
                  <a:lnTo>
                    <a:pt x="181" y="632"/>
                  </a:lnTo>
                  <a:lnTo>
                    <a:pt x="183" y="632"/>
                  </a:lnTo>
                  <a:lnTo>
                    <a:pt x="185" y="634"/>
                  </a:lnTo>
                  <a:lnTo>
                    <a:pt x="187" y="634"/>
                  </a:lnTo>
                  <a:lnTo>
                    <a:pt x="185" y="632"/>
                  </a:lnTo>
                  <a:lnTo>
                    <a:pt x="181" y="627"/>
                  </a:lnTo>
                  <a:lnTo>
                    <a:pt x="179" y="623"/>
                  </a:lnTo>
                  <a:lnTo>
                    <a:pt x="179" y="623"/>
                  </a:lnTo>
                  <a:lnTo>
                    <a:pt x="179" y="621"/>
                  </a:lnTo>
                  <a:lnTo>
                    <a:pt x="181" y="623"/>
                  </a:lnTo>
                  <a:lnTo>
                    <a:pt x="188" y="623"/>
                  </a:lnTo>
                  <a:lnTo>
                    <a:pt x="192" y="623"/>
                  </a:lnTo>
                  <a:lnTo>
                    <a:pt x="192" y="623"/>
                  </a:lnTo>
                  <a:lnTo>
                    <a:pt x="188" y="619"/>
                  </a:lnTo>
                  <a:lnTo>
                    <a:pt x="187" y="619"/>
                  </a:lnTo>
                  <a:lnTo>
                    <a:pt x="185" y="619"/>
                  </a:lnTo>
                  <a:lnTo>
                    <a:pt x="183" y="621"/>
                  </a:lnTo>
                  <a:lnTo>
                    <a:pt x="179" y="619"/>
                  </a:lnTo>
                  <a:lnTo>
                    <a:pt x="179" y="617"/>
                  </a:lnTo>
                  <a:lnTo>
                    <a:pt x="179" y="617"/>
                  </a:lnTo>
                  <a:lnTo>
                    <a:pt x="183" y="614"/>
                  </a:lnTo>
                  <a:lnTo>
                    <a:pt x="185" y="615"/>
                  </a:lnTo>
                  <a:lnTo>
                    <a:pt x="187" y="617"/>
                  </a:lnTo>
                  <a:lnTo>
                    <a:pt x="188" y="615"/>
                  </a:lnTo>
                  <a:lnTo>
                    <a:pt x="188" y="614"/>
                  </a:lnTo>
                  <a:lnTo>
                    <a:pt x="185" y="610"/>
                  </a:lnTo>
                  <a:lnTo>
                    <a:pt x="185" y="610"/>
                  </a:lnTo>
                  <a:lnTo>
                    <a:pt x="183" y="612"/>
                  </a:lnTo>
                  <a:lnTo>
                    <a:pt x="181" y="612"/>
                  </a:lnTo>
                  <a:lnTo>
                    <a:pt x="179" y="614"/>
                  </a:lnTo>
                  <a:lnTo>
                    <a:pt x="175" y="617"/>
                  </a:lnTo>
                  <a:lnTo>
                    <a:pt x="173" y="617"/>
                  </a:lnTo>
                  <a:lnTo>
                    <a:pt x="173" y="615"/>
                  </a:lnTo>
                  <a:lnTo>
                    <a:pt x="175" y="614"/>
                  </a:lnTo>
                  <a:lnTo>
                    <a:pt x="175" y="612"/>
                  </a:lnTo>
                  <a:lnTo>
                    <a:pt x="179" y="608"/>
                  </a:lnTo>
                  <a:lnTo>
                    <a:pt x="179" y="608"/>
                  </a:lnTo>
                  <a:lnTo>
                    <a:pt x="181" y="608"/>
                  </a:lnTo>
                  <a:lnTo>
                    <a:pt x="183" y="606"/>
                  </a:lnTo>
                  <a:lnTo>
                    <a:pt x="187" y="606"/>
                  </a:lnTo>
                  <a:lnTo>
                    <a:pt x="188" y="604"/>
                  </a:lnTo>
                  <a:lnTo>
                    <a:pt x="187" y="604"/>
                  </a:lnTo>
                  <a:lnTo>
                    <a:pt x="183" y="602"/>
                  </a:lnTo>
                  <a:lnTo>
                    <a:pt x="179" y="606"/>
                  </a:lnTo>
                  <a:lnTo>
                    <a:pt x="179" y="606"/>
                  </a:lnTo>
                  <a:lnTo>
                    <a:pt x="175" y="604"/>
                  </a:lnTo>
                  <a:lnTo>
                    <a:pt x="173" y="606"/>
                  </a:lnTo>
                  <a:lnTo>
                    <a:pt x="172" y="604"/>
                  </a:lnTo>
                  <a:lnTo>
                    <a:pt x="172" y="602"/>
                  </a:lnTo>
                  <a:lnTo>
                    <a:pt x="173" y="602"/>
                  </a:lnTo>
                  <a:lnTo>
                    <a:pt x="175" y="599"/>
                  </a:lnTo>
                  <a:lnTo>
                    <a:pt x="179" y="599"/>
                  </a:lnTo>
                  <a:lnTo>
                    <a:pt x="185" y="597"/>
                  </a:lnTo>
                  <a:lnTo>
                    <a:pt x="190" y="597"/>
                  </a:lnTo>
                  <a:lnTo>
                    <a:pt x="190" y="593"/>
                  </a:lnTo>
                  <a:lnTo>
                    <a:pt x="188" y="593"/>
                  </a:lnTo>
                  <a:lnTo>
                    <a:pt x="187" y="593"/>
                  </a:lnTo>
                  <a:lnTo>
                    <a:pt x="185" y="597"/>
                  </a:lnTo>
                  <a:lnTo>
                    <a:pt x="181" y="597"/>
                  </a:lnTo>
                  <a:lnTo>
                    <a:pt x="179" y="597"/>
                  </a:lnTo>
                  <a:lnTo>
                    <a:pt x="179" y="593"/>
                  </a:lnTo>
                  <a:lnTo>
                    <a:pt x="175" y="593"/>
                  </a:lnTo>
                  <a:lnTo>
                    <a:pt x="173" y="593"/>
                  </a:lnTo>
                  <a:lnTo>
                    <a:pt x="173" y="593"/>
                  </a:lnTo>
                  <a:lnTo>
                    <a:pt x="173" y="591"/>
                  </a:lnTo>
                  <a:lnTo>
                    <a:pt x="175" y="589"/>
                  </a:lnTo>
                  <a:lnTo>
                    <a:pt x="175" y="583"/>
                  </a:lnTo>
                  <a:lnTo>
                    <a:pt x="179" y="583"/>
                  </a:lnTo>
                  <a:lnTo>
                    <a:pt x="179" y="582"/>
                  </a:lnTo>
                  <a:lnTo>
                    <a:pt x="179" y="580"/>
                  </a:lnTo>
                  <a:lnTo>
                    <a:pt x="179" y="580"/>
                  </a:lnTo>
                  <a:lnTo>
                    <a:pt x="175" y="582"/>
                  </a:lnTo>
                  <a:lnTo>
                    <a:pt x="173" y="585"/>
                  </a:lnTo>
                  <a:lnTo>
                    <a:pt x="173" y="587"/>
                  </a:lnTo>
                  <a:lnTo>
                    <a:pt x="170" y="589"/>
                  </a:lnTo>
                  <a:lnTo>
                    <a:pt x="170" y="591"/>
                  </a:lnTo>
                  <a:lnTo>
                    <a:pt x="168" y="591"/>
                  </a:lnTo>
                  <a:lnTo>
                    <a:pt x="168" y="587"/>
                  </a:lnTo>
                  <a:lnTo>
                    <a:pt x="170" y="583"/>
                  </a:lnTo>
                  <a:lnTo>
                    <a:pt x="170" y="578"/>
                  </a:lnTo>
                  <a:lnTo>
                    <a:pt x="168" y="574"/>
                  </a:lnTo>
                  <a:lnTo>
                    <a:pt x="168" y="572"/>
                  </a:lnTo>
                  <a:lnTo>
                    <a:pt x="168" y="568"/>
                  </a:lnTo>
                  <a:lnTo>
                    <a:pt x="168" y="567"/>
                  </a:lnTo>
                  <a:lnTo>
                    <a:pt x="168" y="567"/>
                  </a:lnTo>
                  <a:lnTo>
                    <a:pt x="166" y="568"/>
                  </a:lnTo>
                  <a:lnTo>
                    <a:pt x="166" y="574"/>
                  </a:lnTo>
                  <a:lnTo>
                    <a:pt x="166" y="576"/>
                  </a:lnTo>
                  <a:lnTo>
                    <a:pt x="168" y="580"/>
                  </a:lnTo>
                  <a:lnTo>
                    <a:pt x="168" y="583"/>
                  </a:lnTo>
                  <a:lnTo>
                    <a:pt x="168" y="589"/>
                  </a:lnTo>
                  <a:lnTo>
                    <a:pt x="166" y="591"/>
                  </a:lnTo>
                  <a:lnTo>
                    <a:pt x="164" y="591"/>
                  </a:lnTo>
                  <a:lnTo>
                    <a:pt x="162" y="589"/>
                  </a:lnTo>
                  <a:lnTo>
                    <a:pt x="160" y="587"/>
                  </a:lnTo>
                  <a:lnTo>
                    <a:pt x="160" y="593"/>
                  </a:lnTo>
                  <a:lnTo>
                    <a:pt x="158" y="593"/>
                  </a:lnTo>
                  <a:lnTo>
                    <a:pt x="156" y="593"/>
                  </a:lnTo>
                  <a:lnTo>
                    <a:pt x="155" y="593"/>
                  </a:lnTo>
                  <a:lnTo>
                    <a:pt x="156" y="593"/>
                  </a:lnTo>
                  <a:lnTo>
                    <a:pt x="158" y="597"/>
                  </a:lnTo>
                  <a:lnTo>
                    <a:pt x="156" y="599"/>
                  </a:lnTo>
                  <a:lnTo>
                    <a:pt x="155" y="602"/>
                  </a:lnTo>
                  <a:lnTo>
                    <a:pt x="155" y="602"/>
                  </a:lnTo>
                  <a:lnTo>
                    <a:pt x="151" y="602"/>
                  </a:lnTo>
                  <a:lnTo>
                    <a:pt x="151" y="602"/>
                  </a:lnTo>
                  <a:lnTo>
                    <a:pt x="149" y="604"/>
                  </a:lnTo>
                  <a:lnTo>
                    <a:pt x="141" y="604"/>
                  </a:lnTo>
                  <a:lnTo>
                    <a:pt x="141" y="602"/>
                  </a:lnTo>
                  <a:lnTo>
                    <a:pt x="141" y="602"/>
                  </a:lnTo>
                  <a:lnTo>
                    <a:pt x="141" y="597"/>
                  </a:lnTo>
                  <a:lnTo>
                    <a:pt x="140" y="597"/>
                  </a:lnTo>
                  <a:lnTo>
                    <a:pt x="138" y="597"/>
                  </a:lnTo>
                  <a:lnTo>
                    <a:pt x="138" y="599"/>
                  </a:lnTo>
                  <a:lnTo>
                    <a:pt x="136" y="599"/>
                  </a:lnTo>
                  <a:lnTo>
                    <a:pt x="136" y="597"/>
                  </a:lnTo>
                  <a:lnTo>
                    <a:pt x="136" y="593"/>
                  </a:lnTo>
                  <a:lnTo>
                    <a:pt x="136" y="591"/>
                  </a:lnTo>
                  <a:lnTo>
                    <a:pt x="134" y="589"/>
                  </a:lnTo>
                  <a:lnTo>
                    <a:pt x="134" y="587"/>
                  </a:lnTo>
                  <a:lnTo>
                    <a:pt x="138" y="585"/>
                  </a:lnTo>
                  <a:lnTo>
                    <a:pt x="141" y="585"/>
                  </a:lnTo>
                  <a:lnTo>
                    <a:pt x="141" y="585"/>
                  </a:lnTo>
                  <a:lnTo>
                    <a:pt x="141" y="583"/>
                  </a:lnTo>
                  <a:lnTo>
                    <a:pt x="145" y="582"/>
                  </a:lnTo>
                  <a:lnTo>
                    <a:pt x="151" y="582"/>
                  </a:lnTo>
                  <a:lnTo>
                    <a:pt x="151" y="582"/>
                  </a:lnTo>
                  <a:lnTo>
                    <a:pt x="155" y="578"/>
                  </a:lnTo>
                  <a:lnTo>
                    <a:pt x="158" y="572"/>
                  </a:lnTo>
                  <a:lnTo>
                    <a:pt x="158" y="572"/>
                  </a:lnTo>
                  <a:lnTo>
                    <a:pt x="158" y="572"/>
                  </a:lnTo>
                  <a:lnTo>
                    <a:pt x="156" y="572"/>
                  </a:lnTo>
                  <a:lnTo>
                    <a:pt x="155" y="574"/>
                  </a:lnTo>
                  <a:lnTo>
                    <a:pt x="151" y="578"/>
                  </a:lnTo>
                  <a:lnTo>
                    <a:pt x="149" y="580"/>
                  </a:lnTo>
                  <a:lnTo>
                    <a:pt x="141" y="578"/>
                  </a:lnTo>
                  <a:lnTo>
                    <a:pt x="141" y="576"/>
                  </a:lnTo>
                  <a:lnTo>
                    <a:pt x="141" y="574"/>
                  </a:lnTo>
                  <a:lnTo>
                    <a:pt x="145" y="572"/>
                  </a:lnTo>
                  <a:lnTo>
                    <a:pt x="149" y="568"/>
                  </a:lnTo>
                  <a:lnTo>
                    <a:pt x="151" y="568"/>
                  </a:lnTo>
                  <a:lnTo>
                    <a:pt x="151" y="568"/>
                  </a:lnTo>
                  <a:lnTo>
                    <a:pt x="151" y="567"/>
                  </a:lnTo>
                  <a:lnTo>
                    <a:pt x="151" y="563"/>
                  </a:lnTo>
                  <a:lnTo>
                    <a:pt x="155" y="563"/>
                  </a:lnTo>
                  <a:lnTo>
                    <a:pt x="155" y="563"/>
                  </a:lnTo>
                  <a:lnTo>
                    <a:pt x="155" y="563"/>
                  </a:lnTo>
                  <a:lnTo>
                    <a:pt x="155" y="559"/>
                  </a:lnTo>
                  <a:lnTo>
                    <a:pt x="155" y="559"/>
                  </a:lnTo>
                  <a:lnTo>
                    <a:pt x="151" y="559"/>
                  </a:lnTo>
                  <a:lnTo>
                    <a:pt x="151" y="559"/>
                  </a:lnTo>
                  <a:lnTo>
                    <a:pt x="145" y="559"/>
                  </a:lnTo>
                  <a:lnTo>
                    <a:pt x="145" y="559"/>
                  </a:lnTo>
                  <a:lnTo>
                    <a:pt x="141" y="559"/>
                  </a:lnTo>
                  <a:lnTo>
                    <a:pt x="145" y="557"/>
                  </a:lnTo>
                  <a:lnTo>
                    <a:pt x="149" y="555"/>
                  </a:lnTo>
                  <a:lnTo>
                    <a:pt x="151" y="555"/>
                  </a:lnTo>
                  <a:lnTo>
                    <a:pt x="151" y="557"/>
                  </a:lnTo>
                  <a:lnTo>
                    <a:pt x="155" y="557"/>
                  </a:lnTo>
                  <a:lnTo>
                    <a:pt x="156" y="555"/>
                  </a:lnTo>
                  <a:lnTo>
                    <a:pt x="160" y="550"/>
                  </a:lnTo>
                  <a:lnTo>
                    <a:pt x="158" y="548"/>
                  </a:lnTo>
                  <a:lnTo>
                    <a:pt x="158" y="546"/>
                  </a:lnTo>
                  <a:lnTo>
                    <a:pt x="162" y="542"/>
                  </a:lnTo>
                  <a:lnTo>
                    <a:pt x="162" y="538"/>
                  </a:lnTo>
                  <a:lnTo>
                    <a:pt x="162" y="534"/>
                  </a:lnTo>
                  <a:lnTo>
                    <a:pt x="160" y="533"/>
                  </a:lnTo>
                  <a:lnTo>
                    <a:pt x="158" y="533"/>
                  </a:lnTo>
                  <a:lnTo>
                    <a:pt x="156" y="533"/>
                  </a:lnTo>
                  <a:lnTo>
                    <a:pt x="155" y="529"/>
                  </a:lnTo>
                  <a:lnTo>
                    <a:pt x="155" y="529"/>
                  </a:lnTo>
                  <a:lnTo>
                    <a:pt x="151" y="529"/>
                  </a:lnTo>
                  <a:lnTo>
                    <a:pt x="151" y="529"/>
                  </a:lnTo>
                  <a:lnTo>
                    <a:pt x="151" y="527"/>
                  </a:lnTo>
                  <a:lnTo>
                    <a:pt x="155" y="529"/>
                  </a:lnTo>
                  <a:lnTo>
                    <a:pt x="156" y="527"/>
                  </a:lnTo>
                  <a:lnTo>
                    <a:pt x="158" y="525"/>
                  </a:lnTo>
                  <a:lnTo>
                    <a:pt x="158" y="521"/>
                  </a:lnTo>
                  <a:lnTo>
                    <a:pt x="160" y="519"/>
                  </a:lnTo>
                  <a:lnTo>
                    <a:pt x="160" y="518"/>
                  </a:lnTo>
                  <a:lnTo>
                    <a:pt x="158" y="516"/>
                  </a:lnTo>
                  <a:lnTo>
                    <a:pt x="156" y="516"/>
                  </a:lnTo>
                  <a:lnTo>
                    <a:pt x="155" y="514"/>
                  </a:lnTo>
                  <a:lnTo>
                    <a:pt x="155" y="512"/>
                  </a:lnTo>
                  <a:lnTo>
                    <a:pt x="156" y="510"/>
                  </a:lnTo>
                  <a:lnTo>
                    <a:pt x="158" y="510"/>
                  </a:lnTo>
                  <a:lnTo>
                    <a:pt x="158" y="508"/>
                  </a:lnTo>
                  <a:lnTo>
                    <a:pt x="155" y="504"/>
                  </a:lnTo>
                  <a:lnTo>
                    <a:pt x="155" y="502"/>
                  </a:lnTo>
                  <a:lnTo>
                    <a:pt x="156" y="502"/>
                  </a:lnTo>
                  <a:lnTo>
                    <a:pt x="158" y="504"/>
                  </a:lnTo>
                  <a:lnTo>
                    <a:pt x="158" y="502"/>
                  </a:lnTo>
                  <a:lnTo>
                    <a:pt x="156" y="499"/>
                  </a:lnTo>
                  <a:lnTo>
                    <a:pt x="156" y="499"/>
                  </a:lnTo>
                  <a:lnTo>
                    <a:pt x="158" y="495"/>
                  </a:lnTo>
                  <a:lnTo>
                    <a:pt x="158" y="491"/>
                  </a:lnTo>
                  <a:lnTo>
                    <a:pt x="156" y="489"/>
                  </a:lnTo>
                  <a:lnTo>
                    <a:pt x="156" y="486"/>
                  </a:lnTo>
                  <a:lnTo>
                    <a:pt x="155" y="484"/>
                  </a:lnTo>
                  <a:lnTo>
                    <a:pt x="156" y="482"/>
                  </a:lnTo>
                  <a:lnTo>
                    <a:pt x="158" y="478"/>
                  </a:lnTo>
                  <a:lnTo>
                    <a:pt x="156" y="478"/>
                  </a:lnTo>
                  <a:lnTo>
                    <a:pt x="155" y="478"/>
                  </a:lnTo>
                  <a:lnTo>
                    <a:pt x="151" y="482"/>
                  </a:lnTo>
                  <a:lnTo>
                    <a:pt x="151" y="482"/>
                  </a:lnTo>
                  <a:lnTo>
                    <a:pt x="149" y="482"/>
                  </a:lnTo>
                  <a:lnTo>
                    <a:pt x="147" y="484"/>
                  </a:lnTo>
                  <a:lnTo>
                    <a:pt x="145" y="482"/>
                  </a:lnTo>
                  <a:lnTo>
                    <a:pt x="147" y="482"/>
                  </a:lnTo>
                  <a:lnTo>
                    <a:pt x="151" y="478"/>
                  </a:lnTo>
                  <a:lnTo>
                    <a:pt x="151" y="478"/>
                  </a:lnTo>
                  <a:lnTo>
                    <a:pt x="155" y="478"/>
                  </a:lnTo>
                  <a:lnTo>
                    <a:pt x="155" y="474"/>
                  </a:lnTo>
                  <a:lnTo>
                    <a:pt x="156" y="470"/>
                  </a:lnTo>
                  <a:lnTo>
                    <a:pt x="160" y="469"/>
                  </a:lnTo>
                  <a:lnTo>
                    <a:pt x="160" y="469"/>
                  </a:lnTo>
                  <a:lnTo>
                    <a:pt x="160" y="465"/>
                  </a:lnTo>
                  <a:lnTo>
                    <a:pt x="158" y="463"/>
                  </a:lnTo>
                  <a:lnTo>
                    <a:pt x="156" y="461"/>
                  </a:lnTo>
                  <a:lnTo>
                    <a:pt x="155" y="457"/>
                  </a:lnTo>
                  <a:lnTo>
                    <a:pt x="155" y="455"/>
                  </a:lnTo>
                  <a:lnTo>
                    <a:pt x="155" y="455"/>
                  </a:lnTo>
                  <a:lnTo>
                    <a:pt x="151" y="453"/>
                  </a:lnTo>
                  <a:lnTo>
                    <a:pt x="151" y="452"/>
                  </a:lnTo>
                  <a:lnTo>
                    <a:pt x="155" y="450"/>
                  </a:lnTo>
                  <a:lnTo>
                    <a:pt x="151" y="448"/>
                  </a:lnTo>
                  <a:lnTo>
                    <a:pt x="151" y="444"/>
                  </a:lnTo>
                  <a:lnTo>
                    <a:pt x="151" y="440"/>
                  </a:lnTo>
                  <a:lnTo>
                    <a:pt x="145" y="435"/>
                  </a:lnTo>
                  <a:lnTo>
                    <a:pt x="145" y="435"/>
                  </a:lnTo>
                  <a:lnTo>
                    <a:pt x="141" y="433"/>
                  </a:lnTo>
                  <a:lnTo>
                    <a:pt x="141" y="433"/>
                  </a:lnTo>
                  <a:lnTo>
                    <a:pt x="141" y="431"/>
                  </a:lnTo>
                  <a:lnTo>
                    <a:pt x="141" y="429"/>
                  </a:lnTo>
                  <a:lnTo>
                    <a:pt x="147" y="427"/>
                  </a:lnTo>
                  <a:lnTo>
                    <a:pt x="149" y="425"/>
                  </a:lnTo>
                  <a:lnTo>
                    <a:pt x="151" y="423"/>
                  </a:lnTo>
                  <a:lnTo>
                    <a:pt x="149" y="421"/>
                  </a:lnTo>
                  <a:lnTo>
                    <a:pt x="147" y="421"/>
                  </a:lnTo>
                  <a:lnTo>
                    <a:pt x="147" y="421"/>
                  </a:lnTo>
                  <a:lnTo>
                    <a:pt x="149" y="420"/>
                  </a:lnTo>
                  <a:lnTo>
                    <a:pt x="151" y="416"/>
                  </a:lnTo>
                  <a:lnTo>
                    <a:pt x="151" y="414"/>
                  </a:lnTo>
                  <a:lnTo>
                    <a:pt x="151" y="414"/>
                  </a:lnTo>
                  <a:lnTo>
                    <a:pt x="151" y="410"/>
                  </a:lnTo>
                  <a:lnTo>
                    <a:pt x="151" y="410"/>
                  </a:lnTo>
                  <a:lnTo>
                    <a:pt x="151" y="408"/>
                  </a:lnTo>
                  <a:lnTo>
                    <a:pt x="149" y="406"/>
                  </a:lnTo>
                  <a:lnTo>
                    <a:pt x="145" y="403"/>
                  </a:lnTo>
                  <a:lnTo>
                    <a:pt x="141" y="401"/>
                  </a:lnTo>
                  <a:lnTo>
                    <a:pt x="141" y="397"/>
                  </a:lnTo>
                  <a:lnTo>
                    <a:pt x="140" y="395"/>
                  </a:lnTo>
                  <a:lnTo>
                    <a:pt x="138" y="397"/>
                  </a:lnTo>
                  <a:lnTo>
                    <a:pt x="138" y="399"/>
                  </a:lnTo>
                  <a:lnTo>
                    <a:pt x="136" y="399"/>
                  </a:lnTo>
                  <a:lnTo>
                    <a:pt x="134" y="397"/>
                  </a:lnTo>
                  <a:lnTo>
                    <a:pt x="134" y="395"/>
                  </a:lnTo>
                  <a:lnTo>
                    <a:pt x="132" y="393"/>
                  </a:lnTo>
                  <a:lnTo>
                    <a:pt x="130" y="391"/>
                  </a:lnTo>
                  <a:lnTo>
                    <a:pt x="126" y="389"/>
                  </a:lnTo>
                  <a:lnTo>
                    <a:pt x="126" y="388"/>
                  </a:lnTo>
                  <a:lnTo>
                    <a:pt x="126" y="389"/>
                  </a:lnTo>
                  <a:lnTo>
                    <a:pt x="124" y="389"/>
                  </a:lnTo>
                  <a:lnTo>
                    <a:pt x="124" y="388"/>
                  </a:lnTo>
                  <a:lnTo>
                    <a:pt x="124" y="384"/>
                  </a:lnTo>
                  <a:lnTo>
                    <a:pt x="121" y="380"/>
                  </a:lnTo>
                  <a:lnTo>
                    <a:pt x="117" y="380"/>
                  </a:lnTo>
                  <a:lnTo>
                    <a:pt x="115" y="380"/>
                  </a:lnTo>
                  <a:lnTo>
                    <a:pt x="113" y="380"/>
                  </a:lnTo>
                  <a:lnTo>
                    <a:pt x="111" y="380"/>
                  </a:lnTo>
                  <a:lnTo>
                    <a:pt x="106" y="376"/>
                  </a:lnTo>
                  <a:lnTo>
                    <a:pt x="102" y="374"/>
                  </a:lnTo>
                  <a:lnTo>
                    <a:pt x="98" y="371"/>
                  </a:lnTo>
                  <a:lnTo>
                    <a:pt x="96" y="371"/>
                  </a:lnTo>
                  <a:lnTo>
                    <a:pt x="92" y="371"/>
                  </a:lnTo>
                  <a:lnTo>
                    <a:pt x="91" y="371"/>
                  </a:lnTo>
                  <a:lnTo>
                    <a:pt x="87" y="376"/>
                  </a:lnTo>
                  <a:lnTo>
                    <a:pt x="85" y="380"/>
                  </a:lnTo>
                  <a:lnTo>
                    <a:pt x="83" y="380"/>
                  </a:lnTo>
                  <a:lnTo>
                    <a:pt x="83" y="376"/>
                  </a:lnTo>
                  <a:lnTo>
                    <a:pt x="85" y="374"/>
                  </a:lnTo>
                  <a:lnTo>
                    <a:pt x="83" y="371"/>
                  </a:lnTo>
                  <a:lnTo>
                    <a:pt x="83" y="371"/>
                  </a:lnTo>
                  <a:lnTo>
                    <a:pt x="81" y="369"/>
                  </a:lnTo>
                  <a:lnTo>
                    <a:pt x="77" y="371"/>
                  </a:lnTo>
                  <a:lnTo>
                    <a:pt x="77" y="374"/>
                  </a:lnTo>
                  <a:lnTo>
                    <a:pt x="74" y="376"/>
                  </a:lnTo>
                  <a:lnTo>
                    <a:pt x="72" y="374"/>
                  </a:lnTo>
                  <a:lnTo>
                    <a:pt x="72" y="371"/>
                  </a:lnTo>
                  <a:lnTo>
                    <a:pt x="68" y="369"/>
                  </a:lnTo>
                  <a:lnTo>
                    <a:pt x="68" y="371"/>
                  </a:lnTo>
                  <a:lnTo>
                    <a:pt x="68" y="376"/>
                  </a:lnTo>
                  <a:lnTo>
                    <a:pt x="66" y="380"/>
                  </a:lnTo>
                  <a:lnTo>
                    <a:pt x="62" y="376"/>
                  </a:lnTo>
                  <a:lnTo>
                    <a:pt x="62" y="374"/>
                  </a:lnTo>
                  <a:lnTo>
                    <a:pt x="64" y="371"/>
                  </a:lnTo>
                  <a:lnTo>
                    <a:pt x="68" y="369"/>
                  </a:lnTo>
                  <a:lnTo>
                    <a:pt x="66" y="367"/>
                  </a:lnTo>
                  <a:lnTo>
                    <a:pt x="64" y="367"/>
                  </a:lnTo>
                  <a:lnTo>
                    <a:pt x="62" y="367"/>
                  </a:lnTo>
                  <a:lnTo>
                    <a:pt x="59" y="369"/>
                  </a:lnTo>
                  <a:lnTo>
                    <a:pt x="57" y="369"/>
                  </a:lnTo>
                  <a:lnTo>
                    <a:pt x="57" y="371"/>
                  </a:lnTo>
                  <a:lnTo>
                    <a:pt x="57" y="371"/>
                  </a:lnTo>
                  <a:lnTo>
                    <a:pt x="53" y="371"/>
                  </a:lnTo>
                  <a:lnTo>
                    <a:pt x="53" y="367"/>
                  </a:lnTo>
                  <a:lnTo>
                    <a:pt x="53" y="365"/>
                  </a:lnTo>
                  <a:lnTo>
                    <a:pt x="51" y="361"/>
                  </a:lnTo>
                  <a:lnTo>
                    <a:pt x="51" y="361"/>
                  </a:lnTo>
                  <a:lnTo>
                    <a:pt x="49" y="361"/>
                  </a:lnTo>
                  <a:lnTo>
                    <a:pt x="47" y="363"/>
                  </a:lnTo>
                  <a:lnTo>
                    <a:pt x="47" y="369"/>
                  </a:lnTo>
                  <a:lnTo>
                    <a:pt x="47" y="369"/>
                  </a:lnTo>
                  <a:lnTo>
                    <a:pt x="47" y="371"/>
                  </a:lnTo>
                  <a:lnTo>
                    <a:pt x="47" y="376"/>
                  </a:lnTo>
                  <a:lnTo>
                    <a:pt x="47" y="380"/>
                  </a:lnTo>
                  <a:lnTo>
                    <a:pt x="47" y="380"/>
                  </a:lnTo>
                  <a:lnTo>
                    <a:pt x="44" y="380"/>
                  </a:lnTo>
                  <a:lnTo>
                    <a:pt x="40" y="376"/>
                  </a:lnTo>
                  <a:lnTo>
                    <a:pt x="36" y="374"/>
                  </a:lnTo>
                  <a:lnTo>
                    <a:pt x="32" y="371"/>
                  </a:lnTo>
                  <a:lnTo>
                    <a:pt x="30" y="369"/>
                  </a:lnTo>
                  <a:lnTo>
                    <a:pt x="27" y="367"/>
                  </a:lnTo>
                  <a:lnTo>
                    <a:pt x="27" y="365"/>
                  </a:lnTo>
                  <a:lnTo>
                    <a:pt x="28" y="365"/>
                  </a:lnTo>
                  <a:lnTo>
                    <a:pt x="25" y="363"/>
                  </a:lnTo>
                  <a:lnTo>
                    <a:pt x="23" y="359"/>
                  </a:lnTo>
                  <a:lnTo>
                    <a:pt x="23" y="356"/>
                  </a:lnTo>
                  <a:lnTo>
                    <a:pt x="19" y="352"/>
                  </a:lnTo>
                  <a:lnTo>
                    <a:pt x="19" y="346"/>
                  </a:lnTo>
                  <a:lnTo>
                    <a:pt x="19" y="346"/>
                  </a:lnTo>
                  <a:lnTo>
                    <a:pt x="25" y="346"/>
                  </a:lnTo>
                  <a:lnTo>
                    <a:pt x="27" y="344"/>
                  </a:lnTo>
                  <a:lnTo>
                    <a:pt x="28" y="342"/>
                  </a:lnTo>
                  <a:lnTo>
                    <a:pt x="34" y="342"/>
                  </a:lnTo>
                  <a:lnTo>
                    <a:pt x="36" y="344"/>
                  </a:lnTo>
                  <a:lnTo>
                    <a:pt x="38" y="342"/>
                  </a:lnTo>
                  <a:lnTo>
                    <a:pt x="40" y="340"/>
                  </a:lnTo>
                  <a:lnTo>
                    <a:pt x="40" y="339"/>
                  </a:lnTo>
                  <a:lnTo>
                    <a:pt x="36" y="339"/>
                  </a:lnTo>
                  <a:lnTo>
                    <a:pt x="30" y="337"/>
                  </a:lnTo>
                  <a:lnTo>
                    <a:pt x="28" y="337"/>
                  </a:lnTo>
                  <a:lnTo>
                    <a:pt x="27" y="339"/>
                  </a:lnTo>
                  <a:lnTo>
                    <a:pt x="23" y="333"/>
                  </a:lnTo>
                  <a:lnTo>
                    <a:pt x="23" y="327"/>
                  </a:lnTo>
                  <a:lnTo>
                    <a:pt x="23" y="325"/>
                  </a:lnTo>
                  <a:lnTo>
                    <a:pt x="27" y="324"/>
                  </a:lnTo>
                  <a:lnTo>
                    <a:pt x="28" y="320"/>
                  </a:lnTo>
                  <a:lnTo>
                    <a:pt x="28" y="320"/>
                  </a:lnTo>
                  <a:lnTo>
                    <a:pt x="27" y="320"/>
                  </a:lnTo>
                  <a:lnTo>
                    <a:pt x="25" y="320"/>
                  </a:lnTo>
                  <a:lnTo>
                    <a:pt x="23" y="324"/>
                  </a:lnTo>
                  <a:lnTo>
                    <a:pt x="23" y="324"/>
                  </a:lnTo>
                  <a:lnTo>
                    <a:pt x="19" y="324"/>
                  </a:lnTo>
                  <a:lnTo>
                    <a:pt x="19" y="327"/>
                  </a:lnTo>
                  <a:lnTo>
                    <a:pt x="13" y="325"/>
                  </a:lnTo>
                  <a:lnTo>
                    <a:pt x="13" y="322"/>
                  </a:lnTo>
                  <a:lnTo>
                    <a:pt x="13" y="320"/>
                  </a:lnTo>
                  <a:lnTo>
                    <a:pt x="17" y="320"/>
                  </a:lnTo>
                  <a:lnTo>
                    <a:pt x="15" y="316"/>
                  </a:lnTo>
                  <a:lnTo>
                    <a:pt x="13" y="316"/>
                  </a:lnTo>
                  <a:lnTo>
                    <a:pt x="12" y="316"/>
                  </a:lnTo>
                  <a:lnTo>
                    <a:pt x="12" y="316"/>
                  </a:lnTo>
                  <a:lnTo>
                    <a:pt x="12" y="312"/>
                  </a:lnTo>
                  <a:lnTo>
                    <a:pt x="13" y="310"/>
                  </a:lnTo>
                  <a:lnTo>
                    <a:pt x="15" y="310"/>
                  </a:lnTo>
                  <a:lnTo>
                    <a:pt x="17" y="308"/>
                  </a:lnTo>
                  <a:lnTo>
                    <a:pt x="19" y="308"/>
                  </a:lnTo>
                  <a:lnTo>
                    <a:pt x="19" y="310"/>
                  </a:lnTo>
                  <a:lnTo>
                    <a:pt x="19" y="307"/>
                  </a:lnTo>
                  <a:lnTo>
                    <a:pt x="25" y="305"/>
                  </a:lnTo>
                  <a:lnTo>
                    <a:pt x="32" y="305"/>
                  </a:lnTo>
                  <a:lnTo>
                    <a:pt x="36" y="308"/>
                  </a:lnTo>
                  <a:lnTo>
                    <a:pt x="44" y="308"/>
                  </a:lnTo>
                  <a:lnTo>
                    <a:pt x="47" y="312"/>
                  </a:lnTo>
                  <a:lnTo>
                    <a:pt x="53" y="312"/>
                  </a:lnTo>
                  <a:lnTo>
                    <a:pt x="57" y="314"/>
                  </a:lnTo>
                  <a:lnTo>
                    <a:pt x="64" y="316"/>
                  </a:lnTo>
                  <a:lnTo>
                    <a:pt x="66" y="316"/>
                  </a:lnTo>
                  <a:lnTo>
                    <a:pt x="68" y="316"/>
                  </a:lnTo>
                  <a:lnTo>
                    <a:pt x="72" y="316"/>
                  </a:lnTo>
                  <a:lnTo>
                    <a:pt x="68" y="316"/>
                  </a:lnTo>
                  <a:lnTo>
                    <a:pt x="66" y="316"/>
                  </a:lnTo>
                  <a:lnTo>
                    <a:pt x="60" y="314"/>
                  </a:lnTo>
                  <a:lnTo>
                    <a:pt x="57" y="308"/>
                  </a:lnTo>
                  <a:lnTo>
                    <a:pt x="51" y="308"/>
                  </a:lnTo>
                  <a:lnTo>
                    <a:pt x="47" y="308"/>
                  </a:lnTo>
                  <a:lnTo>
                    <a:pt x="44" y="305"/>
                  </a:lnTo>
                  <a:lnTo>
                    <a:pt x="44" y="303"/>
                  </a:lnTo>
                  <a:lnTo>
                    <a:pt x="49" y="301"/>
                  </a:lnTo>
                  <a:lnTo>
                    <a:pt x="57" y="303"/>
                  </a:lnTo>
                  <a:lnTo>
                    <a:pt x="62" y="303"/>
                  </a:lnTo>
                  <a:lnTo>
                    <a:pt x="68" y="305"/>
                  </a:lnTo>
                  <a:lnTo>
                    <a:pt x="72" y="308"/>
                  </a:lnTo>
                  <a:lnTo>
                    <a:pt x="72" y="308"/>
                  </a:lnTo>
                  <a:lnTo>
                    <a:pt x="74" y="310"/>
                  </a:lnTo>
                  <a:lnTo>
                    <a:pt x="76" y="312"/>
                  </a:lnTo>
                  <a:lnTo>
                    <a:pt x="76" y="310"/>
                  </a:lnTo>
                  <a:lnTo>
                    <a:pt x="76" y="308"/>
                  </a:lnTo>
                  <a:lnTo>
                    <a:pt x="76" y="305"/>
                  </a:lnTo>
                  <a:lnTo>
                    <a:pt x="81" y="303"/>
                  </a:lnTo>
                  <a:lnTo>
                    <a:pt x="81" y="303"/>
                  </a:lnTo>
                  <a:lnTo>
                    <a:pt x="81" y="297"/>
                  </a:lnTo>
                  <a:lnTo>
                    <a:pt x="77" y="295"/>
                  </a:lnTo>
                  <a:lnTo>
                    <a:pt x="76" y="295"/>
                  </a:lnTo>
                  <a:lnTo>
                    <a:pt x="74" y="295"/>
                  </a:lnTo>
                  <a:lnTo>
                    <a:pt x="76" y="291"/>
                  </a:lnTo>
                  <a:lnTo>
                    <a:pt x="72" y="291"/>
                  </a:lnTo>
                  <a:lnTo>
                    <a:pt x="72" y="291"/>
                  </a:lnTo>
                  <a:lnTo>
                    <a:pt x="68" y="295"/>
                  </a:lnTo>
                  <a:lnTo>
                    <a:pt x="64" y="295"/>
                  </a:lnTo>
                  <a:lnTo>
                    <a:pt x="59" y="295"/>
                  </a:lnTo>
                  <a:lnTo>
                    <a:pt x="57" y="291"/>
                  </a:lnTo>
                  <a:lnTo>
                    <a:pt x="57" y="290"/>
                  </a:lnTo>
                  <a:lnTo>
                    <a:pt x="57" y="290"/>
                  </a:lnTo>
                  <a:lnTo>
                    <a:pt x="51" y="286"/>
                  </a:lnTo>
                  <a:lnTo>
                    <a:pt x="49" y="286"/>
                  </a:lnTo>
                  <a:lnTo>
                    <a:pt x="49" y="286"/>
                  </a:lnTo>
                  <a:lnTo>
                    <a:pt x="49" y="290"/>
                  </a:lnTo>
                  <a:lnTo>
                    <a:pt x="51" y="290"/>
                  </a:lnTo>
                  <a:lnTo>
                    <a:pt x="51" y="295"/>
                  </a:lnTo>
                  <a:lnTo>
                    <a:pt x="49" y="295"/>
                  </a:lnTo>
                  <a:lnTo>
                    <a:pt x="44" y="295"/>
                  </a:lnTo>
                  <a:lnTo>
                    <a:pt x="40" y="295"/>
                  </a:lnTo>
                  <a:lnTo>
                    <a:pt x="34" y="290"/>
                  </a:lnTo>
                  <a:lnTo>
                    <a:pt x="36" y="286"/>
                  </a:lnTo>
                  <a:lnTo>
                    <a:pt x="40" y="286"/>
                  </a:lnTo>
                  <a:lnTo>
                    <a:pt x="44" y="282"/>
                  </a:lnTo>
                  <a:lnTo>
                    <a:pt x="44" y="282"/>
                  </a:lnTo>
                  <a:lnTo>
                    <a:pt x="44" y="282"/>
                  </a:lnTo>
                  <a:lnTo>
                    <a:pt x="40" y="282"/>
                  </a:lnTo>
                  <a:lnTo>
                    <a:pt x="36" y="286"/>
                  </a:lnTo>
                  <a:lnTo>
                    <a:pt x="32" y="282"/>
                  </a:lnTo>
                  <a:lnTo>
                    <a:pt x="32" y="282"/>
                  </a:lnTo>
                  <a:lnTo>
                    <a:pt x="34" y="280"/>
                  </a:lnTo>
                  <a:lnTo>
                    <a:pt x="38" y="278"/>
                  </a:lnTo>
                  <a:lnTo>
                    <a:pt x="40" y="276"/>
                  </a:lnTo>
                  <a:lnTo>
                    <a:pt x="44" y="273"/>
                  </a:lnTo>
                  <a:lnTo>
                    <a:pt x="42" y="271"/>
                  </a:lnTo>
                  <a:lnTo>
                    <a:pt x="40" y="269"/>
                  </a:lnTo>
                  <a:lnTo>
                    <a:pt x="40" y="271"/>
                  </a:lnTo>
                  <a:lnTo>
                    <a:pt x="38" y="273"/>
                  </a:lnTo>
                  <a:lnTo>
                    <a:pt x="34" y="275"/>
                  </a:lnTo>
                  <a:lnTo>
                    <a:pt x="28" y="276"/>
                  </a:lnTo>
                  <a:lnTo>
                    <a:pt x="27" y="276"/>
                  </a:lnTo>
                  <a:lnTo>
                    <a:pt x="25" y="273"/>
                  </a:lnTo>
                  <a:lnTo>
                    <a:pt x="25" y="271"/>
                  </a:lnTo>
                  <a:lnTo>
                    <a:pt x="27" y="269"/>
                  </a:lnTo>
                  <a:lnTo>
                    <a:pt x="28" y="267"/>
                  </a:lnTo>
                  <a:lnTo>
                    <a:pt x="28" y="265"/>
                  </a:lnTo>
                  <a:lnTo>
                    <a:pt x="27" y="265"/>
                  </a:lnTo>
                  <a:lnTo>
                    <a:pt x="23" y="265"/>
                  </a:lnTo>
                  <a:lnTo>
                    <a:pt x="23" y="265"/>
                  </a:lnTo>
                  <a:lnTo>
                    <a:pt x="19" y="256"/>
                  </a:lnTo>
                  <a:lnTo>
                    <a:pt x="17" y="256"/>
                  </a:lnTo>
                  <a:lnTo>
                    <a:pt x="13" y="252"/>
                  </a:lnTo>
                  <a:lnTo>
                    <a:pt x="13" y="252"/>
                  </a:lnTo>
                  <a:lnTo>
                    <a:pt x="15" y="250"/>
                  </a:lnTo>
                  <a:lnTo>
                    <a:pt x="19" y="248"/>
                  </a:lnTo>
                  <a:lnTo>
                    <a:pt x="19" y="246"/>
                  </a:lnTo>
                  <a:lnTo>
                    <a:pt x="19" y="244"/>
                  </a:lnTo>
                  <a:lnTo>
                    <a:pt x="23" y="244"/>
                  </a:lnTo>
                  <a:lnTo>
                    <a:pt x="23" y="246"/>
                  </a:lnTo>
                  <a:lnTo>
                    <a:pt x="23" y="244"/>
                  </a:lnTo>
                  <a:lnTo>
                    <a:pt x="23" y="243"/>
                  </a:lnTo>
                  <a:lnTo>
                    <a:pt x="19" y="243"/>
                  </a:lnTo>
                  <a:lnTo>
                    <a:pt x="17" y="241"/>
                  </a:lnTo>
                  <a:lnTo>
                    <a:pt x="19" y="239"/>
                  </a:lnTo>
                  <a:lnTo>
                    <a:pt x="23" y="239"/>
                  </a:lnTo>
                  <a:lnTo>
                    <a:pt x="27" y="237"/>
                  </a:lnTo>
                  <a:lnTo>
                    <a:pt x="27" y="235"/>
                  </a:lnTo>
                  <a:lnTo>
                    <a:pt x="27" y="231"/>
                  </a:lnTo>
                  <a:lnTo>
                    <a:pt x="30" y="231"/>
                  </a:lnTo>
                  <a:lnTo>
                    <a:pt x="32" y="231"/>
                  </a:lnTo>
                  <a:lnTo>
                    <a:pt x="34" y="231"/>
                  </a:lnTo>
                  <a:lnTo>
                    <a:pt x="36" y="231"/>
                  </a:lnTo>
                  <a:lnTo>
                    <a:pt x="40" y="231"/>
                  </a:lnTo>
                  <a:lnTo>
                    <a:pt x="42" y="227"/>
                  </a:lnTo>
                  <a:lnTo>
                    <a:pt x="44" y="227"/>
                  </a:lnTo>
                  <a:lnTo>
                    <a:pt x="47" y="231"/>
                  </a:lnTo>
                  <a:lnTo>
                    <a:pt x="47" y="231"/>
                  </a:lnTo>
                  <a:lnTo>
                    <a:pt x="47" y="231"/>
                  </a:lnTo>
                  <a:lnTo>
                    <a:pt x="49" y="231"/>
                  </a:lnTo>
                  <a:lnTo>
                    <a:pt x="49" y="227"/>
                  </a:lnTo>
                  <a:lnTo>
                    <a:pt x="53" y="226"/>
                  </a:lnTo>
                  <a:lnTo>
                    <a:pt x="57" y="227"/>
                  </a:lnTo>
                  <a:lnTo>
                    <a:pt x="57" y="227"/>
                  </a:lnTo>
                  <a:lnTo>
                    <a:pt x="59" y="226"/>
                  </a:lnTo>
                  <a:lnTo>
                    <a:pt x="59" y="226"/>
                  </a:lnTo>
                  <a:lnTo>
                    <a:pt x="62" y="226"/>
                  </a:lnTo>
                  <a:lnTo>
                    <a:pt x="76" y="222"/>
                  </a:lnTo>
                  <a:lnTo>
                    <a:pt x="77" y="222"/>
                  </a:lnTo>
                  <a:lnTo>
                    <a:pt x="81" y="226"/>
                  </a:lnTo>
                  <a:lnTo>
                    <a:pt x="81" y="222"/>
                  </a:lnTo>
                  <a:lnTo>
                    <a:pt x="81" y="222"/>
                  </a:lnTo>
                  <a:lnTo>
                    <a:pt x="81" y="220"/>
                  </a:lnTo>
                  <a:lnTo>
                    <a:pt x="85" y="216"/>
                  </a:lnTo>
                  <a:lnTo>
                    <a:pt x="91" y="216"/>
                  </a:lnTo>
                  <a:lnTo>
                    <a:pt x="92" y="216"/>
                  </a:lnTo>
                  <a:lnTo>
                    <a:pt x="96" y="218"/>
                  </a:lnTo>
                  <a:lnTo>
                    <a:pt x="98" y="218"/>
                  </a:lnTo>
                  <a:lnTo>
                    <a:pt x="102" y="216"/>
                  </a:lnTo>
                  <a:lnTo>
                    <a:pt x="106" y="214"/>
                  </a:lnTo>
                  <a:lnTo>
                    <a:pt x="111" y="216"/>
                  </a:lnTo>
                  <a:lnTo>
                    <a:pt x="113" y="218"/>
                  </a:lnTo>
                  <a:lnTo>
                    <a:pt x="117" y="218"/>
                  </a:lnTo>
                  <a:lnTo>
                    <a:pt x="117" y="220"/>
                  </a:lnTo>
                  <a:lnTo>
                    <a:pt x="123" y="222"/>
                  </a:lnTo>
                  <a:lnTo>
                    <a:pt x="124" y="222"/>
                  </a:lnTo>
                  <a:lnTo>
                    <a:pt x="126" y="222"/>
                  </a:lnTo>
                  <a:lnTo>
                    <a:pt x="126" y="220"/>
                  </a:lnTo>
                  <a:lnTo>
                    <a:pt x="130" y="216"/>
                  </a:lnTo>
                  <a:lnTo>
                    <a:pt x="132" y="212"/>
                  </a:lnTo>
                  <a:lnTo>
                    <a:pt x="134" y="209"/>
                  </a:lnTo>
                  <a:lnTo>
                    <a:pt x="140" y="207"/>
                  </a:lnTo>
                  <a:lnTo>
                    <a:pt x="140" y="205"/>
                  </a:lnTo>
                  <a:lnTo>
                    <a:pt x="141" y="201"/>
                  </a:lnTo>
                  <a:lnTo>
                    <a:pt x="147" y="197"/>
                  </a:lnTo>
                  <a:lnTo>
                    <a:pt x="149" y="195"/>
                  </a:lnTo>
                  <a:lnTo>
                    <a:pt x="145" y="195"/>
                  </a:lnTo>
                  <a:lnTo>
                    <a:pt x="145" y="192"/>
                  </a:lnTo>
                  <a:lnTo>
                    <a:pt x="149" y="188"/>
                  </a:lnTo>
                  <a:lnTo>
                    <a:pt x="151" y="188"/>
                  </a:lnTo>
                  <a:lnTo>
                    <a:pt x="155" y="188"/>
                  </a:lnTo>
                  <a:lnTo>
                    <a:pt x="158" y="184"/>
                  </a:lnTo>
                  <a:lnTo>
                    <a:pt x="160" y="182"/>
                  </a:lnTo>
                  <a:lnTo>
                    <a:pt x="158" y="180"/>
                  </a:lnTo>
                  <a:lnTo>
                    <a:pt x="155" y="180"/>
                  </a:lnTo>
                  <a:lnTo>
                    <a:pt x="151" y="178"/>
                  </a:lnTo>
                  <a:lnTo>
                    <a:pt x="151" y="177"/>
                  </a:lnTo>
                  <a:lnTo>
                    <a:pt x="151" y="175"/>
                  </a:lnTo>
                  <a:lnTo>
                    <a:pt x="155" y="173"/>
                  </a:lnTo>
                  <a:lnTo>
                    <a:pt x="160" y="175"/>
                  </a:lnTo>
                  <a:lnTo>
                    <a:pt x="164" y="173"/>
                  </a:lnTo>
                  <a:lnTo>
                    <a:pt x="168" y="171"/>
                  </a:lnTo>
                  <a:lnTo>
                    <a:pt x="170" y="167"/>
                  </a:lnTo>
                  <a:lnTo>
                    <a:pt x="168" y="167"/>
                  </a:lnTo>
                  <a:lnTo>
                    <a:pt x="168" y="163"/>
                  </a:lnTo>
                  <a:lnTo>
                    <a:pt x="168" y="163"/>
                  </a:lnTo>
                  <a:lnTo>
                    <a:pt x="164" y="167"/>
                  </a:lnTo>
                  <a:lnTo>
                    <a:pt x="164" y="171"/>
                  </a:lnTo>
                  <a:lnTo>
                    <a:pt x="162" y="171"/>
                  </a:lnTo>
                  <a:lnTo>
                    <a:pt x="156" y="171"/>
                  </a:lnTo>
                  <a:lnTo>
                    <a:pt x="155" y="171"/>
                  </a:lnTo>
                  <a:lnTo>
                    <a:pt x="151" y="171"/>
                  </a:lnTo>
                  <a:lnTo>
                    <a:pt x="149" y="173"/>
                  </a:lnTo>
                  <a:lnTo>
                    <a:pt x="147" y="173"/>
                  </a:lnTo>
                  <a:lnTo>
                    <a:pt x="145" y="171"/>
                  </a:lnTo>
                  <a:lnTo>
                    <a:pt x="141" y="167"/>
                  </a:lnTo>
                  <a:lnTo>
                    <a:pt x="140" y="171"/>
                  </a:lnTo>
                  <a:lnTo>
                    <a:pt x="138" y="171"/>
                  </a:lnTo>
                  <a:lnTo>
                    <a:pt x="136" y="171"/>
                  </a:lnTo>
                  <a:lnTo>
                    <a:pt x="134" y="171"/>
                  </a:lnTo>
                  <a:lnTo>
                    <a:pt x="132" y="171"/>
                  </a:lnTo>
                  <a:lnTo>
                    <a:pt x="130" y="171"/>
                  </a:lnTo>
                  <a:lnTo>
                    <a:pt x="130" y="167"/>
                  </a:lnTo>
                  <a:lnTo>
                    <a:pt x="130" y="163"/>
                  </a:lnTo>
                  <a:lnTo>
                    <a:pt x="130" y="163"/>
                  </a:lnTo>
                  <a:lnTo>
                    <a:pt x="130" y="162"/>
                  </a:lnTo>
                  <a:lnTo>
                    <a:pt x="130" y="158"/>
                  </a:lnTo>
                  <a:lnTo>
                    <a:pt x="132" y="158"/>
                  </a:lnTo>
                  <a:lnTo>
                    <a:pt x="134" y="156"/>
                  </a:lnTo>
                  <a:lnTo>
                    <a:pt x="136" y="154"/>
                  </a:lnTo>
                  <a:lnTo>
                    <a:pt x="138" y="154"/>
                  </a:lnTo>
                  <a:lnTo>
                    <a:pt x="138" y="152"/>
                  </a:lnTo>
                  <a:lnTo>
                    <a:pt x="136" y="150"/>
                  </a:lnTo>
                  <a:lnTo>
                    <a:pt x="136" y="148"/>
                  </a:lnTo>
                  <a:lnTo>
                    <a:pt x="138" y="146"/>
                  </a:lnTo>
                  <a:lnTo>
                    <a:pt x="140" y="146"/>
                  </a:lnTo>
                  <a:lnTo>
                    <a:pt x="141" y="145"/>
                  </a:lnTo>
                  <a:lnTo>
                    <a:pt x="145" y="143"/>
                  </a:lnTo>
                  <a:lnTo>
                    <a:pt x="147" y="141"/>
                  </a:lnTo>
                  <a:lnTo>
                    <a:pt x="151" y="139"/>
                  </a:lnTo>
                  <a:lnTo>
                    <a:pt x="155" y="137"/>
                  </a:lnTo>
                  <a:lnTo>
                    <a:pt x="155" y="133"/>
                  </a:lnTo>
                  <a:lnTo>
                    <a:pt x="160" y="137"/>
                  </a:lnTo>
                  <a:lnTo>
                    <a:pt x="162" y="133"/>
                  </a:lnTo>
                  <a:lnTo>
                    <a:pt x="162" y="133"/>
                  </a:lnTo>
                  <a:lnTo>
                    <a:pt x="160" y="133"/>
                  </a:lnTo>
                  <a:lnTo>
                    <a:pt x="160" y="131"/>
                  </a:lnTo>
                  <a:lnTo>
                    <a:pt x="162" y="131"/>
                  </a:lnTo>
                  <a:lnTo>
                    <a:pt x="166" y="131"/>
                  </a:lnTo>
                  <a:lnTo>
                    <a:pt x="166" y="133"/>
                  </a:lnTo>
                  <a:lnTo>
                    <a:pt x="168" y="131"/>
                  </a:lnTo>
                  <a:lnTo>
                    <a:pt x="173" y="128"/>
                  </a:lnTo>
                  <a:lnTo>
                    <a:pt x="172" y="124"/>
                  </a:lnTo>
                  <a:lnTo>
                    <a:pt x="173" y="122"/>
                  </a:lnTo>
                  <a:lnTo>
                    <a:pt x="175" y="118"/>
                  </a:lnTo>
                  <a:lnTo>
                    <a:pt x="179" y="118"/>
                  </a:lnTo>
                  <a:lnTo>
                    <a:pt x="181" y="114"/>
                  </a:lnTo>
                  <a:lnTo>
                    <a:pt x="185" y="114"/>
                  </a:lnTo>
                  <a:lnTo>
                    <a:pt x="187" y="114"/>
                  </a:lnTo>
                  <a:lnTo>
                    <a:pt x="187" y="114"/>
                  </a:lnTo>
                  <a:lnTo>
                    <a:pt x="188" y="118"/>
                  </a:lnTo>
                  <a:lnTo>
                    <a:pt x="188" y="126"/>
                  </a:lnTo>
                  <a:lnTo>
                    <a:pt x="188" y="128"/>
                  </a:lnTo>
                  <a:lnTo>
                    <a:pt x="188" y="133"/>
                  </a:lnTo>
                  <a:lnTo>
                    <a:pt x="188" y="139"/>
                  </a:lnTo>
                  <a:lnTo>
                    <a:pt x="190" y="139"/>
                  </a:lnTo>
                  <a:lnTo>
                    <a:pt x="190" y="137"/>
                  </a:lnTo>
                  <a:lnTo>
                    <a:pt x="192" y="133"/>
                  </a:lnTo>
                  <a:lnTo>
                    <a:pt x="190" y="128"/>
                  </a:lnTo>
                  <a:lnTo>
                    <a:pt x="190" y="124"/>
                  </a:lnTo>
                  <a:lnTo>
                    <a:pt x="190" y="120"/>
                  </a:lnTo>
                  <a:lnTo>
                    <a:pt x="190" y="116"/>
                  </a:lnTo>
                  <a:lnTo>
                    <a:pt x="192" y="114"/>
                  </a:lnTo>
                  <a:lnTo>
                    <a:pt x="194" y="114"/>
                  </a:lnTo>
                  <a:lnTo>
                    <a:pt x="196" y="113"/>
                  </a:lnTo>
                  <a:lnTo>
                    <a:pt x="198" y="111"/>
                  </a:lnTo>
                  <a:lnTo>
                    <a:pt x="200" y="111"/>
                  </a:lnTo>
                  <a:lnTo>
                    <a:pt x="200" y="113"/>
                  </a:lnTo>
                  <a:lnTo>
                    <a:pt x="200" y="114"/>
                  </a:lnTo>
                  <a:lnTo>
                    <a:pt x="200" y="114"/>
                  </a:lnTo>
                  <a:lnTo>
                    <a:pt x="204" y="116"/>
                  </a:lnTo>
                  <a:lnTo>
                    <a:pt x="204" y="118"/>
                  </a:lnTo>
                  <a:lnTo>
                    <a:pt x="204" y="120"/>
                  </a:lnTo>
                  <a:lnTo>
                    <a:pt x="205" y="122"/>
                  </a:lnTo>
                  <a:lnTo>
                    <a:pt x="211" y="122"/>
                  </a:lnTo>
                  <a:lnTo>
                    <a:pt x="213" y="122"/>
                  </a:lnTo>
                  <a:lnTo>
                    <a:pt x="215" y="122"/>
                  </a:lnTo>
                  <a:lnTo>
                    <a:pt x="217" y="120"/>
                  </a:lnTo>
                  <a:lnTo>
                    <a:pt x="215" y="116"/>
                  </a:lnTo>
                  <a:lnTo>
                    <a:pt x="217" y="114"/>
                  </a:lnTo>
                  <a:lnTo>
                    <a:pt x="219" y="113"/>
                  </a:lnTo>
                  <a:lnTo>
                    <a:pt x="219" y="109"/>
                  </a:lnTo>
                  <a:lnTo>
                    <a:pt x="220" y="109"/>
                  </a:lnTo>
                  <a:lnTo>
                    <a:pt x="222" y="107"/>
                  </a:lnTo>
                  <a:lnTo>
                    <a:pt x="228" y="107"/>
                  </a:lnTo>
                  <a:lnTo>
                    <a:pt x="228" y="103"/>
                  </a:lnTo>
                  <a:lnTo>
                    <a:pt x="228" y="97"/>
                  </a:lnTo>
                  <a:lnTo>
                    <a:pt x="228" y="97"/>
                  </a:lnTo>
                  <a:lnTo>
                    <a:pt x="224" y="97"/>
                  </a:lnTo>
                  <a:lnTo>
                    <a:pt x="224" y="94"/>
                  </a:lnTo>
                  <a:lnTo>
                    <a:pt x="224" y="94"/>
                  </a:lnTo>
                  <a:lnTo>
                    <a:pt x="228" y="90"/>
                  </a:lnTo>
                  <a:lnTo>
                    <a:pt x="228" y="86"/>
                  </a:lnTo>
                  <a:lnTo>
                    <a:pt x="228" y="84"/>
                  </a:lnTo>
                  <a:lnTo>
                    <a:pt x="230" y="79"/>
                  </a:lnTo>
                  <a:lnTo>
                    <a:pt x="234" y="77"/>
                  </a:lnTo>
                  <a:lnTo>
                    <a:pt x="237" y="77"/>
                  </a:lnTo>
                  <a:lnTo>
                    <a:pt x="241" y="73"/>
                  </a:lnTo>
                  <a:lnTo>
                    <a:pt x="247" y="73"/>
                  </a:lnTo>
                  <a:lnTo>
                    <a:pt x="247" y="73"/>
                  </a:lnTo>
                  <a:lnTo>
                    <a:pt x="249" y="77"/>
                  </a:lnTo>
                  <a:lnTo>
                    <a:pt x="249" y="79"/>
                  </a:lnTo>
                  <a:lnTo>
                    <a:pt x="252" y="82"/>
                  </a:lnTo>
                  <a:lnTo>
                    <a:pt x="252" y="86"/>
                  </a:lnTo>
                  <a:lnTo>
                    <a:pt x="249" y="94"/>
                  </a:lnTo>
                  <a:lnTo>
                    <a:pt x="249" y="101"/>
                  </a:lnTo>
                  <a:lnTo>
                    <a:pt x="252" y="103"/>
                  </a:lnTo>
                  <a:lnTo>
                    <a:pt x="258" y="107"/>
                  </a:lnTo>
                  <a:lnTo>
                    <a:pt x="258" y="109"/>
                  </a:lnTo>
                  <a:lnTo>
                    <a:pt x="260" y="111"/>
                  </a:lnTo>
                  <a:lnTo>
                    <a:pt x="260" y="109"/>
                  </a:lnTo>
                  <a:lnTo>
                    <a:pt x="260" y="103"/>
                  </a:lnTo>
                  <a:lnTo>
                    <a:pt x="260" y="101"/>
                  </a:lnTo>
                  <a:lnTo>
                    <a:pt x="254" y="94"/>
                  </a:lnTo>
                  <a:lnTo>
                    <a:pt x="254" y="88"/>
                  </a:lnTo>
                  <a:lnTo>
                    <a:pt x="258" y="84"/>
                  </a:lnTo>
                  <a:lnTo>
                    <a:pt x="258" y="81"/>
                  </a:lnTo>
                  <a:lnTo>
                    <a:pt x="258" y="79"/>
                  </a:lnTo>
                  <a:lnTo>
                    <a:pt x="254" y="77"/>
                  </a:lnTo>
                  <a:lnTo>
                    <a:pt x="254" y="73"/>
                  </a:lnTo>
                  <a:lnTo>
                    <a:pt x="254" y="69"/>
                  </a:lnTo>
                  <a:lnTo>
                    <a:pt x="254" y="69"/>
                  </a:lnTo>
                  <a:lnTo>
                    <a:pt x="258" y="64"/>
                  </a:lnTo>
                  <a:lnTo>
                    <a:pt x="262" y="64"/>
                  </a:lnTo>
                  <a:lnTo>
                    <a:pt x="264" y="67"/>
                  </a:lnTo>
                  <a:lnTo>
                    <a:pt x="266" y="64"/>
                  </a:lnTo>
                  <a:lnTo>
                    <a:pt x="269" y="64"/>
                  </a:lnTo>
                  <a:lnTo>
                    <a:pt x="273" y="67"/>
                  </a:lnTo>
                  <a:lnTo>
                    <a:pt x="283" y="67"/>
                  </a:lnTo>
                  <a:lnTo>
                    <a:pt x="288" y="64"/>
                  </a:lnTo>
                  <a:lnTo>
                    <a:pt x="296" y="64"/>
                  </a:lnTo>
                  <a:lnTo>
                    <a:pt x="298" y="64"/>
                  </a:lnTo>
                  <a:lnTo>
                    <a:pt x="298" y="69"/>
                  </a:lnTo>
                  <a:lnTo>
                    <a:pt x="298" y="73"/>
                  </a:lnTo>
                  <a:lnTo>
                    <a:pt x="298" y="73"/>
                  </a:lnTo>
                  <a:lnTo>
                    <a:pt x="301" y="73"/>
                  </a:lnTo>
                  <a:lnTo>
                    <a:pt x="303" y="69"/>
                  </a:lnTo>
                  <a:lnTo>
                    <a:pt x="301" y="67"/>
                  </a:lnTo>
                  <a:lnTo>
                    <a:pt x="301" y="64"/>
                  </a:lnTo>
                  <a:lnTo>
                    <a:pt x="307" y="60"/>
                  </a:lnTo>
                  <a:lnTo>
                    <a:pt x="311" y="62"/>
                  </a:lnTo>
                  <a:lnTo>
                    <a:pt x="311" y="64"/>
                  </a:lnTo>
                  <a:lnTo>
                    <a:pt x="311" y="69"/>
                  </a:lnTo>
                  <a:lnTo>
                    <a:pt x="313" y="69"/>
                  </a:lnTo>
                  <a:lnTo>
                    <a:pt x="315" y="67"/>
                  </a:lnTo>
                  <a:lnTo>
                    <a:pt x="315" y="62"/>
                  </a:lnTo>
                  <a:lnTo>
                    <a:pt x="311" y="60"/>
                  </a:lnTo>
                  <a:lnTo>
                    <a:pt x="311" y="58"/>
                  </a:lnTo>
                  <a:lnTo>
                    <a:pt x="311" y="56"/>
                  </a:lnTo>
                  <a:lnTo>
                    <a:pt x="315" y="56"/>
                  </a:lnTo>
                  <a:lnTo>
                    <a:pt x="318" y="58"/>
                  </a:lnTo>
                  <a:lnTo>
                    <a:pt x="322" y="56"/>
                  </a:lnTo>
                  <a:lnTo>
                    <a:pt x="326" y="54"/>
                  </a:lnTo>
                  <a:lnTo>
                    <a:pt x="332" y="56"/>
                  </a:lnTo>
                  <a:lnTo>
                    <a:pt x="332" y="58"/>
                  </a:lnTo>
                  <a:lnTo>
                    <a:pt x="332" y="67"/>
                  </a:lnTo>
                  <a:lnTo>
                    <a:pt x="328" y="73"/>
                  </a:lnTo>
                  <a:lnTo>
                    <a:pt x="328" y="77"/>
                  </a:lnTo>
                  <a:lnTo>
                    <a:pt x="326" y="81"/>
                  </a:lnTo>
                  <a:lnTo>
                    <a:pt x="326" y="84"/>
                  </a:lnTo>
                  <a:lnTo>
                    <a:pt x="326" y="86"/>
                  </a:lnTo>
                  <a:lnTo>
                    <a:pt x="324" y="90"/>
                  </a:lnTo>
                  <a:lnTo>
                    <a:pt x="322" y="90"/>
                  </a:lnTo>
                  <a:lnTo>
                    <a:pt x="320" y="92"/>
                  </a:lnTo>
                  <a:lnTo>
                    <a:pt x="322" y="94"/>
                  </a:lnTo>
                  <a:lnTo>
                    <a:pt x="322" y="94"/>
                  </a:lnTo>
                  <a:lnTo>
                    <a:pt x="322" y="97"/>
                  </a:lnTo>
                  <a:lnTo>
                    <a:pt x="318" y="101"/>
                  </a:lnTo>
                  <a:lnTo>
                    <a:pt x="316" y="107"/>
                  </a:lnTo>
                  <a:lnTo>
                    <a:pt x="313" y="107"/>
                  </a:lnTo>
                  <a:lnTo>
                    <a:pt x="311" y="109"/>
                  </a:lnTo>
                  <a:lnTo>
                    <a:pt x="311" y="113"/>
                  </a:lnTo>
                  <a:lnTo>
                    <a:pt x="311" y="116"/>
                  </a:lnTo>
                  <a:lnTo>
                    <a:pt x="307" y="120"/>
                  </a:lnTo>
                  <a:lnTo>
                    <a:pt x="311" y="122"/>
                  </a:lnTo>
                  <a:lnTo>
                    <a:pt x="311" y="122"/>
                  </a:lnTo>
                  <a:lnTo>
                    <a:pt x="313" y="116"/>
                  </a:lnTo>
                  <a:lnTo>
                    <a:pt x="316" y="114"/>
                  </a:lnTo>
                  <a:lnTo>
                    <a:pt x="316" y="113"/>
                  </a:lnTo>
                  <a:lnTo>
                    <a:pt x="318" y="111"/>
                  </a:lnTo>
                  <a:lnTo>
                    <a:pt x="322" y="107"/>
                  </a:lnTo>
                  <a:lnTo>
                    <a:pt x="324" y="103"/>
                  </a:lnTo>
                  <a:lnTo>
                    <a:pt x="326" y="101"/>
                  </a:lnTo>
                  <a:lnTo>
                    <a:pt x="328" y="101"/>
                  </a:lnTo>
                  <a:lnTo>
                    <a:pt x="328" y="97"/>
                  </a:lnTo>
                  <a:lnTo>
                    <a:pt x="328" y="94"/>
                  </a:lnTo>
                  <a:lnTo>
                    <a:pt x="332" y="94"/>
                  </a:lnTo>
                  <a:lnTo>
                    <a:pt x="332" y="90"/>
                  </a:lnTo>
                  <a:lnTo>
                    <a:pt x="335" y="88"/>
                  </a:lnTo>
                  <a:lnTo>
                    <a:pt x="335" y="90"/>
                  </a:lnTo>
                  <a:lnTo>
                    <a:pt x="335" y="94"/>
                  </a:lnTo>
                  <a:lnTo>
                    <a:pt x="337" y="94"/>
                  </a:lnTo>
                  <a:lnTo>
                    <a:pt x="337" y="97"/>
                  </a:lnTo>
                  <a:lnTo>
                    <a:pt x="341" y="103"/>
                  </a:lnTo>
                  <a:lnTo>
                    <a:pt x="341" y="107"/>
                  </a:lnTo>
                  <a:lnTo>
                    <a:pt x="343" y="111"/>
                  </a:lnTo>
                  <a:lnTo>
                    <a:pt x="345" y="113"/>
                  </a:lnTo>
                  <a:lnTo>
                    <a:pt x="347" y="113"/>
                  </a:lnTo>
                  <a:lnTo>
                    <a:pt x="348" y="114"/>
                  </a:lnTo>
                  <a:lnTo>
                    <a:pt x="350" y="114"/>
                  </a:lnTo>
                  <a:lnTo>
                    <a:pt x="350" y="113"/>
                  </a:lnTo>
                  <a:lnTo>
                    <a:pt x="350" y="111"/>
                  </a:lnTo>
                  <a:lnTo>
                    <a:pt x="350" y="109"/>
                  </a:lnTo>
                  <a:lnTo>
                    <a:pt x="348" y="107"/>
                  </a:lnTo>
                  <a:lnTo>
                    <a:pt x="347" y="103"/>
                  </a:lnTo>
                  <a:lnTo>
                    <a:pt x="348" y="103"/>
                  </a:lnTo>
                  <a:lnTo>
                    <a:pt x="350" y="103"/>
                  </a:lnTo>
                  <a:lnTo>
                    <a:pt x="352" y="107"/>
                  </a:lnTo>
                  <a:lnTo>
                    <a:pt x="356" y="107"/>
                  </a:lnTo>
                  <a:lnTo>
                    <a:pt x="360" y="107"/>
                  </a:lnTo>
                  <a:lnTo>
                    <a:pt x="360" y="109"/>
                  </a:lnTo>
                  <a:lnTo>
                    <a:pt x="360" y="109"/>
                  </a:lnTo>
                  <a:lnTo>
                    <a:pt x="362" y="107"/>
                  </a:lnTo>
                  <a:lnTo>
                    <a:pt x="365" y="107"/>
                  </a:lnTo>
                  <a:lnTo>
                    <a:pt x="365" y="109"/>
                  </a:lnTo>
                  <a:lnTo>
                    <a:pt x="367" y="109"/>
                  </a:lnTo>
                  <a:lnTo>
                    <a:pt x="365" y="103"/>
                  </a:lnTo>
                  <a:lnTo>
                    <a:pt x="365" y="97"/>
                  </a:lnTo>
                  <a:lnTo>
                    <a:pt x="367" y="94"/>
                  </a:lnTo>
                  <a:lnTo>
                    <a:pt x="367" y="90"/>
                  </a:lnTo>
                  <a:lnTo>
                    <a:pt x="365" y="86"/>
                  </a:lnTo>
                  <a:lnTo>
                    <a:pt x="365" y="82"/>
                  </a:lnTo>
                  <a:lnTo>
                    <a:pt x="365" y="77"/>
                  </a:lnTo>
                  <a:lnTo>
                    <a:pt x="367" y="73"/>
                  </a:lnTo>
                  <a:lnTo>
                    <a:pt x="369" y="69"/>
                  </a:lnTo>
                  <a:lnTo>
                    <a:pt x="367" y="67"/>
                  </a:lnTo>
                  <a:lnTo>
                    <a:pt x="369" y="64"/>
                  </a:lnTo>
                  <a:lnTo>
                    <a:pt x="369" y="60"/>
                  </a:lnTo>
                  <a:lnTo>
                    <a:pt x="371" y="58"/>
                  </a:lnTo>
                  <a:lnTo>
                    <a:pt x="373" y="58"/>
                  </a:lnTo>
                  <a:lnTo>
                    <a:pt x="377" y="60"/>
                  </a:lnTo>
                  <a:lnTo>
                    <a:pt x="379" y="60"/>
                  </a:lnTo>
                  <a:lnTo>
                    <a:pt x="381" y="62"/>
                  </a:lnTo>
                  <a:lnTo>
                    <a:pt x="381" y="64"/>
                  </a:lnTo>
                  <a:lnTo>
                    <a:pt x="386" y="64"/>
                  </a:lnTo>
                  <a:lnTo>
                    <a:pt x="386" y="69"/>
                  </a:lnTo>
                  <a:lnTo>
                    <a:pt x="390" y="77"/>
                  </a:lnTo>
                  <a:lnTo>
                    <a:pt x="390" y="79"/>
                  </a:lnTo>
                  <a:lnTo>
                    <a:pt x="392" y="84"/>
                  </a:lnTo>
                  <a:lnTo>
                    <a:pt x="396" y="88"/>
                  </a:lnTo>
                  <a:lnTo>
                    <a:pt x="396" y="97"/>
                  </a:lnTo>
                  <a:lnTo>
                    <a:pt x="396" y="97"/>
                  </a:lnTo>
                  <a:lnTo>
                    <a:pt x="394" y="101"/>
                  </a:lnTo>
                  <a:lnTo>
                    <a:pt x="394" y="103"/>
                  </a:lnTo>
                  <a:lnTo>
                    <a:pt x="394" y="107"/>
                  </a:lnTo>
                  <a:lnTo>
                    <a:pt x="396" y="109"/>
                  </a:lnTo>
                  <a:lnTo>
                    <a:pt x="397" y="114"/>
                  </a:lnTo>
                  <a:lnTo>
                    <a:pt x="397" y="120"/>
                  </a:lnTo>
                  <a:lnTo>
                    <a:pt x="397" y="124"/>
                  </a:lnTo>
                  <a:lnTo>
                    <a:pt x="399" y="126"/>
                  </a:lnTo>
                  <a:lnTo>
                    <a:pt x="403" y="126"/>
                  </a:lnTo>
                  <a:lnTo>
                    <a:pt x="407" y="128"/>
                  </a:lnTo>
                  <a:lnTo>
                    <a:pt x="411" y="128"/>
                  </a:lnTo>
                  <a:lnTo>
                    <a:pt x="414" y="128"/>
                  </a:lnTo>
                  <a:lnTo>
                    <a:pt x="414" y="122"/>
                  </a:lnTo>
                  <a:lnTo>
                    <a:pt x="416" y="120"/>
                  </a:lnTo>
                  <a:lnTo>
                    <a:pt x="418" y="122"/>
                  </a:lnTo>
                  <a:lnTo>
                    <a:pt x="418" y="124"/>
                  </a:lnTo>
                  <a:lnTo>
                    <a:pt x="418" y="128"/>
                  </a:lnTo>
                  <a:lnTo>
                    <a:pt x="420" y="126"/>
                  </a:lnTo>
                  <a:lnTo>
                    <a:pt x="422" y="126"/>
                  </a:lnTo>
                  <a:lnTo>
                    <a:pt x="424" y="128"/>
                  </a:lnTo>
                  <a:lnTo>
                    <a:pt x="426" y="128"/>
                  </a:lnTo>
                  <a:lnTo>
                    <a:pt x="426" y="131"/>
                  </a:lnTo>
                  <a:lnTo>
                    <a:pt x="428" y="133"/>
                  </a:lnTo>
                  <a:lnTo>
                    <a:pt x="429" y="133"/>
                  </a:lnTo>
                  <a:lnTo>
                    <a:pt x="431" y="133"/>
                  </a:lnTo>
                  <a:lnTo>
                    <a:pt x="435" y="133"/>
                  </a:lnTo>
                  <a:lnTo>
                    <a:pt x="435" y="133"/>
                  </a:lnTo>
                  <a:lnTo>
                    <a:pt x="435" y="133"/>
                  </a:lnTo>
                  <a:lnTo>
                    <a:pt x="431" y="128"/>
                  </a:lnTo>
                  <a:lnTo>
                    <a:pt x="431" y="128"/>
                  </a:lnTo>
                  <a:lnTo>
                    <a:pt x="431" y="126"/>
                  </a:lnTo>
                  <a:lnTo>
                    <a:pt x="428" y="126"/>
                  </a:lnTo>
                  <a:lnTo>
                    <a:pt x="426" y="124"/>
                  </a:lnTo>
                  <a:lnTo>
                    <a:pt x="428" y="120"/>
                  </a:lnTo>
                  <a:lnTo>
                    <a:pt x="426" y="116"/>
                  </a:lnTo>
                  <a:lnTo>
                    <a:pt x="420" y="114"/>
                  </a:lnTo>
                  <a:lnTo>
                    <a:pt x="420" y="111"/>
                  </a:lnTo>
                  <a:lnTo>
                    <a:pt x="420" y="107"/>
                  </a:lnTo>
                  <a:lnTo>
                    <a:pt x="418" y="103"/>
                  </a:lnTo>
                  <a:lnTo>
                    <a:pt x="418" y="103"/>
                  </a:lnTo>
                  <a:lnTo>
                    <a:pt x="418" y="97"/>
                  </a:lnTo>
                  <a:lnTo>
                    <a:pt x="418" y="94"/>
                  </a:lnTo>
                  <a:lnTo>
                    <a:pt x="414" y="90"/>
                  </a:lnTo>
                  <a:lnTo>
                    <a:pt x="414" y="86"/>
                  </a:lnTo>
                  <a:lnTo>
                    <a:pt x="416" y="84"/>
                  </a:lnTo>
                  <a:lnTo>
                    <a:pt x="414" y="79"/>
                  </a:lnTo>
                  <a:lnTo>
                    <a:pt x="414" y="77"/>
                  </a:lnTo>
                  <a:lnTo>
                    <a:pt x="414" y="73"/>
                  </a:lnTo>
                  <a:lnTo>
                    <a:pt x="414" y="69"/>
                  </a:lnTo>
                  <a:lnTo>
                    <a:pt x="411" y="64"/>
                  </a:lnTo>
                  <a:lnTo>
                    <a:pt x="411" y="64"/>
                  </a:lnTo>
                  <a:lnTo>
                    <a:pt x="411" y="60"/>
                  </a:lnTo>
                  <a:lnTo>
                    <a:pt x="411" y="54"/>
                  </a:lnTo>
                  <a:lnTo>
                    <a:pt x="411" y="52"/>
                  </a:lnTo>
                  <a:lnTo>
                    <a:pt x="416" y="54"/>
                  </a:lnTo>
                  <a:lnTo>
                    <a:pt x="418" y="56"/>
                  </a:lnTo>
                  <a:lnTo>
                    <a:pt x="420" y="56"/>
                  </a:lnTo>
                  <a:lnTo>
                    <a:pt x="422" y="54"/>
                  </a:lnTo>
                  <a:lnTo>
                    <a:pt x="424" y="54"/>
                  </a:lnTo>
                  <a:lnTo>
                    <a:pt x="429" y="62"/>
                  </a:lnTo>
                  <a:lnTo>
                    <a:pt x="435" y="64"/>
                  </a:lnTo>
                  <a:lnTo>
                    <a:pt x="435" y="64"/>
                  </a:lnTo>
                  <a:lnTo>
                    <a:pt x="435" y="60"/>
                  </a:lnTo>
                  <a:lnTo>
                    <a:pt x="435" y="58"/>
                  </a:lnTo>
                  <a:lnTo>
                    <a:pt x="435" y="52"/>
                  </a:lnTo>
                  <a:lnTo>
                    <a:pt x="439" y="52"/>
                  </a:lnTo>
                  <a:lnTo>
                    <a:pt x="441" y="52"/>
                  </a:lnTo>
                  <a:lnTo>
                    <a:pt x="445" y="52"/>
                  </a:lnTo>
                  <a:lnTo>
                    <a:pt x="448" y="50"/>
                  </a:lnTo>
                  <a:lnTo>
                    <a:pt x="452" y="50"/>
                  </a:lnTo>
                  <a:lnTo>
                    <a:pt x="456" y="52"/>
                  </a:lnTo>
                  <a:lnTo>
                    <a:pt x="458" y="54"/>
                  </a:lnTo>
                  <a:lnTo>
                    <a:pt x="460" y="56"/>
                  </a:lnTo>
                  <a:lnTo>
                    <a:pt x="460" y="62"/>
                  </a:lnTo>
                  <a:lnTo>
                    <a:pt x="460" y="64"/>
                  </a:lnTo>
                  <a:lnTo>
                    <a:pt x="463" y="67"/>
                  </a:lnTo>
                  <a:lnTo>
                    <a:pt x="463" y="69"/>
                  </a:lnTo>
                  <a:lnTo>
                    <a:pt x="463" y="73"/>
                  </a:lnTo>
                  <a:lnTo>
                    <a:pt x="465" y="79"/>
                  </a:lnTo>
                  <a:lnTo>
                    <a:pt x="465" y="84"/>
                  </a:lnTo>
                  <a:lnTo>
                    <a:pt x="465" y="86"/>
                  </a:lnTo>
                  <a:lnTo>
                    <a:pt x="469" y="88"/>
                  </a:lnTo>
                  <a:lnTo>
                    <a:pt x="473" y="88"/>
                  </a:lnTo>
                  <a:lnTo>
                    <a:pt x="478" y="92"/>
                  </a:lnTo>
                  <a:lnTo>
                    <a:pt x="484" y="94"/>
                  </a:lnTo>
                  <a:lnTo>
                    <a:pt x="482" y="92"/>
                  </a:lnTo>
                  <a:lnTo>
                    <a:pt x="482" y="90"/>
                  </a:lnTo>
                  <a:lnTo>
                    <a:pt x="478" y="88"/>
                  </a:lnTo>
                  <a:lnTo>
                    <a:pt x="477" y="84"/>
                  </a:lnTo>
                  <a:lnTo>
                    <a:pt x="473" y="84"/>
                  </a:lnTo>
                  <a:lnTo>
                    <a:pt x="469" y="82"/>
                  </a:lnTo>
                  <a:lnTo>
                    <a:pt x="469" y="81"/>
                  </a:lnTo>
                  <a:lnTo>
                    <a:pt x="469" y="77"/>
                  </a:lnTo>
                  <a:lnTo>
                    <a:pt x="465" y="73"/>
                  </a:lnTo>
                  <a:lnTo>
                    <a:pt x="465" y="69"/>
                  </a:lnTo>
                  <a:lnTo>
                    <a:pt x="467" y="64"/>
                  </a:lnTo>
                  <a:lnTo>
                    <a:pt x="467" y="62"/>
                  </a:lnTo>
                  <a:lnTo>
                    <a:pt x="467" y="58"/>
                  </a:lnTo>
                  <a:lnTo>
                    <a:pt x="469" y="58"/>
                  </a:lnTo>
                  <a:lnTo>
                    <a:pt x="467" y="54"/>
                  </a:lnTo>
                  <a:lnTo>
                    <a:pt x="463" y="52"/>
                  </a:lnTo>
                  <a:lnTo>
                    <a:pt x="460" y="47"/>
                  </a:lnTo>
                  <a:lnTo>
                    <a:pt x="458" y="47"/>
                  </a:lnTo>
                  <a:lnTo>
                    <a:pt x="454" y="47"/>
                  </a:lnTo>
                  <a:lnTo>
                    <a:pt x="452" y="49"/>
                  </a:lnTo>
                  <a:lnTo>
                    <a:pt x="450" y="49"/>
                  </a:lnTo>
                  <a:lnTo>
                    <a:pt x="445" y="47"/>
                  </a:lnTo>
                  <a:lnTo>
                    <a:pt x="445" y="43"/>
                  </a:lnTo>
                  <a:lnTo>
                    <a:pt x="446" y="39"/>
                  </a:lnTo>
                  <a:lnTo>
                    <a:pt x="450" y="39"/>
                  </a:lnTo>
                  <a:lnTo>
                    <a:pt x="450" y="37"/>
                  </a:lnTo>
                  <a:lnTo>
                    <a:pt x="445" y="33"/>
                  </a:lnTo>
                  <a:lnTo>
                    <a:pt x="445" y="30"/>
                  </a:lnTo>
                  <a:lnTo>
                    <a:pt x="445" y="26"/>
                  </a:lnTo>
                  <a:lnTo>
                    <a:pt x="446" y="22"/>
                  </a:lnTo>
                  <a:lnTo>
                    <a:pt x="448" y="22"/>
                  </a:lnTo>
                  <a:lnTo>
                    <a:pt x="450" y="26"/>
                  </a:lnTo>
                  <a:lnTo>
                    <a:pt x="452" y="30"/>
                  </a:lnTo>
                  <a:lnTo>
                    <a:pt x="454" y="30"/>
                  </a:lnTo>
                  <a:lnTo>
                    <a:pt x="458" y="24"/>
                  </a:lnTo>
                  <a:lnTo>
                    <a:pt x="460" y="22"/>
                  </a:lnTo>
                  <a:lnTo>
                    <a:pt x="463" y="20"/>
                  </a:lnTo>
                  <a:lnTo>
                    <a:pt x="463" y="18"/>
                  </a:lnTo>
                  <a:lnTo>
                    <a:pt x="467" y="15"/>
                  </a:lnTo>
                  <a:lnTo>
                    <a:pt x="473" y="15"/>
                  </a:lnTo>
                  <a:lnTo>
                    <a:pt x="467" y="16"/>
                  </a:lnTo>
                  <a:lnTo>
                    <a:pt x="467" y="18"/>
                  </a:lnTo>
                  <a:lnTo>
                    <a:pt x="467" y="20"/>
                  </a:lnTo>
                  <a:lnTo>
                    <a:pt x="473" y="18"/>
                  </a:lnTo>
                  <a:lnTo>
                    <a:pt x="473" y="18"/>
                  </a:lnTo>
                  <a:lnTo>
                    <a:pt x="475" y="20"/>
                  </a:lnTo>
                  <a:lnTo>
                    <a:pt x="475" y="24"/>
                  </a:lnTo>
                  <a:lnTo>
                    <a:pt x="478" y="26"/>
                  </a:lnTo>
                  <a:lnTo>
                    <a:pt x="478" y="28"/>
                  </a:lnTo>
                  <a:lnTo>
                    <a:pt x="477" y="30"/>
                  </a:lnTo>
                  <a:lnTo>
                    <a:pt x="477" y="32"/>
                  </a:lnTo>
                  <a:lnTo>
                    <a:pt x="478" y="30"/>
                  </a:lnTo>
                  <a:lnTo>
                    <a:pt x="482" y="26"/>
                  </a:lnTo>
                  <a:lnTo>
                    <a:pt x="484" y="28"/>
                  </a:lnTo>
                  <a:lnTo>
                    <a:pt x="488" y="30"/>
                  </a:lnTo>
                  <a:lnTo>
                    <a:pt x="488" y="33"/>
                  </a:lnTo>
                  <a:lnTo>
                    <a:pt x="490" y="39"/>
                  </a:lnTo>
                  <a:lnTo>
                    <a:pt x="490" y="43"/>
                  </a:lnTo>
                  <a:lnTo>
                    <a:pt x="490" y="47"/>
                  </a:lnTo>
                  <a:lnTo>
                    <a:pt x="493" y="45"/>
                  </a:lnTo>
                  <a:lnTo>
                    <a:pt x="493" y="39"/>
                  </a:lnTo>
                  <a:lnTo>
                    <a:pt x="492" y="37"/>
                  </a:lnTo>
                  <a:lnTo>
                    <a:pt x="490" y="33"/>
                  </a:lnTo>
                  <a:lnTo>
                    <a:pt x="490" y="32"/>
                  </a:lnTo>
                  <a:lnTo>
                    <a:pt x="490" y="30"/>
                  </a:lnTo>
                  <a:lnTo>
                    <a:pt x="490" y="30"/>
                  </a:lnTo>
                  <a:lnTo>
                    <a:pt x="493" y="32"/>
                  </a:lnTo>
                  <a:lnTo>
                    <a:pt x="499" y="33"/>
                  </a:lnTo>
                  <a:lnTo>
                    <a:pt x="503" y="39"/>
                  </a:lnTo>
                  <a:lnTo>
                    <a:pt x="507" y="43"/>
                  </a:lnTo>
                  <a:lnTo>
                    <a:pt x="512" y="43"/>
                  </a:lnTo>
                  <a:lnTo>
                    <a:pt x="512" y="43"/>
                  </a:lnTo>
                  <a:lnTo>
                    <a:pt x="509" y="39"/>
                  </a:lnTo>
                  <a:lnTo>
                    <a:pt x="505" y="39"/>
                  </a:lnTo>
                  <a:lnTo>
                    <a:pt x="501" y="33"/>
                  </a:lnTo>
                  <a:lnTo>
                    <a:pt x="501" y="30"/>
                  </a:lnTo>
                  <a:lnTo>
                    <a:pt x="503" y="24"/>
                  </a:lnTo>
                  <a:lnTo>
                    <a:pt x="507" y="24"/>
                  </a:lnTo>
                  <a:lnTo>
                    <a:pt x="509" y="24"/>
                  </a:lnTo>
                  <a:lnTo>
                    <a:pt x="512" y="26"/>
                  </a:lnTo>
                  <a:lnTo>
                    <a:pt x="518" y="26"/>
                  </a:lnTo>
                  <a:lnTo>
                    <a:pt x="518" y="24"/>
                  </a:lnTo>
                  <a:lnTo>
                    <a:pt x="518" y="22"/>
                  </a:lnTo>
                  <a:lnTo>
                    <a:pt x="514" y="22"/>
                  </a:lnTo>
                  <a:lnTo>
                    <a:pt x="514" y="20"/>
                  </a:lnTo>
                  <a:lnTo>
                    <a:pt x="518" y="16"/>
                  </a:lnTo>
                  <a:lnTo>
                    <a:pt x="522" y="13"/>
                  </a:lnTo>
                  <a:lnTo>
                    <a:pt x="522" y="13"/>
                  </a:lnTo>
                  <a:lnTo>
                    <a:pt x="518" y="9"/>
                  </a:lnTo>
                  <a:lnTo>
                    <a:pt x="518" y="7"/>
                  </a:lnTo>
                  <a:lnTo>
                    <a:pt x="522" y="7"/>
                  </a:lnTo>
                  <a:lnTo>
                    <a:pt x="524" y="7"/>
                  </a:lnTo>
                  <a:lnTo>
                    <a:pt x="525" y="5"/>
                  </a:lnTo>
                  <a:lnTo>
                    <a:pt x="525" y="0"/>
                  </a:lnTo>
                  <a:lnTo>
                    <a:pt x="527" y="0"/>
                  </a:lnTo>
                  <a:lnTo>
                    <a:pt x="529" y="0"/>
                  </a:lnTo>
                  <a:lnTo>
                    <a:pt x="531" y="0"/>
                  </a:lnTo>
                  <a:lnTo>
                    <a:pt x="533" y="3"/>
                  </a:lnTo>
                  <a:lnTo>
                    <a:pt x="533" y="5"/>
                  </a:lnTo>
                  <a:lnTo>
                    <a:pt x="533" y="9"/>
                  </a:lnTo>
                  <a:lnTo>
                    <a:pt x="537" y="9"/>
                  </a:lnTo>
                  <a:lnTo>
                    <a:pt x="539" y="9"/>
                  </a:lnTo>
                  <a:lnTo>
                    <a:pt x="539" y="7"/>
                  </a:lnTo>
                  <a:lnTo>
                    <a:pt x="539" y="3"/>
                  </a:lnTo>
                  <a:lnTo>
                    <a:pt x="539" y="0"/>
                  </a:lnTo>
                  <a:lnTo>
                    <a:pt x="539" y="0"/>
                  </a:lnTo>
                  <a:lnTo>
                    <a:pt x="542" y="0"/>
                  </a:lnTo>
                  <a:lnTo>
                    <a:pt x="546" y="0"/>
                  </a:lnTo>
                  <a:lnTo>
                    <a:pt x="552" y="0"/>
                  </a:lnTo>
                  <a:lnTo>
                    <a:pt x="554" y="0"/>
                  </a:lnTo>
                  <a:lnTo>
                    <a:pt x="556" y="3"/>
                  </a:lnTo>
                  <a:lnTo>
                    <a:pt x="556" y="0"/>
                  </a:lnTo>
                  <a:lnTo>
                    <a:pt x="557" y="0"/>
                  </a:lnTo>
                  <a:lnTo>
                    <a:pt x="563" y="0"/>
                  </a:lnTo>
                  <a:lnTo>
                    <a:pt x="567" y="0"/>
                  </a:lnTo>
                  <a:lnTo>
                    <a:pt x="571" y="3"/>
                  </a:lnTo>
                  <a:lnTo>
                    <a:pt x="573" y="3"/>
                  </a:lnTo>
                  <a:lnTo>
                    <a:pt x="574" y="3"/>
                  </a:lnTo>
                  <a:lnTo>
                    <a:pt x="576" y="5"/>
                  </a:lnTo>
                  <a:lnTo>
                    <a:pt x="578" y="7"/>
                  </a:lnTo>
                  <a:lnTo>
                    <a:pt x="584" y="9"/>
                  </a:lnTo>
                  <a:lnTo>
                    <a:pt x="586" y="9"/>
                  </a:lnTo>
                  <a:lnTo>
                    <a:pt x="586" y="9"/>
                  </a:lnTo>
                  <a:lnTo>
                    <a:pt x="588" y="7"/>
                  </a:lnTo>
                  <a:lnTo>
                    <a:pt x="591" y="9"/>
                  </a:lnTo>
                  <a:lnTo>
                    <a:pt x="595" y="9"/>
                  </a:lnTo>
                  <a:lnTo>
                    <a:pt x="599" y="15"/>
                  </a:lnTo>
                  <a:lnTo>
                    <a:pt x="606" y="15"/>
                  </a:lnTo>
                  <a:lnTo>
                    <a:pt x="608" y="16"/>
                  </a:lnTo>
                  <a:lnTo>
                    <a:pt x="612" y="15"/>
                  </a:lnTo>
                  <a:lnTo>
                    <a:pt x="614" y="16"/>
                  </a:lnTo>
                  <a:lnTo>
                    <a:pt x="616" y="18"/>
                  </a:lnTo>
                  <a:lnTo>
                    <a:pt x="620" y="16"/>
                  </a:lnTo>
                  <a:lnTo>
                    <a:pt x="620" y="18"/>
                  </a:lnTo>
                  <a:lnTo>
                    <a:pt x="623" y="20"/>
                  </a:lnTo>
                  <a:lnTo>
                    <a:pt x="629" y="22"/>
                  </a:lnTo>
                  <a:lnTo>
                    <a:pt x="633" y="26"/>
                  </a:lnTo>
                  <a:lnTo>
                    <a:pt x="635" y="30"/>
                  </a:lnTo>
                  <a:lnTo>
                    <a:pt x="638" y="30"/>
                  </a:lnTo>
                  <a:lnTo>
                    <a:pt x="644" y="33"/>
                  </a:lnTo>
                  <a:lnTo>
                    <a:pt x="644" y="33"/>
                  </a:lnTo>
                  <a:lnTo>
                    <a:pt x="640" y="39"/>
                  </a:lnTo>
                  <a:lnTo>
                    <a:pt x="638" y="39"/>
                  </a:lnTo>
                  <a:lnTo>
                    <a:pt x="635" y="39"/>
                  </a:lnTo>
                  <a:lnTo>
                    <a:pt x="633" y="39"/>
                  </a:lnTo>
                  <a:lnTo>
                    <a:pt x="631" y="43"/>
                  </a:lnTo>
                  <a:lnTo>
                    <a:pt x="627" y="43"/>
                  </a:lnTo>
                  <a:lnTo>
                    <a:pt x="625" y="39"/>
                  </a:lnTo>
                  <a:lnTo>
                    <a:pt x="621" y="43"/>
                  </a:lnTo>
                  <a:lnTo>
                    <a:pt x="620" y="43"/>
                  </a:lnTo>
                  <a:lnTo>
                    <a:pt x="612" y="39"/>
                  </a:lnTo>
                  <a:lnTo>
                    <a:pt x="608" y="37"/>
                  </a:lnTo>
                  <a:lnTo>
                    <a:pt x="606" y="37"/>
                  </a:lnTo>
                  <a:lnTo>
                    <a:pt x="603" y="37"/>
                  </a:lnTo>
                  <a:lnTo>
                    <a:pt x="599" y="37"/>
                  </a:lnTo>
                  <a:lnTo>
                    <a:pt x="597" y="37"/>
                  </a:lnTo>
                  <a:lnTo>
                    <a:pt x="595" y="39"/>
                  </a:lnTo>
                  <a:lnTo>
                    <a:pt x="595" y="37"/>
                  </a:lnTo>
                  <a:lnTo>
                    <a:pt x="591" y="37"/>
                  </a:lnTo>
                  <a:lnTo>
                    <a:pt x="584" y="39"/>
                  </a:lnTo>
                  <a:lnTo>
                    <a:pt x="582" y="39"/>
                  </a:lnTo>
                  <a:lnTo>
                    <a:pt x="578" y="39"/>
                  </a:lnTo>
                  <a:lnTo>
                    <a:pt x="576" y="39"/>
                  </a:lnTo>
                  <a:lnTo>
                    <a:pt x="571" y="39"/>
                  </a:lnTo>
                  <a:lnTo>
                    <a:pt x="567" y="39"/>
                  </a:lnTo>
                  <a:lnTo>
                    <a:pt x="565" y="39"/>
                  </a:lnTo>
                  <a:lnTo>
                    <a:pt x="565" y="33"/>
                  </a:lnTo>
                  <a:lnTo>
                    <a:pt x="567" y="33"/>
                  </a:lnTo>
                  <a:lnTo>
                    <a:pt x="567" y="33"/>
                  </a:lnTo>
                  <a:lnTo>
                    <a:pt x="567" y="32"/>
                  </a:lnTo>
                  <a:lnTo>
                    <a:pt x="567" y="30"/>
                  </a:lnTo>
                  <a:lnTo>
                    <a:pt x="565" y="30"/>
                  </a:lnTo>
                  <a:lnTo>
                    <a:pt x="563" y="30"/>
                  </a:lnTo>
                  <a:lnTo>
                    <a:pt x="557" y="33"/>
                  </a:lnTo>
                  <a:lnTo>
                    <a:pt x="557" y="37"/>
                  </a:lnTo>
                  <a:lnTo>
                    <a:pt x="561" y="39"/>
                  </a:lnTo>
                  <a:lnTo>
                    <a:pt x="565" y="39"/>
                  </a:lnTo>
                  <a:lnTo>
                    <a:pt x="563" y="43"/>
                  </a:lnTo>
                  <a:lnTo>
                    <a:pt x="561" y="43"/>
                  </a:lnTo>
                  <a:lnTo>
                    <a:pt x="557" y="43"/>
                  </a:lnTo>
                  <a:lnTo>
                    <a:pt x="556" y="43"/>
                  </a:lnTo>
                  <a:lnTo>
                    <a:pt x="552" y="43"/>
                  </a:lnTo>
                  <a:lnTo>
                    <a:pt x="550" y="43"/>
                  </a:lnTo>
                  <a:lnTo>
                    <a:pt x="546" y="43"/>
                  </a:lnTo>
                  <a:lnTo>
                    <a:pt x="542" y="43"/>
                  </a:lnTo>
                  <a:lnTo>
                    <a:pt x="539" y="43"/>
                  </a:lnTo>
                  <a:lnTo>
                    <a:pt x="533" y="45"/>
                  </a:lnTo>
                  <a:lnTo>
                    <a:pt x="527" y="49"/>
                  </a:lnTo>
                  <a:lnTo>
                    <a:pt x="525" y="52"/>
                  </a:lnTo>
                  <a:lnTo>
                    <a:pt x="525" y="58"/>
                  </a:lnTo>
                  <a:lnTo>
                    <a:pt x="525" y="60"/>
                  </a:lnTo>
                  <a:lnTo>
                    <a:pt x="524" y="62"/>
                  </a:lnTo>
                  <a:lnTo>
                    <a:pt x="525" y="64"/>
                  </a:lnTo>
                  <a:lnTo>
                    <a:pt x="529" y="64"/>
                  </a:lnTo>
                  <a:lnTo>
                    <a:pt x="529" y="60"/>
                  </a:lnTo>
                  <a:lnTo>
                    <a:pt x="529" y="56"/>
                  </a:lnTo>
                  <a:lnTo>
                    <a:pt x="529" y="56"/>
                  </a:lnTo>
                  <a:lnTo>
                    <a:pt x="531" y="54"/>
                  </a:lnTo>
                  <a:lnTo>
                    <a:pt x="533" y="54"/>
                  </a:lnTo>
                  <a:lnTo>
                    <a:pt x="539" y="52"/>
                  </a:lnTo>
                  <a:lnTo>
                    <a:pt x="539" y="54"/>
                  </a:lnTo>
                  <a:lnTo>
                    <a:pt x="539" y="56"/>
                  </a:lnTo>
                  <a:lnTo>
                    <a:pt x="537" y="60"/>
                  </a:lnTo>
                  <a:lnTo>
                    <a:pt x="537" y="62"/>
                  </a:lnTo>
                  <a:lnTo>
                    <a:pt x="539" y="62"/>
                  </a:lnTo>
                  <a:lnTo>
                    <a:pt x="539" y="60"/>
                  </a:lnTo>
                  <a:lnTo>
                    <a:pt x="539" y="54"/>
                  </a:lnTo>
                  <a:lnTo>
                    <a:pt x="539" y="54"/>
                  </a:lnTo>
                  <a:lnTo>
                    <a:pt x="542" y="50"/>
                  </a:lnTo>
                  <a:lnTo>
                    <a:pt x="542" y="50"/>
                  </a:lnTo>
                  <a:lnTo>
                    <a:pt x="546" y="49"/>
                  </a:lnTo>
                  <a:lnTo>
                    <a:pt x="548" y="49"/>
                  </a:lnTo>
                  <a:lnTo>
                    <a:pt x="554" y="47"/>
                  </a:lnTo>
                  <a:lnTo>
                    <a:pt x="557" y="47"/>
                  </a:lnTo>
                  <a:lnTo>
                    <a:pt x="557" y="47"/>
                  </a:lnTo>
                  <a:lnTo>
                    <a:pt x="561" y="47"/>
                  </a:lnTo>
                  <a:lnTo>
                    <a:pt x="561" y="49"/>
                  </a:lnTo>
                  <a:lnTo>
                    <a:pt x="565" y="54"/>
                  </a:lnTo>
                  <a:lnTo>
                    <a:pt x="567" y="56"/>
                  </a:lnTo>
                  <a:lnTo>
                    <a:pt x="567" y="56"/>
                  </a:lnTo>
                  <a:lnTo>
                    <a:pt x="567" y="52"/>
                  </a:lnTo>
                  <a:lnTo>
                    <a:pt x="567" y="49"/>
                  </a:lnTo>
                  <a:lnTo>
                    <a:pt x="567" y="47"/>
                  </a:lnTo>
                  <a:lnTo>
                    <a:pt x="571" y="47"/>
                  </a:lnTo>
                  <a:lnTo>
                    <a:pt x="573" y="47"/>
                  </a:lnTo>
                  <a:lnTo>
                    <a:pt x="578" y="47"/>
                  </a:lnTo>
                  <a:lnTo>
                    <a:pt x="582" y="47"/>
                  </a:lnTo>
                  <a:lnTo>
                    <a:pt x="588" y="43"/>
                  </a:lnTo>
                  <a:lnTo>
                    <a:pt x="591" y="43"/>
                  </a:lnTo>
                  <a:lnTo>
                    <a:pt x="597" y="43"/>
                  </a:lnTo>
                  <a:lnTo>
                    <a:pt x="603" y="43"/>
                  </a:lnTo>
                  <a:lnTo>
                    <a:pt x="606" y="45"/>
                  </a:lnTo>
                  <a:lnTo>
                    <a:pt x="610" y="47"/>
                  </a:lnTo>
                  <a:lnTo>
                    <a:pt x="612" y="47"/>
                  </a:lnTo>
                  <a:lnTo>
                    <a:pt x="616" y="49"/>
                  </a:lnTo>
                  <a:lnTo>
                    <a:pt x="620" y="50"/>
                  </a:lnTo>
                  <a:lnTo>
                    <a:pt x="620" y="52"/>
                  </a:lnTo>
                  <a:lnTo>
                    <a:pt x="621" y="50"/>
                  </a:lnTo>
                  <a:lnTo>
                    <a:pt x="625" y="50"/>
                  </a:lnTo>
                  <a:lnTo>
                    <a:pt x="627" y="50"/>
                  </a:lnTo>
                  <a:lnTo>
                    <a:pt x="627" y="52"/>
                  </a:lnTo>
                  <a:lnTo>
                    <a:pt x="629" y="52"/>
                  </a:lnTo>
                  <a:lnTo>
                    <a:pt x="633" y="50"/>
                  </a:lnTo>
                  <a:lnTo>
                    <a:pt x="635" y="50"/>
                  </a:lnTo>
                  <a:lnTo>
                    <a:pt x="638" y="50"/>
                  </a:lnTo>
                  <a:lnTo>
                    <a:pt x="644" y="47"/>
                  </a:lnTo>
                  <a:lnTo>
                    <a:pt x="646" y="45"/>
                  </a:lnTo>
                  <a:lnTo>
                    <a:pt x="650" y="43"/>
                  </a:lnTo>
                  <a:lnTo>
                    <a:pt x="650" y="45"/>
                  </a:lnTo>
                  <a:lnTo>
                    <a:pt x="652" y="49"/>
                  </a:lnTo>
                  <a:lnTo>
                    <a:pt x="655" y="50"/>
                  </a:lnTo>
                  <a:lnTo>
                    <a:pt x="655" y="50"/>
                  </a:lnTo>
                  <a:lnTo>
                    <a:pt x="653" y="54"/>
                  </a:lnTo>
                  <a:lnTo>
                    <a:pt x="653" y="54"/>
                  </a:lnTo>
                  <a:lnTo>
                    <a:pt x="655" y="56"/>
                  </a:lnTo>
                  <a:lnTo>
                    <a:pt x="655" y="58"/>
                  </a:lnTo>
                  <a:lnTo>
                    <a:pt x="655" y="60"/>
                  </a:lnTo>
                  <a:lnTo>
                    <a:pt x="650" y="64"/>
                  </a:lnTo>
                  <a:lnTo>
                    <a:pt x="644" y="67"/>
                  </a:lnTo>
                  <a:lnTo>
                    <a:pt x="644" y="64"/>
                  </a:lnTo>
                  <a:lnTo>
                    <a:pt x="640" y="64"/>
                  </a:lnTo>
                  <a:lnTo>
                    <a:pt x="638" y="62"/>
                  </a:lnTo>
                  <a:lnTo>
                    <a:pt x="637" y="64"/>
                  </a:lnTo>
                  <a:lnTo>
                    <a:pt x="637" y="64"/>
                  </a:lnTo>
                  <a:lnTo>
                    <a:pt x="640" y="67"/>
                  </a:lnTo>
                  <a:lnTo>
                    <a:pt x="640" y="69"/>
                  </a:lnTo>
                  <a:lnTo>
                    <a:pt x="640" y="69"/>
                  </a:lnTo>
                  <a:lnTo>
                    <a:pt x="637" y="69"/>
                  </a:lnTo>
                  <a:lnTo>
                    <a:pt x="635" y="67"/>
                  </a:lnTo>
                  <a:lnTo>
                    <a:pt x="633" y="67"/>
                  </a:lnTo>
                  <a:lnTo>
                    <a:pt x="633" y="69"/>
                  </a:lnTo>
                  <a:lnTo>
                    <a:pt x="633" y="69"/>
                  </a:lnTo>
                  <a:lnTo>
                    <a:pt x="637" y="73"/>
                  </a:lnTo>
                  <a:lnTo>
                    <a:pt x="640" y="73"/>
                  </a:lnTo>
                  <a:lnTo>
                    <a:pt x="644" y="73"/>
                  </a:lnTo>
                  <a:lnTo>
                    <a:pt x="646" y="73"/>
                  </a:lnTo>
                  <a:lnTo>
                    <a:pt x="652" y="69"/>
                  </a:lnTo>
                  <a:lnTo>
                    <a:pt x="653" y="69"/>
                  </a:lnTo>
                  <a:lnTo>
                    <a:pt x="655" y="73"/>
                  </a:lnTo>
                  <a:lnTo>
                    <a:pt x="655" y="69"/>
                  </a:lnTo>
                  <a:lnTo>
                    <a:pt x="655" y="69"/>
                  </a:lnTo>
                  <a:lnTo>
                    <a:pt x="659" y="69"/>
                  </a:lnTo>
                  <a:lnTo>
                    <a:pt x="665" y="69"/>
                  </a:lnTo>
                  <a:lnTo>
                    <a:pt x="669" y="69"/>
                  </a:lnTo>
                  <a:lnTo>
                    <a:pt x="669" y="73"/>
                  </a:lnTo>
                  <a:lnTo>
                    <a:pt x="670" y="73"/>
                  </a:lnTo>
                  <a:lnTo>
                    <a:pt x="670" y="73"/>
                  </a:lnTo>
                  <a:lnTo>
                    <a:pt x="674" y="69"/>
                  </a:lnTo>
                  <a:lnTo>
                    <a:pt x="674" y="73"/>
                  </a:lnTo>
                  <a:lnTo>
                    <a:pt x="674" y="73"/>
                  </a:lnTo>
                  <a:lnTo>
                    <a:pt x="678" y="77"/>
                  </a:lnTo>
                  <a:lnTo>
                    <a:pt x="682" y="77"/>
                  </a:lnTo>
                  <a:lnTo>
                    <a:pt x="685" y="79"/>
                  </a:lnTo>
                  <a:lnTo>
                    <a:pt x="685" y="81"/>
                  </a:lnTo>
                  <a:lnTo>
                    <a:pt x="689" y="84"/>
                  </a:lnTo>
                  <a:lnTo>
                    <a:pt x="693" y="86"/>
                  </a:lnTo>
                  <a:lnTo>
                    <a:pt x="695" y="88"/>
                  </a:lnTo>
                  <a:lnTo>
                    <a:pt x="699" y="90"/>
                  </a:lnTo>
                  <a:lnTo>
                    <a:pt x="699" y="94"/>
                  </a:lnTo>
                  <a:lnTo>
                    <a:pt x="695" y="94"/>
                  </a:lnTo>
                  <a:lnTo>
                    <a:pt x="695" y="97"/>
                  </a:lnTo>
                  <a:lnTo>
                    <a:pt x="695" y="97"/>
                  </a:lnTo>
                  <a:lnTo>
                    <a:pt x="693" y="101"/>
                  </a:lnTo>
                  <a:lnTo>
                    <a:pt x="689" y="103"/>
                  </a:lnTo>
                  <a:lnTo>
                    <a:pt x="687" y="103"/>
                  </a:lnTo>
                  <a:lnTo>
                    <a:pt x="685" y="103"/>
                  </a:lnTo>
                  <a:lnTo>
                    <a:pt x="684" y="103"/>
                  </a:lnTo>
                  <a:lnTo>
                    <a:pt x="684" y="107"/>
                  </a:lnTo>
                  <a:lnTo>
                    <a:pt x="684" y="107"/>
                  </a:lnTo>
                  <a:lnTo>
                    <a:pt x="680" y="109"/>
                  </a:lnTo>
                  <a:lnTo>
                    <a:pt x="674" y="111"/>
                  </a:lnTo>
                  <a:lnTo>
                    <a:pt x="670" y="113"/>
                  </a:lnTo>
                  <a:lnTo>
                    <a:pt x="669" y="113"/>
                  </a:lnTo>
                  <a:lnTo>
                    <a:pt x="665" y="113"/>
                  </a:lnTo>
                  <a:lnTo>
                    <a:pt x="663" y="111"/>
                  </a:lnTo>
                  <a:lnTo>
                    <a:pt x="661" y="109"/>
                  </a:lnTo>
                  <a:lnTo>
                    <a:pt x="661" y="109"/>
                  </a:lnTo>
                  <a:lnTo>
                    <a:pt x="661" y="111"/>
                  </a:lnTo>
                  <a:lnTo>
                    <a:pt x="663" y="113"/>
                  </a:lnTo>
                  <a:lnTo>
                    <a:pt x="663" y="114"/>
                  </a:lnTo>
                  <a:lnTo>
                    <a:pt x="659" y="114"/>
                  </a:lnTo>
                  <a:lnTo>
                    <a:pt x="655" y="113"/>
                  </a:lnTo>
                  <a:lnTo>
                    <a:pt x="652" y="114"/>
                  </a:lnTo>
                  <a:lnTo>
                    <a:pt x="650" y="114"/>
                  </a:lnTo>
                  <a:lnTo>
                    <a:pt x="650" y="113"/>
                  </a:lnTo>
                  <a:lnTo>
                    <a:pt x="644" y="113"/>
                  </a:lnTo>
                  <a:lnTo>
                    <a:pt x="644" y="114"/>
                  </a:lnTo>
                  <a:lnTo>
                    <a:pt x="638" y="116"/>
                  </a:lnTo>
                  <a:lnTo>
                    <a:pt x="635" y="116"/>
                  </a:lnTo>
                  <a:lnTo>
                    <a:pt x="633" y="116"/>
                  </a:lnTo>
                  <a:lnTo>
                    <a:pt x="631" y="116"/>
                  </a:lnTo>
                  <a:lnTo>
                    <a:pt x="627" y="114"/>
                  </a:lnTo>
                  <a:lnTo>
                    <a:pt x="625" y="114"/>
                  </a:lnTo>
                  <a:lnTo>
                    <a:pt x="623" y="116"/>
                  </a:lnTo>
                  <a:lnTo>
                    <a:pt x="620" y="116"/>
                  </a:lnTo>
                  <a:lnTo>
                    <a:pt x="616" y="116"/>
                  </a:lnTo>
                  <a:lnTo>
                    <a:pt x="614" y="113"/>
                  </a:lnTo>
                  <a:lnTo>
                    <a:pt x="612" y="113"/>
                  </a:lnTo>
                  <a:lnTo>
                    <a:pt x="610" y="111"/>
                  </a:lnTo>
                  <a:lnTo>
                    <a:pt x="606" y="111"/>
                  </a:lnTo>
                  <a:lnTo>
                    <a:pt x="603" y="111"/>
                  </a:lnTo>
                  <a:lnTo>
                    <a:pt x="601" y="109"/>
                  </a:lnTo>
                  <a:lnTo>
                    <a:pt x="597" y="111"/>
                  </a:lnTo>
                  <a:lnTo>
                    <a:pt x="595" y="111"/>
                  </a:lnTo>
                  <a:lnTo>
                    <a:pt x="591" y="109"/>
                  </a:lnTo>
                  <a:lnTo>
                    <a:pt x="589" y="109"/>
                  </a:lnTo>
                  <a:lnTo>
                    <a:pt x="588" y="113"/>
                  </a:lnTo>
                  <a:lnTo>
                    <a:pt x="584" y="113"/>
                  </a:lnTo>
                  <a:lnTo>
                    <a:pt x="580" y="113"/>
                  </a:lnTo>
                  <a:lnTo>
                    <a:pt x="576" y="114"/>
                  </a:lnTo>
                  <a:lnTo>
                    <a:pt x="576" y="114"/>
                  </a:lnTo>
                  <a:lnTo>
                    <a:pt x="574" y="114"/>
                  </a:lnTo>
                  <a:lnTo>
                    <a:pt x="574" y="111"/>
                  </a:lnTo>
                  <a:lnTo>
                    <a:pt x="573" y="111"/>
                  </a:lnTo>
                  <a:lnTo>
                    <a:pt x="571" y="111"/>
                  </a:lnTo>
                  <a:lnTo>
                    <a:pt x="567" y="111"/>
                  </a:lnTo>
                  <a:lnTo>
                    <a:pt x="567" y="111"/>
                  </a:lnTo>
                  <a:lnTo>
                    <a:pt x="567" y="111"/>
                  </a:lnTo>
                  <a:lnTo>
                    <a:pt x="567" y="113"/>
                  </a:lnTo>
                  <a:lnTo>
                    <a:pt x="571" y="113"/>
                  </a:lnTo>
                  <a:lnTo>
                    <a:pt x="571" y="113"/>
                  </a:lnTo>
                  <a:lnTo>
                    <a:pt x="573" y="114"/>
                  </a:lnTo>
                  <a:lnTo>
                    <a:pt x="571" y="118"/>
                  </a:lnTo>
                  <a:lnTo>
                    <a:pt x="571" y="118"/>
                  </a:lnTo>
                  <a:lnTo>
                    <a:pt x="567" y="118"/>
                  </a:lnTo>
                  <a:lnTo>
                    <a:pt x="565" y="118"/>
                  </a:lnTo>
                  <a:lnTo>
                    <a:pt x="563" y="120"/>
                  </a:lnTo>
                  <a:lnTo>
                    <a:pt x="557" y="122"/>
                  </a:lnTo>
                  <a:lnTo>
                    <a:pt x="554" y="122"/>
                  </a:lnTo>
                  <a:lnTo>
                    <a:pt x="552" y="124"/>
                  </a:lnTo>
                  <a:lnTo>
                    <a:pt x="550" y="126"/>
                  </a:lnTo>
                  <a:lnTo>
                    <a:pt x="546" y="128"/>
                  </a:lnTo>
                  <a:lnTo>
                    <a:pt x="542" y="128"/>
                  </a:lnTo>
                  <a:lnTo>
                    <a:pt x="539" y="128"/>
                  </a:lnTo>
                  <a:lnTo>
                    <a:pt x="539" y="128"/>
                  </a:lnTo>
                  <a:lnTo>
                    <a:pt x="537" y="131"/>
                  </a:lnTo>
                  <a:lnTo>
                    <a:pt x="537" y="133"/>
                  </a:lnTo>
                  <a:lnTo>
                    <a:pt x="539" y="137"/>
                  </a:lnTo>
                  <a:lnTo>
                    <a:pt x="539" y="137"/>
                  </a:lnTo>
                  <a:lnTo>
                    <a:pt x="539" y="141"/>
                  </a:lnTo>
                  <a:lnTo>
                    <a:pt x="539" y="143"/>
                  </a:lnTo>
                  <a:lnTo>
                    <a:pt x="542" y="143"/>
                  </a:lnTo>
                  <a:lnTo>
                    <a:pt x="542" y="141"/>
                  </a:lnTo>
                  <a:lnTo>
                    <a:pt x="542" y="137"/>
                  </a:lnTo>
                  <a:lnTo>
                    <a:pt x="546" y="137"/>
                  </a:lnTo>
                  <a:lnTo>
                    <a:pt x="548" y="137"/>
                  </a:lnTo>
                  <a:lnTo>
                    <a:pt x="552" y="133"/>
                  </a:lnTo>
                  <a:lnTo>
                    <a:pt x="554" y="133"/>
                  </a:lnTo>
                  <a:lnTo>
                    <a:pt x="557" y="133"/>
                  </a:lnTo>
                  <a:lnTo>
                    <a:pt x="557" y="133"/>
                  </a:lnTo>
                  <a:lnTo>
                    <a:pt x="561" y="128"/>
                  </a:lnTo>
                  <a:lnTo>
                    <a:pt x="567" y="128"/>
                  </a:lnTo>
                  <a:lnTo>
                    <a:pt x="573" y="126"/>
                  </a:lnTo>
                  <a:lnTo>
                    <a:pt x="576" y="126"/>
                  </a:lnTo>
                  <a:lnTo>
                    <a:pt x="576" y="128"/>
                  </a:lnTo>
                  <a:lnTo>
                    <a:pt x="574" y="128"/>
                  </a:lnTo>
                  <a:lnTo>
                    <a:pt x="576" y="128"/>
                  </a:lnTo>
                  <a:lnTo>
                    <a:pt x="578" y="128"/>
                  </a:lnTo>
                  <a:lnTo>
                    <a:pt x="578" y="126"/>
                  </a:lnTo>
                  <a:lnTo>
                    <a:pt x="582" y="122"/>
                  </a:lnTo>
                  <a:lnTo>
                    <a:pt x="584" y="120"/>
                  </a:lnTo>
                  <a:lnTo>
                    <a:pt x="588" y="122"/>
                  </a:lnTo>
                  <a:lnTo>
                    <a:pt x="589" y="122"/>
                  </a:lnTo>
                  <a:lnTo>
                    <a:pt x="591" y="122"/>
                  </a:lnTo>
                  <a:lnTo>
                    <a:pt x="597" y="122"/>
                  </a:lnTo>
                  <a:lnTo>
                    <a:pt x="601" y="124"/>
                  </a:lnTo>
                  <a:lnTo>
                    <a:pt x="605" y="124"/>
                  </a:lnTo>
                  <a:lnTo>
                    <a:pt x="614" y="124"/>
                  </a:lnTo>
                  <a:lnTo>
                    <a:pt x="616" y="124"/>
                  </a:lnTo>
                  <a:lnTo>
                    <a:pt x="620" y="126"/>
                  </a:lnTo>
                  <a:lnTo>
                    <a:pt x="625" y="128"/>
                  </a:lnTo>
                  <a:lnTo>
                    <a:pt x="631" y="128"/>
                  </a:lnTo>
                  <a:lnTo>
                    <a:pt x="635" y="128"/>
                  </a:lnTo>
                  <a:lnTo>
                    <a:pt x="635" y="128"/>
                  </a:lnTo>
                  <a:lnTo>
                    <a:pt x="637" y="131"/>
                  </a:lnTo>
                  <a:lnTo>
                    <a:pt x="637" y="133"/>
                  </a:lnTo>
                  <a:lnTo>
                    <a:pt x="633" y="133"/>
                  </a:lnTo>
                  <a:lnTo>
                    <a:pt x="633" y="137"/>
                  </a:lnTo>
                  <a:lnTo>
                    <a:pt x="631" y="139"/>
                  </a:lnTo>
                  <a:lnTo>
                    <a:pt x="629" y="141"/>
                  </a:lnTo>
                  <a:lnTo>
                    <a:pt x="620" y="141"/>
                  </a:lnTo>
                  <a:lnTo>
                    <a:pt x="616" y="143"/>
                  </a:lnTo>
                  <a:lnTo>
                    <a:pt x="616" y="145"/>
                  </a:lnTo>
                  <a:lnTo>
                    <a:pt x="614" y="143"/>
                  </a:lnTo>
                  <a:lnTo>
                    <a:pt x="612" y="143"/>
                  </a:lnTo>
                  <a:lnTo>
                    <a:pt x="612" y="146"/>
                  </a:lnTo>
                  <a:lnTo>
                    <a:pt x="612" y="148"/>
                  </a:lnTo>
                  <a:lnTo>
                    <a:pt x="610" y="152"/>
                  </a:lnTo>
                  <a:lnTo>
                    <a:pt x="612" y="154"/>
                  </a:lnTo>
                  <a:lnTo>
                    <a:pt x="612" y="154"/>
                  </a:lnTo>
                  <a:lnTo>
                    <a:pt x="616" y="152"/>
                  </a:lnTo>
                  <a:lnTo>
                    <a:pt x="620" y="152"/>
                  </a:lnTo>
                  <a:lnTo>
                    <a:pt x="623" y="150"/>
                  </a:lnTo>
                  <a:lnTo>
                    <a:pt x="623" y="150"/>
                  </a:lnTo>
                  <a:lnTo>
                    <a:pt x="631" y="150"/>
                  </a:lnTo>
                  <a:lnTo>
                    <a:pt x="631" y="150"/>
                  </a:lnTo>
                  <a:lnTo>
                    <a:pt x="638" y="152"/>
                  </a:lnTo>
                  <a:lnTo>
                    <a:pt x="640" y="152"/>
                  </a:lnTo>
                  <a:lnTo>
                    <a:pt x="640" y="154"/>
                  </a:lnTo>
                  <a:lnTo>
                    <a:pt x="644" y="152"/>
                  </a:lnTo>
                  <a:lnTo>
                    <a:pt x="644" y="150"/>
                  </a:lnTo>
                  <a:lnTo>
                    <a:pt x="644" y="150"/>
                  </a:lnTo>
                  <a:lnTo>
                    <a:pt x="650" y="150"/>
                  </a:lnTo>
                  <a:lnTo>
                    <a:pt x="650" y="152"/>
                  </a:lnTo>
                  <a:lnTo>
                    <a:pt x="653" y="148"/>
                  </a:lnTo>
                  <a:lnTo>
                    <a:pt x="653" y="143"/>
                  </a:lnTo>
                  <a:lnTo>
                    <a:pt x="653" y="137"/>
                  </a:lnTo>
                  <a:lnTo>
                    <a:pt x="655" y="137"/>
                  </a:lnTo>
                  <a:lnTo>
                    <a:pt x="655" y="133"/>
                  </a:lnTo>
                  <a:lnTo>
                    <a:pt x="655" y="133"/>
                  </a:lnTo>
                  <a:lnTo>
                    <a:pt x="657" y="131"/>
                  </a:lnTo>
                  <a:lnTo>
                    <a:pt x="663" y="131"/>
                  </a:lnTo>
                  <a:lnTo>
                    <a:pt x="665" y="131"/>
                  </a:lnTo>
                  <a:lnTo>
                    <a:pt x="670" y="131"/>
                  </a:lnTo>
                  <a:lnTo>
                    <a:pt x="674" y="131"/>
                  </a:lnTo>
                  <a:lnTo>
                    <a:pt x="676" y="131"/>
                  </a:lnTo>
                  <a:lnTo>
                    <a:pt x="678" y="133"/>
                  </a:lnTo>
                  <a:lnTo>
                    <a:pt x="678" y="141"/>
                  </a:lnTo>
                  <a:lnTo>
                    <a:pt x="678" y="145"/>
                  </a:lnTo>
                  <a:lnTo>
                    <a:pt x="674" y="148"/>
                  </a:lnTo>
                  <a:lnTo>
                    <a:pt x="670" y="156"/>
                  </a:lnTo>
                  <a:lnTo>
                    <a:pt x="670" y="158"/>
                  </a:lnTo>
                  <a:lnTo>
                    <a:pt x="670" y="162"/>
                  </a:lnTo>
                  <a:lnTo>
                    <a:pt x="659" y="171"/>
                  </a:lnTo>
                  <a:lnTo>
                    <a:pt x="657" y="171"/>
                  </a:lnTo>
                  <a:lnTo>
                    <a:pt x="655" y="171"/>
                  </a:lnTo>
                  <a:lnTo>
                    <a:pt x="653" y="173"/>
                  </a:lnTo>
                  <a:lnTo>
                    <a:pt x="652" y="175"/>
                  </a:lnTo>
                  <a:lnTo>
                    <a:pt x="650" y="173"/>
                  </a:lnTo>
                  <a:lnTo>
                    <a:pt x="646" y="175"/>
                  </a:lnTo>
                  <a:lnTo>
                    <a:pt x="644" y="178"/>
                  </a:lnTo>
                  <a:lnTo>
                    <a:pt x="644" y="180"/>
                  </a:lnTo>
                  <a:lnTo>
                    <a:pt x="640" y="182"/>
                  </a:lnTo>
                  <a:lnTo>
                    <a:pt x="640" y="186"/>
                  </a:lnTo>
                  <a:lnTo>
                    <a:pt x="638" y="184"/>
                  </a:lnTo>
                  <a:lnTo>
                    <a:pt x="637" y="184"/>
                  </a:lnTo>
                  <a:lnTo>
                    <a:pt x="637" y="186"/>
                  </a:lnTo>
                  <a:lnTo>
                    <a:pt x="637" y="188"/>
                  </a:lnTo>
                  <a:lnTo>
                    <a:pt x="635" y="188"/>
                  </a:lnTo>
                  <a:lnTo>
                    <a:pt x="631" y="195"/>
                  </a:lnTo>
                  <a:lnTo>
                    <a:pt x="629" y="197"/>
                  </a:lnTo>
                  <a:lnTo>
                    <a:pt x="627" y="201"/>
                  </a:lnTo>
                  <a:lnTo>
                    <a:pt x="621" y="203"/>
                  </a:lnTo>
                  <a:lnTo>
                    <a:pt x="620" y="207"/>
                  </a:lnTo>
                  <a:lnTo>
                    <a:pt x="616" y="207"/>
                  </a:lnTo>
                  <a:lnTo>
                    <a:pt x="612" y="210"/>
                  </a:lnTo>
                  <a:lnTo>
                    <a:pt x="612" y="212"/>
                  </a:lnTo>
                  <a:lnTo>
                    <a:pt x="608" y="212"/>
                  </a:lnTo>
                  <a:lnTo>
                    <a:pt x="608" y="216"/>
                  </a:lnTo>
                  <a:lnTo>
                    <a:pt x="608" y="220"/>
                  </a:lnTo>
                  <a:lnTo>
                    <a:pt x="606" y="222"/>
                  </a:lnTo>
                  <a:lnTo>
                    <a:pt x="608" y="226"/>
                  </a:lnTo>
                  <a:lnTo>
                    <a:pt x="608" y="222"/>
                  </a:lnTo>
                  <a:lnTo>
                    <a:pt x="610" y="220"/>
                  </a:lnTo>
                  <a:lnTo>
                    <a:pt x="614" y="216"/>
                  </a:lnTo>
                  <a:lnTo>
                    <a:pt x="616" y="212"/>
                  </a:lnTo>
                  <a:lnTo>
                    <a:pt x="620" y="210"/>
                  </a:lnTo>
                  <a:lnTo>
                    <a:pt x="620" y="210"/>
                  </a:lnTo>
                  <a:lnTo>
                    <a:pt x="620" y="210"/>
                  </a:lnTo>
                  <a:lnTo>
                    <a:pt x="623" y="207"/>
                  </a:lnTo>
                  <a:lnTo>
                    <a:pt x="631" y="203"/>
                  </a:lnTo>
                  <a:lnTo>
                    <a:pt x="633" y="201"/>
                  </a:lnTo>
                  <a:lnTo>
                    <a:pt x="633" y="201"/>
                  </a:lnTo>
                  <a:lnTo>
                    <a:pt x="638" y="195"/>
                  </a:lnTo>
                  <a:lnTo>
                    <a:pt x="644" y="188"/>
                  </a:lnTo>
                  <a:lnTo>
                    <a:pt x="644" y="188"/>
                  </a:lnTo>
                  <a:lnTo>
                    <a:pt x="650" y="188"/>
                  </a:lnTo>
                  <a:lnTo>
                    <a:pt x="650" y="188"/>
                  </a:lnTo>
                  <a:lnTo>
                    <a:pt x="653" y="188"/>
                  </a:lnTo>
                  <a:lnTo>
                    <a:pt x="653" y="186"/>
                  </a:lnTo>
                  <a:lnTo>
                    <a:pt x="657" y="186"/>
                  </a:lnTo>
                  <a:lnTo>
                    <a:pt x="663" y="186"/>
                  </a:lnTo>
                  <a:lnTo>
                    <a:pt x="669" y="182"/>
                  </a:lnTo>
                  <a:lnTo>
                    <a:pt x="670" y="178"/>
                  </a:lnTo>
                  <a:lnTo>
                    <a:pt x="674" y="178"/>
                  </a:lnTo>
                  <a:lnTo>
                    <a:pt x="676" y="177"/>
                  </a:lnTo>
                  <a:lnTo>
                    <a:pt x="678" y="175"/>
                  </a:lnTo>
                  <a:lnTo>
                    <a:pt x="682" y="175"/>
                  </a:lnTo>
                  <a:lnTo>
                    <a:pt x="684" y="171"/>
                  </a:lnTo>
                  <a:lnTo>
                    <a:pt x="689" y="167"/>
                  </a:lnTo>
                  <a:lnTo>
                    <a:pt x="689" y="162"/>
                  </a:lnTo>
                  <a:lnTo>
                    <a:pt x="689" y="162"/>
                  </a:lnTo>
                  <a:lnTo>
                    <a:pt x="693" y="158"/>
                  </a:lnTo>
                  <a:lnTo>
                    <a:pt x="693" y="158"/>
                  </a:lnTo>
                  <a:lnTo>
                    <a:pt x="695" y="156"/>
                  </a:lnTo>
                  <a:lnTo>
                    <a:pt x="695" y="158"/>
                  </a:lnTo>
                  <a:lnTo>
                    <a:pt x="695" y="162"/>
                  </a:lnTo>
                  <a:lnTo>
                    <a:pt x="695" y="162"/>
                  </a:lnTo>
                  <a:lnTo>
                    <a:pt x="695" y="167"/>
                  </a:lnTo>
                  <a:lnTo>
                    <a:pt x="699" y="167"/>
                  </a:lnTo>
                  <a:lnTo>
                    <a:pt x="699" y="171"/>
                  </a:lnTo>
                  <a:lnTo>
                    <a:pt x="695" y="173"/>
                  </a:lnTo>
                  <a:lnTo>
                    <a:pt x="699" y="175"/>
                  </a:lnTo>
                  <a:lnTo>
                    <a:pt x="699" y="173"/>
                  </a:lnTo>
                  <a:lnTo>
                    <a:pt x="699" y="171"/>
                  </a:lnTo>
                  <a:lnTo>
                    <a:pt x="701" y="167"/>
                  </a:lnTo>
                  <a:lnTo>
                    <a:pt x="699" y="167"/>
                  </a:lnTo>
                  <a:lnTo>
                    <a:pt x="699" y="163"/>
                  </a:lnTo>
                  <a:lnTo>
                    <a:pt x="701" y="162"/>
                  </a:lnTo>
                  <a:lnTo>
                    <a:pt x="702" y="162"/>
                  </a:lnTo>
                  <a:lnTo>
                    <a:pt x="702" y="167"/>
                  </a:lnTo>
                  <a:lnTo>
                    <a:pt x="704" y="167"/>
                  </a:lnTo>
                  <a:lnTo>
                    <a:pt x="708" y="167"/>
                  </a:lnTo>
                  <a:lnTo>
                    <a:pt x="712" y="167"/>
                  </a:lnTo>
                  <a:lnTo>
                    <a:pt x="712" y="163"/>
                  </a:lnTo>
                  <a:lnTo>
                    <a:pt x="712" y="162"/>
                  </a:lnTo>
                  <a:lnTo>
                    <a:pt x="712" y="162"/>
                  </a:lnTo>
                  <a:lnTo>
                    <a:pt x="714" y="162"/>
                  </a:lnTo>
                  <a:lnTo>
                    <a:pt x="716" y="158"/>
                  </a:lnTo>
                  <a:lnTo>
                    <a:pt x="716" y="154"/>
                  </a:lnTo>
                  <a:lnTo>
                    <a:pt x="716" y="152"/>
                  </a:lnTo>
                  <a:lnTo>
                    <a:pt x="716" y="150"/>
                  </a:lnTo>
                  <a:lnTo>
                    <a:pt x="717" y="148"/>
                  </a:lnTo>
                  <a:lnTo>
                    <a:pt x="719" y="150"/>
                  </a:lnTo>
                  <a:lnTo>
                    <a:pt x="723" y="152"/>
                  </a:lnTo>
                  <a:lnTo>
                    <a:pt x="727" y="150"/>
                  </a:lnTo>
                  <a:lnTo>
                    <a:pt x="727" y="148"/>
                  </a:lnTo>
                  <a:lnTo>
                    <a:pt x="733" y="146"/>
                  </a:lnTo>
                  <a:lnTo>
                    <a:pt x="736" y="146"/>
                  </a:lnTo>
                  <a:lnTo>
                    <a:pt x="738" y="146"/>
                  </a:lnTo>
                  <a:lnTo>
                    <a:pt x="744" y="146"/>
                  </a:lnTo>
                  <a:lnTo>
                    <a:pt x="748" y="150"/>
                  </a:lnTo>
                  <a:lnTo>
                    <a:pt x="751" y="152"/>
                  </a:lnTo>
                  <a:lnTo>
                    <a:pt x="757" y="152"/>
                  </a:lnTo>
                  <a:lnTo>
                    <a:pt x="759" y="154"/>
                  </a:lnTo>
                  <a:lnTo>
                    <a:pt x="761" y="156"/>
                  </a:lnTo>
                  <a:lnTo>
                    <a:pt x="765" y="156"/>
                  </a:lnTo>
                  <a:lnTo>
                    <a:pt x="768" y="158"/>
                  </a:lnTo>
                  <a:lnTo>
                    <a:pt x="768" y="162"/>
                  </a:lnTo>
                  <a:lnTo>
                    <a:pt x="768" y="162"/>
                  </a:lnTo>
                  <a:lnTo>
                    <a:pt x="776" y="167"/>
                  </a:lnTo>
                  <a:lnTo>
                    <a:pt x="776" y="171"/>
                  </a:lnTo>
                  <a:lnTo>
                    <a:pt x="778" y="171"/>
                  </a:lnTo>
                  <a:lnTo>
                    <a:pt x="781" y="177"/>
                  </a:lnTo>
                  <a:lnTo>
                    <a:pt x="778" y="180"/>
                  </a:lnTo>
                  <a:lnTo>
                    <a:pt x="776" y="184"/>
                  </a:lnTo>
                  <a:lnTo>
                    <a:pt x="772" y="184"/>
                  </a:lnTo>
                  <a:lnTo>
                    <a:pt x="772" y="188"/>
                  </a:lnTo>
                  <a:lnTo>
                    <a:pt x="768" y="188"/>
                  </a:lnTo>
                  <a:lnTo>
                    <a:pt x="768" y="188"/>
                  </a:lnTo>
                  <a:lnTo>
                    <a:pt x="765" y="192"/>
                  </a:lnTo>
                  <a:lnTo>
                    <a:pt x="761" y="197"/>
                  </a:lnTo>
                  <a:lnTo>
                    <a:pt x="759" y="201"/>
                  </a:lnTo>
                  <a:lnTo>
                    <a:pt x="757" y="201"/>
                  </a:lnTo>
                  <a:lnTo>
                    <a:pt x="757" y="201"/>
                  </a:lnTo>
                  <a:lnTo>
                    <a:pt x="751" y="197"/>
                  </a:lnTo>
                  <a:lnTo>
                    <a:pt x="748" y="197"/>
                  </a:lnTo>
                  <a:lnTo>
                    <a:pt x="744" y="197"/>
                  </a:lnTo>
                  <a:lnTo>
                    <a:pt x="744" y="201"/>
                  </a:lnTo>
                  <a:lnTo>
                    <a:pt x="744" y="203"/>
                  </a:lnTo>
                  <a:lnTo>
                    <a:pt x="744" y="203"/>
                  </a:lnTo>
                  <a:lnTo>
                    <a:pt x="744" y="205"/>
                  </a:lnTo>
                  <a:lnTo>
                    <a:pt x="748" y="209"/>
                  </a:lnTo>
                  <a:lnTo>
                    <a:pt x="748" y="209"/>
                  </a:lnTo>
                  <a:lnTo>
                    <a:pt x="748" y="212"/>
                  </a:lnTo>
                  <a:lnTo>
                    <a:pt x="748" y="214"/>
                  </a:lnTo>
                  <a:lnTo>
                    <a:pt x="744" y="214"/>
                  </a:lnTo>
                  <a:lnTo>
                    <a:pt x="742" y="214"/>
                  </a:lnTo>
                  <a:lnTo>
                    <a:pt x="736" y="218"/>
                  </a:lnTo>
                  <a:lnTo>
                    <a:pt x="733" y="220"/>
                  </a:lnTo>
                  <a:lnTo>
                    <a:pt x="731" y="220"/>
                  </a:lnTo>
                  <a:lnTo>
                    <a:pt x="727" y="220"/>
                  </a:lnTo>
                  <a:lnTo>
                    <a:pt x="727" y="218"/>
                  </a:lnTo>
                  <a:lnTo>
                    <a:pt x="723" y="218"/>
                  </a:lnTo>
                  <a:lnTo>
                    <a:pt x="719" y="218"/>
                  </a:lnTo>
                  <a:lnTo>
                    <a:pt x="719" y="216"/>
                  </a:lnTo>
                  <a:lnTo>
                    <a:pt x="717" y="216"/>
                  </a:lnTo>
                  <a:lnTo>
                    <a:pt x="716" y="214"/>
                  </a:lnTo>
                  <a:lnTo>
                    <a:pt x="714" y="214"/>
                  </a:lnTo>
                  <a:lnTo>
                    <a:pt x="714" y="214"/>
                  </a:lnTo>
                  <a:lnTo>
                    <a:pt x="712" y="216"/>
                  </a:lnTo>
                  <a:lnTo>
                    <a:pt x="712" y="216"/>
                  </a:lnTo>
                  <a:lnTo>
                    <a:pt x="708" y="216"/>
                  </a:lnTo>
                  <a:lnTo>
                    <a:pt x="708" y="218"/>
                  </a:lnTo>
                  <a:lnTo>
                    <a:pt x="706" y="220"/>
                  </a:lnTo>
                  <a:lnTo>
                    <a:pt x="704" y="220"/>
                  </a:lnTo>
                  <a:lnTo>
                    <a:pt x="702" y="218"/>
                  </a:lnTo>
                  <a:lnTo>
                    <a:pt x="701" y="220"/>
                  </a:lnTo>
                  <a:lnTo>
                    <a:pt x="699" y="222"/>
                  </a:lnTo>
                  <a:lnTo>
                    <a:pt x="695" y="220"/>
                  </a:lnTo>
                  <a:lnTo>
                    <a:pt x="693" y="220"/>
                  </a:lnTo>
                  <a:lnTo>
                    <a:pt x="689" y="220"/>
                  </a:lnTo>
                  <a:lnTo>
                    <a:pt x="685" y="222"/>
                  </a:lnTo>
                  <a:lnTo>
                    <a:pt x="682" y="222"/>
                  </a:lnTo>
                  <a:lnTo>
                    <a:pt x="680" y="222"/>
                  </a:lnTo>
                  <a:lnTo>
                    <a:pt x="682" y="222"/>
                  </a:lnTo>
                  <a:lnTo>
                    <a:pt x="685" y="222"/>
                  </a:lnTo>
                  <a:lnTo>
                    <a:pt x="693" y="222"/>
                  </a:lnTo>
                  <a:lnTo>
                    <a:pt x="695" y="222"/>
                  </a:lnTo>
                  <a:lnTo>
                    <a:pt x="699" y="222"/>
                  </a:lnTo>
                  <a:lnTo>
                    <a:pt x="701" y="222"/>
                  </a:lnTo>
                  <a:lnTo>
                    <a:pt x="704" y="222"/>
                  </a:lnTo>
                  <a:lnTo>
                    <a:pt x="712" y="222"/>
                  </a:lnTo>
                  <a:lnTo>
                    <a:pt x="716" y="226"/>
                  </a:lnTo>
                  <a:lnTo>
                    <a:pt x="716" y="226"/>
                  </a:lnTo>
                  <a:lnTo>
                    <a:pt x="719" y="222"/>
                  </a:lnTo>
                  <a:lnTo>
                    <a:pt x="719" y="222"/>
                  </a:lnTo>
                  <a:lnTo>
                    <a:pt x="723" y="226"/>
                  </a:lnTo>
                  <a:lnTo>
                    <a:pt x="723" y="226"/>
                  </a:lnTo>
                  <a:lnTo>
                    <a:pt x="727" y="226"/>
                  </a:lnTo>
                  <a:lnTo>
                    <a:pt x="729" y="231"/>
                  </a:lnTo>
                  <a:lnTo>
                    <a:pt x="729" y="231"/>
                  </a:lnTo>
                  <a:lnTo>
                    <a:pt x="727" y="235"/>
                  </a:lnTo>
                  <a:lnTo>
                    <a:pt x="723" y="235"/>
                  </a:lnTo>
                  <a:lnTo>
                    <a:pt x="723" y="235"/>
                  </a:lnTo>
                  <a:lnTo>
                    <a:pt x="723" y="237"/>
                  </a:lnTo>
                  <a:lnTo>
                    <a:pt x="723" y="239"/>
                  </a:lnTo>
                  <a:lnTo>
                    <a:pt x="719" y="241"/>
                  </a:lnTo>
                  <a:lnTo>
                    <a:pt x="714" y="243"/>
                  </a:lnTo>
                  <a:lnTo>
                    <a:pt x="710" y="243"/>
                  </a:lnTo>
                  <a:lnTo>
                    <a:pt x="706" y="244"/>
                  </a:lnTo>
                  <a:lnTo>
                    <a:pt x="699" y="243"/>
                  </a:lnTo>
                  <a:lnTo>
                    <a:pt x="699" y="241"/>
                  </a:lnTo>
                  <a:lnTo>
                    <a:pt x="691" y="235"/>
                  </a:lnTo>
                  <a:lnTo>
                    <a:pt x="685" y="235"/>
                  </a:lnTo>
                  <a:lnTo>
                    <a:pt x="684" y="235"/>
                  </a:lnTo>
                  <a:lnTo>
                    <a:pt x="680" y="237"/>
                  </a:lnTo>
                  <a:lnTo>
                    <a:pt x="678" y="243"/>
                  </a:lnTo>
                  <a:lnTo>
                    <a:pt x="674" y="244"/>
                  </a:lnTo>
                  <a:lnTo>
                    <a:pt x="674" y="246"/>
                  </a:lnTo>
                  <a:lnTo>
                    <a:pt x="670" y="246"/>
                  </a:lnTo>
                  <a:lnTo>
                    <a:pt x="674" y="248"/>
                  </a:lnTo>
                  <a:lnTo>
                    <a:pt x="674" y="248"/>
                  </a:lnTo>
                  <a:lnTo>
                    <a:pt x="674" y="250"/>
                  </a:lnTo>
                  <a:lnTo>
                    <a:pt x="674" y="252"/>
                  </a:lnTo>
                  <a:lnTo>
                    <a:pt x="674" y="252"/>
                  </a:lnTo>
                  <a:lnTo>
                    <a:pt x="670" y="252"/>
                  </a:lnTo>
                  <a:lnTo>
                    <a:pt x="670" y="256"/>
                  </a:lnTo>
                  <a:lnTo>
                    <a:pt x="674" y="258"/>
                  </a:lnTo>
                  <a:lnTo>
                    <a:pt x="676" y="258"/>
                  </a:lnTo>
                  <a:lnTo>
                    <a:pt x="678" y="258"/>
                  </a:lnTo>
                  <a:lnTo>
                    <a:pt x="680" y="256"/>
                  </a:lnTo>
                  <a:lnTo>
                    <a:pt x="684" y="256"/>
                  </a:lnTo>
                  <a:lnTo>
                    <a:pt x="685" y="252"/>
                  </a:lnTo>
                  <a:lnTo>
                    <a:pt x="689" y="250"/>
                  </a:lnTo>
                  <a:lnTo>
                    <a:pt x="695" y="248"/>
                  </a:lnTo>
                  <a:lnTo>
                    <a:pt x="699" y="246"/>
                  </a:lnTo>
                  <a:lnTo>
                    <a:pt x="702" y="246"/>
                  </a:lnTo>
                  <a:lnTo>
                    <a:pt x="704" y="248"/>
                  </a:lnTo>
                  <a:lnTo>
                    <a:pt x="706" y="250"/>
                  </a:lnTo>
                  <a:lnTo>
                    <a:pt x="708" y="250"/>
                  </a:lnTo>
                  <a:lnTo>
                    <a:pt x="712" y="252"/>
                  </a:lnTo>
                  <a:lnTo>
                    <a:pt x="712" y="252"/>
                  </a:lnTo>
                  <a:lnTo>
                    <a:pt x="710" y="256"/>
                  </a:lnTo>
                  <a:lnTo>
                    <a:pt x="706" y="258"/>
                  </a:lnTo>
                  <a:lnTo>
                    <a:pt x="704" y="261"/>
                  </a:lnTo>
                  <a:lnTo>
                    <a:pt x="701" y="265"/>
                  </a:lnTo>
                  <a:lnTo>
                    <a:pt x="701" y="267"/>
                  </a:lnTo>
                  <a:lnTo>
                    <a:pt x="695" y="273"/>
                  </a:lnTo>
                  <a:lnTo>
                    <a:pt x="693" y="276"/>
                  </a:lnTo>
                  <a:lnTo>
                    <a:pt x="687" y="286"/>
                  </a:lnTo>
                  <a:lnTo>
                    <a:pt x="685" y="290"/>
                  </a:lnTo>
                  <a:lnTo>
                    <a:pt x="682" y="291"/>
                  </a:lnTo>
                  <a:lnTo>
                    <a:pt x="682" y="295"/>
                  </a:lnTo>
                  <a:lnTo>
                    <a:pt x="680" y="301"/>
                  </a:lnTo>
                  <a:lnTo>
                    <a:pt x="680" y="303"/>
                  </a:lnTo>
                  <a:lnTo>
                    <a:pt x="678" y="305"/>
                  </a:lnTo>
                  <a:lnTo>
                    <a:pt x="678" y="310"/>
                  </a:lnTo>
                  <a:lnTo>
                    <a:pt x="676" y="316"/>
                  </a:lnTo>
                  <a:lnTo>
                    <a:pt x="674" y="322"/>
                  </a:lnTo>
                  <a:lnTo>
                    <a:pt x="676" y="324"/>
                  </a:lnTo>
                  <a:lnTo>
                    <a:pt x="676" y="327"/>
                  </a:lnTo>
                  <a:lnTo>
                    <a:pt x="676" y="333"/>
                  </a:lnTo>
                  <a:lnTo>
                    <a:pt x="674" y="335"/>
                  </a:lnTo>
                  <a:lnTo>
                    <a:pt x="670" y="337"/>
                  </a:lnTo>
                  <a:lnTo>
                    <a:pt x="670" y="342"/>
                  </a:lnTo>
                  <a:lnTo>
                    <a:pt x="670" y="344"/>
                  </a:lnTo>
                  <a:lnTo>
                    <a:pt x="670" y="346"/>
                  </a:lnTo>
                  <a:lnTo>
                    <a:pt x="670" y="350"/>
                  </a:lnTo>
                  <a:lnTo>
                    <a:pt x="669" y="354"/>
                  </a:lnTo>
                  <a:lnTo>
                    <a:pt x="665" y="359"/>
                  </a:lnTo>
                  <a:lnTo>
                    <a:pt x="663" y="356"/>
                  </a:lnTo>
                  <a:lnTo>
                    <a:pt x="661" y="354"/>
                  </a:lnTo>
                  <a:lnTo>
                    <a:pt x="661" y="352"/>
                  </a:lnTo>
                  <a:lnTo>
                    <a:pt x="659" y="350"/>
                  </a:lnTo>
                  <a:lnTo>
                    <a:pt x="657" y="350"/>
                  </a:lnTo>
                  <a:lnTo>
                    <a:pt x="661" y="350"/>
                  </a:lnTo>
                  <a:lnTo>
                    <a:pt x="659" y="346"/>
                  </a:lnTo>
                  <a:lnTo>
                    <a:pt x="657" y="346"/>
                  </a:lnTo>
                  <a:lnTo>
                    <a:pt x="655" y="346"/>
                  </a:lnTo>
                  <a:lnTo>
                    <a:pt x="653" y="346"/>
                  </a:lnTo>
                  <a:lnTo>
                    <a:pt x="652" y="350"/>
                  </a:lnTo>
                  <a:lnTo>
                    <a:pt x="652" y="350"/>
                  </a:lnTo>
                  <a:lnTo>
                    <a:pt x="653" y="350"/>
                  </a:lnTo>
                  <a:lnTo>
                    <a:pt x="653" y="352"/>
                  </a:lnTo>
                  <a:lnTo>
                    <a:pt x="652" y="354"/>
                  </a:lnTo>
                  <a:lnTo>
                    <a:pt x="652" y="356"/>
                  </a:lnTo>
                  <a:lnTo>
                    <a:pt x="653" y="359"/>
                  </a:lnTo>
                  <a:lnTo>
                    <a:pt x="655" y="359"/>
                  </a:lnTo>
                  <a:lnTo>
                    <a:pt x="657" y="363"/>
                  </a:lnTo>
                  <a:lnTo>
                    <a:pt x="659" y="365"/>
                  </a:lnTo>
                  <a:lnTo>
                    <a:pt x="661" y="369"/>
                  </a:lnTo>
                  <a:lnTo>
                    <a:pt x="665" y="371"/>
                  </a:lnTo>
                  <a:lnTo>
                    <a:pt x="669" y="371"/>
                  </a:lnTo>
                  <a:lnTo>
                    <a:pt x="670" y="376"/>
                  </a:lnTo>
                  <a:lnTo>
                    <a:pt x="674" y="380"/>
                  </a:lnTo>
                  <a:lnTo>
                    <a:pt x="670" y="380"/>
                  </a:lnTo>
                  <a:lnTo>
                    <a:pt x="670" y="384"/>
                  </a:lnTo>
                  <a:lnTo>
                    <a:pt x="665" y="380"/>
                  </a:lnTo>
                  <a:lnTo>
                    <a:pt x="663" y="376"/>
                  </a:lnTo>
                  <a:lnTo>
                    <a:pt x="663" y="374"/>
                  </a:lnTo>
                  <a:lnTo>
                    <a:pt x="659" y="374"/>
                  </a:lnTo>
                  <a:lnTo>
                    <a:pt x="659" y="371"/>
                  </a:lnTo>
                  <a:lnTo>
                    <a:pt x="657" y="374"/>
                  </a:lnTo>
                  <a:lnTo>
                    <a:pt x="657" y="376"/>
                  </a:lnTo>
                  <a:lnTo>
                    <a:pt x="657" y="376"/>
                  </a:lnTo>
                  <a:lnTo>
                    <a:pt x="659" y="380"/>
                  </a:lnTo>
                  <a:lnTo>
                    <a:pt x="659" y="380"/>
                  </a:lnTo>
                  <a:lnTo>
                    <a:pt x="657" y="380"/>
                  </a:lnTo>
                  <a:lnTo>
                    <a:pt x="655" y="380"/>
                  </a:lnTo>
                  <a:lnTo>
                    <a:pt x="655" y="380"/>
                  </a:lnTo>
                  <a:lnTo>
                    <a:pt x="655" y="384"/>
                  </a:lnTo>
                  <a:lnTo>
                    <a:pt x="659" y="384"/>
                  </a:lnTo>
                  <a:lnTo>
                    <a:pt x="657" y="386"/>
                  </a:lnTo>
                  <a:lnTo>
                    <a:pt x="657" y="386"/>
                  </a:lnTo>
                  <a:lnTo>
                    <a:pt x="657" y="388"/>
                  </a:lnTo>
                  <a:lnTo>
                    <a:pt x="661" y="388"/>
                  </a:lnTo>
                  <a:lnTo>
                    <a:pt x="665" y="388"/>
                  </a:lnTo>
                  <a:lnTo>
                    <a:pt x="665" y="389"/>
                  </a:lnTo>
                  <a:lnTo>
                    <a:pt x="665" y="393"/>
                  </a:lnTo>
                  <a:lnTo>
                    <a:pt x="665" y="393"/>
                  </a:lnTo>
                  <a:lnTo>
                    <a:pt x="665" y="395"/>
                  </a:lnTo>
                  <a:lnTo>
                    <a:pt x="669" y="395"/>
                  </a:lnTo>
                  <a:lnTo>
                    <a:pt x="670" y="391"/>
                  </a:lnTo>
                  <a:lnTo>
                    <a:pt x="674" y="388"/>
                  </a:lnTo>
                  <a:lnTo>
                    <a:pt x="674" y="388"/>
                  </a:lnTo>
                  <a:lnTo>
                    <a:pt x="674" y="389"/>
                  </a:lnTo>
                  <a:lnTo>
                    <a:pt x="674" y="391"/>
                  </a:lnTo>
                  <a:lnTo>
                    <a:pt x="676" y="391"/>
                  </a:lnTo>
                  <a:lnTo>
                    <a:pt x="678" y="393"/>
                  </a:lnTo>
                  <a:lnTo>
                    <a:pt x="682" y="393"/>
                  </a:lnTo>
                  <a:lnTo>
                    <a:pt x="682" y="397"/>
                  </a:lnTo>
                  <a:lnTo>
                    <a:pt x="682" y="399"/>
                  </a:lnTo>
                  <a:lnTo>
                    <a:pt x="680" y="401"/>
                  </a:lnTo>
                  <a:lnTo>
                    <a:pt x="680" y="406"/>
                  </a:lnTo>
                  <a:lnTo>
                    <a:pt x="680" y="410"/>
                  </a:lnTo>
                  <a:lnTo>
                    <a:pt x="680" y="410"/>
                  </a:lnTo>
                  <a:lnTo>
                    <a:pt x="678" y="416"/>
                  </a:lnTo>
                  <a:lnTo>
                    <a:pt x="676" y="418"/>
                  </a:lnTo>
                  <a:lnTo>
                    <a:pt x="676" y="421"/>
                  </a:lnTo>
                  <a:lnTo>
                    <a:pt x="674" y="423"/>
                  </a:lnTo>
                  <a:lnTo>
                    <a:pt x="674" y="423"/>
                  </a:lnTo>
                  <a:lnTo>
                    <a:pt x="674" y="420"/>
                  </a:lnTo>
                  <a:lnTo>
                    <a:pt x="670" y="418"/>
                  </a:lnTo>
                  <a:lnTo>
                    <a:pt x="669" y="416"/>
                  </a:lnTo>
                  <a:lnTo>
                    <a:pt x="665" y="416"/>
                  </a:lnTo>
                  <a:lnTo>
                    <a:pt x="665" y="416"/>
                  </a:lnTo>
                  <a:lnTo>
                    <a:pt x="661" y="416"/>
                  </a:lnTo>
                  <a:lnTo>
                    <a:pt x="661" y="414"/>
                  </a:lnTo>
                  <a:lnTo>
                    <a:pt x="661" y="410"/>
                  </a:lnTo>
                  <a:lnTo>
                    <a:pt x="659" y="410"/>
                  </a:lnTo>
                  <a:lnTo>
                    <a:pt x="657" y="410"/>
                  </a:lnTo>
                  <a:lnTo>
                    <a:pt x="657" y="410"/>
                  </a:lnTo>
                  <a:lnTo>
                    <a:pt x="655" y="410"/>
                  </a:lnTo>
                  <a:lnTo>
                    <a:pt x="652" y="406"/>
                  </a:lnTo>
                  <a:lnTo>
                    <a:pt x="650" y="406"/>
                  </a:lnTo>
                  <a:lnTo>
                    <a:pt x="646" y="408"/>
                  </a:lnTo>
                  <a:lnTo>
                    <a:pt x="646" y="410"/>
                  </a:lnTo>
                  <a:lnTo>
                    <a:pt x="650" y="410"/>
                  </a:lnTo>
                  <a:lnTo>
                    <a:pt x="644" y="410"/>
                  </a:lnTo>
                  <a:lnTo>
                    <a:pt x="644" y="410"/>
                  </a:lnTo>
                  <a:lnTo>
                    <a:pt x="640" y="410"/>
                  </a:lnTo>
                  <a:lnTo>
                    <a:pt x="638" y="410"/>
                  </a:lnTo>
                  <a:lnTo>
                    <a:pt x="640" y="410"/>
                  </a:lnTo>
                  <a:lnTo>
                    <a:pt x="640" y="410"/>
                  </a:lnTo>
                  <a:lnTo>
                    <a:pt x="644" y="414"/>
                  </a:lnTo>
                  <a:lnTo>
                    <a:pt x="646" y="414"/>
                  </a:lnTo>
                  <a:lnTo>
                    <a:pt x="644" y="414"/>
                  </a:lnTo>
                  <a:lnTo>
                    <a:pt x="644" y="414"/>
                  </a:lnTo>
                  <a:lnTo>
                    <a:pt x="640" y="418"/>
                  </a:lnTo>
                  <a:lnTo>
                    <a:pt x="637" y="421"/>
                  </a:lnTo>
                  <a:lnTo>
                    <a:pt x="635" y="420"/>
                  </a:lnTo>
                  <a:lnTo>
                    <a:pt x="633" y="418"/>
                  </a:lnTo>
                  <a:lnTo>
                    <a:pt x="633" y="416"/>
                  </a:lnTo>
                  <a:lnTo>
                    <a:pt x="633" y="414"/>
                  </a:lnTo>
                  <a:lnTo>
                    <a:pt x="631" y="416"/>
                  </a:lnTo>
                  <a:lnTo>
                    <a:pt x="631" y="418"/>
                  </a:lnTo>
                  <a:lnTo>
                    <a:pt x="631" y="421"/>
                  </a:lnTo>
                  <a:lnTo>
                    <a:pt x="631" y="423"/>
                  </a:lnTo>
                  <a:lnTo>
                    <a:pt x="631" y="423"/>
                  </a:lnTo>
                  <a:lnTo>
                    <a:pt x="631" y="427"/>
                  </a:lnTo>
                  <a:lnTo>
                    <a:pt x="631" y="429"/>
                  </a:lnTo>
                  <a:lnTo>
                    <a:pt x="631" y="429"/>
                  </a:lnTo>
                  <a:lnTo>
                    <a:pt x="631" y="431"/>
                  </a:lnTo>
                  <a:lnTo>
                    <a:pt x="631" y="433"/>
                  </a:lnTo>
                  <a:lnTo>
                    <a:pt x="627" y="431"/>
                  </a:lnTo>
                  <a:lnTo>
                    <a:pt x="623" y="431"/>
                  </a:lnTo>
                  <a:lnTo>
                    <a:pt x="623" y="433"/>
                  </a:lnTo>
                  <a:lnTo>
                    <a:pt x="625" y="435"/>
                  </a:lnTo>
                  <a:lnTo>
                    <a:pt x="627" y="435"/>
                  </a:lnTo>
                  <a:lnTo>
                    <a:pt x="633" y="435"/>
                  </a:lnTo>
                  <a:lnTo>
                    <a:pt x="633" y="435"/>
                  </a:lnTo>
                  <a:lnTo>
                    <a:pt x="633" y="438"/>
                  </a:lnTo>
                  <a:lnTo>
                    <a:pt x="633" y="440"/>
                  </a:lnTo>
                  <a:lnTo>
                    <a:pt x="635" y="440"/>
                  </a:lnTo>
                  <a:lnTo>
                    <a:pt x="635" y="440"/>
                  </a:lnTo>
                  <a:lnTo>
                    <a:pt x="638" y="440"/>
                  </a:lnTo>
                  <a:lnTo>
                    <a:pt x="640" y="440"/>
                  </a:lnTo>
                  <a:lnTo>
                    <a:pt x="644" y="440"/>
                  </a:lnTo>
                  <a:lnTo>
                    <a:pt x="646" y="440"/>
                  </a:lnTo>
                  <a:lnTo>
                    <a:pt x="650" y="440"/>
                  </a:lnTo>
                  <a:lnTo>
                    <a:pt x="652" y="440"/>
                  </a:lnTo>
                  <a:lnTo>
                    <a:pt x="653" y="440"/>
                  </a:lnTo>
                  <a:lnTo>
                    <a:pt x="655" y="440"/>
                  </a:lnTo>
                  <a:lnTo>
                    <a:pt x="655" y="444"/>
                  </a:lnTo>
                  <a:lnTo>
                    <a:pt x="655" y="446"/>
                  </a:lnTo>
                  <a:lnTo>
                    <a:pt x="655" y="448"/>
                  </a:lnTo>
                  <a:lnTo>
                    <a:pt x="655" y="450"/>
                  </a:lnTo>
                  <a:lnTo>
                    <a:pt x="653" y="450"/>
                  </a:lnTo>
                  <a:lnTo>
                    <a:pt x="652" y="450"/>
                  </a:lnTo>
                  <a:lnTo>
                    <a:pt x="650" y="448"/>
                  </a:lnTo>
                  <a:lnTo>
                    <a:pt x="646" y="450"/>
                  </a:lnTo>
                  <a:lnTo>
                    <a:pt x="644" y="450"/>
                  </a:lnTo>
                  <a:lnTo>
                    <a:pt x="644" y="448"/>
                  </a:lnTo>
                  <a:lnTo>
                    <a:pt x="638" y="450"/>
                  </a:lnTo>
                  <a:lnTo>
                    <a:pt x="635" y="450"/>
                  </a:lnTo>
                  <a:lnTo>
                    <a:pt x="633" y="450"/>
                  </a:lnTo>
                  <a:lnTo>
                    <a:pt x="631" y="448"/>
                  </a:lnTo>
                  <a:lnTo>
                    <a:pt x="631" y="450"/>
                  </a:lnTo>
                  <a:lnTo>
                    <a:pt x="631" y="452"/>
                  </a:lnTo>
                  <a:lnTo>
                    <a:pt x="633" y="452"/>
                  </a:lnTo>
                  <a:lnTo>
                    <a:pt x="635" y="452"/>
                  </a:lnTo>
                  <a:lnTo>
                    <a:pt x="638" y="452"/>
                  </a:lnTo>
                  <a:lnTo>
                    <a:pt x="644" y="452"/>
                  </a:lnTo>
                  <a:lnTo>
                    <a:pt x="644" y="453"/>
                  </a:lnTo>
                  <a:lnTo>
                    <a:pt x="646" y="455"/>
                  </a:lnTo>
                  <a:lnTo>
                    <a:pt x="650" y="455"/>
                  </a:lnTo>
                  <a:lnTo>
                    <a:pt x="652" y="457"/>
                  </a:lnTo>
                  <a:lnTo>
                    <a:pt x="653" y="459"/>
                  </a:lnTo>
                  <a:lnTo>
                    <a:pt x="655" y="461"/>
                  </a:lnTo>
                  <a:lnTo>
                    <a:pt x="659" y="465"/>
                  </a:lnTo>
                  <a:lnTo>
                    <a:pt x="659" y="465"/>
                  </a:lnTo>
                  <a:lnTo>
                    <a:pt x="659" y="465"/>
                  </a:lnTo>
                  <a:lnTo>
                    <a:pt x="655" y="465"/>
                  </a:lnTo>
                  <a:lnTo>
                    <a:pt x="655" y="465"/>
                  </a:lnTo>
                  <a:lnTo>
                    <a:pt x="655" y="465"/>
                  </a:lnTo>
                  <a:lnTo>
                    <a:pt x="653" y="469"/>
                  </a:lnTo>
                  <a:lnTo>
                    <a:pt x="655" y="470"/>
                  </a:lnTo>
                  <a:lnTo>
                    <a:pt x="655" y="474"/>
                  </a:lnTo>
                  <a:lnTo>
                    <a:pt x="655" y="478"/>
                  </a:lnTo>
                  <a:lnTo>
                    <a:pt x="655" y="480"/>
                  </a:lnTo>
                  <a:lnTo>
                    <a:pt x="655" y="482"/>
                  </a:lnTo>
                  <a:lnTo>
                    <a:pt x="655" y="484"/>
                  </a:lnTo>
                  <a:lnTo>
                    <a:pt x="652" y="489"/>
                  </a:lnTo>
                  <a:lnTo>
                    <a:pt x="650" y="493"/>
                  </a:lnTo>
                  <a:lnTo>
                    <a:pt x="650" y="493"/>
                  </a:lnTo>
                  <a:lnTo>
                    <a:pt x="646" y="491"/>
                  </a:lnTo>
                  <a:lnTo>
                    <a:pt x="644" y="487"/>
                  </a:lnTo>
                  <a:lnTo>
                    <a:pt x="650" y="486"/>
                  </a:lnTo>
                  <a:lnTo>
                    <a:pt x="646" y="484"/>
                  </a:lnTo>
                  <a:lnTo>
                    <a:pt x="644" y="484"/>
                  </a:lnTo>
                  <a:lnTo>
                    <a:pt x="644" y="484"/>
                  </a:lnTo>
                  <a:lnTo>
                    <a:pt x="640" y="484"/>
                  </a:lnTo>
                  <a:lnTo>
                    <a:pt x="638" y="478"/>
                  </a:lnTo>
                  <a:lnTo>
                    <a:pt x="635" y="478"/>
                  </a:lnTo>
                  <a:lnTo>
                    <a:pt x="631" y="474"/>
                  </a:lnTo>
                  <a:lnTo>
                    <a:pt x="631" y="470"/>
                  </a:lnTo>
                  <a:lnTo>
                    <a:pt x="629" y="469"/>
                  </a:lnTo>
                  <a:lnTo>
                    <a:pt x="625" y="465"/>
                  </a:lnTo>
                  <a:lnTo>
                    <a:pt x="623" y="463"/>
                  </a:lnTo>
                  <a:lnTo>
                    <a:pt x="621" y="463"/>
                  </a:lnTo>
                  <a:lnTo>
                    <a:pt x="621" y="465"/>
                  </a:lnTo>
                  <a:lnTo>
                    <a:pt x="623" y="465"/>
                  </a:lnTo>
                  <a:lnTo>
                    <a:pt x="627" y="469"/>
                  </a:lnTo>
                  <a:lnTo>
                    <a:pt x="627" y="470"/>
                  </a:lnTo>
                  <a:lnTo>
                    <a:pt x="625" y="470"/>
                  </a:lnTo>
                  <a:lnTo>
                    <a:pt x="621" y="470"/>
                  </a:lnTo>
                  <a:lnTo>
                    <a:pt x="620" y="469"/>
                  </a:lnTo>
                  <a:lnTo>
                    <a:pt x="616" y="465"/>
                  </a:lnTo>
                  <a:lnTo>
                    <a:pt x="616" y="465"/>
                  </a:lnTo>
                  <a:lnTo>
                    <a:pt x="616" y="465"/>
                  </a:lnTo>
                  <a:lnTo>
                    <a:pt x="616" y="469"/>
                  </a:lnTo>
                  <a:lnTo>
                    <a:pt x="620" y="474"/>
                  </a:lnTo>
                  <a:lnTo>
                    <a:pt x="623" y="474"/>
                  </a:lnTo>
                  <a:lnTo>
                    <a:pt x="629" y="474"/>
                  </a:lnTo>
                  <a:lnTo>
                    <a:pt x="635" y="478"/>
                  </a:lnTo>
                  <a:lnTo>
                    <a:pt x="640" y="486"/>
                  </a:lnTo>
                  <a:lnTo>
                    <a:pt x="640" y="487"/>
                  </a:lnTo>
                  <a:lnTo>
                    <a:pt x="640" y="489"/>
                  </a:lnTo>
                  <a:lnTo>
                    <a:pt x="640" y="489"/>
                  </a:lnTo>
                  <a:lnTo>
                    <a:pt x="637" y="487"/>
                  </a:lnTo>
                  <a:lnTo>
                    <a:pt x="635" y="487"/>
                  </a:lnTo>
                  <a:lnTo>
                    <a:pt x="631" y="489"/>
                  </a:lnTo>
                  <a:lnTo>
                    <a:pt x="627" y="493"/>
                  </a:lnTo>
                  <a:lnTo>
                    <a:pt x="625" y="493"/>
                  </a:lnTo>
                  <a:lnTo>
                    <a:pt x="623" y="491"/>
                  </a:lnTo>
                  <a:lnTo>
                    <a:pt x="621" y="489"/>
                  </a:lnTo>
                  <a:lnTo>
                    <a:pt x="621" y="487"/>
                  </a:lnTo>
                  <a:lnTo>
                    <a:pt x="621" y="486"/>
                  </a:lnTo>
                  <a:lnTo>
                    <a:pt x="620" y="484"/>
                  </a:lnTo>
                  <a:lnTo>
                    <a:pt x="620" y="487"/>
                  </a:lnTo>
                  <a:lnTo>
                    <a:pt x="620" y="489"/>
                  </a:lnTo>
                  <a:lnTo>
                    <a:pt x="621" y="493"/>
                  </a:lnTo>
                  <a:lnTo>
                    <a:pt x="621" y="495"/>
                  </a:lnTo>
                  <a:lnTo>
                    <a:pt x="625" y="495"/>
                  </a:lnTo>
                  <a:lnTo>
                    <a:pt x="629" y="495"/>
                  </a:lnTo>
                  <a:lnTo>
                    <a:pt x="633" y="491"/>
                  </a:lnTo>
                  <a:lnTo>
                    <a:pt x="635" y="491"/>
                  </a:lnTo>
                  <a:lnTo>
                    <a:pt x="638" y="493"/>
                  </a:lnTo>
                  <a:lnTo>
                    <a:pt x="638" y="495"/>
                  </a:lnTo>
                  <a:lnTo>
                    <a:pt x="638" y="497"/>
                  </a:lnTo>
                  <a:lnTo>
                    <a:pt x="637" y="502"/>
                  </a:lnTo>
                  <a:lnTo>
                    <a:pt x="637" y="504"/>
                  </a:lnTo>
                  <a:lnTo>
                    <a:pt x="635" y="504"/>
                  </a:lnTo>
                  <a:lnTo>
                    <a:pt x="635" y="504"/>
                  </a:lnTo>
                  <a:lnTo>
                    <a:pt x="637" y="508"/>
                  </a:lnTo>
                  <a:lnTo>
                    <a:pt x="638" y="508"/>
                  </a:lnTo>
                  <a:lnTo>
                    <a:pt x="640" y="508"/>
                  </a:lnTo>
                  <a:lnTo>
                    <a:pt x="644" y="510"/>
                  </a:lnTo>
                  <a:lnTo>
                    <a:pt x="650" y="512"/>
                  </a:lnTo>
                  <a:lnTo>
                    <a:pt x="650" y="510"/>
                  </a:lnTo>
                  <a:lnTo>
                    <a:pt x="652" y="510"/>
                  </a:lnTo>
                  <a:lnTo>
                    <a:pt x="655" y="510"/>
                  </a:lnTo>
                  <a:lnTo>
                    <a:pt x="655" y="512"/>
                  </a:lnTo>
                  <a:lnTo>
                    <a:pt x="653" y="514"/>
                  </a:lnTo>
                  <a:lnTo>
                    <a:pt x="653" y="516"/>
                  </a:lnTo>
                  <a:lnTo>
                    <a:pt x="655" y="519"/>
                  </a:lnTo>
                  <a:lnTo>
                    <a:pt x="655" y="521"/>
                  </a:lnTo>
                  <a:lnTo>
                    <a:pt x="652" y="527"/>
                  </a:lnTo>
                  <a:lnTo>
                    <a:pt x="646" y="529"/>
                  </a:lnTo>
                  <a:lnTo>
                    <a:pt x="644" y="529"/>
                  </a:lnTo>
                  <a:lnTo>
                    <a:pt x="644" y="527"/>
                  </a:lnTo>
                  <a:lnTo>
                    <a:pt x="644" y="525"/>
                  </a:lnTo>
                  <a:lnTo>
                    <a:pt x="640" y="523"/>
                  </a:lnTo>
                  <a:lnTo>
                    <a:pt x="640" y="519"/>
                  </a:lnTo>
                  <a:lnTo>
                    <a:pt x="638" y="516"/>
                  </a:lnTo>
                  <a:lnTo>
                    <a:pt x="635" y="516"/>
                  </a:lnTo>
                  <a:lnTo>
                    <a:pt x="633" y="514"/>
                  </a:lnTo>
                  <a:lnTo>
                    <a:pt x="629" y="512"/>
                  </a:lnTo>
                  <a:lnTo>
                    <a:pt x="627" y="514"/>
                  </a:lnTo>
                  <a:lnTo>
                    <a:pt x="625" y="514"/>
                  </a:lnTo>
                  <a:lnTo>
                    <a:pt x="623" y="514"/>
                  </a:lnTo>
                  <a:lnTo>
                    <a:pt x="621" y="510"/>
                  </a:lnTo>
                  <a:lnTo>
                    <a:pt x="620" y="508"/>
                  </a:lnTo>
                  <a:lnTo>
                    <a:pt x="620" y="508"/>
                  </a:lnTo>
                  <a:lnTo>
                    <a:pt x="620" y="510"/>
                  </a:lnTo>
                  <a:lnTo>
                    <a:pt x="620" y="512"/>
                  </a:lnTo>
                  <a:lnTo>
                    <a:pt x="620" y="516"/>
                  </a:lnTo>
                  <a:lnTo>
                    <a:pt x="620" y="519"/>
                  </a:lnTo>
                  <a:lnTo>
                    <a:pt x="616" y="521"/>
                  </a:lnTo>
                  <a:lnTo>
                    <a:pt x="616" y="521"/>
                  </a:lnTo>
                  <a:lnTo>
                    <a:pt x="614" y="521"/>
                  </a:lnTo>
                  <a:lnTo>
                    <a:pt x="616" y="521"/>
                  </a:lnTo>
                  <a:lnTo>
                    <a:pt x="616" y="523"/>
                  </a:lnTo>
                  <a:lnTo>
                    <a:pt x="616" y="525"/>
                  </a:lnTo>
                  <a:lnTo>
                    <a:pt x="614" y="529"/>
                  </a:lnTo>
                  <a:lnTo>
                    <a:pt x="612" y="529"/>
                  </a:lnTo>
                  <a:lnTo>
                    <a:pt x="612" y="533"/>
                  </a:lnTo>
                  <a:lnTo>
                    <a:pt x="612" y="533"/>
                  </a:lnTo>
                  <a:lnTo>
                    <a:pt x="614" y="533"/>
                  </a:lnTo>
                  <a:lnTo>
                    <a:pt x="616" y="538"/>
                  </a:lnTo>
                  <a:lnTo>
                    <a:pt x="616" y="538"/>
                  </a:lnTo>
                  <a:lnTo>
                    <a:pt x="620" y="542"/>
                  </a:lnTo>
                  <a:lnTo>
                    <a:pt x="616" y="546"/>
                  </a:lnTo>
                  <a:lnTo>
                    <a:pt x="616" y="548"/>
                  </a:lnTo>
                  <a:lnTo>
                    <a:pt x="620" y="546"/>
                  </a:lnTo>
                  <a:lnTo>
                    <a:pt x="620" y="542"/>
                  </a:lnTo>
                  <a:lnTo>
                    <a:pt x="620" y="540"/>
                  </a:lnTo>
                  <a:lnTo>
                    <a:pt x="620" y="538"/>
                  </a:lnTo>
                  <a:lnTo>
                    <a:pt x="620" y="534"/>
                  </a:lnTo>
                  <a:lnTo>
                    <a:pt x="620" y="533"/>
                  </a:lnTo>
                  <a:lnTo>
                    <a:pt x="620" y="533"/>
                  </a:lnTo>
                  <a:lnTo>
                    <a:pt x="621" y="534"/>
                  </a:lnTo>
                  <a:lnTo>
                    <a:pt x="623" y="538"/>
                  </a:lnTo>
                  <a:lnTo>
                    <a:pt x="625" y="538"/>
                  </a:lnTo>
                  <a:lnTo>
                    <a:pt x="627" y="542"/>
                  </a:lnTo>
                  <a:lnTo>
                    <a:pt x="629" y="540"/>
                  </a:lnTo>
                  <a:lnTo>
                    <a:pt x="629" y="540"/>
                  </a:lnTo>
                  <a:lnTo>
                    <a:pt x="631" y="542"/>
                  </a:lnTo>
                  <a:lnTo>
                    <a:pt x="633" y="540"/>
                  </a:lnTo>
                  <a:lnTo>
                    <a:pt x="635" y="538"/>
                  </a:lnTo>
                  <a:lnTo>
                    <a:pt x="638" y="540"/>
                  </a:lnTo>
                  <a:lnTo>
                    <a:pt x="638" y="542"/>
                  </a:lnTo>
                  <a:lnTo>
                    <a:pt x="638" y="544"/>
                  </a:lnTo>
                  <a:lnTo>
                    <a:pt x="637" y="548"/>
                  </a:lnTo>
                  <a:lnTo>
                    <a:pt x="635" y="551"/>
                  </a:lnTo>
                  <a:lnTo>
                    <a:pt x="635" y="555"/>
                  </a:lnTo>
                  <a:lnTo>
                    <a:pt x="635" y="559"/>
                  </a:lnTo>
                  <a:lnTo>
                    <a:pt x="633" y="559"/>
                  </a:lnTo>
                  <a:lnTo>
                    <a:pt x="629" y="559"/>
                  </a:lnTo>
                  <a:lnTo>
                    <a:pt x="625" y="559"/>
                  </a:lnTo>
                  <a:lnTo>
                    <a:pt x="623" y="559"/>
                  </a:lnTo>
                  <a:lnTo>
                    <a:pt x="621" y="559"/>
                  </a:lnTo>
                  <a:lnTo>
                    <a:pt x="620" y="559"/>
                  </a:lnTo>
                  <a:lnTo>
                    <a:pt x="616" y="559"/>
                  </a:lnTo>
                  <a:lnTo>
                    <a:pt x="616" y="563"/>
                  </a:lnTo>
                  <a:lnTo>
                    <a:pt x="616" y="563"/>
                  </a:lnTo>
                  <a:lnTo>
                    <a:pt x="614" y="563"/>
                  </a:lnTo>
                  <a:lnTo>
                    <a:pt x="612" y="563"/>
                  </a:lnTo>
                  <a:lnTo>
                    <a:pt x="610" y="568"/>
                  </a:lnTo>
                  <a:lnTo>
                    <a:pt x="610" y="568"/>
                  </a:lnTo>
                  <a:lnTo>
                    <a:pt x="608" y="568"/>
                  </a:lnTo>
                  <a:lnTo>
                    <a:pt x="606" y="568"/>
                  </a:lnTo>
                  <a:lnTo>
                    <a:pt x="603" y="567"/>
                  </a:lnTo>
                  <a:lnTo>
                    <a:pt x="597" y="563"/>
                  </a:lnTo>
                  <a:lnTo>
                    <a:pt x="595" y="559"/>
                  </a:lnTo>
                  <a:lnTo>
                    <a:pt x="588" y="553"/>
                  </a:lnTo>
                  <a:lnTo>
                    <a:pt x="588" y="550"/>
                  </a:lnTo>
                  <a:lnTo>
                    <a:pt x="588" y="548"/>
                  </a:lnTo>
                  <a:lnTo>
                    <a:pt x="588" y="548"/>
                  </a:lnTo>
                  <a:lnTo>
                    <a:pt x="589" y="548"/>
                  </a:lnTo>
                  <a:lnTo>
                    <a:pt x="591" y="548"/>
                  </a:lnTo>
                  <a:lnTo>
                    <a:pt x="591" y="550"/>
                  </a:lnTo>
                  <a:lnTo>
                    <a:pt x="597" y="551"/>
                  </a:lnTo>
                  <a:lnTo>
                    <a:pt x="601" y="555"/>
                  </a:lnTo>
                  <a:lnTo>
                    <a:pt x="603" y="555"/>
                  </a:lnTo>
                  <a:lnTo>
                    <a:pt x="608" y="553"/>
                  </a:lnTo>
                  <a:lnTo>
                    <a:pt x="608" y="551"/>
                  </a:lnTo>
                  <a:lnTo>
                    <a:pt x="606" y="551"/>
                  </a:lnTo>
                  <a:lnTo>
                    <a:pt x="605" y="551"/>
                  </a:lnTo>
                  <a:lnTo>
                    <a:pt x="603" y="551"/>
                  </a:lnTo>
                  <a:lnTo>
                    <a:pt x="601" y="551"/>
                  </a:lnTo>
                  <a:lnTo>
                    <a:pt x="595" y="548"/>
                  </a:lnTo>
                  <a:lnTo>
                    <a:pt x="589" y="544"/>
                  </a:lnTo>
                  <a:lnTo>
                    <a:pt x="588" y="544"/>
                  </a:lnTo>
                  <a:lnTo>
                    <a:pt x="588" y="542"/>
                  </a:lnTo>
                  <a:lnTo>
                    <a:pt x="588" y="540"/>
                  </a:lnTo>
                  <a:lnTo>
                    <a:pt x="586" y="540"/>
                  </a:lnTo>
                  <a:lnTo>
                    <a:pt x="584" y="540"/>
                  </a:lnTo>
                  <a:lnTo>
                    <a:pt x="582" y="542"/>
                  </a:lnTo>
                  <a:lnTo>
                    <a:pt x="582" y="546"/>
                  </a:lnTo>
                  <a:lnTo>
                    <a:pt x="582" y="551"/>
                  </a:lnTo>
                  <a:lnTo>
                    <a:pt x="582" y="553"/>
                  </a:lnTo>
                  <a:lnTo>
                    <a:pt x="580" y="555"/>
                  </a:lnTo>
                  <a:lnTo>
                    <a:pt x="580" y="555"/>
                  </a:lnTo>
                  <a:lnTo>
                    <a:pt x="573" y="548"/>
                  </a:lnTo>
                  <a:lnTo>
                    <a:pt x="571" y="540"/>
                  </a:lnTo>
                  <a:lnTo>
                    <a:pt x="571" y="538"/>
                  </a:lnTo>
                  <a:lnTo>
                    <a:pt x="567" y="538"/>
                  </a:lnTo>
                  <a:lnTo>
                    <a:pt x="567" y="534"/>
                  </a:lnTo>
                  <a:lnTo>
                    <a:pt x="567" y="534"/>
                  </a:lnTo>
                  <a:lnTo>
                    <a:pt x="567" y="538"/>
                  </a:lnTo>
                  <a:lnTo>
                    <a:pt x="567" y="538"/>
                  </a:lnTo>
                  <a:lnTo>
                    <a:pt x="567" y="540"/>
                  </a:lnTo>
                  <a:lnTo>
                    <a:pt x="571" y="548"/>
                  </a:lnTo>
                  <a:lnTo>
                    <a:pt x="573" y="550"/>
                  </a:lnTo>
                  <a:lnTo>
                    <a:pt x="574" y="551"/>
                  </a:lnTo>
                  <a:lnTo>
                    <a:pt x="574" y="553"/>
                  </a:lnTo>
                  <a:lnTo>
                    <a:pt x="574" y="555"/>
                  </a:lnTo>
                  <a:lnTo>
                    <a:pt x="573" y="555"/>
                  </a:lnTo>
                  <a:lnTo>
                    <a:pt x="571" y="557"/>
                  </a:lnTo>
                  <a:lnTo>
                    <a:pt x="567" y="559"/>
                  </a:lnTo>
                  <a:lnTo>
                    <a:pt x="567" y="559"/>
                  </a:lnTo>
                  <a:lnTo>
                    <a:pt x="565" y="559"/>
                  </a:lnTo>
                  <a:lnTo>
                    <a:pt x="563" y="563"/>
                  </a:lnTo>
                  <a:lnTo>
                    <a:pt x="557" y="563"/>
                  </a:lnTo>
                  <a:lnTo>
                    <a:pt x="556" y="563"/>
                  </a:lnTo>
                  <a:lnTo>
                    <a:pt x="554" y="559"/>
                  </a:lnTo>
                  <a:lnTo>
                    <a:pt x="552" y="559"/>
                  </a:lnTo>
                  <a:lnTo>
                    <a:pt x="550" y="559"/>
                  </a:lnTo>
                  <a:lnTo>
                    <a:pt x="550" y="559"/>
                  </a:lnTo>
                  <a:lnTo>
                    <a:pt x="546" y="555"/>
                  </a:lnTo>
                  <a:lnTo>
                    <a:pt x="542" y="553"/>
                  </a:lnTo>
                  <a:lnTo>
                    <a:pt x="542" y="551"/>
                  </a:lnTo>
                  <a:lnTo>
                    <a:pt x="542" y="550"/>
                  </a:lnTo>
                  <a:lnTo>
                    <a:pt x="542" y="550"/>
                  </a:lnTo>
                  <a:lnTo>
                    <a:pt x="542" y="550"/>
                  </a:lnTo>
                  <a:lnTo>
                    <a:pt x="542" y="553"/>
                  </a:lnTo>
                  <a:lnTo>
                    <a:pt x="542" y="555"/>
                  </a:lnTo>
                  <a:lnTo>
                    <a:pt x="546" y="557"/>
                  </a:lnTo>
                  <a:lnTo>
                    <a:pt x="548" y="559"/>
                  </a:lnTo>
                  <a:lnTo>
                    <a:pt x="550" y="563"/>
                  </a:lnTo>
                  <a:lnTo>
                    <a:pt x="550" y="563"/>
                  </a:lnTo>
                  <a:lnTo>
                    <a:pt x="548" y="567"/>
                  </a:lnTo>
                  <a:lnTo>
                    <a:pt x="542" y="567"/>
                  </a:lnTo>
                  <a:lnTo>
                    <a:pt x="539" y="563"/>
                  </a:lnTo>
                  <a:lnTo>
                    <a:pt x="537" y="567"/>
                  </a:lnTo>
                  <a:lnTo>
                    <a:pt x="533" y="568"/>
                  </a:lnTo>
                  <a:lnTo>
                    <a:pt x="533" y="568"/>
                  </a:lnTo>
                  <a:lnTo>
                    <a:pt x="537" y="568"/>
                  </a:lnTo>
                  <a:lnTo>
                    <a:pt x="539" y="572"/>
                  </a:lnTo>
                  <a:lnTo>
                    <a:pt x="539" y="572"/>
                  </a:lnTo>
                  <a:lnTo>
                    <a:pt x="539" y="568"/>
                  </a:lnTo>
                  <a:lnTo>
                    <a:pt x="539" y="568"/>
                  </a:lnTo>
                  <a:lnTo>
                    <a:pt x="542" y="568"/>
                  </a:lnTo>
                  <a:lnTo>
                    <a:pt x="542" y="568"/>
                  </a:lnTo>
                  <a:lnTo>
                    <a:pt x="546" y="568"/>
                  </a:lnTo>
                  <a:lnTo>
                    <a:pt x="546" y="568"/>
                  </a:lnTo>
                  <a:lnTo>
                    <a:pt x="548" y="568"/>
                  </a:lnTo>
                  <a:lnTo>
                    <a:pt x="550" y="568"/>
                  </a:lnTo>
                  <a:lnTo>
                    <a:pt x="552" y="567"/>
                  </a:lnTo>
                  <a:lnTo>
                    <a:pt x="554" y="567"/>
                  </a:lnTo>
                  <a:lnTo>
                    <a:pt x="557" y="567"/>
                  </a:lnTo>
                  <a:lnTo>
                    <a:pt x="561" y="567"/>
                  </a:lnTo>
                  <a:lnTo>
                    <a:pt x="563" y="568"/>
                  </a:lnTo>
                  <a:lnTo>
                    <a:pt x="565" y="568"/>
                  </a:lnTo>
                  <a:lnTo>
                    <a:pt x="567" y="568"/>
                  </a:lnTo>
                  <a:lnTo>
                    <a:pt x="571" y="572"/>
                  </a:lnTo>
                  <a:lnTo>
                    <a:pt x="571" y="572"/>
                  </a:lnTo>
                  <a:lnTo>
                    <a:pt x="571" y="574"/>
                  </a:lnTo>
                  <a:lnTo>
                    <a:pt x="571" y="576"/>
                  </a:lnTo>
                  <a:lnTo>
                    <a:pt x="567" y="578"/>
                  </a:lnTo>
                  <a:lnTo>
                    <a:pt x="565" y="578"/>
                  </a:lnTo>
                  <a:lnTo>
                    <a:pt x="561" y="578"/>
                  </a:lnTo>
                  <a:lnTo>
                    <a:pt x="557" y="582"/>
                  </a:lnTo>
                  <a:lnTo>
                    <a:pt x="556" y="582"/>
                  </a:lnTo>
                  <a:lnTo>
                    <a:pt x="554" y="582"/>
                  </a:lnTo>
                  <a:lnTo>
                    <a:pt x="550" y="578"/>
                  </a:lnTo>
                  <a:lnTo>
                    <a:pt x="548" y="576"/>
                  </a:lnTo>
                  <a:lnTo>
                    <a:pt x="546" y="578"/>
                  </a:lnTo>
                  <a:lnTo>
                    <a:pt x="546" y="578"/>
                  </a:lnTo>
                  <a:lnTo>
                    <a:pt x="542" y="580"/>
                  </a:lnTo>
                  <a:lnTo>
                    <a:pt x="542" y="578"/>
                  </a:lnTo>
                  <a:lnTo>
                    <a:pt x="539" y="578"/>
                  </a:lnTo>
                  <a:lnTo>
                    <a:pt x="539" y="580"/>
                  </a:lnTo>
                  <a:lnTo>
                    <a:pt x="542" y="580"/>
                  </a:lnTo>
                  <a:lnTo>
                    <a:pt x="546" y="580"/>
                  </a:lnTo>
                  <a:lnTo>
                    <a:pt x="546" y="580"/>
                  </a:lnTo>
                  <a:lnTo>
                    <a:pt x="548" y="580"/>
                  </a:lnTo>
                  <a:lnTo>
                    <a:pt x="550" y="582"/>
                  </a:lnTo>
                  <a:lnTo>
                    <a:pt x="548" y="583"/>
                  </a:lnTo>
                  <a:lnTo>
                    <a:pt x="546" y="583"/>
                  </a:lnTo>
                  <a:lnTo>
                    <a:pt x="542" y="585"/>
                  </a:lnTo>
                  <a:lnTo>
                    <a:pt x="542" y="587"/>
                  </a:lnTo>
                  <a:lnTo>
                    <a:pt x="542" y="587"/>
                  </a:lnTo>
                  <a:lnTo>
                    <a:pt x="546" y="585"/>
                  </a:lnTo>
                  <a:lnTo>
                    <a:pt x="548" y="585"/>
                  </a:lnTo>
                  <a:lnTo>
                    <a:pt x="550" y="585"/>
                  </a:lnTo>
                  <a:lnTo>
                    <a:pt x="552" y="585"/>
                  </a:lnTo>
                  <a:lnTo>
                    <a:pt x="552" y="589"/>
                  </a:lnTo>
                  <a:lnTo>
                    <a:pt x="552" y="589"/>
                  </a:lnTo>
                  <a:lnTo>
                    <a:pt x="554" y="585"/>
                  </a:lnTo>
                  <a:lnTo>
                    <a:pt x="557" y="585"/>
                  </a:lnTo>
                  <a:lnTo>
                    <a:pt x="557" y="585"/>
                  </a:lnTo>
                  <a:lnTo>
                    <a:pt x="561" y="582"/>
                  </a:lnTo>
                  <a:lnTo>
                    <a:pt x="563" y="582"/>
                  </a:lnTo>
                  <a:lnTo>
                    <a:pt x="565" y="583"/>
                  </a:lnTo>
                  <a:lnTo>
                    <a:pt x="571" y="587"/>
                  </a:lnTo>
                  <a:lnTo>
                    <a:pt x="571" y="587"/>
                  </a:lnTo>
                  <a:lnTo>
                    <a:pt x="571" y="587"/>
                  </a:lnTo>
                  <a:lnTo>
                    <a:pt x="571" y="589"/>
                  </a:lnTo>
                  <a:lnTo>
                    <a:pt x="571" y="597"/>
                  </a:lnTo>
                  <a:lnTo>
                    <a:pt x="571" y="597"/>
                  </a:lnTo>
                  <a:lnTo>
                    <a:pt x="567" y="597"/>
                  </a:lnTo>
                  <a:lnTo>
                    <a:pt x="563" y="597"/>
                  </a:lnTo>
                  <a:lnTo>
                    <a:pt x="561" y="597"/>
                  </a:lnTo>
                  <a:lnTo>
                    <a:pt x="554" y="597"/>
                  </a:lnTo>
                  <a:lnTo>
                    <a:pt x="552" y="597"/>
                  </a:lnTo>
                  <a:lnTo>
                    <a:pt x="550" y="597"/>
                  </a:lnTo>
                  <a:lnTo>
                    <a:pt x="552" y="599"/>
                  </a:lnTo>
                  <a:lnTo>
                    <a:pt x="554" y="597"/>
                  </a:lnTo>
                  <a:lnTo>
                    <a:pt x="557" y="597"/>
                  </a:lnTo>
                  <a:lnTo>
                    <a:pt x="563" y="599"/>
                  </a:lnTo>
                  <a:lnTo>
                    <a:pt x="565" y="602"/>
                  </a:lnTo>
                  <a:lnTo>
                    <a:pt x="565" y="602"/>
                  </a:lnTo>
                  <a:lnTo>
                    <a:pt x="567" y="602"/>
                  </a:lnTo>
                  <a:lnTo>
                    <a:pt x="571" y="599"/>
                  </a:lnTo>
                  <a:lnTo>
                    <a:pt x="573" y="599"/>
                  </a:lnTo>
                  <a:lnTo>
                    <a:pt x="576" y="602"/>
                  </a:lnTo>
                  <a:lnTo>
                    <a:pt x="576" y="602"/>
                  </a:lnTo>
                  <a:lnTo>
                    <a:pt x="584" y="606"/>
                  </a:lnTo>
                  <a:lnTo>
                    <a:pt x="584" y="608"/>
                  </a:lnTo>
                  <a:lnTo>
                    <a:pt x="584" y="610"/>
                  </a:lnTo>
                  <a:lnTo>
                    <a:pt x="586" y="610"/>
                  </a:lnTo>
                  <a:lnTo>
                    <a:pt x="588" y="612"/>
                  </a:lnTo>
                  <a:lnTo>
                    <a:pt x="589" y="612"/>
                  </a:lnTo>
                  <a:lnTo>
                    <a:pt x="591" y="614"/>
                  </a:lnTo>
                  <a:lnTo>
                    <a:pt x="591" y="615"/>
                  </a:lnTo>
                  <a:lnTo>
                    <a:pt x="595" y="617"/>
                  </a:lnTo>
                  <a:lnTo>
                    <a:pt x="595" y="619"/>
                  </a:lnTo>
                  <a:lnTo>
                    <a:pt x="595" y="619"/>
                  </a:lnTo>
                  <a:lnTo>
                    <a:pt x="597" y="621"/>
                  </a:lnTo>
                  <a:lnTo>
                    <a:pt x="599" y="623"/>
                  </a:lnTo>
                  <a:lnTo>
                    <a:pt x="599" y="623"/>
                  </a:lnTo>
                  <a:lnTo>
                    <a:pt x="597" y="627"/>
                  </a:lnTo>
                  <a:lnTo>
                    <a:pt x="595" y="627"/>
                  </a:lnTo>
                  <a:lnTo>
                    <a:pt x="595" y="629"/>
                  </a:lnTo>
                  <a:lnTo>
                    <a:pt x="595" y="632"/>
                  </a:lnTo>
                  <a:lnTo>
                    <a:pt x="595" y="632"/>
                  </a:lnTo>
                  <a:lnTo>
                    <a:pt x="595" y="632"/>
                  </a:lnTo>
                  <a:lnTo>
                    <a:pt x="599" y="627"/>
                  </a:lnTo>
                  <a:lnTo>
                    <a:pt x="601" y="627"/>
                  </a:lnTo>
                  <a:lnTo>
                    <a:pt x="601" y="627"/>
                  </a:lnTo>
                  <a:lnTo>
                    <a:pt x="601" y="629"/>
                  </a:lnTo>
                  <a:lnTo>
                    <a:pt x="599" y="632"/>
                  </a:lnTo>
                  <a:lnTo>
                    <a:pt x="601" y="632"/>
                  </a:lnTo>
                  <a:lnTo>
                    <a:pt x="601" y="629"/>
                  </a:lnTo>
                  <a:lnTo>
                    <a:pt x="603" y="629"/>
                  </a:lnTo>
                  <a:lnTo>
                    <a:pt x="605" y="629"/>
                  </a:lnTo>
                  <a:lnTo>
                    <a:pt x="606" y="632"/>
                  </a:lnTo>
                  <a:lnTo>
                    <a:pt x="606" y="632"/>
                  </a:lnTo>
                  <a:lnTo>
                    <a:pt x="603" y="634"/>
                  </a:lnTo>
                  <a:lnTo>
                    <a:pt x="599" y="636"/>
                  </a:lnTo>
                  <a:lnTo>
                    <a:pt x="599" y="640"/>
                  </a:lnTo>
                  <a:lnTo>
                    <a:pt x="599" y="642"/>
                  </a:lnTo>
                  <a:lnTo>
                    <a:pt x="601" y="644"/>
                  </a:lnTo>
                  <a:lnTo>
                    <a:pt x="599" y="646"/>
                  </a:lnTo>
                  <a:lnTo>
                    <a:pt x="599" y="649"/>
                  </a:lnTo>
                  <a:lnTo>
                    <a:pt x="599" y="651"/>
                  </a:lnTo>
                  <a:lnTo>
                    <a:pt x="601" y="649"/>
                  </a:lnTo>
                  <a:lnTo>
                    <a:pt x="601" y="646"/>
                  </a:lnTo>
                  <a:lnTo>
                    <a:pt x="605" y="640"/>
                  </a:lnTo>
                  <a:lnTo>
                    <a:pt x="606" y="640"/>
                  </a:lnTo>
                  <a:lnTo>
                    <a:pt x="608" y="640"/>
                  </a:lnTo>
                  <a:lnTo>
                    <a:pt x="608" y="640"/>
                  </a:lnTo>
                  <a:lnTo>
                    <a:pt x="606" y="644"/>
                  </a:lnTo>
                  <a:lnTo>
                    <a:pt x="605" y="648"/>
                  </a:lnTo>
                  <a:lnTo>
                    <a:pt x="606" y="649"/>
                  </a:lnTo>
                  <a:lnTo>
                    <a:pt x="608" y="648"/>
                  </a:lnTo>
                  <a:lnTo>
                    <a:pt x="608" y="649"/>
                  </a:lnTo>
                  <a:lnTo>
                    <a:pt x="608" y="653"/>
                  </a:lnTo>
                  <a:lnTo>
                    <a:pt x="606" y="653"/>
                  </a:lnTo>
                  <a:lnTo>
                    <a:pt x="603" y="653"/>
                  </a:lnTo>
                  <a:lnTo>
                    <a:pt x="603" y="657"/>
                  </a:lnTo>
                  <a:lnTo>
                    <a:pt x="603" y="657"/>
                  </a:lnTo>
                  <a:lnTo>
                    <a:pt x="606" y="657"/>
                  </a:lnTo>
                  <a:lnTo>
                    <a:pt x="608" y="657"/>
                  </a:lnTo>
                  <a:lnTo>
                    <a:pt x="606" y="661"/>
                  </a:lnTo>
                  <a:lnTo>
                    <a:pt x="606" y="661"/>
                  </a:lnTo>
                  <a:lnTo>
                    <a:pt x="608" y="661"/>
                  </a:lnTo>
                  <a:lnTo>
                    <a:pt x="608" y="663"/>
                  </a:lnTo>
                  <a:lnTo>
                    <a:pt x="608" y="666"/>
                  </a:lnTo>
                  <a:lnTo>
                    <a:pt x="608" y="668"/>
                  </a:lnTo>
                  <a:lnTo>
                    <a:pt x="606" y="670"/>
                  </a:lnTo>
                  <a:lnTo>
                    <a:pt x="606" y="676"/>
                  </a:lnTo>
                  <a:lnTo>
                    <a:pt x="606" y="678"/>
                  </a:lnTo>
                  <a:lnTo>
                    <a:pt x="606" y="681"/>
                  </a:lnTo>
                  <a:lnTo>
                    <a:pt x="605" y="683"/>
                  </a:lnTo>
                  <a:lnTo>
                    <a:pt x="603" y="683"/>
                  </a:lnTo>
                  <a:lnTo>
                    <a:pt x="603" y="683"/>
                  </a:lnTo>
                  <a:lnTo>
                    <a:pt x="601" y="681"/>
                  </a:lnTo>
                  <a:lnTo>
                    <a:pt x="603" y="678"/>
                  </a:lnTo>
                  <a:lnTo>
                    <a:pt x="601" y="678"/>
                  </a:lnTo>
                  <a:lnTo>
                    <a:pt x="599" y="678"/>
                  </a:lnTo>
                  <a:lnTo>
                    <a:pt x="597" y="678"/>
                  </a:lnTo>
                  <a:lnTo>
                    <a:pt x="595" y="678"/>
                  </a:lnTo>
                  <a:lnTo>
                    <a:pt x="595" y="678"/>
                  </a:lnTo>
                  <a:lnTo>
                    <a:pt x="595" y="676"/>
                  </a:lnTo>
                  <a:lnTo>
                    <a:pt x="595" y="672"/>
                  </a:lnTo>
                  <a:lnTo>
                    <a:pt x="595" y="670"/>
                  </a:lnTo>
                  <a:lnTo>
                    <a:pt x="595" y="666"/>
                  </a:lnTo>
                  <a:lnTo>
                    <a:pt x="595" y="663"/>
                  </a:lnTo>
                  <a:lnTo>
                    <a:pt x="595" y="663"/>
                  </a:lnTo>
                  <a:lnTo>
                    <a:pt x="595" y="663"/>
                  </a:lnTo>
                  <a:lnTo>
                    <a:pt x="591" y="666"/>
                  </a:lnTo>
                  <a:lnTo>
                    <a:pt x="591" y="668"/>
                  </a:lnTo>
                  <a:lnTo>
                    <a:pt x="591" y="672"/>
                  </a:lnTo>
                  <a:lnTo>
                    <a:pt x="591" y="678"/>
                  </a:lnTo>
                  <a:lnTo>
                    <a:pt x="591" y="678"/>
                  </a:lnTo>
                  <a:lnTo>
                    <a:pt x="591" y="678"/>
                  </a:lnTo>
                  <a:lnTo>
                    <a:pt x="589" y="678"/>
                  </a:lnTo>
                  <a:lnTo>
                    <a:pt x="588" y="681"/>
                  </a:lnTo>
                  <a:lnTo>
                    <a:pt x="584" y="681"/>
                  </a:lnTo>
                  <a:lnTo>
                    <a:pt x="582" y="678"/>
                  </a:lnTo>
                  <a:lnTo>
                    <a:pt x="578" y="676"/>
                  </a:lnTo>
                  <a:lnTo>
                    <a:pt x="574" y="670"/>
                  </a:lnTo>
                  <a:lnTo>
                    <a:pt x="573" y="666"/>
                  </a:lnTo>
                  <a:lnTo>
                    <a:pt x="571" y="666"/>
                  </a:lnTo>
                  <a:lnTo>
                    <a:pt x="571" y="661"/>
                  </a:lnTo>
                  <a:lnTo>
                    <a:pt x="567" y="657"/>
                  </a:lnTo>
                  <a:lnTo>
                    <a:pt x="567" y="653"/>
                  </a:lnTo>
                  <a:lnTo>
                    <a:pt x="567" y="651"/>
                  </a:lnTo>
                  <a:lnTo>
                    <a:pt x="567" y="648"/>
                  </a:lnTo>
                  <a:lnTo>
                    <a:pt x="567" y="644"/>
                  </a:lnTo>
                  <a:lnTo>
                    <a:pt x="567" y="642"/>
                  </a:lnTo>
                  <a:lnTo>
                    <a:pt x="567" y="642"/>
                  </a:lnTo>
                  <a:lnTo>
                    <a:pt x="563" y="644"/>
                  </a:lnTo>
                  <a:lnTo>
                    <a:pt x="561" y="646"/>
                  </a:lnTo>
                  <a:lnTo>
                    <a:pt x="557" y="644"/>
                  </a:lnTo>
                  <a:lnTo>
                    <a:pt x="552" y="634"/>
                  </a:lnTo>
                  <a:lnTo>
                    <a:pt x="552" y="632"/>
                  </a:lnTo>
                  <a:lnTo>
                    <a:pt x="550" y="632"/>
                  </a:lnTo>
                  <a:lnTo>
                    <a:pt x="548" y="632"/>
                  </a:lnTo>
                  <a:lnTo>
                    <a:pt x="546" y="632"/>
                  </a:lnTo>
                  <a:lnTo>
                    <a:pt x="542" y="632"/>
                  </a:lnTo>
                  <a:lnTo>
                    <a:pt x="542" y="632"/>
                  </a:lnTo>
                  <a:lnTo>
                    <a:pt x="539" y="632"/>
                  </a:lnTo>
                  <a:lnTo>
                    <a:pt x="537" y="632"/>
                  </a:lnTo>
                  <a:lnTo>
                    <a:pt x="533" y="629"/>
                  </a:lnTo>
                  <a:lnTo>
                    <a:pt x="533" y="627"/>
                  </a:lnTo>
                  <a:lnTo>
                    <a:pt x="531" y="623"/>
                  </a:lnTo>
                  <a:lnTo>
                    <a:pt x="531" y="623"/>
                  </a:lnTo>
                  <a:lnTo>
                    <a:pt x="529" y="619"/>
                  </a:lnTo>
                  <a:lnTo>
                    <a:pt x="527" y="615"/>
                  </a:lnTo>
                  <a:lnTo>
                    <a:pt x="525" y="614"/>
                  </a:lnTo>
                  <a:lnTo>
                    <a:pt x="524" y="615"/>
                  </a:lnTo>
                  <a:lnTo>
                    <a:pt x="525" y="619"/>
                  </a:lnTo>
                  <a:lnTo>
                    <a:pt x="525" y="621"/>
                  </a:lnTo>
                  <a:lnTo>
                    <a:pt x="522" y="623"/>
                  </a:lnTo>
                  <a:lnTo>
                    <a:pt x="522" y="623"/>
                  </a:lnTo>
                  <a:lnTo>
                    <a:pt x="524" y="623"/>
                  </a:lnTo>
                  <a:lnTo>
                    <a:pt x="525" y="623"/>
                  </a:lnTo>
                  <a:lnTo>
                    <a:pt x="527" y="627"/>
                  </a:lnTo>
                  <a:lnTo>
                    <a:pt x="529" y="629"/>
                  </a:lnTo>
                  <a:lnTo>
                    <a:pt x="529" y="632"/>
                  </a:lnTo>
                  <a:lnTo>
                    <a:pt x="524" y="632"/>
                  </a:lnTo>
                  <a:lnTo>
                    <a:pt x="524" y="632"/>
                  </a:lnTo>
                  <a:lnTo>
                    <a:pt x="522" y="634"/>
                  </a:lnTo>
                  <a:lnTo>
                    <a:pt x="518" y="632"/>
                  </a:lnTo>
                  <a:lnTo>
                    <a:pt x="518" y="634"/>
                  </a:lnTo>
                  <a:lnTo>
                    <a:pt x="522" y="636"/>
                  </a:lnTo>
                  <a:lnTo>
                    <a:pt x="524" y="636"/>
                  </a:lnTo>
                  <a:lnTo>
                    <a:pt x="527" y="632"/>
                  </a:lnTo>
                  <a:lnTo>
                    <a:pt x="529" y="632"/>
                  </a:lnTo>
                  <a:lnTo>
                    <a:pt x="533" y="632"/>
                  </a:lnTo>
                  <a:lnTo>
                    <a:pt x="533" y="632"/>
                  </a:lnTo>
                  <a:lnTo>
                    <a:pt x="533" y="634"/>
                  </a:lnTo>
                  <a:lnTo>
                    <a:pt x="533" y="636"/>
                  </a:lnTo>
                  <a:lnTo>
                    <a:pt x="539" y="634"/>
                  </a:lnTo>
                  <a:lnTo>
                    <a:pt x="539" y="634"/>
                  </a:lnTo>
                  <a:lnTo>
                    <a:pt x="548" y="638"/>
                  </a:lnTo>
                  <a:lnTo>
                    <a:pt x="552" y="640"/>
                  </a:lnTo>
                  <a:lnTo>
                    <a:pt x="554" y="640"/>
                  </a:lnTo>
                  <a:lnTo>
                    <a:pt x="554" y="642"/>
                  </a:lnTo>
                  <a:lnTo>
                    <a:pt x="556" y="646"/>
                  </a:lnTo>
                  <a:lnTo>
                    <a:pt x="554" y="649"/>
                  </a:lnTo>
                  <a:lnTo>
                    <a:pt x="552" y="651"/>
                  </a:lnTo>
                  <a:lnTo>
                    <a:pt x="550" y="653"/>
                  </a:lnTo>
                  <a:lnTo>
                    <a:pt x="548" y="653"/>
                  </a:lnTo>
                  <a:lnTo>
                    <a:pt x="546" y="653"/>
                  </a:lnTo>
                  <a:lnTo>
                    <a:pt x="537" y="657"/>
                  </a:lnTo>
                  <a:lnTo>
                    <a:pt x="531" y="657"/>
                  </a:lnTo>
                  <a:lnTo>
                    <a:pt x="529" y="661"/>
                  </a:lnTo>
                  <a:lnTo>
                    <a:pt x="525" y="657"/>
                  </a:lnTo>
                  <a:lnTo>
                    <a:pt x="524" y="653"/>
                  </a:lnTo>
                  <a:lnTo>
                    <a:pt x="524" y="653"/>
                  </a:lnTo>
                  <a:lnTo>
                    <a:pt x="524" y="651"/>
                  </a:lnTo>
                  <a:lnTo>
                    <a:pt x="522" y="649"/>
                  </a:lnTo>
                  <a:lnTo>
                    <a:pt x="522" y="653"/>
                  </a:lnTo>
                  <a:lnTo>
                    <a:pt x="522" y="653"/>
                  </a:lnTo>
                  <a:lnTo>
                    <a:pt x="522" y="657"/>
                  </a:lnTo>
                  <a:lnTo>
                    <a:pt x="522" y="657"/>
                  </a:lnTo>
                  <a:lnTo>
                    <a:pt x="518" y="657"/>
                  </a:lnTo>
                  <a:lnTo>
                    <a:pt x="518" y="657"/>
                  </a:lnTo>
                  <a:lnTo>
                    <a:pt x="518" y="657"/>
                  </a:lnTo>
                  <a:lnTo>
                    <a:pt x="514" y="657"/>
                  </a:lnTo>
                  <a:lnTo>
                    <a:pt x="514" y="657"/>
                  </a:lnTo>
                  <a:lnTo>
                    <a:pt x="518" y="661"/>
                  </a:lnTo>
                  <a:lnTo>
                    <a:pt x="522" y="661"/>
                  </a:lnTo>
                  <a:lnTo>
                    <a:pt x="522" y="663"/>
                  </a:lnTo>
                  <a:lnTo>
                    <a:pt x="518" y="666"/>
                  </a:lnTo>
                  <a:lnTo>
                    <a:pt x="518" y="666"/>
                  </a:lnTo>
                  <a:lnTo>
                    <a:pt x="514" y="666"/>
                  </a:lnTo>
                  <a:lnTo>
                    <a:pt x="512" y="666"/>
                  </a:lnTo>
                  <a:lnTo>
                    <a:pt x="512" y="670"/>
                  </a:lnTo>
                  <a:lnTo>
                    <a:pt x="512" y="672"/>
                  </a:lnTo>
                  <a:lnTo>
                    <a:pt x="507" y="674"/>
                  </a:lnTo>
                  <a:lnTo>
                    <a:pt x="503" y="674"/>
                  </a:lnTo>
                  <a:lnTo>
                    <a:pt x="501" y="674"/>
                  </a:lnTo>
                  <a:lnTo>
                    <a:pt x="497" y="676"/>
                  </a:lnTo>
                  <a:lnTo>
                    <a:pt x="497" y="678"/>
                  </a:lnTo>
                  <a:lnTo>
                    <a:pt x="497" y="678"/>
                  </a:lnTo>
                  <a:lnTo>
                    <a:pt x="503" y="678"/>
                  </a:lnTo>
                  <a:lnTo>
                    <a:pt x="507" y="678"/>
                  </a:lnTo>
                  <a:lnTo>
                    <a:pt x="509" y="676"/>
                  </a:lnTo>
                  <a:lnTo>
                    <a:pt x="512" y="676"/>
                  </a:lnTo>
                  <a:lnTo>
                    <a:pt x="512" y="678"/>
                  </a:lnTo>
                  <a:lnTo>
                    <a:pt x="518" y="678"/>
                  </a:lnTo>
                  <a:lnTo>
                    <a:pt x="522" y="678"/>
                  </a:lnTo>
                  <a:lnTo>
                    <a:pt x="524" y="678"/>
                  </a:lnTo>
                  <a:lnTo>
                    <a:pt x="529" y="678"/>
                  </a:lnTo>
                  <a:lnTo>
                    <a:pt x="531" y="678"/>
                  </a:lnTo>
                  <a:lnTo>
                    <a:pt x="533" y="678"/>
                  </a:lnTo>
                  <a:lnTo>
                    <a:pt x="537" y="678"/>
                  </a:lnTo>
                  <a:lnTo>
                    <a:pt x="539" y="678"/>
                  </a:lnTo>
                  <a:lnTo>
                    <a:pt x="539" y="678"/>
                  </a:lnTo>
                  <a:lnTo>
                    <a:pt x="539" y="681"/>
                  </a:lnTo>
                  <a:lnTo>
                    <a:pt x="539" y="683"/>
                  </a:lnTo>
                  <a:lnTo>
                    <a:pt x="537" y="685"/>
                  </a:lnTo>
                  <a:lnTo>
                    <a:pt x="533" y="683"/>
                  </a:lnTo>
                  <a:lnTo>
                    <a:pt x="529" y="683"/>
                  </a:lnTo>
                  <a:lnTo>
                    <a:pt x="527" y="687"/>
                  </a:lnTo>
                  <a:lnTo>
                    <a:pt x="522" y="687"/>
                  </a:lnTo>
                  <a:lnTo>
                    <a:pt x="518" y="687"/>
                  </a:lnTo>
                  <a:lnTo>
                    <a:pt x="518" y="687"/>
                  </a:lnTo>
                  <a:lnTo>
                    <a:pt x="514" y="687"/>
                  </a:lnTo>
                  <a:lnTo>
                    <a:pt x="512" y="687"/>
                  </a:lnTo>
                  <a:lnTo>
                    <a:pt x="509" y="687"/>
                  </a:lnTo>
                  <a:lnTo>
                    <a:pt x="512" y="691"/>
                  </a:lnTo>
                  <a:lnTo>
                    <a:pt x="512" y="687"/>
                  </a:lnTo>
                  <a:lnTo>
                    <a:pt x="514" y="691"/>
                  </a:lnTo>
                  <a:lnTo>
                    <a:pt x="522" y="691"/>
                  </a:lnTo>
                  <a:lnTo>
                    <a:pt x="524" y="691"/>
                  </a:lnTo>
                  <a:lnTo>
                    <a:pt x="524" y="693"/>
                  </a:lnTo>
                  <a:lnTo>
                    <a:pt x="525" y="691"/>
                  </a:lnTo>
                  <a:lnTo>
                    <a:pt x="531" y="687"/>
                  </a:lnTo>
                  <a:lnTo>
                    <a:pt x="531" y="687"/>
                  </a:lnTo>
                  <a:lnTo>
                    <a:pt x="533" y="687"/>
                  </a:lnTo>
                  <a:lnTo>
                    <a:pt x="533" y="687"/>
                  </a:lnTo>
                  <a:lnTo>
                    <a:pt x="537" y="687"/>
                  </a:lnTo>
                  <a:lnTo>
                    <a:pt x="539" y="687"/>
                  </a:lnTo>
                  <a:lnTo>
                    <a:pt x="539" y="687"/>
                  </a:lnTo>
                  <a:lnTo>
                    <a:pt x="542" y="687"/>
                  </a:lnTo>
                  <a:lnTo>
                    <a:pt x="546" y="687"/>
                  </a:lnTo>
                  <a:lnTo>
                    <a:pt x="548" y="687"/>
                  </a:lnTo>
                  <a:lnTo>
                    <a:pt x="554" y="681"/>
                  </a:lnTo>
                  <a:lnTo>
                    <a:pt x="556" y="678"/>
                  </a:lnTo>
                  <a:lnTo>
                    <a:pt x="556" y="681"/>
                  </a:lnTo>
                  <a:lnTo>
                    <a:pt x="556" y="683"/>
                  </a:lnTo>
                  <a:lnTo>
                    <a:pt x="556" y="683"/>
                  </a:lnTo>
                  <a:lnTo>
                    <a:pt x="557" y="681"/>
                  </a:lnTo>
                  <a:lnTo>
                    <a:pt x="557" y="681"/>
                  </a:lnTo>
                  <a:lnTo>
                    <a:pt x="561" y="683"/>
                  </a:lnTo>
                  <a:lnTo>
                    <a:pt x="567" y="687"/>
                  </a:lnTo>
                  <a:lnTo>
                    <a:pt x="571" y="687"/>
                  </a:lnTo>
                  <a:lnTo>
                    <a:pt x="574" y="691"/>
                  </a:lnTo>
                  <a:lnTo>
                    <a:pt x="578" y="691"/>
                  </a:lnTo>
                  <a:lnTo>
                    <a:pt x="582" y="691"/>
                  </a:lnTo>
                  <a:lnTo>
                    <a:pt x="588" y="691"/>
                  </a:lnTo>
                  <a:lnTo>
                    <a:pt x="589" y="691"/>
                  </a:lnTo>
                  <a:lnTo>
                    <a:pt x="591" y="691"/>
                  </a:lnTo>
                  <a:lnTo>
                    <a:pt x="597" y="691"/>
                  </a:lnTo>
                  <a:lnTo>
                    <a:pt x="597" y="691"/>
                  </a:lnTo>
                  <a:lnTo>
                    <a:pt x="595" y="696"/>
                  </a:lnTo>
                  <a:lnTo>
                    <a:pt x="591" y="696"/>
                  </a:lnTo>
                  <a:lnTo>
                    <a:pt x="588" y="696"/>
                  </a:lnTo>
                  <a:lnTo>
                    <a:pt x="588" y="696"/>
                  </a:lnTo>
                  <a:lnTo>
                    <a:pt x="584" y="698"/>
                  </a:lnTo>
                  <a:lnTo>
                    <a:pt x="584" y="700"/>
                  </a:lnTo>
                  <a:lnTo>
                    <a:pt x="586" y="702"/>
                  </a:lnTo>
                  <a:lnTo>
                    <a:pt x="586" y="704"/>
                  </a:lnTo>
                  <a:lnTo>
                    <a:pt x="586" y="704"/>
                  </a:lnTo>
                  <a:lnTo>
                    <a:pt x="584" y="704"/>
                  </a:lnTo>
                  <a:lnTo>
                    <a:pt x="582" y="702"/>
                  </a:lnTo>
                  <a:lnTo>
                    <a:pt x="580" y="702"/>
                  </a:lnTo>
                  <a:lnTo>
                    <a:pt x="578" y="704"/>
                  </a:lnTo>
                  <a:lnTo>
                    <a:pt x="578" y="706"/>
                  </a:lnTo>
                  <a:lnTo>
                    <a:pt x="576" y="704"/>
                  </a:lnTo>
                  <a:lnTo>
                    <a:pt x="573" y="704"/>
                  </a:lnTo>
                  <a:lnTo>
                    <a:pt x="573" y="706"/>
                  </a:lnTo>
                  <a:lnTo>
                    <a:pt x="573" y="708"/>
                  </a:lnTo>
                  <a:lnTo>
                    <a:pt x="574" y="708"/>
                  </a:lnTo>
                  <a:lnTo>
                    <a:pt x="574" y="710"/>
                  </a:lnTo>
                  <a:lnTo>
                    <a:pt x="573" y="712"/>
                  </a:lnTo>
                  <a:lnTo>
                    <a:pt x="571" y="713"/>
                  </a:lnTo>
                  <a:lnTo>
                    <a:pt x="571" y="712"/>
                  </a:lnTo>
                  <a:lnTo>
                    <a:pt x="567" y="710"/>
                  </a:lnTo>
                  <a:lnTo>
                    <a:pt x="567" y="712"/>
                  </a:lnTo>
                  <a:lnTo>
                    <a:pt x="567" y="713"/>
                  </a:lnTo>
                  <a:lnTo>
                    <a:pt x="567" y="715"/>
                  </a:lnTo>
                  <a:lnTo>
                    <a:pt x="565" y="715"/>
                  </a:lnTo>
                  <a:lnTo>
                    <a:pt x="565" y="717"/>
                  </a:lnTo>
                  <a:lnTo>
                    <a:pt x="563" y="717"/>
                  </a:lnTo>
                  <a:lnTo>
                    <a:pt x="557" y="717"/>
                  </a:lnTo>
                  <a:lnTo>
                    <a:pt x="557" y="715"/>
                  </a:lnTo>
                  <a:lnTo>
                    <a:pt x="557" y="715"/>
                  </a:lnTo>
                  <a:lnTo>
                    <a:pt x="557" y="717"/>
                  </a:lnTo>
                  <a:lnTo>
                    <a:pt x="557" y="721"/>
                  </a:lnTo>
                  <a:lnTo>
                    <a:pt x="557" y="723"/>
                  </a:lnTo>
                  <a:lnTo>
                    <a:pt x="554" y="721"/>
                  </a:lnTo>
                  <a:lnTo>
                    <a:pt x="554" y="721"/>
                  </a:lnTo>
                  <a:lnTo>
                    <a:pt x="552" y="721"/>
                  </a:lnTo>
                  <a:lnTo>
                    <a:pt x="550" y="721"/>
                  </a:lnTo>
                  <a:lnTo>
                    <a:pt x="552" y="723"/>
                  </a:lnTo>
                  <a:lnTo>
                    <a:pt x="552" y="725"/>
                  </a:lnTo>
                  <a:lnTo>
                    <a:pt x="548" y="728"/>
                  </a:lnTo>
                  <a:lnTo>
                    <a:pt x="546" y="728"/>
                  </a:lnTo>
                  <a:lnTo>
                    <a:pt x="546" y="727"/>
                  </a:lnTo>
                  <a:lnTo>
                    <a:pt x="546" y="725"/>
                  </a:lnTo>
                  <a:lnTo>
                    <a:pt x="542" y="725"/>
                  </a:lnTo>
                  <a:lnTo>
                    <a:pt x="542" y="727"/>
                  </a:lnTo>
                  <a:lnTo>
                    <a:pt x="542" y="728"/>
                  </a:lnTo>
                  <a:lnTo>
                    <a:pt x="542" y="730"/>
                  </a:lnTo>
                  <a:lnTo>
                    <a:pt x="542" y="732"/>
                  </a:lnTo>
                  <a:lnTo>
                    <a:pt x="539" y="734"/>
                  </a:lnTo>
                  <a:lnTo>
                    <a:pt x="539" y="734"/>
                  </a:lnTo>
                  <a:lnTo>
                    <a:pt x="533" y="736"/>
                  </a:lnTo>
                  <a:lnTo>
                    <a:pt x="533" y="738"/>
                  </a:lnTo>
                  <a:lnTo>
                    <a:pt x="531" y="740"/>
                  </a:lnTo>
                  <a:lnTo>
                    <a:pt x="529" y="740"/>
                  </a:lnTo>
                  <a:lnTo>
                    <a:pt x="529" y="738"/>
                  </a:lnTo>
                  <a:lnTo>
                    <a:pt x="527" y="738"/>
                  </a:lnTo>
                  <a:lnTo>
                    <a:pt x="524" y="740"/>
                  </a:lnTo>
                  <a:lnTo>
                    <a:pt x="522" y="740"/>
                  </a:lnTo>
                  <a:lnTo>
                    <a:pt x="518" y="740"/>
                  </a:lnTo>
                  <a:lnTo>
                    <a:pt x="518" y="742"/>
                  </a:lnTo>
                  <a:lnTo>
                    <a:pt x="518" y="742"/>
                  </a:lnTo>
                  <a:lnTo>
                    <a:pt x="514" y="742"/>
                  </a:lnTo>
                  <a:lnTo>
                    <a:pt x="512" y="742"/>
                  </a:lnTo>
                  <a:lnTo>
                    <a:pt x="512" y="742"/>
                  </a:lnTo>
                  <a:lnTo>
                    <a:pt x="509" y="745"/>
                  </a:lnTo>
                  <a:lnTo>
                    <a:pt x="509" y="742"/>
                  </a:lnTo>
                  <a:lnTo>
                    <a:pt x="509" y="742"/>
                  </a:lnTo>
                  <a:lnTo>
                    <a:pt x="507" y="742"/>
                  </a:lnTo>
                  <a:lnTo>
                    <a:pt x="507" y="742"/>
                  </a:lnTo>
                  <a:lnTo>
                    <a:pt x="505" y="745"/>
                  </a:lnTo>
                  <a:lnTo>
                    <a:pt x="503" y="745"/>
                  </a:lnTo>
                  <a:lnTo>
                    <a:pt x="501" y="742"/>
                  </a:lnTo>
                  <a:lnTo>
                    <a:pt x="501" y="742"/>
                  </a:lnTo>
                  <a:lnTo>
                    <a:pt x="501" y="745"/>
                  </a:lnTo>
                  <a:lnTo>
                    <a:pt x="499" y="745"/>
                  </a:lnTo>
                  <a:lnTo>
                    <a:pt x="497" y="745"/>
                  </a:lnTo>
                  <a:lnTo>
                    <a:pt x="493" y="745"/>
                  </a:lnTo>
                  <a:lnTo>
                    <a:pt x="497" y="747"/>
                  </a:lnTo>
                  <a:lnTo>
                    <a:pt x="493" y="747"/>
                  </a:lnTo>
                  <a:lnTo>
                    <a:pt x="492" y="747"/>
                  </a:lnTo>
                  <a:lnTo>
                    <a:pt x="490" y="747"/>
                  </a:lnTo>
                  <a:lnTo>
                    <a:pt x="490" y="747"/>
                  </a:lnTo>
                  <a:lnTo>
                    <a:pt x="488" y="751"/>
                  </a:lnTo>
                  <a:lnTo>
                    <a:pt x="488" y="751"/>
                  </a:lnTo>
                  <a:lnTo>
                    <a:pt x="488" y="747"/>
                  </a:lnTo>
                  <a:lnTo>
                    <a:pt x="488" y="747"/>
                  </a:lnTo>
                  <a:lnTo>
                    <a:pt x="484" y="751"/>
                  </a:lnTo>
                  <a:lnTo>
                    <a:pt x="484" y="755"/>
                  </a:lnTo>
                  <a:lnTo>
                    <a:pt x="484" y="755"/>
                  </a:lnTo>
                  <a:lnTo>
                    <a:pt x="482" y="755"/>
                  </a:lnTo>
                  <a:lnTo>
                    <a:pt x="480" y="751"/>
                  </a:lnTo>
                  <a:lnTo>
                    <a:pt x="477" y="747"/>
                  </a:lnTo>
                  <a:lnTo>
                    <a:pt x="475" y="747"/>
                  </a:lnTo>
                  <a:lnTo>
                    <a:pt x="473" y="747"/>
                  </a:lnTo>
                  <a:lnTo>
                    <a:pt x="473" y="751"/>
                  </a:lnTo>
                  <a:lnTo>
                    <a:pt x="473" y="751"/>
                  </a:lnTo>
                  <a:lnTo>
                    <a:pt x="473" y="751"/>
                  </a:lnTo>
                  <a:lnTo>
                    <a:pt x="467" y="755"/>
                  </a:lnTo>
                  <a:lnTo>
                    <a:pt x="465" y="755"/>
                  </a:lnTo>
                  <a:lnTo>
                    <a:pt x="465" y="755"/>
                  </a:lnTo>
                  <a:lnTo>
                    <a:pt x="463" y="755"/>
                  </a:lnTo>
                  <a:lnTo>
                    <a:pt x="460" y="755"/>
                  </a:lnTo>
                  <a:lnTo>
                    <a:pt x="460" y="755"/>
                  </a:lnTo>
                  <a:lnTo>
                    <a:pt x="458" y="755"/>
                  </a:lnTo>
                  <a:lnTo>
                    <a:pt x="456" y="755"/>
                  </a:lnTo>
                  <a:lnTo>
                    <a:pt x="454" y="755"/>
                  </a:lnTo>
                  <a:lnTo>
                    <a:pt x="454" y="755"/>
                  </a:lnTo>
                  <a:lnTo>
                    <a:pt x="452" y="755"/>
                  </a:lnTo>
                  <a:lnTo>
                    <a:pt x="450" y="755"/>
                  </a:lnTo>
                  <a:lnTo>
                    <a:pt x="448" y="751"/>
                  </a:lnTo>
                  <a:lnTo>
                    <a:pt x="448" y="747"/>
                  </a:lnTo>
                  <a:lnTo>
                    <a:pt x="446" y="747"/>
                  </a:lnTo>
                  <a:lnTo>
                    <a:pt x="445" y="747"/>
                  </a:lnTo>
                  <a:lnTo>
                    <a:pt x="443" y="742"/>
                  </a:lnTo>
                  <a:lnTo>
                    <a:pt x="443" y="742"/>
                  </a:lnTo>
                  <a:lnTo>
                    <a:pt x="443" y="738"/>
                  </a:lnTo>
                  <a:lnTo>
                    <a:pt x="441" y="734"/>
                  </a:lnTo>
                  <a:lnTo>
                    <a:pt x="439" y="734"/>
                  </a:lnTo>
                  <a:lnTo>
                    <a:pt x="439" y="734"/>
                  </a:lnTo>
                  <a:lnTo>
                    <a:pt x="439" y="738"/>
                  </a:lnTo>
                  <a:lnTo>
                    <a:pt x="439" y="738"/>
                  </a:lnTo>
                  <a:lnTo>
                    <a:pt x="439" y="742"/>
                  </a:lnTo>
                  <a:lnTo>
                    <a:pt x="441" y="742"/>
                  </a:lnTo>
                  <a:lnTo>
                    <a:pt x="443" y="745"/>
                  </a:lnTo>
                  <a:lnTo>
                    <a:pt x="443" y="747"/>
                  </a:lnTo>
                  <a:lnTo>
                    <a:pt x="441" y="751"/>
                  </a:lnTo>
                  <a:lnTo>
                    <a:pt x="443" y="751"/>
                  </a:lnTo>
                  <a:lnTo>
                    <a:pt x="445" y="751"/>
                  </a:lnTo>
                  <a:lnTo>
                    <a:pt x="445" y="755"/>
                  </a:lnTo>
                  <a:lnTo>
                    <a:pt x="445" y="761"/>
                  </a:lnTo>
                  <a:lnTo>
                    <a:pt x="443" y="762"/>
                  </a:lnTo>
                  <a:lnTo>
                    <a:pt x="439" y="764"/>
                  </a:lnTo>
                  <a:lnTo>
                    <a:pt x="439" y="762"/>
                  </a:lnTo>
                  <a:lnTo>
                    <a:pt x="439" y="762"/>
                  </a:lnTo>
                  <a:lnTo>
                    <a:pt x="435" y="764"/>
                  </a:lnTo>
                  <a:lnTo>
                    <a:pt x="433" y="768"/>
                  </a:lnTo>
                  <a:lnTo>
                    <a:pt x="431" y="768"/>
                  </a:lnTo>
                  <a:lnTo>
                    <a:pt x="429" y="768"/>
                  </a:lnTo>
                  <a:lnTo>
                    <a:pt x="428" y="770"/>
                  </a:lnTo>
                  <a:lnTo>
                    <a:pt x="429" y="770"/>
                  </a:lnTo>
                  <a:lnTo>
                    <a:pt x="428" y="772"/>
                  </a:lnTo>
                  <a:lnTo>
                    <a:pt x="426" y="772"/>
                  </a:lnTo>
                  <a:lnTo>
                    <a:pt x="424" y="772"/>
                  </a:lnTo>
                  <a:lnTo>
                    <a:pt x="424" y="777"/>
                  </a:lnTo>
                  <a:lnTo>
                    <a:pt x="424" y="779"/>
                  </a:lnTo>
                  <a:lnTo>
                    <a:pt x="422" y="781"/>
                  </a:lnTo>
                  <a:lnTo>
                    <a:pt x="420" y="779"/>
                  </a:lnTo>
                  <a:lnTo>
                    <a:pt x="418" y="777"/>
                  </a:lnTo>
                  <a:lnTo>
                    <a:pt x="420" y="779"/>
                  </a:lnTo>
                  <a:lnTo>
                    <a:pt x="420" y="781"/>
                  </a:lnTo>
                  <a:lnTo>
                    <a:pt x="420" y="785"/>
                  </a:lnTo>
                  <a:lnTo>
                    <a:pt x="418" y="785"/>
                  </a:lnTo>
                  <a:lnTo>
                    <a:pt x="418" y="781"/>
                  </a:lnTo>
                  <a:lnTo>
                    <a:pt x="416" y="781"/>
                  </a:lnTo>
                  <a:lnTo>
                    <a:pt x="414" y="781"/>
                  </a:lnTo>
                  <a:lnTo>
                    <a:pt x="416" y="785"/>
                  </a:lnTo>
                  <a:lnTo>
                    <a:pt x="416" y="785"/>
                  </a:lnTo>
                  <a:lnTo>
                    <a:pt x="414" y="787"/>
                  </a:lnTo>
                  <a:lnTo>
                    <a:pt x="411" y="789"/>
                  </a:lnTo>
                  <a:lnTo>
                    <a:pt x="409" y="793"/>
                  </a:lnTo>
                  <a:lnTo>
                    <a:pt x="409" y="794"/>
                  </a:lnTo>
                  <a:lnTo>
                    <a:pt x="409" y="798"/>
                  </a:lnTo>
                  <a:lnTo>
                    <a:pt x="409" y="800"/>
                  </a:lnTo>
                  <a:lnTo>
                    <a:pt x="405" y="804"/>
                  </a:lnTo>
                  <a:lnTo>
                    <a:pt x="403" y="806"/>
                  </a:lnTo>
                  <a:lnTo>
                    <a:pt x="403" y="804"/>
                  </a:lnTo>
                  <a:lnTo>
                    <a:pt x="401" y="804"/>
                  </a:lnTo>
                  <a:lnTo>
                    <a:pt x="403" y="802"/>
                  </a:lnTo>
                  <a:lnTo>
                    <a:pt x="401" y="802"/>
                  </a:lnTo>
                  <a:lnTo>
                    <a:pt x="399" y="804"/>
                  </a:lnTo>
                  <a:lnTo>
                    <a:pt x="399" y="806"/>
                  </a:lnTo>
                  <a:lnTo>
                    <a:pt x="399" y="806"/>
                  </a:lnTo>
                  <a:lnTo>
                    <a:pt x="399" y="809"/>
                  </a:lnTo>
                  <a:lnTo>
                    <a:pt x="394" y="811"/>
                  </a:lnTo>
                  <a:lnTo>
                    <a:pt x="392" y="815"/>
                  </a:lnTo>
                  <a:lnTo>
                    <a:pt x="390" y="811"/>
                  </a:lnTo>
                  <a:lnTo>
                    <a:pt x="390" y="811"/>
                  </a:lnTo>
                  <a:lnTo>
                    <a:pt x="390" y="809"/>
                  </a:lnTo>
                  <a:lnTo>
                    <a:pt x="390" y="809"/>
                  </a:lnTo>
                  <a:lnTo>
                    <a:pt x="390" y="811"/>
                  </a:lnTo>
                  <a:lnTo>
                    <a:pt x="386" y="811"/>
                  </a:lnTo>
                  <a:lnTo>
                    <a:pt x="384" y="811"/>
                  </a:lnTo>
                  <a:lnTo>
                    <a:pt x="381" y="809"/>
                  </a:lnTo>
                  <a:lnTo>
                    <a:pt x="381" y="806"/>
                  </a:lnTo>
                  <a:lnTo>
                    <a:pt x="381" y="809"/>
                  </a:lnTo>
                  <a:lnTo>
                    <a:pt x="381" y="811"/>
                  </a:lnTo>
                  <a:lnTo>
                    <a:pt x="384" y="811"/>
                  </a:lnTo>
                  <a:lnTo>
                    <a:pt x="384" y="815"/>
                  </a:lnTo>
                  <a:lnTo>
                    <a:pt x="384" y="815"/>
                  </a:lnTo>
                  <a:lnTo>
                    <a:pt x="381" y="817"/>
                  </a:lnTo>
                  <a:lnTo>
                    <a:pt x="381" y="817"/>
                  </a:lnTo>
                  <a:lnTo>
                    <a:pt x="377" y="821"/>
                  </a:lnTo>
                  <a:lnTo>
                    <a:pt x="373" y="823"/>
                  </a:lnTo>
                  <a:lnTo>
                    <a:pt x="371" y="823"/>
                  </a:lnTo>
                  <a:lnTo>
                    <a:pt x="369" y="823"/>
                  </a:lnTo>
                  <a:lnTo>
                    <a:pt x="369" y="821"/>
                  </a:lnTo>
                  <a:lnTo>
                    <a:pt x="369" y="819"/>
                  </a:lnTo>
                  <a:lnTo>
                    <a:pt x="369" y="817"/>
                  </a:lnTo>
                  <a:lnTo>
                    <a:pt x="367" y="817"/>
                  </a:lnTo>
                  <a:lnTo>
                    <a:pt x="367" y="821"/>
                  </a:lnTo>
                  <a:lnTo>
                    <a:pt x="367" y="821"/>
                  </a:lnTo>
                  <a:lnTo>
                    <a:pt x="365" y="825"/>
                  </a:lnTo>
                  <a:lnTo>
                    <a:pt x="365" y="825"/>
                  </a:lnTo>
                  <a:lnTo>
                    <a:pt x="362" y="825"/>
                  </a:lnTo>
                  <a:lnTo>
                    <a:pt x="360" y="825"/>
                  </a:lnTo>
                  <a:lnTo>
                    <a:pt x="356" y="821"/>
                  </a:lnTo>
                  <a:lnTo>
                    <a:pt x="356" y="819"/>
                  </a:lnTo>
                  <a:lnTo>
                    <a:pt x="360" y="815"/>
                  </a:lnTo>
                  <a:lnTo>
                    <a:pt x="356" y="815"/>
                  </a:lnTo>
                  <a:lnTo>
                    <a:pt x="356" y="815"/>
                  </a:lnTo>
                  <a:lnTo>
                    <a:pt x="356" y="817"/>
                  </a:lnTo>
                  <a:lnTo>
                    <a:pt x="356" y="821"/>
                  </a:lnTo>
                  <a:lnTo>
                    <a:pt x="356" y="823"/>
                  </a:lnTo>
                  <a:lnTo>
                    <a:pt x="356" y="825"/>
                  </a:lnTo>
                  <a:lnTo>
                    <a:pt x="352" y="825"/>
                  </a:lnTo>
                  <a:lnTo>
                    <a:pt x="350" y="819"/>
                  </a:lnTo>
                  <a:lnTo>
                    <a:pt x="350" y="817"/>
                  </a:lnTo>
                  <a:lnTo>
                    <a:pt x="350" y="815"/>
                  </a:lnTo>
                  <a:lnTo>
                    <a:pt x="352" y="811"/>
                  </a:lnTo>
                  <a:lnTo>
                    <a:pt x="356" y="811"/>
                  </a:lnTo>
                  <a:lnTo>
                    <a:pt x="352" y="809"/>
                  </a:lnTo>
                  <a:lnTo>
                    <a:pt x="350" y="809"/>
                  </a:lnTo>
                  <a:lnTo>
                    <a:pt x="348" y="806"/>
                  </a:lnTo>
                  <a:lnTo>
                    <a:pt x="348" y="806"/>
                  </a:lnTo>
                  <a:lnTo>
                    <a:pt x="348" y="804"/>
                  </a:lnTo>
                  <a:lnTo>
                    <a:pt x="347" y="806"/>
                  </a:lnTo>
                  <a:lnTo>
                    <a:pt x="345" y="806"/>
                  </a:lnTo>
                  <a:lnTo>
                    <a:pt x="345" y="809"/>
                  </a:lnTo>
                  <a:lnTo>
                    <a:pt x="348" y="811"/>
                  </a:lnTo>
                  <a:lnTo>
                    <a:pt x="347" y="811"/>
                  </a:lnTo>
                  <a:lnTo>
                    <a:pt x="345" y="815"/>
                  </a:lnTo>
                  <a:lnTo>
                    <a:pt x="345" y="817"/>
                  </a:lnTo>
                  <a:lnTo>
                    <a:pt x="343" y="819"/>
                  </a:lnTo>
                  <a:lnTo>
                    <a:pt x="341" y="821"/>
                  </a:lnTo>
                  <a:lnTo>
                    <a:pt x="341" y="817"/>
                  </a:lnTo>
                  <a:lnTo>
                    <a:pt x="341" y="815"/>
                  </a:lnTo>
                  <a:lnTo>
                    <a:pt x="337" y="817"/>
                  </a:lnTo>
                  <a:lnTo>
                    <a:pt x="337" y="821"/>
                  </a:lnTo>
                  <a:lnTo>
                    <a:pt x="341" y="825"/>
                  </a:lnTo>
                  <a:lnTo>
                    <a:pt x="341" y="826"/>
                  </a:lnTo>
                  <a:lnTo>
                    <a:pt x="341" y="828"/>
                  </a:lnTo>
                  <a:lnTo>
                    <a:pt x="341" y="828"/>
                  </a:lnTo>
                  <a:lnTo>
                    <a:pt x="341" y="832"/>
                  </a:lnTo>
                  <a:lnTo>
                    <a:pt x="335" y="832"/>
                  </a:lnTo>
                  <a:lnTo>
                    <a:pt x="335" y="832"/>
                  </a:lnTo>
                  <a:lnTo>
                    <a:pt x="332" y="830"/>
                  </a:lnTo>
                  <a:lnTo>
                    <a:pt x="332" y="832"/>
                  </a:lnTo>
                  <a:lnTo>
                    <a:pt x="332" y="834"/>
                  </a:lnTo>
                  <a:lnTo>
                    <a:pt x="328" y="836"/>
                  </a:lnTo>
                  <a:lnTo>
                    <a:pt x="326" y="834"/>
                  </a:lnTo>
                  <a:lnTo>
                    <a:pt x="326" y="830"/>
                  </a:lnTo>
                  <a:lnTo>
                    <a:pt x="324" y="828"/>
                  </a:lnTo>
                  <a:lnTo>
                    <a:pt x="322" y="828"/>
                  </a:lnTo>
                  <a:lnTo>
                    <a:pt x="322" y="830"/>
                  </a:lnTo>
                  <a:lnTo>
                    <a:pt x="322" y="832"/>
                  </a:lnTo>
                  <a:lnTo>
                    <a:pt x="320" y="834"/>
                  </a:lnTo>
                  <a:lnTo>
                    <a:pt x="318" y="834"/>
                  </a:lnTo>
                  <a:lnTo>
                    <a:pt x="316" y="830"/>
                  </a:lnTo>
                  <a:lnTo>
                    <a:pt x="316" y="828"/>
                  </a:lnTo>
                  <a:lnTo>
                    <a:pt x="315" y="828"/>
                  </a:lnTo>
                  <a:lnTo>
                    <a:pt x="313" y="830"/>
                  </a:lnTo>
                  <a:lnTo>
                    <a:pt x="311" y="830"/>
                  </a:lnTo>
                  <a:lnTo>
                    <a:pt x="311" y="832"/>
                  </a:lnTo>
                  <a:lnTo>
                    <a:pt x="311" y="834"/>
                  </a:lnTo>
                  <a:lnTo>
                    <a:pt x="311" y="836"/>
                  </a:lnTo>
                  <a:lnTo>
                    <a:pt x="311" y="842"/>
                  </a:lnTo>
                  <a:lnTo>
                    <a:pt x="311" y="845"/>
                  </a:lnTo>
                  <a:lnTo>
                    <a:pt x="307" y="849"/>
                  </a:lnTo>
                  <a:lnTo>
                    <a:pt x="303" y="849"/>
                  </a:lnTo>
                  <a:lnTo>
                    <a:pt x="303" y="849"/>
                  </a:lnTo>
                  <a:lnTo>
                    <a:pt x="303" y="842"/>
                  </a:lnTo>
                  <a:lnTo>
                    <a:pt x="301" y="842"/>
                  </a:lnTo>
                  <a:lnTo>
                    <a:pt x="300" y="842"/>
                  </a:lnTo>
                  <a:lnTo>
                    <a:pt x="300" y="845"/>
                  </a:lnTo>
                  <a:lnTo>
                    <a:pt x="296" y="845"/>
                  </a:lnTo>
                  <a:lnTo>
                    <a:pt x="294" y="842"/>
                  </a:lnTo>
                  <a:lnTo>
                    <a:pt x="294" y="842"/>
                  </a:lnTo>
                  <a:lnTo>
                    <a:pt x="292" y="842"/>
                  </a:lnTo>
                  <a:lnTo>
                    <a:pt x="294" y="845"/>
                  </a:lnTo>
                  <a:lnTo>
                    <a:pt x="294" y="845"/>
                  </a:lnTo>
                  <a:lnTo>
                    <a:pt x="292" y="849"/>
                  </a:lnTo>
                  <a:lnTo>
                    <a:pt x="292" y="849"/>
                  </a:lnTo>
                  <a:lnTo>
                    <a:pt x="294" y="853"/>
                  </a:lnTo>
                  <a:lnTo>
                    <a:pt x="296" y="855"/>
                  </a:lnTo>
                  <a:lnTo>
                    <a:pt x="296" y="858"/>
                  </a:lnTo>
                  <a:lnTo>
                    <a:pt x="298" y="864"/>
                  </a:lnTo>
                  <a:lnTo>
                    <a:pt x="296" y="866"/>
                  </a:lnTo>
                  <a:lnTo>
                    <a:pt x="294" y="866"/>
                  </a:lnTo>
                  <a:lnTo>
                    <a:pt x="292" y="866"/>
                  </a:lnTo>
                  <a:lnTo>
                    <a:pt x="292" y="866"/>
                  </a:lnTo>
                  <a:lnTo>
                    <a:pt x="288" y="866"/>
                  </a:lnTo>
                  <a:lnTo>
                    <a:pt x="286" y="866"/>
                  </a:lnTo>
                  <a:lnTo>
                    <a:pt x="283" y="866"/>
                  </a:lnTo>
                  <a:lnTo>
                    <a:pt x="283" y="866"/>
                  </a:lnTo>
                  <a:lnTo>
                    <a:pt x="283" y="870"/>
                  </a:lnTo>
                  <a:lnTo>
                    <a:pt x="286" y="870"/>
                  </a:lnTo>
                  <a:lnTo>
                    <a:pt x="288" y="874"/>
                  </a:lnTo>
                  <a:lnTo>
                    <a:pt x="290" y="875"/>
                  </a:lnTo>
                  <a:lnTo>
                    <a:pt x="292" y="875"/>
                  </a:lnTo>
                  <a:lnTo>
                    <a:pt x="292" y="875"/>
                  </a:lnTo>
                  <a:lnTo>
                    <a:pt x="296" y="875"/>
                  </a:lnTo>
                  <a:lnTo>
                    <a:pt x="296" y="875"/>
                  </a:lnTo>
                  <a:lnTo>
                    <a:pt x="294" y="879"/>
                  </a:lnTo>
                  <a:lnTo>
                    <a:pt x="292" y="879"/>
                  </a:lnTo>
                  <a:lnTo>
                    <a:pt x="290" y="879"/>
                  </a:lnTo>
                  <a:lnTo>
                    <a:pt x="290" y="879"/>
                  </a:lnTo>
                  <a:lnTo>
                    <a:pt x="292" y="881"/>
                  </a:lnTo>
                  <a:lnTo>
                    <a:pt x="292" y="883"/>
                  </a:lnTo>
                  <a:lnTo>
                    <a:pt x="292" y="885"/>
                  </a:lnTo>
                  <a:lnTo>
                    <a:pt x="292" y="889"/>
                  </a:lnTo>
                  <a:lnTo>
                    <a:pt x="292" y="889"/>
                  </a:lnTo>
                  <a:lnTo>
                    <a:pt x="290" y="890"/>
                  </a:lnTo>
                  <a:lnTo>
                    <a:pt x="288" y="889"/>
                  </a:lnTo>
                  <a:lnTo>
                    <a:pt x="286" y="885"/>
                  </a:lnTo>
                  <a:lnTo>
                    <a:pt x="283" y="885"/>
                  </a:lnTo>
                  <a:lnTo>
                    <a:pt x="283" y="885"/>
                  </a:lnTo>
                  <a:lnTo>
                    <a:pt x="279" y="881"/>
                  </a:lnTo>
                  <a:lnTo>
                    <a:pt x="279" y="881"/>
                  </a:lnTo>
                  <a:lnTo>
                    <a:pt x="279" y="883"/>
                  </a:lnTo>
                  <a:lnTo>
                    <a:pt x="277" y="885"/>
                  </a:lnTo>
                  <a:lnTo>
                    <a:pt x="279" y="885"/>
                  </a:lnTo>
                  <a:lnTo>
                    <a:pt x="283" y="887"/>
                  </a:lnTo>
                  <a:lnTo>
                    <a:pt x="286" y="889"/>
                  </a:lnTo>
                  <a:lnTo>
                    <a:pt x="286" y="890"/>
                  </a:lnTo>
                  <a:lnTo>
                    <a:pt x="290" y="890"/>
                  </a:lnTo>
                  <a:lnTo>
                    <a:pt x="290" y="892"/>
                  </a:lnTo>
                  <a:lnTo>
                    <a:pt x="288" y="894"/>
                  </a:lnTo>
                  <a:lnTo>
                    <a:pt x="286" y="896"/>
                  </a:lnTo>
                  <a:lnTo>
                    <a:pt x="286" y="896"/>
                  </a:lnTo>
                  <a:lnTo>
                    <a:pt x="283" y="896"/>
                  </a:lnTo>
                  <a:lnTo>
                    <a:pt x="279" y="896"/>
                  </a:lnTo>
                  <a:lnTo>
                    <a:pt x="277" y="892"/>
                  </a:lnTo>
                  <a:lnTo>
                    <a:pt x="277" y="890"/>
                  </a:lnTo>
                  <a:lnTo>
                    <a:pt x="273" y="890"/>
                  </a:lnTo>
                  <a:lnTo>
                    <a:pt x="273" y="892"/>
                  </a:lnTo>
                  <a:lnTo>
                    <a:pt x="271" y="894"/>
                  </a:lnTo>
                  <a:lnTo>
                    <a:pt x="271" y="896"/>
                  </a:lnTo>
                  <a:lnTo>
                    <a:pt x="273" y="900"/>
                  </a:lnTo>
                  <a:lnTo>
                    <a:pt x="279" y="900"/>
                  </a:lnTo>
                  <a:lnTo>
                    <a:pt x="279" y="904"/>
                  </a:lnTo>
                  <a:lnTo>
                    <a:pt x="279" y="904"/>
                  </a:lnTo>
                  <a:lnTo>
                    <a:pt x="279" y="906"/>
                  </a:lnTo>
                  <a:lnTo>
                    <a:pt x="273" y="904"/>
                  </a:lnTo>
                  <a:lnTo>
                    <a:pt x="273" y="904"/>
                  </a:lnTo>
                  <a:lnTo>
                    <a:pt x="269" y="900"/>
                  </a:lnTo>
                  <a:lnTo>
                    <a:pt x="268" y="898"/>
                  </a:lnTo>
                  <a:lnTo>
                    <a:pt x="268" y="898"/>
                  </a:lnTo>
                  <a:lnTo>
                    <a:pt x="268" y="900"/>
                  </a:lnTo>
                  <a:lnTo>
                    <a:pt x="271" y="904"/>
                  </a:lnTo>
                  <a:lnTo>
                    <a:pt x="273" y="906"/>
                  </a:lnTo>
                  <a:lnTo>
                    <a:pt x="273" y="906"/>
                  </a:lnTo>
                  <a:lnTo>
                    <a:pt x="273" y="909"/>
                  </a:lnTo>
                  <a:lnTo>
                    <a:pt x="273" y="909"/>
                  </a:lnTo>
                  <a:lnTo>
                    <a:pt x="269" y="909"/>
                  </a:lnTo>
                  <a:lnTo>
                    <a:pt x="268" y="906"/>
                  </a:lnTo>
                  <a:lnTo>
                    <a:pt x="268" y="906"/>
                  </a:lnTo>
                  <a:lnTo>
                    <a:pt x="266" y="904"/>
                  </a:lnTo>
                  <a:lnTo>
                    <a:pt x="264" y="904"/>
                  </a:lnTo>
                  <a:lnTo>
                    <a:pt x="262" y="906"/>
                  </a:lnTo>
                  <a:lnTo>
                    <a:pt x="262" y="906"/>
                  </a:lnTo>
                  <a:lnTo>
                    <a:pt x="264" y="909"/>
                  </a:lnTo>
                  <a:lnTo>
                    <a:pt x="266" y="909"/>
                  </a:lnTo>
                  <a:lnTo>
                    <a:pt x="264" y="909"/>
                  </a:lnTo>
                  <a:lnTo>
                    <a:pt x="266" y="911"/>
                  </a:lnTo>
                  <a:lnTo>
                    <a:pt x="271" y="911"/>
                  </a:lnTo>
                  <a:lnTo>
                    <a:pt x="273" y="911"/>
                  </a:lnTo>
                  <a:lnTo>
                    <a:pt x="273" y="915"/>
                  </a:lnTo>
                  <a:lnTo>
                    <a:pt x="273" y="915"/>
                  </a:lnTo>
                  <a:lnTo>
                    <a:pt x="271" y="917"/>
                  </a:lnTo>
                  <a:lnTo>
                    <a:pt x="271" y="919"/>
                  </a:lnTo>
                  <a:lnTo>
                    <a:pt x="268" y="919"/>
                  </a:lnTo>
                  <a:lnTo>
                    <a:pt x="266" y="917"/>
                  </a:lnTo>
                  <a:lnTo>
                    <a:pt x="264" y="917"/>
                  </a:lnTo>
                  <a:lnTo>
                    <a:pt x="260" y="915"/>
                  </a:lnTo>
                  <a:lnTo>
                    <a:pt x="260" y="913"/>
                  </a:lnTo>
                  <a:lnTo>
                    <a:pt x="260" y="913"/>
                  </a:lnTo>
                  <a:lnTo>
                    <a:pt x="258" y="911"/>
                  </a:lnTo>
                  <a:lnTo>
                    <a:pt x="258" y="911"/>
                  </a:lnTo>
                  <a:lnTo>
                    <a:pt x="258" y="915"/>
                  </a:lnTo>
                  <a:lnTo>
                    <a:pt x="258" y="917"/>
                  </a:lnTo>
                  <a:lnTo>
                    <a:pt x="254" y="919"/>
                  </a:lnTo>
                  <a:lnTo>
                    <a:pt x="254" y="919"/>
                  </a:lnTo>
                  <a:lnTo>
                    <a:pt x="252" y="917"/>
                  </a:lnTo>
                  <a:lnTo>
                    <a:pt x="249" y="917"/>
                  </a:lnTo>
                  <a:lnTo>
                    <a:pt x="249" y="917"/>
                  </a:lnTo>
                  <a:lnTo>
                    <a:pt x="249" y="919"/>
                  </a:lnTo>
                  <a:lnTo>
                    <a:pt x="249" y="921"/>
                  </a:lnTo>
                  <a:lnTo>
                    <a:pt x="254" y="923"/>
                  </a:lnTo>
                  <a:lnTo>
                    <a:pt x="258" y="924"/>
                  </a:lnTo>
                  <a:lnTo>
                    <a:pt x="260" y="926"/>
                  </a:lnTo>
                  <a:lnTo>
                    <a:pt x="262" y="930"/>
                  </a:lnTo>
                  <a:lnTo>
                    <a:pt x="260" y="930"/>
                  </a:lnTo>
                  <a:lnTo>
                    <a:pt x="258" y="930"/>
                  </a:lnTo>
                  <a:lnTo>
                    <a:pt x="254" y="930"/>
                  </a:lnTo>
                  <a:lnTo>
                    <a:pt x="252" y="926"/>
                  </a:lnTo>
                  <a:lnTo>
                    <a:pt x="249" y="924"/>
                  </a:lnTo>
                  <a:lnTo>
                    <a:pt x="249" y="924"/>
                  </a:lnTo>
                  <a:lnTo>
                    <a:pt x="249" y="926"/>
                  </a:lnTo>
                  <a:lnTo>
                    <a:pt x="249" y="928"/>
                  </a:lnTo>
                  <a:lnTo>
                    <a:pt x="252" y="928"/>
                  </a:lnTo>
                  <a:lnTo>
                    <a:pt x="258" y="930"/>
                  </a:lnTo>
                  <a:lnTo>
                    <a:pt x="258" y="934"/>
                  </a:lnTo>
                  <a:lnTo>
                    <a:pt x="258" y="936"/>
                  </a:lnTo>
                  <a:lnTo>
                    <a:pt x="258" y="939"/>
                  </a:lnTo>
                  <a:lnTo>
                    <a:pt x="258" y="943"/>
                  </a:lnTo>
                  <a:lnTo>
                    <a:pt x="258" y="943"/>
                  </a:lnTo>
                  <a:lnTo>
                    <a:pt x="258" y="943"/>
                  </a:lnTo>
                  <a:lnTo>
                    <a:pt x="258" y="945"/>
                  </a:lnTo>
                  <a:lnTo>
                    <a:pt x="254" y="949"/>
                  </a:lnTo>
                  <a:lnTo>
                    <a:pt x="254" y="949"/>
                  </a:lnTo>
                  <a:lnTo>
                    <a:pt x="252" y="947"/>
                  </a:lnTo>
                  <a:lnTo>
                    <a:pt x="249" y="947"/>
                  </a:lnTo>
                  <a:lnTo>
                    <a:pt x="247" y="945"/>
                  </a:lnTo>
                  <a:lnTo>
                    <a:pt x="245" y="945"/>
                  </a:lnTo>
                  <a:lnTo>
                    <a:pt x="245" y="947"/>
                  </a:lnTo>
                  <a:lnTo>
                    <a:pt x="249" y="949"/>
                  </a:lnTo>
                  <a:lnTo>
                    <a:pt x="252" y="949"/>
                  </a:lnTo>
                  <a:lnTo>
                    <a:pt x="252" y="951"/>
                  </a:lnTo>
                  <a:lnTo>
                    <a:pt x="249" y="953"/>
                  </a:lnTo>
                  <a:lnTo>
                    <a:pt x="249" y="953"/>
                  </a:lnTo>
                  <a:lnTo>
                    <a:pt x="247" y="951"/>
                  </a:lnTo>
                  <a:lnTo>
                    <a:pt x="245" y="953"/>
                  </a:lnTo>
                  <a:lnTo>
                    <a:pt x="245" y="953"/>
                  </a:lnTo>
                  <a:lnTo>
                    <a:pt x="249" y="955"/>
                  </a:lnTo>
                  <a:lnTo>
                    <a:pt x="249" y="955"/>
                  </a:lnTo>
                  <a:lnTo>
                    <a:pt x="249" y="956"/>
                  </a:lnTo>
                  <a:lnTo>
                    <a:pt x="247" y="958"/>
                  </a:lnTo>
                  <a:lnTo>
                    <a:pt x="245" y="960"/>
                  </a:lnTo>
                  <a:lnTo>
                    <a:pt x="243" y="958"/>
                  </a:lnTo>
                  <a:lnTo>
                    <a:pt x="241" y="958"/>
                  </a:lnTo>
                  <a:lnTo>
                    <a:pt x="239" y="958"/>
                  </a:lnTo>
                  <a:lnTo>
                    <a:pt x="241" y="960"/>
                  </a:lnTo>
                  <a:lnTo>
                    <a:pt x="243" y="960"/>
                  </a:lnTo>
                  <a:lnTo>
                    <a:pt x="245" y="960"/>
                  </a:lnTo>
                  <a:lnTo>
                    <a:pt x="245" y="964"/>
                  </a:lnTo>
                  <a:lnTo>
                    <a:pt x="243" y="964"/>
                  </a:lnTo>
                  <a:lnTo>
                    <a:pt x="237" y="964"/>
                  </a:lnTo>
                  <a:lnTo>
                    <a:pt x="236" y="964"/>
                  </a:lnTo>
                  <a:lnTo>
                    <a:pt x="234" y="964"/>
                  </a:lnTo>
                  <a:lnTo>
                    <a:pt x="234" y="964"/>
                  </a:lnTo>
                  <a:lnTo>
                    <a:pt x="237" y="968"/>
                  </a:lnTo>
                  <a:lnTo>
                    <a:pt x="243" y="968"/>
                  </a:lnTo>
                  <a:lnTo>
                    <a:pt x="247" y="970"/>
                  </a:lnTo>
                  <a:lnTo>
                    <a:pt x="247" y="970"/>
                  </a:lnTo>
                  <a:lnTo>
                    <a:pt x="247" y="970"/>
                  </a:lnTo>
                  <a:lnTo>
                    <a:pt x="243" y="973"/>
                  </a:lnTo>
                  <a:lnTo>
                    <a:pt x="239" y="973"/>
                  </a:lnTo>
                  <a:lnTo>
                    <a:pt x="236" y="973"/>
                  </a:lnTo>
                  <a:lnTo>
                    <a:pt x="234" y="970"/>
                  </a:lnTo>
                  <a:lnTo>
                    <a:pt x="234" y="973"/>
                  </a:lnTo>
                  <a:lnTo>
                    <a:pt x="234" y="973"/>
                  </a:lnTo>
                  <a:lnTo>
                    <a:pt x="237" y="973"/>
                  </a:lnTo>
                  <a:lnTo>
                    <a:pt x="237" y="975"/>
                  </a:lnTo>
                  <a:lnTo>
                    <a:pt x="237" y="975"/>
                  </a:lnTo>
                  <a:lnTo>
                    <a:pt x="236" y="977"/>
                  </a:lnTo>
                  <a:lnTo>
                    <a:pt x="236" y="977"/>
                  </a:lnTo>
                  <a:lnTo>
                    <a:pt x="237" y="977"/>
                  </a:lnTo>
                  <a:lnTo>
                    <a:pt x="241" y="979"/>
                  </a:lnTo>
                  <a:lnTo>
                    <a:pt x="241" y="981"/>
                  </a:lnTo>
                  <a:lnTo>
                    <a:pt x="239" y="981"/>
                  </a:lnTo>
                  <a:lnTo>
                    <a:pt x="236" y="981"/>
                  </a:lnTo>
                  <a:lnTo>
                    <a:pt x="236" y="981"/>
                  </a:lnTo>
                  <a:lnTo>
                    <a:pt x="234" y="983"/>
                  </a:lnTo>
                  <a:lnTo>
                    <a:pt x="236" y="985"/>
                  </a:lnTo>
                  <a:lnTo>
                    <a:pt x="239" y="983"/>
                  </a:lnTo>
                  <a:lnTo>
                    <a:pt x="243" y="985"/>
                  </a:lnTo>
                  <a:lnTo>
                    <a:pt x="241" y="985"/>
                  </a:lnTo>
                  <a:lnTo>
                    <a:pt x="239" y="987"/>
                  </a:lnTo>
                  <a:lnTo>
                    <a:pt x="236" y="988"/>
                  </a:lnTo>
                  <a:lnTo>
                    <a:pt x="234" y="988"/>
                  </a:lnTo>
                  <a:lnTo>
                    <a:pt x="234" y="987"/>
                  </a:lnTo>
                  <a:lnTo>
                    <a:pt x="228" y="985"/>
                  </a:lnTo>
                  <a:lnTo>
                    <a:pt x="228" y="983"/>
                  </a:lnTo>
                  <a:lnTo>
                    <a:pt x="228" y="983"/>
                  </a:lnTo>
                  <a:lnTo>
                    <a:pt x="224" y="983"/>
                  </a:lnTo>
                  <a:lnTo>
                    <a:pt x="224" y="983"/>
                  </a:lnTo>
                  <a:lnTo>
                    <a:pt x="222" y="983"/>
                  </a:lnTo>
                  <a:lnTo>
                    <a:pt x="224" y="985"/>
                  </a:lnTo>
                  <a:lnTo>
                    <a:pt x="228" y="987"/>
                  </a:lnTo>
                  <a:lnTo>
                    <a:pt x="234" y="990"/>
                  </a:lnTo>
                  <a:lnTo>
                    <a:pt x="234" y="990"/>
                  </a:lnTo>
                  <a:lnTo>
                    <a:pt x="230" y="992"/>
                  </a:lnTo>
                  <a:lnTo>
                    <a:pt x="230" y="994"/>
                  </a:lnTo>
                  <a:lnTo>
                    <a:pt x="234" y="994"/>
                  </a:lnTo>
                  <a:lnTo>
                    <a:pt x="234" y="994"/>
                  </a:lnTo>
                  <a:lnTo>
                    <a:pt x="236" y="994"/>
                  </a:lnTo>
                  <a:lnTo>
                    <a:pt x="237" y="994"/>
                  </a:lnTo>
                  <a:lnTo>
                    <a:pt x="237" y="994"/>
                  </a:lnTo>
                  <a:lnTo>
                    <a:pt x="236" y="998"/>
                  </a:lnTo>
                  <a:lnTo>
                    <a:pt x="234" y="998"/>
                  </a:lnTo>
                  <a:lnTo>
                    <a:pt x="234" y="998"/>
                  </a:lnTo>
                  <a:lnTo>
                    <a:pt x="234" y="998"/>
                  </a:lnTo>
                  <a:lnTo>
                    <a:pt x="234" y="998"/>
                  </a:lnTo>
                  <a:lnTo>
                    <a:pt x="234" y="998"/>
                  </a:lnTo>
                  <a:lnTo>
                    <a:pt x="234" y="998"/>
                  </a:lnTo>
                  <a:close/>
                  <a:moveTo>
                    <a:pt x="228" y="1000"/>
                  </a:moveTo>
                  <a:lnTo>
                    <a:pt x="222" y="998"/>
                  </a:lnTo>
                  <a:lnTo>
                    <a:pt x="220" y="998"/>
                  </a:lnTo>
                  <a:lnTo>
                    <a:pt x="220" y="998"/>
                  </a:lnTo>
                  <a:lnTo>
                    <a:pt x="224" y="1000"/>
                  </a:lnTo>
                  <a:lnTo>
                    <a:pt x="224" y="1004"/>
                  </a:lnTo>
                  <a:lnTo>
                    <a:pt x="228" y="1000"/>
                  </a:lnTo>
                  <a:lnTo>
                    <a:pt x="228" y="1000"/>
                  </a:lnTo>
                  <a:lnTo>
                    <a:pt x="228" y="1000"/>
                  </a:lnTo>
                  <a:lnTo>
                    <a:pt x="228" y="1000"/>
                  </a:lnTo>
                  <a:close/>
                  <a:moveTo>
                    <a:pt x="514" y="676"/>
                  </a:moveTo>
                  <a:lnTo>
                    <a:pt x="518" y="678"/>
                  </a:lnTo>
                  <a:lnTo>
                    <a:pt x="522" y="676"/>
                  </a:lnTo>
                  <a:lnTo>
                    <a:pt x="529" y="674"/>
                  </a:lnTo>
                  <a:lnTo>
                    <a:pt x="537" y="676"/>
                  </a:lnTo>
                  <a:lnTo>
                    <a:pt x="539" y="674"/>
                  </a:lnTo>
                  <a:lnTo>
                    <a:pt x="542" y="672"/>
                  </a:lnTo>
                  <a:lnTo>
                    <a:pt x="546" y="676"/>
                  </a:lnTo>
                  <a:lnTo>
                    <a:pt x="550" y="674"/>
                  </a:lnTo>
                  <a:lnTo>
                    <a:pt x="552" y="674"/>
                  </a:lnTo>
                  <a:lnTo>
                    <a:pt x="557" y="670"/>
                  </a:lnTo>
                  <a:lnTo>
                    <a:pt x="557" y="661"/>
                  </a:lnTo>
                  <a:lnTo>
                    <a:pt x="556" y="657"/>
                  </a:lnTo>
                  <a:lnTo>
                    <a:pt x="554" y="653"/>
                  </a:lnTo>
                  <a:lnTo>
                    <a:pt x="550" y="653"/>
                  </a:lnTo>
                  <a:lnTo>
                    <a:pt x="539" y="661"/>
                  </a:lnTo>
                  <a:lnTo>
                    <a:pt x="529" y="661"/>
                  </a:lnTo>
                  <a:lnTo>
                    <a:pt x="527" y="663"/>
                  </a:lnTo>
                  <a:lnTo>
                    <a:pt x="524" y="666"/>
                  </a:lnTo>
                  <a:lnTo>
                    <a:pt x="522" y="668"/>
                  </a:lnTo>
                  <a:lnTo>
                    <a:pt x="518" y="670"/>
                  </a:lnTo>
                  <a:lnTo>
                    <a:pt x="518" y="672"/>
                  </a:lnTo>
                  <a:lnTo>
                    <a:pt x="514" y="676"/>
                  </a:lnTo>
                  <a:lnTo>
                    <a:pt x="514" y="676"/>
                  </a:lnTo>
                  <a:lnTo>
                    <a:pt x="514" y="676"/>
                  </a:lnTo>
                  <a:lnTo>
                    <a:pt x="514" y="676"/>
                  </a:lnTo>
                  <a:close/>
                  <a:moveTo>
                    <a:pt x="241" y="975"/>
                  </a:moveTo>
                  <a:lnTo>
                    <a:pt x="243" y="977"/>
                  </a:lnTo>
                  <a:lnTo>
                    <a:pt x="245" y="975"/>
                  </a:lnTo>
                  <a:lnTo>
                    <a:pt x="245" y="973"/>
                  </a:lnTo>
                  <a:lnTo>
                    <a:pt x="243" y="973"/>
                  </a:lnTo>
                  <a:lnTo>
                    <a:pt x="241" y="975"/>
                  </a:lnTo>
                  <a:lnTo>
                    <a:pt x="241" y="975"/>
                  </a:lnTo>
                  <a:lnTo>
                    <a:pt x="241" y="975"/>
                  </a:lnTo>
                  <a:lnTo>
                    <a:pt x="241" y="975"/>
                  </a:lnTo>
                  <a:close/>
                  <a:moveTo>
                    <a:pt x="258" y="939"/>
                  </a:moveTo>
                  <a:lnTo>
                    <a:pt x="260" y="939"/>
                  </a:lnTo>
                  <a:lnTo>
                    <a:pt x="260" y="939"/>
                  </a:lnTo>
                  <a:lnTo>
                    <a:pt x="258" y="939"/>
                  </a:lnTo>
                  <a:lnTo>
                    <a:pt x="258" y="939"/>
                  </a:lnTo>
                  <a:lnTo>
                    <a:pt x="258" y="939"/>
                  </a:lnTo>
                  <a:lnTo>
                    <a:pt x="258" y="939"/>
                  </a:lnTo>
                  <a:close/>
                  <a:moveTo>
                    <a:pt x="260" y="934"/>
                  </a:moveTo>
                  <a:lnTo>
                    <a:pt x="260" y="934"/>
                  </a:lnTo>
                  <a:lnTo>
                    <a:pt x="262" y="934"/>
                  </a:lnTo>
                  <a:lnTo>
                    <a:pt x="262" y="934"/>
                  </a:lnTo>
                  <a:lnTo>
                    <a:pt x="260" y="934"/>
                  </a:lnTo>
                  <a:lnTo>
                    <a:pt x="260" y="934"/>
                  </a:lnTo>
                  <a:lnTo>
                    <a:pt x="260" y="934"/>
                  </a:lnTo>
                  <a:lnTo>
                    <a:pt x="260" y="934"/>
                  </a:lnTo>
                  <a:close/>
                  <a:moveTo>
                    <a:pt x="262" y="928"/>
                  </a:moveTo>
                  <a:lnTo>
                    <a:pt x="264" y="928"/>
                  </a:lnTo>
                  <a:lnTo>
                    <a:pt x="264" y="928"/>
                  </a:lnTo>
                  <a:lnTo>
                    <a:pt x="264" y="926"/>
                  </a:lnTo>
                  <a:lnTo>
                    <a:pt x="264" y="926"/>
                  </a:lnTo>
                  <a:lnTo>
                    <a:pt x="262" y="928"/>
                  </a:lnTo>
                  <a:lnTo>
                    <a:pt x="262" y="928"/>
                  </a:lnTo>
                  <a:lnTo>
                    <a:pt x="262" y="928"/>
                  </a:lnTo>
                  <a:lnTo>
                    <a:pt x="262" y="928"/>
                  </a:lnTo>
                  <a:close/>
                  <a:moveTo>
                    <a:pt x="260" y="919"/>
                  </a:moveTo>
                  <a:lnTo>
                    <a:pt x="260" y="921"/>
                  </a:lnTo>
                  <a:lnTo>
                    <a:pt x="262" y="923"/>
                  </a:lnTo>
                  <a:lnTo>
                    <a:pt x="264" y="923"/>
                  </a:lnTo>
                  <a:lnTo>
                    <a:pt x="268" y="923"/>
                  </a:lnTo>
                  <a:lnTo>
                    <a:pt x="268" y="923"/>
                  </a:lnTo>
                  <a:lnTo>
                    <a:pt x="266" y="921"/>
                  </a:lnTo>
                  <a:lnTo>
                    <a:pt x="262" y="921"/>
                  </a:lnTo>
                  <a:lnTo>
                    <a:pt x="260" y="919"/>
                  </a:lnTo>
                  <a:lnTo>
                    <a:pt x="260" y="919"/>
                  </a:lnTo>
                  <a:lnTo>
                    <a:pt x="260" y="919"/>
                  </a:lnTo>
                  <a:lnTo>
                    <a:pt x="260" y="919"/>
                  </a:lnTo>
                  <a:lnTo>
                    <a:pt x="260" y="919"/>
                  </a:lnTo>
                  <a:close/>
                  <a:moveTo>
                    <a:pt x="273" y="917"/>
                  </a:moveTo>
                  <a:lnTo>
                    <a:pt x="277" y="915"/>
                  </a:lnTo>
                  <a:lnTo>
                    <a:pt x="277" y="913"/>
                  </a:lnTo>
                  <a:lnTo>
                    <a:pt x="273" y="913"/>
                  </a:lnTo>
                  <a:lnTo>
                    <a:pt x="273" y="917"/>
                  </a:lnTo>
                  <a:lnTo>
                    <a:pt x="273" y="917"/>
                  </a:lnTo>
                  <a:lnTo>
                    <a:pt x="273" y="917"/>
                  </a:lnTo>
                  <a:lnTo>
                    <a:pt x="273" y="917"/>
                  </a:lnTo>
                  <a:close/>
                  <a:moveTo>
                    <a:pt x="273" y="894"/>
                  </a:moveTo>
                  <a:lnTo>
                    <a:pt x="273" y="896"/>
                  </a:lnTo>
                  <a:lnTo>
                    <a:pt x="277" y="898"/>
                  </a:lnTo>
                  <a:lnTo>
                    <a:pt x="279" y="900"/>
                  </a:lnTo>
                  <a:lnTo>
                    <a:pt x="279" y="900"/>
                  </a:lnTo>
                  <a:lnTo>
                    <a:pt x="283" y="900"/>
                  </a:lnTo>
                  <a:lnTo>
                    <a:pt x="279" y="898"/>
                  </a:lnTo>
                  <a:lnTo>
                    <a:pt x="277" y="896"/>
                  </a:lnTo>
                  <a:lnTo>
                    <a:pt x="273" y="894"/>
                  </a:lnTo>
                  <a:lnTo>
                    <a:pt x="273" y="894"/>
                  </a:lnTo>
                  <a:lnTo>
                    <a:pt x="273" y="894"/>
                  </a:lnTo>
                  <a:lnTo>
                    <a:pt x="273" y="894"/>
                  </a:lnTo>
                  <a:lnTo>
                    <a:pt x="273" y="894"/>
                  </a:lnTo>
                  <a:close/>
                  <a:moveTo>
                    <a:pt x="298" y="851"/>
                  </a:moveTo>
                  <a:lnTo>
                    <a:pt x="298" y="855"/>
                  </a:lnTo>
                  <a:lnTo>
                    <a:pt x="300" y="857"/>
                  </a:lnTo>
                  <a:lnTo>
                    <a:pt x="300" y="862"/>
                  </a:lnTo>
                  <a:lnTo>
                    <a:pt x="301" y="864"/>
                  </a:lnTo>
                  <a:lnTo>
                    <a:pt x="303" y="866"/>
                  </a:lnTo>
                  <a:lnTo>
                    <a:pt x="301" y="860"/>
                  </a:lnTo>
                  <a:lnTo>
                    <a:pt x="303" y="857"/>
                  </a:lnTo>
                  <a:lnTo>
                    <a:pt x="301" y="855"/>
                  </a:lnTo>
                  <a:lnTo>
                    <a:pt x="300" y="851"/>
                  </a:lnTo>
                  <a:lnTo>
                    <a:pt x="298" y="849"/>
                  </a:lnTo>
                  <a:lnTo>
                    <a:pt x="298" y="851"/>
                  </a:lnTo>
                  <a:lnTo>
                    <a:pt x="298" y="851"/>
                  </a:lnTo>
                  <a:lnTo>
                    <a:pt x="298" y="851"/>
                  </a:lnTo>
                  <a:lnTo>
                    <a:pt x="298" y="851"/>
                  </a:lnTo>
                  <a:close/>
                  <a:moveTo>
                    <a:pt x="315" y="842"/>
                  </a:moveTo>
                  <a:lnTo>
                    <a:pt x="315" y="842"/>
                  </a:lnTo>
                  <a:lnTo>
                    <a:pt x="316" y="842"/>
                  </a:lnTo>
                  <a:lnTo>
                    <a:pt x="316" y="842"/>
                  </a:lnTo>
                  <a:lnTo>
                    <a:pt x="315" y="842"/>
                  </a:lnTo>
                  <a:lnTo>
                    <a:pt x="315" y="842"/>
                  </a:lnTo>
                  <a:lnTo>
                    <a:pt x="315" y="842"/>
                  </a:lnTo>
                  <a:lnTo>
                    <a:pt x="315" y="842"/>
                  </a:lnTo>
                  <a:lnTo>
                    <a:pt x="315" y="842"/>
                  </a:lnTo>
                  <a:close/>
                  <a:moveTo>
                    <a:pt x="320" y="836"/>
                  </a:moveTo>
                  <a:lnTo>
                    <a:pt x="320" y="836"/>
                  </a:lnTo>
                  <a:lnTo>
                    <a:pt x="320" y="836"/>
                  </a:lnTo>
                  <a:lnTo>
                    <a:pt x="320" y="836"/>
                  </a:lnTo>
                  <a:lnTo>
                    <a:pt x="320" y="836"/>
                  </a:lnTo>
                  <a:lnTo>
                    <a:pt x="320" y="836"/>
                  </a:lnTo>
                  <a:lnTo>
                    <a:pt x="320" y="836"/>
                  </a:lnTo>
                  <a:lnTo>
                    <a:pt x="320" y="836"/>
                  </a:lnTo>
                  <a:close/>
                  <a:moveTo>
                    <a:pt x="348" y="834"/>
                  </a:moveTo>
                  <a:lnTo>
                    <a:pt x="350" y="832"/>
                  </a:lnTo>
                  <a:lnTo>
                    <a:pt x="352" y="832"/>
                  </a:lnTo>
                  <a:lnTo>
                    <a:pt x="352" y="830"/>
                  </a:lnTo>
                  <a:lnTo>
                    <a:pt x="352" y="826"/>
                  </a:lnTo>
                  <a:lnTo>
                    <a:pt x="350" y="825"/>
                  </a:lnTo>
                  <a:lnTo>
                    <a:pt x="350" y="823"/>
                  </a:lnTo>
                  <a:lnTo>
                    <a:pt x="348" y="823"/>
                  </a:lnTo>
                  <a:lnTo>
                    <a:pt x="345" y="826"/>
                  </a:lnTo>
                  <a:lnTo>
                    <a:pt x="345" y="828"/>
                  </a:lnTo>
                  <a:lnTo>
                    <a:pt x="345" y="830"/>
                  </a:lnTo>
                  <a:lnTo>
                    <a:pt x="347" y="832"/>
                  </a:lnTo>
                  <a:lnTo>
                    <a:pt x="347" y="834"/>
                  </a:lnTo>
                  <a:lnTo>
                    <a:pt x="348" y="834"/>
                  </a:lnTo>
                  <a:lnTo>
                    <a:pt x="348" y="834"/>
                  </a:lnTo>
                  <a:lnTo>
                    <a:pt x="348" y="834"/>
                  </a:lnTo>
                  <a:lnTo>
                    <a:pt x="348" y="834"/>
                  </a:lnTo>
                  <a:close/>
                  <a:moveTo>
                    <a:pt x="360" y="832"/>
                  </a:moveTo>
                  <a:lnTo>
                    <a:pt x="360" y="830"/>
                  </a:lnTo>
                  <a:lnTo>
                    <a:pt x="360" y="828"/>
                  </a:lnTo>
                  <a:lnTo>
                    <a:pt x="360" y="830"/>
                  </a:lnTo>
                  <a:lnTo>
                    <a:pt x="360" y="832"/>
                  </a:lnTo>
                  <a:lnTo>
                    <a:pt x="360" y="832"/>
                  </a:lnTo>
                  <a:lnTo>
                    <a:pt x="360" y="832"/>
                  </a:lnTo>
                  <a:lnTo>
                    <a:pt x="360" y="832"/>
                  </a:lnTo>
                  <a:lnTo>
                    <a:pt x="360" y="832"/>
                  </a:lnTo>
                  <a:lnTo>
                    <a:pt x="360" y="832"/>
                  </a:lnTo>
                  <a:close/>
                  <a:moveTo>
                    <a:pt x="578" y="710"/>
                  </a:moveTo>
                  <a:lnTo>
                    <a:pt x="578" y="710"/>
                  </a:lnTo>
                  <a:lnTo>
                    <a:pt x="580" y="708"/>
                  </a:lnTo>
                  <a:lnTo>
                    <a:pt x="580" y="706"/>
                  </a:lnTo>
                  <a:lnTo>
                    <a:pt x="578" y="708"/>
                  </a:lnTo>
                  <a:lnTo>
                    <a:pt x="578" y="710"/>
                  </a:lnTo>
                  <a:lnTo>
                    <a:pt x="578" y="710"/>
                  </a:lnTo>
                  <a:lnTo>
                    <a:pt x="578" y="710"/>
                  </a:lnTo>
                  <a:lnTo>
                    <a:pt x="578" y="710"/>
                  </a:lnTo>
                  <a:close/>
                  <a:moveTo>
                    <a:pt x="539" y="678"/>
                  </a:moveTo>
                  <a:lnTo>
                    <a:pt x="542" y="678"/>
                  </a:lnTo>
                  <a:lnTo>
                    <a:pt x="542" y="678"/>
                  </a:lnTo>
                  <a:lnTo>
                    <a:pt x="542" y="676"/>
                  </a:lnTo>
                  <a:lnTo>
                    <a:pt x="539" y="676"/>
                  </a:lnTo>
                  <a:lnTo>
                    <a:pt x="539" y="676"/>
                  </a:lnTo>
                  <a:lnTo>
                    <a:pt x="539" y="678"/>
                  </a:lnTo>
                  <a:lnTo>
                    <a:pt x="539" y="678"/>
                  </a:lnTo>
                  <a:lnTo>
                    <a:pt x="539" y="678"/>
                  </a:lnTo>
                  <a:lnTo>
                    <a:pt x="539" y="678"/>
                  </a:lnTo>
                  <a:close/>
                  <a:moveTo>
                    <a:pt x="522" y="661"/>
                  </a:moveTo>
                  <a:lnTo>
                    <a:pt x="524" y="663"/>
                  </a:lnTo>
                  <a:lnTo>
                    <a:pt x="525" y="661"/>
                  </a:lnTo>
                  <a:lnTo>
                    <a:pt x="527" y="661"/>
                  </a:lnTo>
                  <a:lnTo>
                    <a:pt x="524" y="661"/>
                  </a:lnTo>
                  <a:lnTo>
                    <a:pt x="522" y="661"/>
                  </a:lnTo>
                  <a:lnTo>
                    <a:pt x="522" y="661"/>
                  </a:lnTo>
                  <a:lnTo>
                    <a:pt x="522" y="661"/>
                  </a:lnTo>
                  <a:lnTo>
                    <a:pt x="522" y="661"/>
                  </a:lnTo>
                  <a:close/>
                  <a:moveTo>
                    <a:pt x="556" y="653"/>
                  </a:moveTo>
                  <a:lnTo>
                    <a:pt x="556" y="653"/>
                  </a:lnTo>
                  <a:lnTo>
                    <a:pt x="557" y="657"/>
                  </a:lnTo>
                  <a:lnTo>
                    <a:pt x="557" y="653"/>
                  </a:lnTo>
                  <a:lnTo>
                    <a:pt x="557" y="653"/>
                  </a:lnTo>
                  <a:lnTo>
                    <a:pt x="556" y="651"/>
                  </a:lnTo>
                  <a:lnTo>
                    <a:pt x="556" y="653"/>
                  </a:lnTo>
                  <a:lnTo>
                    <a:pt x="556" y="653"/>
                  </a:lnTo>
                  <a:lnTo>
                    <a:pt x="556" y="653"/>
                  </a:lnTo>
                  <a:lnTo>
                    <a:pt x="556" y="653"/>
                  </a:lnTo>
                  <a:close/>
                  <a:moveTo>
                    <a:pt x="578" y="582"/>
                  </a:moveTo>
                  <a:lnTo>
                    <a:pt x="578" y="585"/>
                  </a:lnTo>
                  <a:lnTo>
                    <a:pt x="578" y="585"/>
                  </a:lnTo>
                  <a:lnTo>
                    <a:pt x="578" y="589"/>
                  </a:lnTo>
                  <a:lnTo>
                    <a:pt x="582" y="593"/>
                  </a:lnTo>
                  <a:lnTo>
                    <a:pt x="582" y="597"/>
                  </a:lnTo>
                  <a:lnTo>
                    <a:pt x="588" y="599"/>
                  </a:lnTo>
                  <a:lnTo>
                    <a:pt x="591" y="602"/>
                  </a:lnTo>
                  <a:lnTo>
                    <a:pt x="595" y="606"/>
                  </a:lnTo>
                  <a:lnTo>
                    <a:pt x="597" y="608"/>
                  </a:lnTo>
                  <a:lnTo>
                    <a:pt x="599" y="608"/>
                  </a:lnTo>
                  <a:lnTo>
                    <a:pt x="601" y="610"/>
                  </a:lnTo>
                  <a:lnTo>
                    <a:pt x="605" y="612"/>
                  </a:lnTo>
                  <a:lnTo>
                    <a:pt x="605" y="610"/>
                  </a:lnTo>
                  <a:lnTo>
                    <a:pt x="605" y="608"/>
                  </a:lnTo>
                  <a:lnTo>
                    <a:pt x="606" y="606"/>
                  </a:lnTo>
                  <a:lnTo>
                    <a:pt x="605" y="602"/>
                  </a:lnTo>
                  <a:lnTo>
                    <a:pt x="601" y="602"/>
                  </a:lnTo>
                  <a:lnTo>
                    <a:pt x="599" y="602"/>
                  </a:lnTo>
                  <a:lnTo>
                    <a:pt x="597" y="599"/>
                  </a:lnTo>
                  <a:lnTo>
                    <a:pt x="599" y="597"/>
                  </a:lnTo>
                  <a:lnTo>
                    <a:pt x="599" y="597"/>
                  </a:lnTo>
                  <a:lnTo>
                    <a:pt x="601" y="597"/>
                  </a:lnTo>
                  <a:lnTo>
                    <a:pt x="605" y="599"/>
                  </a:lnTo>
                  <a:lnTo>
                    <a:pt x="608" y="599"/>
                  </a:lnTo>
                  <a:lnTo>
                    <a:pt x="610" y="602"/>
                  </a:lnTo>
                  <a:lnTo>
                    <a:pt x="610" y="599"/>
                  </a:lnTo>
                  <a:lnTo>
                    <a:pt x="608" y="597"/>
                  </a:lnTo>
                  <a:lnTo>
                    <a:pt x="599" y="593"/>
                  </a:lnTo>
                  <a:lnTo>
                    <a:pt x="597" y="587"/>
                  </a:lnTo>
                  <a:lnTo>
                    <a:pt x="595" y="585"/>
                  </a:lnTo>
                  <a:lnTo>
                    <a:pt x="591" y="585"/>
                  </a:lnTo>
                  <a:lnTo>
                    <a:pt x="588" y="582"/>
                  </a:lnTo>
                  <a:lnTo>
                    <a:pt x="586" y="582"/>
                  </a:lnTo>
                  <a:lnTo>
                    <a:pt x="584" y="582"/>
                  </a:lnTo>
                  <a:lnTo>
                    <a:pt x="580" y="582"/>
                  </a:lnTo>
                  <a:lnTo>
                    <a:pt x="578" y="582"/>
                  </a:lnTo>
                  <a:lnTo>
                    <a:pt x="578" y="582"/>
                  </a:lnTo>
                  <a:lnTo>
                    <a:pt x="578" y="582"/>
                  </a:lnTo>
                  <a:lnTo>
                    <a:pt x="578" y="582"/>
                  </a:lnTo>
                  <a:close/>
                  <a:moveTo>
                    <a:pt x="571" y="583"/>
                  </a:moveTo>
                  <a:lnTo>
                    <a:pt x="571" y="583"/>
                  </a:lnTo>
                  <a:lnTo>
                    <a:pt x="571" y="582"/>
                  </a:lnTo>
                  <a:lnTo>
                    <a:pt x="573" y="578"/>
                  </a:lnTo>
                  <a:lnTo>
                    <a:pt x="567" y="580"/>
                  </a:lnTo>
                  <a:lnTo>
                    <a:pt x="567" y="583"/>
                  </a:lnTo>
                  <a:lnTo>
                    <a:pt x="571" y="583"/>
                  </a:lnTo>
                  <a:lnTo>
                    <a:pt x="571" y="583"/>
                  </a:lnTo>
                  <a:lnTo>
                    <a:pt x="571" y="583"/>
                  </a:lnTo>
                  <a:lnTo>
                    <a:pt x="571" y="583"/>
                  </a:lnTo>
                  <a:close/>
                  <a:moveTo>
                    <a:pt x="578" y="578"/>
                  </a:moveTo>
                  <a:lnTo>
                    <a:pt x="580" y="580"/>
                  </a:lnTo>
                  <a:lnTo>
                    <a:pt x="586" y="580"/>
                  </a:lnTo>
                  <a:lnTo>
                    <a:pt x="589" y="582"/>
                  </a:lnTo>
                  <a:lnTo>
                    <a:pt x="595" y="582"/>
                  </a:lnTo>
                  <a:lnTo>
                    <a:pt x="597" y="585"/>
                  </a:lnTo>
                  <a:lnTo>
                    <a:pt x="601" y="583"/>
                  </a:lnTo>
                  <a:lnTo>
                    <a:pt x="603" y="585"/>
                  </a:lnTo>
                  <a:lnTo>
                    <a:pt x="603" y="587"/>
                  </a:lnTo>
                  <a:lnTo>
                    <a:pt x="605" y="589"/>
                  </a:lnTo>
                  <a:lnTo>
                    <a:pt x="608" y="589"/>
                  </a:lnTo>
                  <a:lnTo>
                    <a:pt x="610" y="589"/>
                  </a:lnTo>
                  <a:lnTo>
                    <a:pt x="612" y="589"/>
                  </a:lnTo>
                  <a:lnTo>
                    <a:pt x="612" y="587"/>
                  </a:lnTo>
                  <a:lnTo>
                    <a:pt x="612" y="585"/>
                  </a:lnTo>
                  <a:lnTo>
                    <a:pt x="612" y="582"/>
                  </a:lnTo>
                  <a:lnTo>
                    <a:pt x="614" y="582"/>
                  </a:lnTo>
                  <a:lnTo>
                    <a:pt x="610" y="578"/>
                  </a:lnTo>
                  <a:lnTo>
                    <a:pt x="606" y="578"/>
                  </a:lnTo>
                  <a:lnTo>
                    <a:pt x="601" y="574"/>
                  </a:lnTo>
                  <a:lnTo>
                    <a:pt x="597" y="574"/>
                  </a:lnTo>
                  <a:lnTo>
                    <a:pt x="591" y="576"/>
                  </a:lnTo>
                  <a:lnTo>
                    <a:pt x="588" y="574"/>
                  </a:lnTo>
                  <a:lnTo>
                    <a:pt x="582" y="576"/>
                  </a:lnTo>
                  <a:lnTo>
                    <a:pt x="578" y="576"/>
                  </a:lnTo>
                  <a:lnTo>
                    <a:pt x="578" y="576"/>
                  </a:lnTo>
                  <a:lnTo>
                    <a:pt x="578" y="578"/>
                  </a:lnTo>
                  <a:lnTo>
                    <a:pt x="578" y="578"/>
                  </a:lnTo>
                  <a:lnTo>
                    <a:pt x="578" y="578"/>
                  </a:lnTo>
                  <a:lnTo>
                    <a:pt x="578" y="578"/>
                  </a:lnTo>
                  <a:close/>
                  <a:moveTo>
                    <a:pt x="563" y="563"/>
                  </a:moveTo>
                  <a:lnTo>
                    <a:pt x="567" y="568"/>
                  </a:lnTo>
                  <a:lnTo>
                    <a:pt x="571" y="568"/>
                  </a:lnTo>
                  <a:lnTo>
                    <a:pt x="574" y="572"/>
                  </a:lnTo>
                  <a:lnTo>
                    <a:pt x="580" y="574"/>
                  </a:lnTo>
                  <a:lnTo>
                    <a:pt x="588" y="572"/>
                  </a:lnTo>
                  <a:lnTo>
                    <a:pt x="597" y="574"/>
                  </a:lnTo>
                  <a:lnTo>
                    <a:pt x="601" y="572"/>
                  </a:lnTo>
                  <a:lnTo>
                    <a:pt x="601" y="572"/>
                  </a:lnTo>
                  <a:lnTo>
                    <a:pt x="597" y="572"/>
                  </a:lnTo>
                  <a:lnTo>
                    <a:pt x="589" y="572"/>
                  </a:lnTo>
                  <a:lnTo>
                    <a:pt x="586" y="568"/>
                  </a:lnTo>
                  <a:lnTo>
                    <a:pt x="580" y="568"/>
                  </a:lnTo>
                  <a:lnTo>
                    <a:pt x="576" y="567"/>
                  </a:lnTo>
                  <a:lnTo>
                    <a:pt x="574" y="563"/>
                  </a:lnTo>
                  <a:lnTo>
                    <a:pt x="576" y="563"/>
                  </a:lnTo>
                  <a:lnTo>
                    <a:pt x="578" y="563"/>
                  </a:lnTo>
                  <a:lnTo>
                    <a:pt x="586" y="568"/>
                  </a:lnTo>
                  <a:lnTo>
                    <a:pt x="591" y="568"/>
                  </a:lnTo>
                  <a:lnTo>
                    <a:pt x="595" y="568"/>
                  </a:lnTo>
                  <a:lnTo>
                    <a:pt x="591" y="567"/>
                  </a:lnTo>
                  <a:lnTo>
                    <a:pt x="584" y="559"/>
                  </a:lnTo>
                  <a:lnTo>
                    <a:pt x="573" y="559"/>
                  </a:lnTo>
                  <a:lnTo>
                    <a:pt x="571" y="559"/>
                  </a:lnTo>
                  <a:lnTo>
                    <a:pt x="571" y="559"/>
                  </a:lnTo>
                  <a:lnTo>
                    <a:pt x="565" y="563"/>
                  </a:lnTo>
                  <a:lnTo>
                    <a:pt x="563" y="563"/>
                  </a:lnTo>
                  <a:lnTo>
                    <a:pt x="563" y="563"/>
                  </a:lnTo>
                  <a:lnTo>
                    <a:pt x="563" y="563"/>
                  </a:lnTo>
                  <a:lnTo>
                    <a:pt x="563" y="563"/>
                  </a:lnTo>
                  <a:close/>
                  <a:moveTo>
                    <a:pt x="620" y="574"/>
                  </a:moveTo>
                  <a:lnTo>
                    <a:pt x="620" y="574"/>
                  </a:lnTo>
                  <a:lnTo>
                    <a:pt x="621" y="574"/>
                  </a:lnTo>
                  <a:lnTo>
                    <a:pt x="621" y="572"/>
                  </a:lnTo>
                  <a:lnTo>
                    <a:pt x="620" y="572"/>
                  </a:lnTo>
                  <a:lnTo>
                    <a:pt x="620" y="574"/>
                  </a:lnTo>
                  <a:lnTo>
                    <a:pt x="620" y="574"/>
                  </a:lnTo>
                  <a:lnTo>
                    <a:pt x="620" y="574"/>
                  </a:lnTo>
                  <a:lnTo>
                    <a:pt x="620" y="574"/>
                  </a:lnTo>
                  <a:close/>
                  <a:moveTo>
                    <a:pt x="621" y="518"/>
                  </a:moveTo>
                  <a:lnTo>
                    <a:pt x="620" y="523"/>
                  </a:lnTo>
                  <a:lnTo>
                    <a:pt x="620" y="527"/>
                  </a:lnTo>
                  <a:lnTo>
                    <a:pt x="621" y="529"/>
                  </a:lnTo>
                  <a:lnTo>
                    <a:pt x="625" y="529"/>
                  </a:lnTo>
                  <a:lnTo>
                    <a:pt x="629" y="533"/>
                  </a:lnTo>
                  <a:lnTo>
                    <a:pt x="631" y="533"/>
                  </a:lnTo>
                  <a:lnTo>
                    <a:pt x="635" y="533"/>
                  </a:lnTo>
                  <a:lnTo>
                    <a:pt x="638" y="533"/>
                  </a:lnTo>
                  <a:lnTo>
                    <a:pt x="638" y="529"/>
                  </a:lnTo>
                  <a:lnTo>
                    <a:pt x="640" y="525"/>
                  </a:lnTo>
                  <a:lnTo>
                    <a:pt x="640" y="521"/>
                  </a:lnTo>
                  <a:lnTo>
                    <a:pt x="633" y="516"/>
                  </a:lnTo>
                  <a:lnTo>
                    <a:pt x="627" y="518"/>
                  </a:lnTo>
                  <a:lnTo>
                    <a:pt x="621" y="518"/>
                  </a:lnTo>
                  <a:lnTo>
                    <a:pt x="621" y="518"/>
                  </a:lnTo>
                  <a:lnTo>
                    <a:pt x="621" y="518"/>
                  </a:lnTo>
                  <a:lnTo>
                    <a:pt x="621" y="518"/>
                  </a:lnTo>
                  <a:close/>
                  <a:moveTo>
                    <a:pt x="657" y="516"/>
                  </a:moveTo>
                  <a:lnTo>
                    <a:pt x="659" y="516"/>
                  </a:lnTo>
                  <a:lnTo>
                    <a:pt x="661" y="512"/>
                  </a:lnTo>
                  <a:lnTo>
                    <a:pt x="661" y="510"/>
                  </a:lnTo>
                  <a:lnTo>
                    <a:pt x="659" y="510"/>
                  </a:lnTo>
                  <a:lnTo>
                    <a:pt x="657" y="512"/>
                  </a:lnTo>
                  <a:lnTo>
                    <a:pt x="657" y="516"/>
                  </a:lnTo>
                  <a:lnTo>
                    <a:pt x="657" y="516"/>
                  </a:lnTo>
                  <a:lnTo>
                    <a:pt x="657" y="516"/>
                  </a:lnTo>
                  <a:lnTo>
                    <a:pt x="657" y="516"/>
                  </a:lnTo>
                  <a:close/>
                  <a:moveTo>
                    <a:pt x="640" y="495"/>
                  </a:moveTo>
                  <a:lnTo>
                    <a:pt x="640" y="497"/>
                  </a:lnTo>
                  <a:lnTo>
                    <a:pt x="640" y="502"/>
                  </a:lnTo>
                  <a:lnTo>
                    <a:pt x="640" y="504"/>
                  </a:lnTo>
                  <a:lnTo>
                    <a:pt x="644" y="508"/>
                  </a:lnTo>
                  <a:lnTo>
                    <a:pt x="646" y="504"/>
                  </a:lnTo>
                  <a:lnTo>
                    <a:pt x="646" y="502"/>
                  </a:lnTo>
                  <a:lnTo>
                    <a:pt x="650" y="499"/>
                  </a:lnTo>
                  <a:lnTo>
                    <a:pt x="650" y="499"/>
                  </a:lnTo>
                  <a:lnTo>
                    <a:pt x="644" y="495"/>
                  </a:lnTo>
                  <a:lnTo>
                    <a:pt x="640" y="495"/>
                  </a:lnTo>
                  <a:lnTo>
                    <a:pt x="640" y="495"/>
                  </a:lnTo>
                  <a:lnTo>
                    <a:pt x="640" y="495"/>
                  </a:lnTo>
                  <a:lnTo>
                    <a:pt x="640" y="495"/>
                  </a:lnTo>
                  <a:close/>
                  <a:moveTo>
                    <a:pt x="665" y="480"/>
                  </a:moveTo>
                  <a:lnTo>
                    <a:pt x="665" y="487"/>
                  </a:lnTo>
                  <a:lnTo>
                    <a:pt x="663" y="493"/>
                  </a:lnTo>
                  <a:lnTo>
                    <a:pt x="665" y="495"/>
                  </a:lnTo>
                  <a:lnTo>
                    <a:pt x="669" y="499"/>
                  </a:lnTo>
                  <a:lnTo>
                    <a:pt x="670" y="497"/>
                  </a:lnTo>
                  <a:lnTo>
                    <a:pt x="674" y="497"/>
                  </a:lnTo>
                  <a:lnTo>
                    <a:pt x="676" y="497"/>
                  </a:lnTo>
                  <a:lnTo>
                    <a:pt x="676" y="499"/>
                  </a:lnTo>
                  <a:lnTo>
                    <a:pt x="680" y="499"/>
                  </a:lnTo>
                  <a:lnTo>
                    <a:pt x="682" y="497"/>
                  </a:lnTo>
                  <a:lnTo>
                    <a:pt x="684" y="495"/>
                  </a:lnTo>
                  <a:lnTo>
                    <a:pt x="684" y="489"/>
                  </a:lnTo>
                  <a:lnTo>
                    <a:pt x="680" y="487"/>
                  </a:lnTo>
                  <a:lnTo>
                    <a:pt x="680" y="491"/>
                  </a:lnTo>
                  <a:lnTo>
                    <a:pt x="680" y="493"/>
                  </a:lnTo>
                  <a:lnTo>
                    <a:pt x="678" y="491"/>
                  </a:lnTo>
                  <a:lnTo>
                    <a:pt x="674" y="487"/>
                  </a:lnTo>
                  <a:lnTo>
                    <a:pt x="674" y="486"/>
                  </a:lnTo>
                  <a:lnTo>
                    <a:pt x="674" y="482"/>
                  </a:lnTo>
                  <a:lnTo>
                    <a:pt x="674" y="480"/>
                  </a:lnTo>
                  <a:lnTo>
                    <a:pt x="676" y="480"/>
                  </a:lnTo>
                  <a:lnTo>
                    <a:pt x="676" y="478"/>
                  </a:lnTo>
                  <a:lnTo>
                    <a:pt x="674" y="478"/>
                  </a:lnTo>
                  <a:lnTo>
                    <a:pt x="670" y="480"/>
                  </a:lnTo>
                  <a:lnTo>
                    <a:pt x="669" y="478"/>
                  </a:lnTo>
                  <a:lnTo>
                    <a:pt x="669" y="480"/>
                  </a:lnTo>
                  <a:lnTo>
                    <a:pt x="665" y="480"/>
                  </a:lnTo>
                  <a:lnTo>
                    <a:pt x="665" y="480"/>
                  </a:lnTo>
                  <a:lnTo>
                    <a:pt x="665" y="480"/>
                  </a:lnTo>
                  <a:lnTo>
                    <a:pt x="665" y="480"/>
                  </a:lnTo>
                  <a:close/>
                  <a:moveTo>
                    <a:pt x="670" y="421"/>
                  </a:moveTo>
                  <a:lnTo>
                    <a:pt x="665" y="423"/>
                  </a:lnTo>
                  <a:lnTo>
                    <a:pt x="665" y="425"/>
                  </a:lnTo>
                  <a:lnTo>
                    <a:pt x="669" y="427"/>
                  </a:lnTo>
                  <a:lnTo>
                    <a:pt x="670" y="429"/>
                  </a:lnTo>
                  <a:lnTo>
                    <a:pt x="669" y="431"/>
                  </a:lnTo>
                  <a:lnTo>
                    <a:pt x="669" y="435"/>
                  </a:lnTo>
                  <a:lnTo>
                    <a:pt x="670" y="440"/>
                  </a:lnTo>
                  <a:lnTo>
                    <a:pt x="670" y="444"/>
                  </a:lnTo>
                  <a:lnTo>
                    <a:pt x="669" y="450"/>
                  </a:lnTo>
                  <a:lnTo>
                    <a:pt x="669" y="453"/>
                  </a:lnTo>
                  <a:lnTo>
                    <a:pt x="670" y="455"/>
                  </a:lnTo>
                  <a:lnTo>
                    <a:pt x="670" y="453"/>
                  </a:lnTo>
                  <a:lnTo>
                    <a:pt x="670" y="448"/>
                  </a:lnTo>
                  <a:lnTo>
                    <a:pt x="674" y="446"/>
                  </a:lnTo>
                  <a:lnTo>
                    <a:pt x="674" y="440"/>
                  </a:lnTo>
                  <a:lnTo>
                    <a:pt x="670" y="438"/>
                  </a:lnTo>
                  <a:lnTo>
                    <a:pt x="670" y="431"/>
                  </a:lnTo>
                  <a:lnTo>
                    <a:pt x="670" y="425"/>
                  </a:lnTo>
                  <a:lnTo>
                    <a:pt x="670" y="423"/>
                  </a:lnTo>
                  <a:lnTo>
                    <a:pt x="670" y="421"/>
                  </a:lnTo>
                  <a:lnTo>
                    <a:pt x="670" y="421"/>
                  </a:lnTo>
                  <a:lnTo>
                    <a:pt x="670" y="421"/>
                  </a:lnTo>
                  <a:lnTo>
                    <a:pt x="670" y="421"/>
                  </a:lnTo>
                  <a:close/>
                  <a:moveTo>
                    <a:pt x="640" y="431"/>
                  </a:moveTo>
                  <a:lnTo>
                    <a:pt x="640" y="433"/>
                  </a:lnTo>
                  <a:lnTo>
                    <a:pt x="640" y="435"/>
                  </a:lnTo>
                  <a:lnTo>
                    <a:pt x="644" y="435"/>
                  </a:lnTo>
                  <a:lnTo>
                    <a:pt x="646" y="433"/>
                  </a:lnTo>
                  <a:lnTo>
                    <a:pt x="644" y="429"/>
                  </a:lnTo>
                  <a:lnTo>
                    <a:pt x="644" y="429"/>
                  </a:lnTo>
                  <a:lnTo>
                    <a:pt x="640" y="431"/>
                  </a:lnTo>
                  <a:lnTo>
                    <a:pt x="640" y="431"/>
                  </a:lnTo>
                  <a:lnTo>
                    <a:pt x="640" y="431"/>
                  </a:lnTo>
                  <a:lnTo>
                    <a:pt x="640" y="431"/>
                  </a:lnTo>
                  <a:close/>
                  <a:moveTo>
                    <a:pt x="637" y="423"/>
                  </a:moveTo>
                  <a:lnTo>
                    <a:pt x="638" y="427"/>
                  </a:lnTo>
                  <a:lnTo>
                    <a:pt x="640" y="425"/>
                  </a:lnTo>
                  <a:lnTo>
                    <a:pt x="640" y="423"/>
                  </a:lnTo>
                  <a:lnTo>
                    <a:pt x="638" y="423"/>
                  </a:lnTo>
                  <a:lnTo>
                    <a:pt x="637" y="423"/>
                  </a:lnTo>
                  <a:lnTo>
                    <a:pt x="637" y="423"/>
                  </a:lnTo>
                  <a:lnTo>
                    <a:pt x="637" y="423"/>
                  </a:lnTo>
                  <a:lnTo>
                    <a:pt x="637" y="423"/>
                  </a:lnTo>
                  <a:close/>
                  <a:moveTo>
                    <a:pt x="661" y="363"/>
                  </a:moveTo>
                  <a:lnTo>
                    <a:pt x="663" y="367"/>
                  </a:lnTo>
                  <a:lnTo>
                    <a:pt x="665" y="369"/>
                  </a:lnTo>
                  <a:lnTo>
                    <a:pt x="669" y="369"/>
                  </a:lnTo>
                  <a:lnTo>
                    <a:pt x="669" y="367"/>
                  </a:lnTo>
                  <a:lnTo>
                    <a:pt x="665" y="365"/>
                  </a:lnTo>
                  <a:lnTo>
                    <a:pt x="663" y="361"/>
                  </a:lnTo>
                  <a:lnTo>
                    <a:pt x="661" y="361"/>
                  </a:lnTo>
                  <a:lnTo>
                    <a:pt x="661" y="363"/>
                  </a:lnTo>
                  <a:lnTo>
                    <a:pt x="661" y="363"/>
                  </a:lnTo>
                  <a:lnTo>
                    <a:pt x="661" y="363"/>
                  </a:lnTo>
                  <a:lnTo>
                    <a:pt x="661" y="363"/>
                  </a:lnTo>
                  <a:close/>
                  <a:moveTo>
                    <a:pt x="684" y="376"/>
                  </a:moveTo>
                  <a:lnTo>
                    <a:pt x="684" y="376"/>
                  </a:lnTo>
                  <a:lnTo>
                    <a:pt x="685" y="380"/>
                  </a:lnTo>
                  <a:lnTo>
                    <a:pt x="687" y="380"/>
                  </a:lnTo>
                  <a:lnTo>
                    <a:pt x="689" y="376"/>
                  </a:lnTo>
                  <a:lnTo>
                    <a:pt x="689" y="376"/>
                  </a:lnTo>
                  <a:lnTo>
                    <a:pt x="689" y="371"/>
                  </a:lnTo>
                  <a:lnTo>
                    <a:pt x="691" y="371"/>
                  </a:lnTo>
                  <a:lnTo>
                    <a:pt x="691" y="365"/>
                  </a:lnTo>
                  <a:lnTo>
                    <a:pt x="685" y="371"/>
                  </a:lnTo>
                  <a:lnTo>
                    <a:pt x="685" y="374"/>
                  </a:lnTo>
                  <a:lnTo>
                    <a:pt x="684" y="376"/>
                  </a:lnTo>
                  <a:lnTo>
                    <a:pt x="684" y="376"/>
                  </a:lnTo>
                  <a:lnTo>
                    <a:pt x="684" y="376"/>
                  </a:lnTo>
                  <a:lnTo>
                    <a:pt x="684" y="376"/>
                  </a:lnTo>
                  <a:close/>
                  <a:moveTo>
                    <a:pt x="674" y="356"/>
                  </a:moveTo>
                  <a:lnTo>
                    <a:pt x="674" y="356"/>
                  </a:lnTo>
                  <a:lnTo>
                    <a:pt x="676" y="356"/>
                  </a:lnTo>
                  <a:lnTo>
                    <a:pt x="676" y="352"/>
                  </a:lnTo>
                  <a:lnTo>
                    <a:pt x="676" y="350"/>
                  </a:lnTo>
                  <a:lnTo>
                    <a:pt x="674" y="350"/>
                  </a:lnTo>
                  <a:lnTo>
                    <a:pt x="674" y="356"/>
                  </a:lnTo>
                  <a:lnTo>
                    <a:pt x="674" y="356"/>
                  </a:lnTo>
                  <a:lnTo>
                    <a:pt x="674" y="356"/>
                  </a:lnTo>
                  <a:lnTo>
                    <a:pt x="674" y="356"/>
                  </a:lnTo>
                  <a:close/>
                  <a:moveTo>
                    <a:pt x="674" y="342"/>
                  </a:moveTo>
                  <a:lnTo>
                    <a:pt x="674" y="344"/>
                  </a:lnTo>
                  <a:lnTo>
                    <a:pt x="676" y="346"/>
                  </a:lnTo>
                  <a:lnTo>
                    <a:pt x="676" y="344"/>
                  </a:lnTo>
                  <a:lnTo>
                    <a:pt x="676" y="342"/>
                  </a:lnTo>
                  <a:lnTo>
                    <a:pt x="674" y="342"/>
                  </a:lnTo>
                  <a:lnTo>
                    <a:pt x="674" y="342"/>
                  </a:lnTo>
                  <a:lnTo>
                    <a:pt x="674" y="342"/>
                  </a:lnTo>
                  <a:lnTo>
                    <a:pt x="674" y="342"/>
                  </a:lnTo>
                  <a:close/>
                  <a:moveTo>
                    <a:pt x="693" y="303"/>
                  </a:moveTo>
                  <a:lnTo>
                    <a:pt x="695" y="307"/>
                  </a:lnTo>
                  <a:lnTo>
                    <a:pt x="695" y="308"/>
                  </a:lnTo>
                  <a:lnTo>
                    <a:pt x="699" y="305"/>
                  </a:lnTo>
                  <a:lnTo>
                    <a:pt x="699" y="301"/>
                  </a:lnTo>
                  <a:lnTo>
                    <a:pt x="699" y="297"/>
                  </a:lnTo>
                  <a:lnTo>
                    <a:pt x="699" y="295"/>
                  </a:lnTo>
                  <a:lnTo>
                    <a:pt x="699" y="291"/>
                  </a:lnTo>
                  <a:lnTo>
                    <a:pt x="695" y="295"/>
                  </a:lnTo>
                  <a:lnTo>
                    <a:pt x="695" y="297"/>
                  </a:lnTo>
                  <a:lnTo>
                    <a:pt x="693" y="303"/>
                  </a:lnTo>
                  <a:lnTo>
                    <a:pt x="693" y="303"/>
                  </a:lnTo>
                  <a:lnTo>
                    <a:pt x="693" y="303"/>
                  </a:lnTo>
                  <a:lnTo>
                    <a:pt x="693" y="303"/>
                  </a:lnTo>
                  <a:close/>
                  <a:moveTo>
                    <a:pt x="682" y="248"/>
                  </a:moveTo>
                  <a:lnTo>
                    <a:pt x="682" y="248"/>
                  </a:lnTo>
                  <a:lnTo>
                    <a:pt x="684" y="246"/>
                  </a:lnTo>
                  <a:lnTo>
                    <a:pt x="689" y="248"/>
                  </a:lnTo>
                  <a:lnTo>
                    <a:pt x="691" y="244"/>
                  </a:lnTo>
                  <a:lnTo>
                    <a:pt x="691" y="241"/>
                  </a:lnTo>
                  <a:lnTo>
                    <a:pt x="689" y="237"/>
                  </a:lnTo>
                  <a:lnTo>
                    <a:pt x="682" y="241"/>
                  </a:lnTo>
                  <a:lnTo>
                    <a:pt x="680" y="246"/>
                  </a:lnTo>
                  <a:lnTo>
                    <a:pt x="682" y="248"/>
                  </a:lnTo>
                  <a:lnTo>
                    <a:pt x="682" y="248"/>
                  </a:lnTo>
                  <a:lnTo>
                    <a:pt x="682" y="248"/>
                  </a:lnTo>
                  <a:lnTo>
                    <a:pt x="682" y="248"/>
                  </a:lnTo>
                  <a:close/>
                  <a:moveTo>
                    <a:pt x="719" y="146"/>
                  </a:moveTo>
                  <a:lnTo>
                    <a:pt x="719" y="145"/>
                  </a:lnTo>
                  <a:lnTo>
                    <a:pt x="719" y="141"/>
                  </a:lnTo>
                  <a:lnTo>
                    <a:pt x="719" y="133"/>
                  </a:lnTo>
                  <a:lnTo>
                    <a:pt x="719" y="133"/>
                  </a:lnTo>
                  <a:lnTo>
                    <a:pt x="719" y="128"/>
                  </a:lnTo>
                  <a:lnTo>
                    <a:pt x="717" y="131"/>
                  </a:lnTo>
                  <a:lnTo>
                    <a:pt x="717" y="133"/>
                  </a:lnTo>
                  <a:lnTo>
                    <a:pt x="719" y="133"/>
                  </a:lnTo>
                  <a:lnTo>
                    <a:pt x="719" y="137"/>
                  </a:lnTo>
                  <a:lnTo>
                    <a:pt x="717" y="141"/>
                  </a:lnTo>
                  <a:lnTo>
                    <a:pt x="719" y="146"/>
                  </a:lnTo>
                  <a:lnTo>
                    <a:pt x="719" y="146"/>
                  </a:lnTo>
                  <a:lnTo>
                    <a:pt x="719" y="146"/>
                  </a:lnTo>
                  <a:lnTo>
                    <a:pt x="719" y="146"/>
                  </a:lnTo>
                  <a:close/>
                  <a:moveTo>
                    <a:pt x="708" y="158"/>
                  </a:moveTo>
                  <a:lnTo>
                    <a:pt x="708" y="158"/>
                  </a:lnTo>
                  <a:lnTo>
                    <a:pt x="710" y="158"/>
                  </a:lnTo>
                  <a:lnTo>
                    <a:pt x="710" y="156"/>
                  </a:lnTo>
                  <a:lnTo>
                    <a:pt x="710" y="150"/>
                  </a:lnTo>
                  <a:lnTo>
                    <a:pt x="708" y="148"/>
                  </a:lnTo>
                  <a:lnTo>
                    <a:pt x="706" y="150"/>
                  </a:lnTo>
                  <a:lnTo>
                    <a:pt x="706" y="154"/>
                  </a:lnTo>
                  <a:lnTo>
                    <a:pt x="708" y="158"/>
                  </a:lnTo>
                  <a:lnTo>
                    <a:pt x="708" y="158"/>
                  </a:lnTo>
                  <a:lnTo>
                    <a:pt x="708" y="158"/>
                  </a:lnTo>
                  <a:lnTo>
                    <a:pt x="708" y="158"/>
                  </a:lnTo>
                  <a:close/>
                  <a:moveTo>
                    <a:pt x="701" y="146"/>
                  </a:moveTo>
                  <a:lnTo>
                    <a:pt x="702" y="148"/>
                  </a:lnTo>
                  <a:lnTo>
                    <a:pt x="704" y="146"/>
                  </a:lnTo>
                  <a:lnTo>
                    <a:pt x="706" y="141"/>
                  </a:lnTo>
                  <a:lnTo>
                    <a:pt x="706" y="139"/>
                  </a:lnTo>
                  <a:lnTo>
                    <a:pt x="706" y="137"/>
                  </a:lnTo>
                  <a:lnTo>
                    <a:pt x="704" y="137"/>
                  </a:lnTo>
                  <a:lnTo>
                    <a:pt x="702" y="137"/>
                  </a:lnTo>
                  <a:lnTo>
                    <a:pt x="701" y="139"/>
                  </a:lnTo>
                  <a:lnTo>
                    <a:pt x="701" y="143"/>
                  </a:lnTo>
                  <a:lnTo>
                    <a:pt x="701" y="146"/>
                  </a:lnTo>
                  <a:lnTo>
                    <a:pt x="701" y="146"/>
                  </a:lnTo>
                  <a:lnTo>
                    <a:pt x="701" y="146"/>
                  </a:lnTo>
                  <a:lnTo>
                    <a:pt x="701" y="146"/>
                  </a:lnTo>
                  <a:close/>
                  <a:moveTo>
                    <a:pt x="509" y="9"/>
                  </a:moveTo>
                  <a:lnTo>
                    <a:pt x="509" y="9"/>
                  </a:lnTo>
                  <a:lnTo>
                    <a:pt x="509" y="9"/>
                  </a:lnTo>
                  <a:lnTo>
                    <a:pt x="512" y="7"/>
                  </a:lnTo>
                  <a:lnTo>
                    <a:pt x="509" y="5"/>
                  </a:lnTo>
                  <a:lnTo>
                    <a:pt x="509" y="5"/>
                  </a:lnTo>
                  <a:lnTo>
                    <a:pt x="507" y="7"/>
                  </a:lnTo>
                  <a:lnTo>
                    <a:pt x="509" y="9"/>
                  </a:lnTo>
                  <a:lnTo>
                    <a:pt x="509" y="9"/>
                  </a:lnTo>
                  <a:lnTo>
                    <a:pt x="509" y="9"/>
                  </a:lnTo>
                  <a:lnTo>
                    <a:pt x="509" y="9"/>
                  </a:lnTo>
                  <a:close/>
                  <a:moveTo>
                    <a:pt x="509" y="16"/>
                  </a:moveTo>
                  <a:lnTo>
                    <a:pt x="509" y="18"/>
                  </a:lnTo>
                  <a:lnTo>
                    <a:pt x="512" y="18"/>
                  </a:lnTo>
                  <a:lnTo>
                    <a:pt x="512" y="15"/>
                  </a:lnTo>
                  <a:lnTo>
                    <a:pt x="512" y="13"/>
                  </a:lnTo>
                  <a:lnTo>
                    <a:pt x="512" y="13"/>
                  </a:lnTo>
                  <a:lnTo>
                    <a:pt x="509" y="15"/>
                  </a:lnTo>
                  <a:lnTo>
                    <a:pt x="509" y="16"/>
                  </a:lnTo>
                  <a:lnTo>
                    <a:pt x="509" y="16"/>
                  </a:lnTo>
                  <a:lnTo>
                    <a:pt x="509" y="16"/>
                  </a:lnTo>
                  <a:lnTo>
                    <a:pt x="509" y="16"/>
                  </a:lnTo>
                  <a:close/>
                  <a:moveTo>
                    <a:pt x="493" y="16"/>
                  </a:moveTo>
                  <a:lnTo>
                    <a:pt x="497" y="20"/>
                  </a:lnTo>
                  <a:lnTo>
                    <a:pt x="497" y="24"/>
                  </a:lnTo>
                  <a:lnTo>
                    <a:pt x="499" y="24"/>
                  </a:lnTo>
                  <a:lnTo>
                    <a:pt x="501" y="20"/>
                  </a:lnTo>
                  <a:lnTo>
                    <a:pt x="503" y="20"/>
                  </a:lnTo>
                  <a:lnTo>
                    <a:pt x="497" y="15"/>
                  </a:lnTo>
                  <a:lnTo>
                    <a:pt x="497" y="13"/>
                  </a:lnTo>
                  <a:lnTo>
                    <a:pt x="497" y="9"/>
                  </a:lnTo>
                  <a:lnTo>
                    <a:pt x="493" y="13"/>
                  </a:lnTo>
                  <a:lnTo>
                    <a:pt x="493" y="15"/>
                  </a:lnTo>
                  <a:lnTo>
                    <a:pt x="492" y="15"/>
                  </a:lnTo>
                  <a:lnTo>
                    <a:pt x="493" y="16"/>
                  </a:lnTo>
                  <a:lnTo>
                    <a:pt x="493" y="16"/>
                  </a:lnTo>
                  <a:lnTo>
                    <a:pt x="493" y="16"/>
                  </a:lnTo>
                  <a:lnTo>
                    <a:pt x="493" y="16"/>
                  </a:lnTo>
                  <a:close/>
                  <a:moveTo>
                    <a:pt x="484" y="20"/>
                  </a:moveTo>
                  <a:lnTo>
                    <a:pt x="484" y="24"/>
                  </a:lnTo>
                  <a:lnTo>
                    <a:pt x="484" y="24"/>
                  </a:lnTo>
                  <a:lnTo>
                    <a:pt x="488" y="24"/>
                  </a:lnTo>
                  <a:lnTo>
                    <a:pt x="488" y="22"/>
                  </a:lnTo>
                  <a:lnTo>
                    <a:pt x="484" y="20"/>
                  </a:lnTo>
                  <a:lnTo>
                    <a:pt x="484" y="20"/>
                  </a:lnTo>
                  <a:lnTo>
                    <a:pt x="484" y="20"/>
                  </a:lnTo>
                  <a:lnTo>
                    <a:pt x="484" y="20"/>
                  </a:lnTo>
                  <a:lnTo>
                    <a:pt x="484" y="20"/>
                  </a:lnTo>
                  <a:close/>
                  <a:moveTo>
                    <a:pt x="429" y="37"/>
                  </a:moveTo>
                  <a:lnTo>
                    <a:pt x="431" y="39"/>
                  </a:lnTo>
                  <a:lnTo>
                    <a:pt x="433" y="39"/>
                  </a:lnTo>
                  <a:lnTo>
                    <a:pt x="439" y="45"/>
                  </a:lnTo>
                  <a:lnTo>
                    <a:pt x="439" y="45"/>
                  </a:lnTo>
                  <a:lnTo>
                    <a:pt x="441" y="43"/>
                  </a:lnTo>
                  <a:lnTo>
                    <a:pt x="441" y="39"/>
                  </a:lnTo>
                  <a:lnTo>
                    <a:pt x="443" y="37"/>
                  </a:lnTo>
                  <a:lnTo>
                    <a:pt x="443" y="33"/>
                  </a:lnTo>
                  <a:lnTo>
                    <a:pt x="439" y="33"/>
                  </a:lnTo>
                  <a:lnTo>
                    <a:pt x="439" y="30"/>
                  </a:lnTo>
                  <a:lnTo>
                    <a:pt x="435" y="30"/>
                  </a:lnTo>
                  <a:lnTo>
                    <a:pt x="433" y="32"/>
                  </a:lnTo>
                  <a:lnTo>
                    <a:pt x="435" y="33"/>
                  </a:lnTo>
                  <a:lnTo>
                    <a:pt x="435" y="37"/>
                  </a:lnTo>
                  <a:lnTo>
                    <a:pt x="433" y="39"/>
                  </a:lnTo>
                  <a:lnTo>
                    <a:pt x="431" y="33"/>
                  </a:lnTo>
                  <a:lnTo>
                    <a:pt x="429" y="37"/>
                  </a:lnTo>
                  <a:lnTo>
                    <a:pt x="429" y="37"/>
                  </a:lnTo>
                  <a:lnTo>
                    <a:pt x="429" y="37"/>
                  </a:lnTo>
                  <a:lnTo>
                    <a:pt x="429" y="37"/>
                  </a:lnTo>
                  <a:close/>
                  <a:moveTo>
                    <a:pt x="426" y="39"/>
                  </a:moveTo>
                  <a:lnTo>
                    <a:pt x="428" y="43"/>
                  </a:lnTo>
                  <a:lnTo>
                    <a:pt x="429" y="45"/>
                  </a:lnTo>
                  <a:lnTo>
                    <a:pt x="429" y="39"/>
                  </a:lnTo>
                  <a:lnTo>
                    <a:pt x="428" y="39"/>
                  </a:lnTo>
                  <a:lnTo>
                    <a:pt x="426" y="39"/>
                  </a:lnTo>
                  <a:lnTo>
                    <a:pt x="426" y="39"/>
                  </a:lnTo>
                  <a:lnTo>
                    <a:pt x="426" y="39"/>
                  </a:lnTo>
                  <a:lnTo>
                    <a:pt x="426" y="39"/>
                  </a:lnTo>
                  <a:close/>
                  <a:moveTo>
                    <a:pt x="409" y="39"/>
                  </a:moveTo>
                  <a:lnTo>
                    <a:pt x="409" y="39"/>
                  </a:lnTo>
                  <a:lnTo>
                    <a:pt x="414" y="43"/>
                  </a:lnTo>
                  <a:lnTo>
                    <a:pt x="414" y="43"/>
                  </a:lnTo>
                  <a:lnTo>
                    <a:pt x="416" y="43"/>
                  </a:lnTo>
                  <a:lnTo>
                    <a:pt x="416" y="39"/>
                  </a:lnTo>
                  <a:lnTo>
                    <a:pt x="414" y="39"/>
                  </a:lnTo>
                  <a:lnTo>
                    <a:pt x="414" y="39"/>
                  </a:lnTo>
                  <a:lnTo>
                    <a:pt x="414" y="33"/>
                  </a:lnTo>
                  <a:lnTo>
                    <a:pt x="411" y="33"/>
                  </a:lnTo>
                  <a:lnTo>
                    <a:pt x="409" y="37"/>
                  </a:lnTo>
                  <a:lnTo>
                    <a:pt x="409" y="39"/>
                  </a:lnTo>
                  <a:lnTo>
                    <a:pt x="409" y="39"/>
                  </a:lnTo>
                  <a:lnTo>
                    <a:pt x="409" y="39"/>
                  </a:lnTo>
                  <a:lnTo>
                    <a:pt x="409" y="39"/>
                  </a:lnTo>
                  <a:close/>
                  <a:moveTo>
                    <a:pt x="397" y="73"/>
                  </a:moveTo>
                  <a:lnTo>
                    <a:pt x="397" y="73"/>
                  </a:lnTo>
                  <a:lnTo>
                    <a:pt x="401" y="73"/>
                  </a:lnTo>
                  <a:lnTo>
                    <a:pt x="401" y="69"/>
                  </a:lnTo>
                  <a:lnTo>
                    <a:pt x="399" y="67"/>
                  </a:lnTo>
                  <a:lnTo>
                    <a:pt x="397" y="64"/>
                  </a:lnTo>
                  <a:lnTo>
                    <a:pt x="396" y="60"/>
                  </a:lnTo>
                  <a:lnTo>
                    <a:pt x="394" y="60"/>
                  </a:lnTo>
                  <a:lnTo>
                    <a:pt x="394" y="64"/>
                  </a:lnTo>
                  <a:lnTo>
                    <a:pt x="396" y="67"/>
                  </a:lnTo>
                  <a:lnTo>
                    <a:pt x="396" y="69"/>
                  </a:lnTo>
                  <a:lnTo>
                    <a:pt x="397" y="73"/>
                  </a:lnTo>
                  <a:lnTo>
                    <a:pt x="397" y="73"/>
                  </a:lnTo>
                  <a:lnTo>
                    <a:pt x="397" y="73"/>
                  </a:lnTo>
                  <a:lnTo>
                    <a:pt x="397" y="73"/>
                  </a:lnTo>
                  <a:close/>
                  <a:moveTo>
                    <a:pt x="401" y="107"/>
                  </a:moveTo>
                  <a:lnTo>
                    <a:pt x="407" y="107"/>
                  </a:lnTo>
                  <a:lnTo>
                    <a:pt x="409" y="107"/>
                  </a:lnTo>
                  <a:lnTo>
                    <a:pt x="409" y="103"/>
                  </a:lnTo>
                  <a:lnTo>
                    <a:pt x="405" y="101"/>
                  </a:lnTo>
                  <a:lnTo>
                    <a:pt x="405" y="97"/>
                  </a:lnTo>
                  <a:lnTo>
                    <a:pt x="403" y="97"/>
                  </a:lnTo>
                  <a:lnTo>
                    <a:pt x="399" y="97"/>
                  </a:lnTo>
                  <a:lnTo>
                    <a:pt x="397" y="103"/>
                  </a:lnTo>
                  <a:lnTo>
                    <a:pt x="397" y="103"/>
                  </a:lnTo>
                  <a:lnTo>
                    <a:pt x="401" y="107"/>
                  </a:lnTo>
                  <a:lnTo>
                    <a:pt x="401" y="107"/>
                  </a:lnTo>
                  <a:lnTo>
                    <a:pt x="401" y="107"/>
                  </a:lnTo>
                  <a:lnTo>
                    <a:pt x="401" y="107"/>
                  </a:lnTo>
                  <a:lnTo>
                    <a:pt x="401" y="107"/>
                  </a:lnTo>
                  <a:close/>
                  <a:moveTo>
                    <a:pt x="401" y="113"/>
                  </a:moveTo>
                  <a:lnTo>
                    <a:pt x="401" y="116"/>
                  </a:lnTo>
                  <a:lnTo>
                    <a:pt x="403" y="118"/>
                  </a:lnTo>
                  <a:lnTo>
                    <a:pt x="401" y="122"/>
                  </a:lnTo>
                  <a:lnTo>
                    <a:pt x="407" y="126"/>
                  </a:lnTo>
                  <a:lnTo>
                    <a:pt x="411" y="124"/>
                  </a:lnTo>
                  <a:lnTo>
                    <a:pt x="409" y="114"/>
                  </a:lnTo>
                  <a:lnTo>
                    <a:pt x="407" y="113"/>
                  </a:lnTo>
                  <a:lnTo>
                    <a:pt x="405" y="111"/>
                  </a:lnTo>
                  <a:lnTo>
                    <a:pt x="401" y="113"/>
                  </a:lnTo>
                  <a:lnTo>
                    <a:pt x="401" y="113"/>
                  </a:lnTo>
                  <a:lnTo>
                    <a:pt x="401" y="113"/>
                  </a:lnTo>
                  <a:lnTo>
                    <a:pt x="401" y="113"/>
                  </a:lnTo>
                  <a:close/>
                  <a:moveTo>
                    <a:pt x="350" y="77"/>
                  </a:moveTo>
                  <a:lnTo>
                    <a:pt x="352" y="77"/>
                  </a:lnTo>
                  <a:lnTo>
                    <a:pt x="350" y="73"/>
                  </a:lnTo>
                  <a:lnTo>
                    <a:pt x="350" y="73"/>
                  </a:lnTo>
                  <a:lnTo>
                    <a:pt x="350" y="69"/>
                  </a:lnTo>
                  <a:lnTo>
                    <a:pt x="348" y="69"/>
                  </a:lnTo>
                  <a:lnTo>
                    <a:pt x="348" y="73"/>
                  </a:lnTo>
                  <a:lnTo>
                    <a:pt x="350" y="77"/>
                  </a:lnTo>
                  <a:lnTo>
                    <a:pt x="350" y="77"/>
                  </a:lnTo>
                  <a:lnTo>
                    <a:pt x="350" y="77"/>
                  </a:lnTo>
                  <a:lnTo>
                    <a:pt x="350" y="77"/>
                  </a:lnTo>
                  <a:close/>
                  <a:moveTo>
                    <a:pt x="343" y="101"/>
                  </a:moveTo>
                  <a:lnTo>
                    <a:pt x="345" y="103"/>
                  </a:lnTo>
                  <a:lnTo>
                    <a:pt x="347" y="97"/>
                  </a:lnTo>
                  <a:lnTo>
                    <a:pt x="345" y="94"/>
                  </a:lnTo>
                  <a:lnTo>
                    <a:pt x="341" y="88"/>
                  </a:lnTo>
                  <a:lnTo>
                    <a:pt x="341" y="82"/>
                  </a:lnTo>
                  <a:lnTo>
                    <a:pt x="343" y="77"/>
                  </a:lnTo>
                  <a:lnTo>
                    <a:pt x="343" y="73"/>
                  </a:lnTo>
                  <a:lnTo>
                    <a:pt x="341" y="69"/>
                  </a:lnTo>
                  <a:lnTo>
                    <a:pt x="341" y="62"/>
                  </a:lnTo>
                  <a:lnTo>
                    <a:pt x="341" y="60"/>
                  </a:lnTo>
                  <a:lnTo>
                    <a:pt x="335" y="64"/>
                  </a:lnTo>
                  <a:lnTo>
                    <a:pt x="335" y="73"/>
                  </a:lnTo>
                  <a:lnTo>
                    <a:pt x="335" y="77"/>
                  </a:lnTo>
                  <a:lnTo>
                    <a:pt x="335" y="81"/>
                  </a:lnTo>
                  <a:lnTo>
                    <a:pt x="341" y="88"/>
                  </a:lnTo>
                  <a:lnTo>
                    <a:pt x="341" y="94"/>
                  </a:lnTo>
                  <a:lnTo>
                    <a:pt x="343" y="101"/>
                  </a:lnTo>
                  <a:lnTo>
                    <a:pt x="343" y="101"/>
                  </a:lnTo>
                  <a:lnTo>
                    <a:pt x="343" y="101"/>
                  </a:lnTo>
                  <a:lnTo>
                    <a:pt x="343" y="101"/>
                  </a:lnTo>
                  <a:close/>
                  <a:moveTo>
                    <a:pt x="145" y="131"/>
                  </a:moveTo>
                  <a:lnTo>
                    <a:pt x="147" y="133"/>
                  </a:lnTo>
                  <a:lnTo>
                    <a:pt x="147" y="133"/>
                  </a:lnTo>
                  <a:lnTo>
                    <a:pt x="151" y="137"/>
                  </a:lnTo>
                  <a:lnTo>
                    <a:pt x="151" y="133"/>
                  </a:lnTo>
                  <a:lnTo>
                    <a:pt x="149" y="131"/>
                  </a:lnTo>
                  <a:lnTo>
                    <a:pt x="145" y="131"/>
                  </a:lnTo>
                  <a:lnTo>
                    <a:pt x="145" y="131"/>
                  </a:lnTo>
                  <a:lnTo>
                    <a:pt x="145" y="131"/>
                  </a:lnTo>
                  <a:lnTo>
                    <a:pt x="145" y="131"/>
                  </a:lnTo>
                  <a:close/>
                  <a:moveTo>
                    <a:pt x="19" y="291"/>
                  </a:moveTo>
                  <a:lnTo>
                    <a:pt x="23" y="295"/>
                  </a:lnTo>
                  <a:lnTo>
                    <a:pt x="27" y="295"/>
                  </a:lnTo>
                  <a:lnTo>
                    <a:pt x="28" y="297"/>
                  </a:lnTo>
                  <a:lnTo>
                    <a:pt x="32" y="297"/>
                  </a:lnTo>
                  <a:lnTo>
                    <a:pt x="30" y="295"/>
                  </a:lnTo>
                  <a:lnTo>
                    <a:pt x="28" y="295"/>
                  </a:lnTo>
                  <a:lnTo>
                    <a:pt x="25" y="290"/>
                  </a:lnTo>
                  <a:lnTo>
                    <a:pt x="23" y="290"/>
                  </a:lnTo>
                  <a:lnTo>
                    <a:pt x="19" y="290"/>
                  </a:lnTo>
                  <a:lnTo>
                    <a:pt x="19" y="291"/>
                  </a:lnTo>
                  <a:lnTo>
                    <a:pt x="19" y="291"/>
                  </a:lnTo>
                  <a:lnTo>
                    <a:pt x="19" y="291"/>
                  </a:lnTo>
                  <a:lnTo>
                    <a:pt x="19" y="291"/>
                  </a:lnTo>
                  <a:close/>
                  <a:moveTo>
                    <a:pt x="0" y="291"/>
                  </a:moveTo>
                  <a:lnTo>
                    <a:pt x="4" y="297"/>
                  </a:lnTo>
                  <a:lnTo>
                    <a:pt x="10" y="297"/>
                  </a:lnTo>
                  <a:lnTo>
                    <a:pt x="13" y="299"/>
                  </a:lnTo>
                  <a:lnTo>
                    <a:pt x="17" y="295"/>
                  </a:lnTo>
                  <a:lnTo>
                    <a:pt x="13" y="291"/>
                  </a:lnTo>
                  <a:lnTo>
                    <a:pt x="8" y="290"/>
                  </a:lnTo>
                  <a:lnTo>
                    <a:pt x="2" y="290"/>
                  </a:lnTo>
                  <a:lnTo>
                    <a:pt x="0" y="291"/>
                  </a:lnTo>
                  <a:lnTo>
                    <a:pt x="0" y="291"/>
                  </a:lnTo>
                  <a:lnTo>
                    <a:pt x="0" y="291"/>
                  </a:lnTo>
                  <a:lnTo>
                    <a:pt x="0" y="291"/>
                  </a:lnTo>
                  <a:close/>
                  <a:moveTo>
                    <a:pt x="141" y="446"/>
                  </a:moveTo>
                  <a:lnTo>
                    <a:pt x="141" y="448"/>
                  </a:lnTo>
                  <a:lnTo>
                    <a:pt x="141" y="450"/>
                  </a:lnTo>
                  <a:lnTo>
                    <a:pt x="145" y="448"/>
                  </a:lnTo>
                  <a:lnTo>
                    <a:pt x="141" y="446"/>
                  </a:lnTo>
                  <a:lnTo>
                    <a:pt x="141" y="446"/>
                  </a:lnTo>
                  <a:lnTo>
                    <a:pt x="141" y="446"/>
                  </a:lnTo>
                  <a:lnTo>
                    <a:pt x="141" y="446"/>
                  </a:lnTo>
                  <a:lnTo>
                    <a:pt x="141" y="446"/>
                  </a:lnTo>
                  <a:close/>
                  <a:moveTo>
                    <a:pt x="141" y="463"/>
                  </a:moveTo>
                  <a:lnTo>
                    <a:pt x="145" y="465"/>
                  </a:lnTo>
                  <a:lnTo>
                    <a:pt x="147" y="465"/>
                  </a:lnTo>
                  <a:lnTo>
                    <a:pt x="155" y="465"/>
                  </a:lnTo>
                  <a:lnTo>
                    <a:pt x="155" y="465"/>
                  </a:lnTo>
                  <a:lnTo>
                    <a:pt x="156" y="465"/>
                  </a:lnTo>
                  <a:lnTo>
                    <a:pt x="156" y="465"/>
                  </a:lnTo>
                  <a:lnTo>
                    <a:pt x="155" y="463"/>
                  </a:lnTo>
                  <a:lnTo>
                    <a:pt x="151" y="461"/>
                  </a:lnTo>
                  <a:lnTo>
                    <a:pt x="149" y="463"/>
                  </a:lnTo>
                  <a:lnTo>
                    <a:pt x="147" y="459"/>
                  </a:lnTo>
                  <a:lnTo>
                    <a:pt x="141" y="459"/>
                  </a:lnTo>
                  <a:lnTo>
                    <a:pt x="141" y="461"/>
                  </a:lnTo>
                  <a:lnTo>
                    <a:pt x="141" y="463"/>
                  </a:lnTo>
                  <a:lnTo>
                    <a:pt x="141" y="463"/>
                  </a:lnTo>
                  <a:lnTo>
                    <a:pt x="141" y="463"/>
                  </a:lnTo>
                  <a:lnTo>
                    <a:pt x="141" y="463"/>
                  </a:lnTo>
                  <a:close/>
                  <a:moveTo>
                    <a:pt x="147" y="469"/>
                  </a:moveTo>
                  <a:lnTo>
                    <a:pt x="149" y="469"/>
                  </a:lnTo>
                  <a:lnTo>
                    <a:pt x="151" y="469"/>
                  </a:lnTo>
                  <a:lnTo>
                    <a:pt x="149" y="469"/>
                  </a:lnTo>
                  <a:lnTo>
                    <a:pt x="147" y="469"/>
                  </a:lnTo>
                  <a:lnTo>
                    <a:pt x="147" y="469"/>
                  </a:lnTo>
                  <a:lnTo>
                    <a:pt x="147" y="469"/>
                  </a:lnTo>
                  <a:lnTo>
                    <a:pt x="147" y="469"/>
                  </a:lnTo>
                  <a:close/>
                  <a:moveTo>
                    <a:pt x="149" y="493"/>
                  </a:moveTo>
                  <a:lnTo>
                    <a:pt x="151" y="495"/>
                  </a:lnTo>
                  <a:lnTo>
                    <a:pt x="151" y="495"/>
                  </a:lnTo>
                  <a:lnTo>
                    <a:pt x="155" y="497"/>
                  </a:lnTo>
                  <a:lnTo>
                    <a:pt x="155" y="495"/>
                  </a:lnTo>
                  <a:lnTo>
                    <a:pt x="155" y="493"/>
                  </a:lnTo>
                  <a:lnTo>
                    <a:pt x="151" y="491"/>
                  </a:lnTo>
                  <a:lnTo>
                    <a:pt x="149" y="491"/>
                  </a:lnTo>
                  <a:lnTo>
                    <a:pt x="149" y="493"/>
                  </a:lnTo>
                  <a:lnTo>
                    <a:pt x="149" y="493"/>
                  </a:lnTo>
                  <a:lnTo>
                    <a:pt x="149" y="493"/>
                  </a:lnTo>
                  <a:lnTo>
                    <a:pt x="149" y="493"/>
                  </a:lnTo>
                  <a:close/>
                  <a:moveTo>
                    <a:pt x="145" y="502"/>
                  </a:moveTo>
                  <a:lnTo>
                    <a:pt x="145" y="504"/>
                  </a:lnTo>
                  <a:lnTo>
                    <a:pt x="149" y="504"/>
                  </a:lnTo>
                  <a:lnTo>
                    <a:pt x="151" y="502"/>
                  </a:lnTo>
                  <a:lnTo>
                    <a:pt x="147" y="499"/>
                  </a:lnTo>
                  <a:lnTo>
                    <a:pt x="145" y="499"/>
                  </a:lnTo>
                  <a:lnTo>
                    <a:pt x="145" y="502"/>
                  </a:lnTo>
                  <a:lnTo>
                    <a:pt x="145" y="502"/>
                  </a:lnTo>
                  <a:lnTo>
                    <a:pt x="145" y="502"/>
                  </a:lnTo>
                  <a:lnTo>
                    <a:pt x="145" y="502"/>
                  </a:lnTo>
                  <a:close/>
                  <a:moveTo>
                    <a:pt x="151" y="516"/>
                  </a:moveTo>
                  <a:lnTo>
                    <a:pt x="151" y="516"/>
                  </a:lnTo>
                  <a:lnTo>
                    <a:pt x="151" y="514"/>
                  </a:lnTo>
                  <a:lnTo>
                    <a:pt x="151" y="512"/>
                  </a:lnTo>
                  <a:lnTo>
                    <a:pt x="151" y="510"/>
                  </a:lnTo>
                  <a:lnTo>
                    <a:pt x="151" y="512"/>
                  </a:lnTo>
                  <a:lnTo>
                    <a:pt x="151" y="516"/>
                  </a:lnTo>
                  <a:lnTo>
                    <a:pt x="151" y="516"/>
                  </a:lnTo>
                  <a:lnTo>
                    <a:pt x="151" y="516"/>
                  </a:lnTo>
                  <a:lnTo>
                    <a:pt x="151" y="516"/>
                  </a:lnTo>
                  <a:close/>
                  <a:moveTo>
                    <a:pt x="155" y="519"/>
                  </a:moveTo>
                  <a:lnTo>
                    <a:pt x="155" y="521"/>
                  </a:lnTo>
                  <a:lnTo>
                    <a:pt x="155" y="521"/>
                  </a:lnTo>
                  <a:lnTo>
                    <a:pt x="155" y="519"/>
                  </a:lnTo>
                  <a:lnTo>
                    <a:pt x="155" y="519"/>
                  </a:lnTo>
                  <a:lnTo>
                    <a:pt x="155" y="519"/>
                  </a:lnTo>
                  <a:lnTo>
                    <a:pt x="155" y="519"/>
                  </a:lnTo>
                  <a:lnTo>
                    <a:pt x="155" y="519"/>
                  </a:lnTo>
                  <a:close/>
                  <a:moveTo>
                    <a:pt x="141" y="523"/>
                  </a:moveTo>
                  <a:lnTo>
                    <a:pt x="145" y="521"/>
                  </a:lnTo>
                  <a:lnTo>
                    <a:pt x="145" y="519"/>
                  </a:lnTo>
                  <a:lnTo>
                    <a:pt x="141" y="521"/>
                  </a:lnTo>
                  <a:lnTo>
                    <a:pt x="141" y="523"/>
                  </a:lnTo>
                  <a:lnTo>
                    <a:pt x="141" y="523"/>
                  </a:lnTo>
                  <a:lnTo>
                    <a:pt x="141" y="523"/>
                  </a:lnTo>
                  <a:lnTo>
                    <a:pt x="141" y="523"/>
                  </a:lnTo>
                  <a:close/>
                  <a:moveTo>
                    <a:pt x="149" y="521"/>
                  </a:moveTo>
                  <a:lnTo>
                    <a:pt x="151" y="521"/>
                  </a:lnTo>
                  <a:lnTo>
                    <a:pt x="151" y="521"/>
                  </a:lnTo>
                  <a:lnTo>
                    <a:pt x="151" y="519"/>
                  </a:lnTo>
                  <a:lnTo>
                    <a:pt x="149" y="521"/>
                  </a:lnTo>
                  <a:lnTo>
                    <a:pt x="149" y="521"/>
                  </a:lnTo>
                  <a:lnTo>
                    <a:pt x="149" y="521"/>
                  </a:lnTo>
                  <a:lnTo>
                    <a:pt x="149" y="521"/>
                  </a:lnTo>
                  <a:close/>
                  <a:moveTo>
                    <a:pt x="147" y="527"/>
                  </a:moveTo>
                  <a:lnTo>
                    <a:pt x="149" y="525"/>
                  </a:lnTo>
                  <a:lnTo>
                    <a:pt x="151" y="525"/>
                  </a:lnTo>
                  <a:lnTo>
                    <a:pt x="149" y="525"/>
                  </a:lnTo>
                  <a:lnTo>
                    <a:pt x="147" y="527"/>
                  </a:lnTo>
                  <a:lnTo>
                    <a:pt x="147" y="527"/>
                  </a:lnTo>
                  <a:lnTo>
                    <a:pt x="147" y="527"/>
                  </a:lnTo>
                  <a:lnTo>
                    <a:pt x="147" y="527"/>
                  </a:lnTo>
                  <a:close/>
                  <a:moveTo>
                    <a:pt x="151" y="533"/>
                  </a:moveTo>
                  <a:lnTo>
                    <a:pt x="151" y="533"/>
                  </a:lnTo>
                  <a:lnTo>
                    <a:pt x="149" y="533"/>
                  </a:lnTo>
                  <a:lnTo>
                    <a:pt x="147" y="529"/>
                  </a:lnTo>
                  <a:lnTo>
                    <a:pt x="147" y="533"/>
                  </a:lnTo>
                  <a:lnTo>
                    <a:pt x="151" y="533"/>
                  </a:lnTo>
                  <a:lnTo>
                    <a:pt x="151" y="533"/>
                  </a:lnTo>
                  <a:lnTo>
                    <a:pt x="151" y="533"/>
                  </a:lnTo>
                  <a:lnTo>
                    <a:pt x="151" y="533"/>
                  </a:lnTo>
                  <a:close/>
                  <a:moveTo>
                    <a:pt x="151" y="534"/>
                  </a:moveTo>
                  <a:lnTo>
                    <a:pt x="155" y="534"/>
                  </a:lnTo>
                  <a:lnTo>
                    <a:pt x="155" y="533"/>
                  </a:lnTo>
                  <a:lnTo>
                    <a:pt x="155" y="533"/>
                  </a:lnTo>
                  <a:lnTo>
                    <a:pt x="151" y="533"/>
                  </a:lnTo>
                  <a:lnTo>
                    <a:pt x="151" y="533"/>
                  </a:lnTo>
                  <a:lnTo>
                    <a:pt x="151" y="534"/>
                  </a:lnTo>
                  <a:lnTo>
                    <a:pt x="151" y="534"/>
                  </a:lnTo>
                  <a:lnTo>
                    <a:pt x="151" y="534"/>
                  </a:lnTo>
                  <a:lnTo>
                    <a:pt x="151" y="534"/>
                  </a:lnTo>
                  <a:close/>
                  <a:moveTo>
                    <a:pt x="141" y="544"/>
                  </a:moveTo>
                  <a:lnTo>
                    <a:pt x="145" y="542"/>
                  </a:lnTo>
                  <a:lnTo>
                    <a:pt x="145" y="542"/>
                  </a:lnTo>
                  <a:lnTo>
                    <a:pt x="145" y="542"/>
                  </a:lnTo>
                  <a:lnTo>
                    <a:pt x="141" y="542"/>
                  </a:lnTo>
                  <a:lnTo>
                    <a:pt x="140" y="544"/>
                  </a:lnTo>
                  <a:lnTo>
                    <a:pt x="141" y="544"/>
                  </a:lnTo>
                  <a:lnTo>
                    <a:pt x="141" y="544"/>
                  </a:lnTo>
                  <a:lnTo>
                    <a:pt x="141" y="544"/>
                  </a:lnTo>
                  <a:lnTo>
                    <a:pt x="141" y="544"/>
                  </a:lnTo>
                  <a:close/>
                  <a:moveTo>
                    <a:pt x="147" y="551"/>
                  </a:moveTo>
                  <a:lnTo>
                    <a:pt x="155" y="546"/>
                  </a:lnTo>
                  <a:lnTo>
                    <a:pt x="155" y="542"/>
                  </a:lnTo>
                  <a:lnTo>
                    <a:pt x="155" y="540"/>
                  </a:lnTo>
                  <a:lnTo>
                    <a:pt x="155" y="540"/>
                  </a:lnTo>
                  <a:lnTo>
                    <a:pt x="151" y="544"/>
                  </a:lnTo>
                  <a:lnTo>
                    <a:pt x="147" y="544"/>
                  </a:lnTo>
                  <a:lnTo>
                    <a:pt x="147" y="546"/>
                  </a:lnTo>
                  <a:lnTo>
                    <a:pt x="145" y="548"/>
                  </a:lnTo>
                  <a:lnTo>
                    <a:pt x="145" y="550"/>
                  </a:lnTo>
                  <a:lnTo>
                    <a:pt x="145" y="551"/>
                  </a:lnTo>
                  <a:lnTo>
                    <a:pt x="147" y="551"/>
                  </a:lnTo>
                  <a:lnTo>
                    <a:pt x="147" y="551"/>
                  </a:lnTo>
                  <a:lnTo>
                    <a:pt x="147" y="551"/>
                  </a:lnTo>
                  <a:lnTo>
                    <a:pt x="147" y="551"/>
                  </a:lnTo>
                  <a:lnTo>
                    <a:pt x="147" y="551"/>
                  </a:lnTo>
                  <a:close/>
                  <a:moveTo>
                    <a:pt x="155" y="550"/>
                  </a:moveTo>
                  <a:lnTo>
                    <a:pt x="155" y="550"/>
                  </a:lnTo>
                  <a:lnTo>
                    <a:pt x="155" y="548"/>
                  </a:lnTo>
                  <a:lnTo>
                    <a:pt x="155" y="548"/>
                  </a:lnTo>
                  <a:lnTo>
                    <a:pt x="155" y="550"/>
                  </a:lnTo>
                  <a:lnTo>
                    <a:pt x="155" y="550"/>
                  </a:lnTo>
                  <a:lnTo>
                    <a:pt x="155" y="550"/>
                  </a:lnTo>
                  <a:lnTo>
                    <a:pt x="155" y="550"/>
                  </a:lnTo>
                  <a:close/>
                  <a:moveTo>
                    <a:pt x="151" y="553"/>
                  </a:moveTo>
                  <a:lnTo>
                    <a:pt x="151" y="553"/>
                  </a:lnTo>
                  <a:lnTo>
                    <a:pt x="151" y="551"/>
                  </a:lnTo>
                  <a:lnTo>
                    <a:pt x="151" y="551"/>
                  </a:lnTo>
                  <a:lnTo>
                    <a:pt x="151" y="553"/>
                  </a:lnTo>
                  <a:lnTo>
                    <a:pt x="151" y="553"/>
                  </a:lnTo>
                  <a:lnTo>
                    <a:pt x="151" y="553"/>
                  </a:lnTo>
                  <a:lnTo>
                    <a:pt x="151" y="553"/>
                  </a:lnTo>
                  <a:close/>
                  <a:moveTo>
                    <a:pt x="145" y="555"/>
                  </a:moveTo>
                  <a:lnTo>
                    <a:pt x="147" y="553"/>
                  </a:lnTo>
                  <a:lnTo>
                    <a:pt x="145" y="553"/>
                  </a:lnTo>
                  <a:lnTo>
                    <a:pt x="145" y="553"/>
                  </a:lnTo>
                  <a:lnTo>
                    <a:pt x="145" y="555"/>
                  </a:lnTo>
                  <a:lnTo>
                    <a:pt x="145" y="555"/>
                  </a:lnTo>
                  <a:lnTo>
                    <a:pt x="145" y="555"/>
                  </a:lnTo>
                  <a:lnTo>
                    <a:pt x="145" y="555"/>
                  </a:lnTo>
                  <a:lnTo>
                    <a:pt x="145" y="555"/>
                  </a:lnTo>
                  <a:close/>
                  <a:moveTo>
                    <a:pt x="140" y="568"/>
                  </a:moveTo>
                  <a:lnTo>
                    <a:pt x="140" y="572"/>
                  </a:lnTo>
                  <a:lnTo>
                    <a:pt x="141" y="572"/>
                  </a:lnTo>
                  <a:lnTo>
                    <a:pt x="145" y="568"/>
                  </a:lnTo>
                  <a:lnTo>
                    <a:pt x="149" y="567"/>
                  </a:lnTo>
                  <a:lnTo>
                    <a:pt x="149" y="563"/>
                  </a:lnTo>
                  <a:lnTo>
                    <a:pt x="147" y="563"/>
                  </a:lnTo>
                  <a:lnTo>
                    <a:pt x="145" y="563"/>
                  </a:lnTo>
                  <a:lnTo>
                    <a:pt x="141" y="563"/>
                  </a:lnTo>
                  <a:lnTo>
                    <a:pt x="141" y="568"/>
                  </a:lnTo>
                  <a:lnTo>
                    <a:pt x="141" y="568"/>
                  </a:lnTo>
                  <a:lnTo>
                    <a:pt x="140" y="568"/>
                  </a:lnTo>
                  <a:lnTo>
                    <a:pt x="140" y="568"/>
                  </a:lnTo>
                  <a:lnTo>
                    <a:pt x="140" y="568"/>
                  </a:lnTo>
                  <a:lnTo>
                    <a:pt x="140" y="568"/>
                  </a:lnTo>
                  <a:close/>
                  <a:moveTo>
                    <a:pt x="136" y="578"/>
                  </a:moveTo>
                  <a:lnTo>
                    <a:pt x="138" y="582"/>
                  </a:lnTo>
                  <a:lnTo>
                    <a:pt x="140" y="582"/>
                  </a:lnTo>
                  <a:lnTo>
                    <a:pt x="141" y="580"/>
                  </a:lnTo>
                  <a:lnTo>
                    <a:pt x="138" y="578"/>
                  </a:lnTo>
                  <a:lnTo>
                    <a:pt x="136" y="578"/>
                  </a:lnTo>
                  <a:lnTo>
                    <a:pt x="136" y="578"/>
                  </a:lnTo>
                  <a:lnTo>
                    <a:pt x="136" y="578"/>
                  </a:lnTo>
                  <a:lnTo>
                    <a:pt x="136" y="578"/>
                  </a:lnTo>
                  <a:close/>
                  <a:moveTo>
                    <a:pt x="217" y="1007"/>
                  </a:moveTo>
                  <a:lnTo>
                    <a:pt x="220" y="1005"/>
                  </a:lnTo>
                  <a:lnTo>
                    <a:pt x="222" y="1004"/>
                  </a:lnTo>
                  <a:lnTo>
                    <a:pt x="224" y="1005"/>
                  </a:lnTo>
                  <a:lnTo>
                    <a:pt x="222" y="1007"/>
                  </a:lnTo>
                  <a:lnTo>
                    <a:pt x="220" y="1007"/>
                  </a:lnTo>
                  <a:lnTo>
                    <a:pt x="219" y="1009"/>
                  </a:lnTo>
                  <a:lnTo>
                    <a:pt x="217" y="1007"/>
                  </a:lnTo>
                  <a:lnTo>
                    <a:pt x="217" y="1007"/>
                  </a:lnTo>
                  <a:lnTo>
                    <a:pt x="217" y="1007"/>
                  </a:lnTo>
                  <a:lnTo>
                    <a:pt x="217" y="1007"/>
                  </a:lnTo>
                  <a:close/>
                  <a:moveTo>
                    <a:pt x="198" y="998"/>
                  </a:moveTo>
                  <a:lnTo>
                    <a:pt x="200" y="998"/>
                  </a:lnTo>
                  <a:lnTo>
                    <a:pt x="200" y="994"/>
                  </a:lnTo>
                  <a:lnTo>
                    <a:pt x="200" y="994"/>
                  </a:lnTo>
                  <a:lnTo>
                    <a:pt x="200" y="990"/>
                  </a:lnTo>
                  <a:lnTo>
                    <a:pt x="200" y="990"/>
                  </a:lnTo>
                  <a:lnTo>
                    <a:pt x="200" y="992"/>
                  </a:lnTo>
                  <a:lnTo>
                    <a:pt x="198" y="994"/>
                  </a:lnTo>
                  <a:lnTo>
                    <a:pt x="198" y="998"/>
                  </a:lnTo>
                  <a:lnTo>
                    <a:pt x="198" y="998"/>
                  </a:lnTo>
                  <a:lnTo>
                    <a:pt x="198" y="998"/>
                  </a:lnTo>
                  <a:lnTo>
                    <a:pt x="198" y="998"/>
                  </a:lnTo>
                  <a:close/>
                  <a:moveTo>
                    <a:pt x="183" y="973"/>
                  </a:moveTo>
                  <a:lnTo>
                    <a:pt x="185" y="973"/>
                  </a:lnTo>
                  <a:lnTo>
                    <a:pt x="187" y="973"/>
                  </a:lnTo>
                  <a:lnTo>
                    <a:pt x="188" y="973"/>
                  </a:lnTo>
                  <a:lnTo>
                    <a:pt x="188" y="970"/>
                  </a:lnTo>
                  <a:lnTo>
                    <a:pt x="187" y="970"/>
                  </a:lnTo>
                  <a:lnTo>
                    <a:pt x="183" y="973"/>
                  </a:lnTo>
                  <a:lnTo>
                    <a:pt x="183" y="973"/>
                  </a:lnTo>
                  <a:lnTo>
                    <a:pt x="183" y="973"/>
                  </a:lnTo>
                  <a:lnTo>
                    <a:pt x="183" y="973"/>
                  </a:lnTo>
                  <a:close/>
                  <a:moveTo>
                    <a:pt x="175" y="973"/>
                  </a:moveTo>
                  <a:lnTo>
                    <a:pt x="179" y="973"/>
                  </a:lnTo>
                  <a:lnTo>
                    <a:pt x="179" y="973"/>
                  </a:lnTo>
                  <a:lnTo>
                    <a:pt x="179" y="973"/>
                  </a:lnTo>
                  <a:lnTo>
                    <a:pt x="179" y="970"/>
                  </a:lnTo>
                  <a:lnTo>
                    <a:pt x="175" y="973"/>
                  </a:lnTo>
                  <a:lnTo>
                    <a:pt x="175" y="973"/>
                  </a:lnTo>
                  <a:lnTo>
                    <a:pt x="175" y="973"/>
                  </a:lnTo>
                  <a:lnTo>
                    <a:pt x="175" y="973"/>
                  </a:lnTo>
                  <a:close/>
                  <a:moveTo>
                    <a:pt x="156" y="973"/>
                  </a:moveTo>
                  <a:lnTo>
                    <a:pt x="156" y="973"/>
                  </a:lnTo>
                  <a:lnTo>
                    <a:pt x="158" y="975"/>
                  </a:lnTo>
                  <a:lnTo>
                    <a:pt x="160" y="977"/>
                  </a:lnTo>
                  <a:lnTo>
                    <a:pt x="162" y="975"/>
                  </a:lnTo>
                  <a:lnTo>
                    <a:pt x="160" y="973"/>
                  </a:lnTo>
                  <a:lnTo>
                    <a:pt x="158" y="973"/>
                  </a:lnTo>
                  <a:lnTo>
                    <a:pt x="156" y="973"/>
                  </a:lnTo>
                  <a:lnTo>
                    <a:pt x="156" y="973"/>
                  </a:lnTo>
                  <a:lnTo>
                    <a:pt x="156" y="973"/>
                  </a:lnTo>
                  <a:lnTo>
                    <a:pt x="156" y="973"/>
                  </a:lnTo>
                  <a:close/>
                  <a:moveTo>
                    <a:pt x="132" y="860"/>
                  </a:moveTo>
                  <a:lnTo>
                    <a:pt x="132" y="860"/>
                  </a:lnTo>
                  <a:lnTo>
                    <a:pt x="136" y="857"/>
                  </a:lnTo>
                  <a:lnTo>
                    <a:pt x="140" y="853"/>
                  </a:lnTo>
                  <a:lnTo>
                    <a:pt x="138" y="853"/>
                  </a:lnTo>
                  <a:lnTo>
                    <a:pt x="136" y="857"/>
                  </a:lnTo>
                  <a:lnTo>
                    <a:pt x="132" y="860"/>
                  </a:lnTo>
                  <a:lnTo>
                    <a:pt x="132" y="860"/>
                  </a:lnTo>
                  <a:lnTo>
                    <a:pt x="132" y="860"/>
                  </a:lnTo>
                  <a:lnTo>
                    <a:pt x="132" y="860"/>
                  </a:lnTo>
                  <a:close/>
                  <a:moveTo>
                    <a:pt x="132" y="855"/>
                  </a:moveTo>
                  <a:lnTo>
                    <a:pt x="132" y="855"/>
                  </a:lnTo>
                  <a:lnTo>
                    <a:pt x="132" y="857"/>
                  </a:lnTo>
                  <a:lnTo>
                    <a:pt x="132" y="857"/>
                  </a:lnTo>
                  <a:lnTo>
                    <a:pt x="134" y="855"/>
                  </a:lnTo>
                  <a:lnTo>
                    <a:pt x="136" y="853"/>
                  </a:lnTo>
                  <a:lnTo>
                    <a:pt x="134" y="853"/>
                  </a:lnTo>
                  <a:lnTo>
                    <a:pt x="132" y="855"/>
                  </a:lnTo>
                  <a:lnTo>
                    <a:pt x="132" y="855"/>
                  </a:lnTo>
                  <a:lnTo>
                    <a:pt x="132" y="855"/>
                  </a:lnTo>
                  <a:lnTo>
                    <a:pt x="132" y="855"/>
                  </a:lnTo>
                  <a:close/>
                  <a:moveTo>
                    <a:pt x="117" y="817"/>
                  </a:moveTo>
                  <a:lnTo>
                    <a:pt x="115" y="819"/>
                  </a:lnTo>
                  <a:lnTo>
                    <a:pt x="117" y="819"/>
                  </a:lnTo>
                  <a:lnTo>
                    <a:pt x="117" y="819"/>
                  </a:lnTo>
                  <a:lnTo>
                    <a:pt x="117" y="817"/>
                  </a:lnTo>
                  <a:lnTo>
                    <a:pt x="117" y="817"/>
                  </a:lnTo>
                  <a:lnTo>
                    <a:pt x="117" y="817"/>
                  </a:lnTo>
                  <a:lnTo>
                    <a:pt x="117" y="817"/>
                  </a:lnTo>
                  <a:lnTo>
                    <a:pt x="117" y="817"/>
                  </a:lnTo>
                  <a:lnTo>
                    <a:pt x="117" y="817"/>
                  </a:lnTo>
                  <a:close/>
                  <a:moveTo>
                    <a:pt x="115" y="811"/>
                  </a:moveTo>
                  <a:lnTo>
                    <a:pt x="115" y="815"/>
                  </a:lnTo>
                  <a:lnTo>
                    <a:pt x="117" y="815"/>
                  </a:lnTo>
                  <a:lnTo>
                    <a:pt x="117" y="811"/>
                  </a:lnTo>
                  <a:lnTo>
                    <a:pt x="117" y="811"/>
                  </a:lnTo>
                  <a:lnTo>
                    <a:pt x="115" y="811"/>
                  </a:lnTo>
                  <a:lnTo>
                    <a:pt x="115" y="811"/>
                  </a:lnTo>
                  <a:lnTo>
                    <a:pt x="115" y="811"/>
                  </a:lnTo>
                  <a:lnTo>
                    <a:pt x="115" y="811"/>
                  </a:lnTo>
                  <a:close/>
                  <a:moveTo>
                    <a:pt x="117" y="777"/>
                  </a:moveTo>
                  <a:lnTo>
                    <a:pt x="121" y="779"/>
                  </a:lnTo>
                  <a:lnTo>
                    <a:pt x="123" y="777"/>
                  </a:lnTo>
                  <a:lnTo>
                    <a:pt x="121" y="776"/>
                  </a:lnTo>
                  <a:lnTo>
                    <a:pt x="117" y="777"/>
                  </a:lnTo>
                  <a:lnTo>
                    <a:pt x="117" y="777"/>
                  </a:lnTo>
                  <a:lnTo>
                    <a:pt x="117" y="777"/>
                  </a:lnTo>
                  <a:lnTo>
                    <a:pt x="117" y="777"/>
                  </a:lnTo>
                  <a:close/>
                  <a:moveTo>
                    <a:pt x="117" y="772"/>
                  </a:moveTo>
                  <a:lnTo>
                    <a:pt x="121" y="772"/>
                  </a:lnTo>
                  <a:lnTo>
                    <a:pt x="123" y="772"/>
                  </a:lnTo>
                  <a:lnTo>
                    <a:pt x="126" y="772"/>
                  </a:lnTo>
                  <a:lnTo>
                    <a:pt x="123" y="772"/>
                  </a:lnTo>
                  <a:lnTo>
                    <a:pt x="117" y="772"/>
                  </a:lnTo>
                  <a:lnTo>
                    <a:pt x="117" y="772"/>
                  </a:lnTo>
                  <a:lnTo>
                    <a:pt x="117" y="772"/>
                  </a:lnTo>
                  <a:lnTo>
                    <a:pt x="117" y="772"/>
                  </a:lnTo>
                  <a:lnTo>
                    <a:pt x="117" y="772"/>
                  </a:lnTo>
                  <a:close/>
                  <a:moveTo>
                    <a:pt x="111" y="772"/>
                  </a:moveTo>
                  <a:lnTo>
                    <a:pt x="113" y="772"/>
                  </a:lnTo>
                  <a:lnTo>
                    <a:pt x="115" y="772"/>
                  </a:lnTo>
                  <a:lnTo>
                    <a:pt x="113" y="772"/>
                  </a:lnTo>
                  <a:lnTo>
                    <a:pt x="113" y="772"/>
                  </a:lnTo>
                  <a:lnTo>
                    <a:pt x="111" y="772"/>
                  </a:lnTo>
                  <a:lnTo>
                    <a:pt x="111" y="772"/>
                  </a:lnTo>
                  <a:lnTo>
                    <a:pt x="111" y="772"/>
                  </a:lnTo>
                  <a:lnTo>
                    <a:pt x="111" y="772"/>
                  </a:lnTo>
                  <a:close/>
                  <a:moveTo>
                    <a:pt x="123" y="740"/>
                  </a:moveTo>
                  <a:lnTo>
                    <a:pt x="121" y="742"/>
                  </a:lnTo>
                  <a:lnTo>
                    <a:pt x="123" y="742"/>
                  </a:lnTo>
                  <a:lnTo>
                    <a:pt x="124" y="742"/>
                  </a:lnTo>
                  <a:lnTo>
                    <a:pt x="126" y="740"/>
                  </a:lnTo>
                  <a:lnTo>
                    <a:pt x="126" y="738"/>
                  </a:lnTo>
                  <a:lnTo>
                    <a:pt x="124" y="738"/>
                  </a:lnTo>
                  <a:lnTo>
                    <a:pt x="123" y="740"/>
                  </a:lnTo>
                  <a:lnTo>
                    <a:pt x="123" y="740"/>
                  </a:lnTo>
                  <a:lnTo>
                    <a:pt x="123" y="740"/>
                  </a:lnTo>
                  <a:lnTo>
                    <a:pt x="123" y="740"/>
                  </a:lnTo>
                  <a:close/>
                  <a:moveTo>
                    <a:pt x="151" y="727"/>
                  </a:moveTo>
                  <a:lnTo>
                    <a:pt x="155" y="728"/>
                  </a:lnTo>
                  <a:lnTo>
                    <a:pt x="158" y="727"/>
                  </a:lnTo>
                  <a:lnTo>
                    <a:pt x="156" y="725"/>
                  </a:lnTo>
                  <a:lnTo>
                    <a:pt x="155" y="725"/>
                  </a:lnTo>
                  <a:lnTo>
                    <a:pt x="151" y="725"/>
                  </a:lnTo>
                  <a:lnTo>
                    <a:pt x="151" y="727"/>
                  </a:lnTo>
                  <a:lnTo>
                    <a:pt x="151" y="727"/>
                  </a:lnTo>
                  <a:lnTo>
                    <a:pt x="151" y="727"/>
                  </a:lnTo>
                  <a:lnTo>
                    <a:pt x="151" y="727"/>
                  </a:lnTo>
                  <a:close/>
                  <a:moveTo>
                    <a:pt x="140" y="710"/>
                  </a:moveTo>
                  <a:lnTo>
                    <a:pt x="140" y="712"/>
                  </a:lnTo>
                  <a:lnTo>
                    <a:pt x="140" y="713"/>
                  </a:lnTo>
                  <a:lnTo>
                    <a:pt x="145" y="712"/>
                  </a:lnTo>
                  <a:lnTo>
                    <a:pt x="145" y="710"/>
                  </a:lnTo>
                  <a:lnTo>
                    <a:pt x="141" y="710"/>
                  </a:lnTo>
                  <a:lnTo>
                    <a:pt x="140" y="710"/>
                  </a:lnTo>
                  <a:lnTo>
                    <a:pt x="140" y="710"/>
                  </a:lnTo>
                  <a:lnTo>
                    <a:pt x="140" y="710"/>
                  </a:lnTo>
                  <a:lnTo>
                    <a:pt x="140" y="710"/>
                  </a:lnTo>
                  <a:close/>
                  <a:moveTo>
                    <a:pt x="155" y="710"/>
                  </a:moveTo>
                  <a:lnTo>
                    <a:pt x="155" y="712"/>
                  </a:lnTo>
                  <a:lnTo>
                    <a:pt x="156" y="712"/>
                  </a:lnTo>
                  <a:lnTo>
                    <a:pt x="158" y="710"/>
                  </a:lnTo>
                  <a:lnTo>
                    <a:pt x="156" y="708"/>
                  </a:lnTo>
                  <a:lnTo>
                    <a:pt x="155" y="710"/>
                  </a:lnTo>
                  <a:lnTo>
                    <a:pt x="155" y="710"/>
                  </a:lnTo>
                  <a:lnTo>
                    <a:pt x="155" y="710"/>
                  </a:lnTo>
                  <a:lnTo>
                    <a:pt x="155" y="710"/>
                  </a:lnTo>
                  <a:close/>
                  <a:moveTo>
                    <a:pt x="145" y="706"/>
                  </a:moveTo>
                  <a:lnTo>
                    <a:pt x="151" y="708"/>
                  </a:lnTo>
                  <a:lnTo>
                    <a:pt x="151" y="708"/>
                  </a:lnTo>
                  <a:lnTo>
                    <a:pt x="155" y="706"/>
                  </a:lnTo>
                  <a:lnTo>
                    <a:pt x="151" y="706"/>
                  </a:lnTo>
                  <a:lnTo>
                    <a:pt x="149" y="704"/>
                  </a:lnTo>
                  <a:lnTo>
                    <a:pt x="145" y="706"/>
                  </a:lnTo>
                  <a:lnTo>
                    <a:pt x="145" y="706"/>
                  </a:lnTo>
                  <a:lnTo>
                    <a:pt x="145" y="706"/>
                  </a:lnTo>
                  <a:lnTo>
                    <a:pt x="145" y="706"/>
                  </a:lnTo>
                  <a:lnTo>
                    <a:pt x="145" y="706"/>
                  </a:lnTo>
                  <a:close/>
                  <a:moveTo>
                    <a:pt x="179" y="634"/>
                  </a:moveTo>
                  <a:lnTo>
                    <a:pt x="179" y="636"/>
                  </a:lnTo>
                  <a:lnTo>
                    <a:pt x="179" y="638"/>
                  </a:lnTo>
                  <a:lnTo>
                    <a:pt x="181" y="636"/>
                  </a:lnTo>
                  <a:lnTo>
                    <a:pt x="179" y="634"/>
                  </a:lnTo>
                  <a:lnTo>
                    <a:pt x="179" y="634"/>
                  </a:lnTo>
                  <a:lnTo>
                    <a:pt x="179" y="634"/>
                  </a:lnTo>
                  <a:lnTo>
                    <a:pt x="179" y="634"/>
                  </a:lnTo>
                  <a:lnTo>
                    <a:pt x="179" y="634"/>
                  </a:lnTo>
                  <a:close/>
                  <a:moveTo>
                    <a:pt x="175" y="627"/>
                  </a:moveTo>
                  <a:lnTo>
                    <a:pt x="175" y="627"/>
                  </a:lnTo>
                  <a:lnTo>
                    <a:pt x="179" y="629"/>
                  </a:lnTo>
                  <a:lnTo>
                    <a:pt x="179" y="629"/>
                  </a:lnTo>
                  <a:lnTo>
                    <a:pt x="179" y="627"/>
                  </a:lnTo>
                  <a:lnTo>
                    <a:pt x="179" y="627"/>
                  </a:lnTo>
                  <a:lnTo>
                    <a:pt x="175" y="627"/>
                  </a:lnTo>
                  <a:lnTo>
                    <a:pt x="175" y="627"/>
                  </a:lnTo>
                  <a:lnTo>
                    <a:pt x="175" y="627"/>
                  </a:lnTo>
                  <a:lnTo>
                    <a:pt x="175" y="627"/>
                  </a:lnTo>
                  <a:close/>
                  <a:moveTo>
                    <a:pt x="166" y="602"/>
                  </a:moveTo>
                  <a:lnTo>
                    <a:pt x="168" y="602"/>
                  </a:lnTo>
                  <a:lnTo>
                    <a:pt x="172" y="597"/>
                  </a:lnTo>
                  <a:lnTo>
                    <a:pt x="173" y="597"/>
                  </a:lnTo>
                  <a:lnTo>
                    <a:pt x="173" y="597"/>
                  </a:lnTo>
                  <a:lnTo>
                    <a:pt x="170" y="597"/>
                  </a:lnTo>
                  <a:lnTo>
                    <a:pt x="168" y="593"/>
                  </a:lnTo>
                  <a:lnTo>
                    <a:pt x="166" y="597"/>
                  </a:lnTo>
                  <a:lnTo>
                    <a:pt x="164" y="597"/>
                  </a:lnTo>
                  <a:lnTo>
                    <a:pt x="166" y="602"/>
                  </a:lnTo>
                  <a:lnTo>
                    <a:pt x="166" y="602"/>
                  </a:lnTo>
                  <a:lnTo>
                    <a:pt x="166" y="602"/>
                  </a:lnTo>
                  <a:lnTo>
                    <a:pt x="166" y="602"/>
                  </a:lnTo>
                  <a:close/>
                  <a:moveTo>
                    <a:pt x="166" y="615"/>
                  </a:moveTo>
                  <a:lnTo>
                    <a:pt x="168" y="615"/>
                  </a:lnTo>
                  <a:lnTo>
                    <a:pt x="170" y="615"/>
                  </a:lnTo>
                  <a:lnTo>
                    <a:pt x="173" y="612"/>
                  </a:lnTo>
                  <a:lnTo>
                    <a:pt x="173" y="608"/>
                  </a:lnTo>
                  <a:lnTo>
                    <a:pt x="170" y="606"/>
                  </a:lnTo>
                  <a:lnTo>
                    <a:pt x="166" y="608"/>
                  </a:lnTo>
                  <a:lnTo>
                    <a:pt x="166" y="615"/>
                  </a:lnTo>
                  <a:lnTo>
                    <a:pt x="166" y="615"/>
                  </a:lnTo>
                  <a:lnTo>
                    <a:pt x="166" y="615"/>
                  </a:lnTo>
                  <a:lnTo>
                    <a:pt x="166" y="615"/>
                  </a:lnTo>
                  <a:close/>
                  <a:moveTo>
                    <a:pt x="155" y="615"/>
                  </a:moveTo>
                  <a:lnTo>
                    <a:pt x="156" y="617"/>
                  </a:lnTo>
                  <a:lnTo>
                    <a:pt x="158" y="614"/>
                  </a:lnTo>
                  <a:lnTo>
                    <a:pt x="158" y="612"/>
                  </a:lnTo>
                  <a:lnTo>
                    <a:pt x="160" y="606"/>
                  </a:lnTo>
                  <a:lnTo>
                    <a:pt x="155" y="610"/>
                  </a:lnTo>
                  <a:lnTo>
                    <a:pt x="155" y="612"/>
                  </a:lnTo>
                  <a:lnTo>
                    <a:pt x="155" y="615"/>
                  </a:lnTo>
                  <a:lnTo>
                    <a:pt x="155" y="615"/>
                  </a:lnTo>
                  <a:lnTo>
                    <a:pt x="155" y="615"/>
                  </a:lnTo>
                  <a:lnTo>
                    <a:pt x="155" y="615"/>
                  </a:lnTo>
                  <a:close/>
                  <a:moveTo>
                    <a:pt x="132" y="632"/>
                  </a:moveTo>
                  <a:lnTo>
                    <a:pt x="130" y="634"/>
                  </a:lnTo>
                  <a:lnTo>
                    <a:pt x="132" y="638"/>
                  </a:lnTo>
                  <a:lnTo>
                    <a:pt x="134" y="638"/>
                  </a:lnTo>
                  <a:lnTo>
                    <a:pt x="136" y="636"/>
                  </a:lnTo>
                  <a:lnTo>
                    <a:pt x="134" y="632"/>
                  </a:lnTo>
                  <a:lnTo>
                    <a:pt x="132" y="632"/>
                  </a:lnTo>
                  <a:lnTo>
                    <a:pt x="132" y="632"/>
                  </a:lnTo>
                  <a:lnTo>
                    <a:pt x="132" y="632"/>
                  </a:lnTo>
                  <a:lnTo>
                    <a:pt x="132" y="632"/>
                  </a:lnTo>
                  <a:close/>
                  <a:moveTo>
                    <a:pt x="175" y="668"/>
                  </a:moveTo>
                  <a:lnTo>
                    <a:pt x="175" y="670"/>
                  </a:lnTo>
                  <a:lnTo>
                    <a:pt x="175" y="668"/>
                  </a:lnTo>
                  <a:lnTo>
                    <a:pt x="175" y="672"/>
                  </a:lnTo>
                  <a:lnTo>
                    <a:pt x="175" y="676"/>
                  </a:lnTo>
                  <a:lnTo>
                    <a:pt x="179" y="678"/>
                  </a:lnTo>
                  <a:lnTo>
                    <a:pt x="179" y="676"/>
                  </a:lnTo>
                  <a:lnTo>
                    <a:pt x="181" y="670"/>
                  </a:lnTo>
                  <a:lnTo>
                    <a:pt x="183" y="666"/>
                  </a:lnTo>
                  <a:lnTo>
                    <a:pt x="183" y="666"/>
                  </a:lnTo>
                  <a:lnTo>
                    <a:pt x="181" y="666"/>
                  </a:lnTo>
                  <a:lnTo>
                    <a:pt x="179" y="666"/>
                  </a:lnTo>
                  <a:lnTo>
                    <a:pt x="175" y="668"/>
                  </a:lnTo>
                  <a:lnTo>
                    <a:pt x="175" y="668"/>
                  </a:lnTo>
                  <a:lnTo>
                    <a:pt x="175" y="668"/>
                  </a:lnTo>
                  <a:lnTo>
                    <a:pt x="175" y="668"/>
                  </a:lnTo>
                  <a:close/>
                  <a:moveTo>
                    <a:pt x="130" y="681"/>
                  </a:moveTo>
                  <a:lnTo>
                    <a:pt x="134" y="683"/>
                  </a:lnTo>
                  <a:lnTo>
                    <a:pt x="140" y="683"/>
                  </a:lnTo>
                  <a:lnTo>
                    <a:pt x="140" y="685"/>
                  </a:lnTo>
                  <a:lnTo>
                    <a:pt x="141" y="687"/>
                  </a:lnTo>
                  <a:lnTo>
                    <a:pt x="145" y="685"/>
                  </a:lnTo>
                  <a:lnTo>
                    <a:pt x="155" y="683"/>
                  </a:lnTo>
                  <a:lnTo>
                    <a:pt x="160" y="683"/>
                  </a:lnTo>
                  <a:lnTo>
                    <a:pt x="168" y="678"/>
                  </a:lnTo>
                  <a:lnTo>
                    <a:pt x="166" y="672"/>
                  </a:lnTo>
                  <a:lnTo>
                    <a:pt x="164" y="666"/>
                  </a:lnTo>
                  <a:lnTo>
                    <a:pt x="160" y="666"/>
                  </a:lnTo>
                  <a:lnTo>
                    <a:pt x="156" y="666"/>
                  </a:lnTo>
                  <a:lnTo>
                    <a:pt x="155" y="657"/>
                  </a:lnTo>
                  <a:lnTo>
                    <a:pt x="151" y="651"/>
                  </a:lnTo>
                  <a:lnTo>
                    <a:pt x="145" y="649"/>
                  </a:lnTo>
                  <a:lnTo>
                    <a:pt x="141" y="646"/>
                  </a:lnTo>
                  <a:lnTo>
                    <a:pt x="136" y="644"/>
                  </a:lnTo>
                  <a:lnTo>
                    <a:pt x="132" y="642"/>
                  </a:lnTo>
                  <a:lnTo>
                    <a:pt x="132" y="646"/>
                  </a:lnTo>
                  <a:lnTo>
                    <a:pt x="126" y="649"/>
                  </a:lnTo>
                  <a:lnTo>
                    <a:pt x="126" y="653"/>
                  </a:lnTo>
                  <a:lnTo>
                    <a:pt x="132" y="657"/>
                  </a:lnTo>
                  <a:lnTo>
                    <a:pt x="134" y="661"/>
                  </a:lnTo>
                  <a:lnTo>
                    <a:pt x="130" y="657"/>
                  </a:lnTo>
                  <a:lnTo>
                    <a:pt x="126" y="657"/>
                  </a:lnTo>
                  <a:lnTo>
                    <a:pt x="126" y="661"/>
                  </a:lnTo>
                  <a:lnTo>
                    <a:pt x="126" y="663"/>
                  </a:lnTo>
                  <a:lnTo>
                    <a:pt x="130" y="666"/>
                  </a:lnTo>
                  <a:lnTo>
                    <a:pt x="126" y="668"/>
                  </a:lnTo>
                  <a:lnTo>
                    <a:pt x="126" y="668"/>
                  </a:lnTo>
                  <a:lnTo>
                    <a:pt x="126" y="672"/>
                  </a:lnTo>
                  <a:lnTo>
                    <a:pt x="136" y="674"/>
                  </a:lnTo>
                  <a:lnTo>
                    <a:pt x="138" y="676"/>
                  </a:lnTo>
                  <a:lnTo>
                    <a:pt x="140" y="678"/>
                  </a:lnTo>
                  <a:lnTo>
                    <a:pt x="147" y="674"/>
                  </a:lnTo>
                  <a:lnTo>
                    <a:pt x="141" y="678"/>
                  </a:lnTo>
                  <a:lnTo>
                    <a:pt x="140" y="678"/>
                  </a:lnTo>
                  <a:lnTo>
                    <a:pt x="134" y="678"/>
                  </a:lnTo>
                  <a:lnTo>
                    <a:pt x="132" y="678"/>
                  </a:lnTo>
                  <a:lnTo>
                    <a:pt x="130" y="681"/>
                  </a:lnTo>
                  <a:lnTo>
                    <a:pt x="130" y="681"/>
                  </a:lnTo>
                  <a:lnTo>
                    <a:pt x="130" y="6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6" name="Freeform 157">
              <a:extLst>
                <a:ext uri="{FF2B5EF4-FFF2-40B4-BE49-F238E27FC236}">
                  <a16:creationId xmlns:a16="http://schemas.microsoft.com/office/drawing/2014/main" id="{6FA5F5A0-B1A5-374C-B9DF-6A05EBAA1BF7}"/>
                </a:ext>
              </a:extLst>
            </p:cNvPr>
            <p:cNvSpPr>
              <a:spLocks noEditPoints="1"/>
            </p:cNvSpPr>
            <p:nvPr/>
          </p:nvSpPr>
          <p:spPr bwMode="auto">
            <a:xfrm>
              <a:off x="5010819" y="2698311"/>
              <a:ext cx="62294" cy="36050"/>
            </a:xfrm>
            <a:custGeom>
              <a:avLst/>
              <a:gdLst/>
              <a:ahLst/>
              <a:cxnLst>
                <a:cxn ang="0">
                  <a:pos x="65" y="35"/>
                </a:cxn>
                <a:cxn ang="0">
                  <a:pos x="67" y="35"/>
                </a:cxn>
                <a:cxn ang="0">
                  <a:pos x="64" y="32"/>
                </a:cxn>
                <a:cxn ang="0">
                  <a:pos x="64" y="32"/>
                </a:cxn>
                <a:cxn ang="0">
                  <a:pos x="64" y="32"/>
                </a:cxn>
                <a:cxn ang="0">
                  <a:pos x="9" y="5"/>
                </a:cxn>
                <a:cxn ang="0">
                  <a:pos x="9" y="11"/>
                </a:cxn>
                <a:cxn ang="0">
                  <a:pos x="3" y="17"/>
                </a:cxn>
                <a:cxn ang="0">
                  <a:pos x="5" y="22"/>
                </a:cxn>
                <a:cxn ang="0">
                  <a:pos x="5" y="26"/>
                </a:cxn>
                <a:cxn ang="0">
                  <a:pos x="0" y="35"/>
                </a:cxn>
                <a:cxn ang="0">
                  <a:pos x="5" y="41"/>
                </a:cxn>
                <a:cxn ang="0">
                  <a:pos x="7" y="45"/>
                </a:cxn>
                <a:cxn ang="0">
                  <a:pos x="9" y="47"/>
                </a:cxn>
                <a:cxn ang="0">
                  <a:pos x="18" y="35"/>
                </a:cxn>
                <a:cxn ang="0">
                  <a:pos x="18" y="32"/>
                </a:cxn>
                <a:cxn ang="0">
                  <a:pos x="22" y="32"/>
                </a:cxn>
                <a:cxn ang="0">
                  <a:pos x="28" y="32"/>
                </a:cxn>
                <a:cxn ang="0">
                  <a:pos x="30" y="35"/>
                </a:cxn>
                <a:cxn ang="0">
                  <a:pos x="39" y="30"/>
                </a:cxn>
                <a:cxn ang="0">
                  <a:pos x="52" y="30"/>
                </a:cxn>
                <a:cxn ang="0">
                  <a:pos x="58" y="30"/>
                </a:cxn>
                <a:cxn ang="0">
                  <a:pos x="67" y="32"/>
                </a:cxn>
                <a:cxn ang="0">
                  <a:pos x="71" y="30"/>
                </a:cxn>
                <a:cxn ang="0">
                  <a:pos x="71" y="22"/>
                </a:cxn>
                <a:cxn ang="0">
                  <a:pos x="60" y="18"/>
                </a:cxn>
                <a:cxn ang="0">
                  <a:pos x="52" y="17"/>
                </a:cxn>
                <a:cxn ang="0">
                  <a:pos x="43" y="11"/>
                </a:cxn>
                <a:cxn ang="0">
                  <a:pos x="39" y="11"/>
                </a:cxn>
                <a:cxn ang="0">
                  <a:pos x="54" y="13"/>
                </a:cxn>
                <a:cxn ang="0">
                  <a:pos x="54" y="9"/>
                </a:cxn>
                <a:cxn ang="0">
                  <a:pos x="49" y="9"/>
                </a:cxn>
                <a:cxn ang="0">
                  <a:pos x="39" y="1"/>
                </a:cxn>
                <a:cxn ang="0">
                  <a:pos x="37" y="1"/>
                </a:cxn>
                <a:cxn ang="0">
                  <a:pos x="18" y="0"/>
                </a:cxn>
                <a:cxn ang="0">
                  <a:pos x="9" y="0"/>
                </a:cxn>
                <a:cxn ang="0">
                  <a:pos x="7" y="5"/>
                </a:cxn>
              </a:cxnLst>
              <a:rect l="0" t="0" r="r" b="b"/>
              <a:pathLst>
                <a:path w="73" h="47">
                  <a:moveTo>
                    <a:pt x="64" y="32"/>
                  </a:moveTo>
                  <a:lnTo>
                    <a:pt x="65" y="35"/>
                  </a:lnTo>
                  <a:lnTo>
                    <a:pt x="69" y="35"/>
                  </a:lnTo>
                  <a:lnTo>
                    <a:pt x="67" y="35"/>
                  </a:lnTo>
                  <a:lnTo>
                    <a:pt x="64" y="35"/>
                  </a:lnTo>
                  <a:lnTo>
                    <a:pt x="64" y="32"/>
                  </a:lnTo>
                  <a:lnTo>
                    <a:pt x="64" y="32"/>
                  </a:lnTo>
                  <a:lnTo>
                    <a:pt x="64" y="32"/>
                  </a:lnTo>
                  <a:lnTo>
                    <a:pt x="64" y="32"/>
                  </a:lnTo>
                  <a:lnTo>
                    <a:pt x="64" y="32"/>
                  </a:lnTo>
                  <a:close/>
                  <a:moveTo>
                    <a:pt x="7" y="5"/>
                  </a:moveTo>
                  <a:lnTo>
                    <a:pt x="9" y="5"/>
                  </a:lnTo>
                  <a:lnTo>
                    <a:pt x="7" y="9"/>
                  </a:lnTo>
                  <a:lnTo>
                    <a:pt x="9" y="11"/>
                  </a:lnTo>
                  <a:lnTo>
                    <a:pt x="7" y="17"/>
                  </a:lnTo>
                  <a:lnTo>
                    <a:pt x="3" y="17"/>
                  </a:lnTo>
                  <a:lnTo>
                    <a:pt x="3" y="18"/>
                  </a:lnTo>
                  <a:lnTo>
                    <a:pt x="5" y="22"/>
                  </a:lnTo>
                  <a:lnTo>
                    <a:pt x="5" y="26"/>
                  </a:lnTo>
                  <a:lnTo>
                    <a:pt x="5" y="26"/>
                  </a:lnTo>
                  <a:lnTo>
                    <a:pt x="0" y="32"/>
                  </a:lnTo>
                  <a:lnTo>
                    <a:pt x="0" y="35"/>
                  </a:lnTo>
                  <a:lnTo>
                    <a:pt x="1" y="35"/>
                  </a:lnTo>
                  <a:lnTo>
                    <a:pt x="5" y="41"/>
                  </a:lnTo>
                  <a:lnTo>
                    <a:pt x="3" y="41"/>
                  </a:lnTo>
                  <a:lnTo>
                    <a:pt x="7" y="45"/>
                  </a:lnTo>
                  <a:lnTo>
                    <a:pt x="7" y="45"/>
                  </a:lnTo>
                  <a:lnTo>
                    <a:pt x="9" y="47"/>
                  </a:lnTo>
                  <a:lnTo>
                    <a:pt x="13" y="41"/>
                  </a:lnTo>
                  <a:lnTo>
                    <a:pt x="18" y="35"/>
                  </a:lnTo>
                  <a:lnTo>
                    <a:pt x="15" y="32"/>
                  </a:lnTo>
                  <a:lnTo>
                    <a:pt x="18" y="32"/>
                  </a:lnTo>
                  <a:lnTo>
                    <a:pt x="18" y="32"/>
                  </a:lnTo>
                  <a:lnTo>
                    <a:pt x="22" y="32"/>
                  </a:lnTo>
                  <a:lnTo>
                    <a:pt x="24" y="30"/>
                  </a:lnTo>
                  <a:lnTo>
                    <a:pt x="28" y="32"/>
                  </a:lnTo>
                  <a:lnTo>
                    <a:pt x="28" y="35"/>
                  </a:lnTo>
                  <a:lnTo>
                    <a:pt x="30" y="35"/>
                  </a:lnTo>
                  <a:lnTo>
                    <a:pt x="35" y="35"/>
                  </a:lnTo>
                  <a:lnTo>
                    <a:pt x="39" y="30"/>
                  </a:lnTo>
                  <a:lnTo>
                    <a:pt x="45" y="26"/>
                  </a:lnTo>
                  <a:lnTo>
                    <a:pt x="52" y="30"/>
                  </a:lnTo>
                  <a:lnTo>
                    <a:pt x="54" y="26"/>
                  </a:lnTo>
                  <a:lnTo>
                    <a:pt x="58" y="30"/>
                  </a:lnTo>
                  <a:lnTo>
                    <a:pt x="62" y="32"/>
                  </a:lnTo>
                  <a:lnTo>
                    <a:pt x="67" y="32"/>
                  </a:lnTo>
                  <a:lnTo>
                    <a:pt x="67" y="30"/>
                  </a:lnTo>
                  <a:lnTo>
                    <a:pt x="71" y="30"/>
                  </a:lnTo>
                  <a:lnTo>
                    <a:pt x="73" y="26"/>
                  </a:lnTo>
                  <a:lnTo>
                    <a:pt x="71" y="22"/>
                  </a:lnTo>
                  <a:lnTo>
                    <a:pt x="62" y="18"/>
                  </a:lnTo>
                  <a:lnTo>
                    <a:pt x="60" y="18"/>
                  </a:lnTo>
                  <a:lnTo>
                    <a:pt x="54" y="17"/>
                  </a:lnTo>
                  <a:lnTo>
                    <a:pt x="52" y="17"/>
                  </a:lnTo>
                  <a:lnTo>
                    <a:pt x="49" y="15"/>
                  </a:lnTo>
                  <a:lnTo>
                    <a:pt x="43" y="11"/>
                  </a:lnTo>
                  <a:lnTo>
                    <a:pt x="39" y="11"/>
                  </a:lnTo>
                  <a:lnTo>
                    <a:pt x="39" y="11"/>
                  </a:lnTo>
                  <a:lnTo>
                    <a:pt x="45" y="11"/>
                  </a:lnTo>
                  <a:lnTo>
                    <a:pt x="54" y="13"/>
                  </a:lnTo>
                  <a:lnTo>
                    <a:pt x="58" y="11"/>
                  </a:lnTo>
                  <a:lnTo>
                    <a:pt x="54" y="9"/>
                  </a:lnTo>
                  <a:lnTo>
                    <a:pt x="52" y="9"/>
                  </a:lnTo>
                  <a:lnTo>
                    <a:pt x="49" y="9"/>
                  </a:lnTo>
                  <a:lnTo>
                    <a:pt x="45" y="1"/>
                  </a:lnTo>
                  <a:lnTo>
                    <a:pt x="39" y="1"/>
                  </a:lnTo>
                  <a:lnTo>
                    <a:pt x="39" y="5"/>
                  </a:lnTo>
                  <a:lnTo>
                    <a:pt x="37" y="1"/>
                  </a:lnTo>
                  <a:lnTo>
                    <a:pt x="20" y="0"/>
                  </a:lnTo>
                  <a:lnTo>
                    <a:pt x="18" y="0"/>
                  </a:lnTo>
                  <a:lnTo>
                    <a:pt x="15" y="0"/>
                  </a:lnTo>
                  <a:lnTo>
                    <a:pt x="9" y="0"/>
                  </a:lnTo>
                  <a:lnTo>
                    <a:pt x="7" y="5"/>
                  </a:lnTo>
                  <a:lnTo>
                    <a:pt x="7" y="5"/>
                  </a:lnTo>
                  <a:lnTo>
                    <a:pt x="7" y="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7" name="Freeform 158">
              <a:extLst>
                <a:ext uri="{FF2B5EF4-FFF2-40B4-BE49-F238E27FC236}">
                  <a16:creationId xmlns:a16="http://schemas.microsoft.com/office/drawing/2014/main" id="{A8958F2D-1DF4-2043-8D34-87EE57A514FA}"/>
                </a:ext>
              </a:extLst>
            </p:cNvPr>
            <p:cNvSpPr>
              <a:spLocks/>
            </p:cNvSpPr>
            <p:nvPr/>
          </p:nvSpPr>
          <p:spPr bwMode="auto">
            <a:xfrm>
              <a:off x="4910978" y="2718254"/>
              <a:ext cx="34986" cy="11505"/>
            </a:xfrm>
            <a:custGeom>
              <a:avLst/>
              <a:gdLst/>
              <a:ahLst/>
              <a:cxnLst>
                <a:cxn ang="0">
                  <a:pos x="6" y="0"/>
                </a:cxn>
                <a:cxn ang="0">
                  <a:pos x="9" y="2"/>
                </a:cxn>
                <a:cxn ang="0">
                  <a:pos x="17" y="0"/>
                </a:cxn>
                <a:cxn ang="0">
                  <a:pos x="30" y="0"/>
                </a:cxn>
                <a:cxn ang="0">
                  <a:pos x="34" y="4"/>
                </a:cxn>
                <a:cxn ang="0">
                  <a:pos x="38" y="8"/>
                </a:cxn>
                <a:cxn ang="0">
                  <a:pos x="41" y="9"/>
                </a:cxn>
                <a:cxn ang="0">
                  <a:pos x="41" y="11"/>
                </a:cxn>
                <a:cxn ang="0">
                  <a:pos x="36" y="11"/>
                </a:cxn>
                <a:cxn ang="0">
                  <a:pos x="32" y="9"/>
                </a:cxn>
                <a:cxn ang="0">
                  <a:pos x="32" y="13"/>
                </a:cxn>
                <a:cxn ang="0">
                  <a:pos x="30" y="13"/>
                </a:cxn>
                <a:cxn ang="0">
                  <a:pos x="28" y="11"/>
                </a:cxn>
                <a:cxn ang="0">
                  <a:pos x="26" y="11"/>
                </a:cxn>
                <a:cxn ang="0">
                  <a:pos x="26" y="15"/>
                </a:cxn>
                <a:cxn ang="0">
                  <a:pos x="19" y="15"/>
                </a:cxn>
                <a:cxn ang="0">
                  <a:pos x="19" y="13"/>
                </a:cxn>
                <a:cxn ang="0">
                  <a:pos x="13" y="13"/>
                </a:cxn>
                <a:cxn ang="0">
                  <a:pos x="11" y="11"/>
                </a:cxn>
                <a:cxn ang="0">
                  <a:pos x="9" y="8"/>
                </a:cxn>
                <a:cxn ang="0">
                  <a:pos x="6" y="8"/>
                </a:cxn>
                <a:cxn ang="0">
                  <a:pos x="4" y="8"/>
                </a:cxn>
                <a:cxn ang="0">
                  <a:pos x="0" y="4"/>
                </a:cxn>
                <a:cxn ang="0">
                  <a:pos x="2" y="2"/>
                </a:cxn>
                <a:cxn ang="0">
                  <a:pos x="6" y="0"/>
                </a:cxn>
                <a:cxn ang="0">
                  <a:pos x="6" y="0"/>
                </a:cxn>
                <a:cxn ang="0">
                  <a:pos x="6" y="0"/>
                </a:cxn>
              </a:cxnLst>
              <a:rect l="0" t="0" r="r" b="b"/>
              <a:pathLst>
                <a:path w="41" h="15">
                  <a:moveTo>
                    <a:pt x="6" y="0"/>
                  </a:moveTo>
                  <a:lnTo>
                    <a:pt x="9" y="2"/>
                  </a:lnTo>
                  <a:lnTo>
                    <a:pt x="17" y="0"/>
                  </a:lnTo>
                  <a:lnTo>
                    <a:pt x="30" y="0"/>
                  </a:lnTo>
                  <a:lnTo>
                    <a:pt x="34" y="4"/>
                  </a:lnTo>
                  <a:lnTo>
                    <a:pt x="38" y="8"/>
                  </a:lnTo>
                  <a:lnTo>
                    <a:pt x="41" y="9"/>
                  </a:lnTo>
                  <a:lnTo>
                    <a:pt x="41" y="11"/>
                  </a:lnTo>
                  <a:lnTo>
                    <a:pt x="36" y="11"/>
                  </a:lnTo>
                  <a:lnTo>
                    <a:pt x="32" y="9"/>
                  </a:lnTo>
                  <a:lnTo>
                    <a:pt x="32" y="13"/>
                  </a:lnTo>
                  <a:lnTo>
                    <a:pt x="30" y="13"/>
                  </a:lnTo>
                  <a:lnTo>
                    <a:pt x="28" y="11"/>
                  </a:lnTo>
                  <a:lnTo>
                    <a:pt x="26" y="11"/>
                  </a:lnTo>
                  <a:lnTo>
                    <a:pt x="26" y="15"/>
                  </a:lnTo>
                  <a:lnTo>
                    <a:pt x="19" y="15"/>
                  </a:lnTo>
                  <a:lnTo>
                    <a:pt x="19" y="13"/>
                  </a:lnTo>
                  <a:lnTo>
                    <a:pt x="13" y="13"/>
                  </a:lnTo>
                  <a:lnTo>
                    <a:pt x="11" y="11"/>
                  </a:lnTo>
                  <a:lnTo>
                    <a:pt x="9" y="8"/>
                  </a:lnTo>
                  <a:lnTo>
                    <a:pt x="6" y="8"/>
                  </a:lnTo>
                  <a:lnTo>
                    <a:pt x="4" y="8"/>
                  </a:lnTo>
                  <a:lnTo>
                    <a:pt x="0" y="4"/>
                  </a:lnTo>
                  <a:lnTo>
                    <a:pt x="2" y="2"/>
                  </a:lnTo>
                  <a:lnTo>
                    <a:pt x="6" y="0"/>
                  </a:lnTo>
                  <a:lnTo>
                    <a:pt x="6" y="0"/>
                  </a:lnTo>
                  <a:lnTo>
                    <a:pt x="6"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8" name="Freeform 159">
              <a:extLst>
                <a:ext uri="{FF2B5EF4-FFF2-40B4-BE49-F238E27FC236}">
                  <a16:creationId xmlns:a16="http://schemas.microsoft.com/office/drawing/2014/main" id="{B88009FC-DC88-DB4B-8894-8AA1C429228F}"/>
                </a:ext>
              </a:extLst>
            </p:cNvPr>
            <p:cNvSpPr>
              <a:spLocks noEditPoints="1"/>
            </p:cNvSpPr>
            <p:nvPr/>
          </p:nvSpPr>
          <p:spPr bwMode="auto">
            <a:xfrm>
              <a:off x="4970711" y="2693710"/>
              <a:ext cx="47787" cy="31447"/>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9" name="Freeform 160">
              <a:extLst>
                <a:ext uri="{FF2B5EF4-FFF2-40B4-BE49-F238E27FC236}">
                  <a16:creationId xmlns:a16="http://schemas.microsoft.com/office/drawing/2014/main" id="{46EB6DA2-DF69-8B4D-A5B7-3BD9D8F7789A}"/>
                </a:ext>
              </a:extLst>
            </p:cNvPr>
            <p:cNvSpPr>
              <a:spLocks noEditPoints="1"/>
            </p:cNvSpPr>
            <p:nvPr/>
          </p:nvSpPr>
          <p:spPr bwMode="auto">
            <a:xfrm>
              <a:off x="4970711" y="2693710"/>
              <a:ext cx="47787" cy="31447"/>
            </a:xfrm>
            <a:custGeom>
              <a:avLst/>
              <a:gdLst/>
              <a:ahLst/>
              <a:cxnLst>
                <a:cxn ang="0">
                  <a:pos x="47" y="38"/>
                </a:cxn>
                <a:cxn ang="0">
                  <a:pos x="52" y="32"/>
                </a:cxn>
                <a:cxn ang="0">
                  <a:pos x="50" y="24"/>
                </a:cxn>
                <a:cxn ang="0">
                  <a:pos x="56" y="23"/>
                </a:cxn>
                <a:cxn ang="0">
                  <a:pos x="56" y="17"/>
                </a:cxn>
                <a:cxn ang="0">
                  <a:pos x="56" y="11"/>
                </a:cxn>
                <a:cxn ang="0">
                  <a:pos x="52" y="9"/>
                </a:cxn>
                <a:cxn ang="0">
                  <a:pos x="45" y="7"/>
                </a:cxn>
                <a:cxn ang="0">
                  <a:pos x="33" y="7"/>
                </a:cxn>
                <a:cxn ang="0">
                  <a:pos x="22" y="6"/>
                </a:cxn>
                <a:cxn ang="0">
                  <a:pos x="22" y="9"/>
                </a:cxn>
                <a:cxn ang="0">
                  <a:pos x="37" y="13"/>
                </a:cxn>
                <a:cxn ang="0">
                  <a:pos x="37" y="17"/>
                </a:cxn>
                <a:cxn ang="0">
                  <a:pos x="37" y="26"/>
                </a:cxn>
                <a:cxn ang="0">
                  <a:pos x="45" y="30"/>
                </a:cxn>
                <a:cxn ang="0">
                  <a:pos x="35" y="34"/>
                </a:cxn>
                <a:cxn ang="0">
                  <a:pos x="32" y="34"/>
                </a:cxn>
                <a:cxn ang="0">
                  <a:pos x="22" y="32"/>
                </a:cxn>
                <a:cxn ang="0">
                  <a:pos x="16" y="32"/>
                </a:cxn>
                <a:cxn ang="0">
                  <a:pos x="9" y="32"/>
                </a:cxn>
                <a:cxn ang="0">
                  <a:pos x="1" y="32"/>
                </a:cxn>
                <a:cxn ang="0">
                  <a:pos x="1" y="38"/>
                </a:cxn>
                <a:cxn ang="0">
                  <a:pos x="11" y="41"/>
                </a:cxn>
                <a:cxn ang="0">
                  <a:pos x="15" y="41"/>
                </a:cxn>
                <a:cxn ang="0">
                  <a:pos x="24" y="38"/>
                </a:cxn>
                <a:cxn ang="0">
                  <a:pos x="39" y="41"/>
                </a:cxn>
                <a:cxn ang="0">
                  <a:pos x="45" y="41"/>
                </a:cxn>
                <a:cxn ang="0">
                  <a:pos x="47" y="41"/>
                </a:cxn>
                <a:cxn ang="0">
                  <a:pos x="47" y="41"/>
                </a:cxn>
                <a:cxn ang="0">
                  <a:pos x="35" y="0"/>
                </a:cxn>
                <a:cxn ang="0">
                  <a:pos x="35" y="4"/>
                </a:cxn>
                <a:cxn ang="0">
                  <a:pos x="32" y="2"/>
                </a:cxn>
                <a:cxn ang="0">
                  <a:pos x="32" y="2"/>
                </a:cxn>
                <a:cxn ang="0">
                  <a:pos x="28" y="23"/>
                </a:cxn>
                <a:cxn ang="0">
                  <a:pos x="33" y="28"/>
                </a:cxn>
                <a:cxn ang="0">
                  <a:pos x="24" y="24"/>
                </a:cxn>
                <a:cxn ang="0">
                  <a:pos x="24" y="24"/>
                </a:cxn>
              </a:cxnLst>
              <a:rect l="0" t="0" r="r" b="b"/>
              <a:pathLst>
                <a:path w="56" h="41">
                  <a:moveTo>
                    <a:pt x="47" y="41"/>
                  </a:moveTo>
                  <a:lnTo>
                    <a:pt x="47" y="38"/>
                  </a:lnTo>
                  <a:lnTo>
                    <a:pt x="52" y="34"/>
                  </a:lnTo>
                  <a:lnTo>
                    <a:pt x="52" y="32"/>
                  </a:lnTo>
                  <a:lnTo>
                    <a:pt x="52" y="28"/>
                  </a:lnTo>
                  <a:lnTo>
                    <a:pt x="50" y="24"/>
                  </a:lnTo>
                  <a:lnTo>
                    <a:pt x="50" y="23"/>
                  </a:lnTo>
                  <a:lnTo>
                    <a:pt x="56" y="23"/>
                  </a:lnTo>
                  <a:lnTo>
                    <a:pt x="56" y="17"/>
                  </a:lnTo>
                  <a:lnTo>
                    <a:pt x="56" y="17"/>
                  </a:lnTo>
                  <a:lnTo>
                    <a:pt x="56" y="13"/>
                  </a:lnTo>
                  <a:lnTo>
                    <a:pt x="56" y="11"/>
                  </a:lnTo>
                  <a:lnTo>
                    <a:pt x="56" y="11"/>
                  </a:lnTo>
                  <a:lnTo>
                    <a:pt x="52" y="9"/>
                  </a:lnTo>
                  <a:lnTo>
                    <a:pt x="50" y="11"/>
                  </a:lnTo>
                  <a:lnTo>
                    <a:pt x="45" y="7"/>
                  </a:lnTo>
                  <a:lnTo>
                    <a:pt x="35" y="6"/>
                  </a:lnTo>
                  <a:lnTo>
                    <a:pt x="33" y="7"/>
                  </a:lnTo>
                  <a:lnTo>
                    <a:pt x="30" y="6"/>
                  </a:lnTo>
                  <a:lnTo>
                    <a:pt x="22" y="6"/>
                  </a:lnTo>
                  <a:lnTo>
                    <a:pt x="22" y="9"/>
                  </a:lnTo>
                  <a:lnTo>
                    <a:pt x="22" y="9"/>
                  </a:lnTo>
                  <a:lnTo>
                    <a:pt x="26" y="11"/>
                  </a:lnTo>
                  <a:lnTo>
                    <a:pt x="37" y="13"/>
                  </a:lnTo>
                  <a:lnTo>
                    <a:pt x="35" y="17"/>
                  </a:lnTo>
                  <a:lnTo>
                    <a:pt x="37" y="17"/>
                  </a:lnTo>
                  <a:lnTo>
                    <a:pt x="35" y="23"/>
                  </a:lnTo>
                  <a:lnTo>
                    <a:pt x="37" y="26"/>
                  </a:lnTo>
                  <a:lnTo>
                    <a:pt x="41" y="26"/>
                  </a:lnTo>
                  <a:lnTo>
                    <a:pt x="45" y="30"/>
                  </a:lnTo>
                  <a:lnTo>
                    <a:pt x="45" y="34"/>
                  </a:lnTo>
                  <a:lnTo>
                    <a:pt x="35" y="34"/>
                  </a:lnTo>
                  <a:lnTo>
                    <a:pt x="33" y="34"/>
                  </a:lnTo>
                  <a:lnTo>
                    <a:pt x="32" y="34"/>
                  </a:lnTo>
                  <a:lnTo>
                    <a:pt x="26" y="34"/>
                  </a:lnTo>
                  <a:lnTo>
                    <a:pt x="22" y="32"/>
                  </a:lnTo>
                  <a:lnTo>
                    <a:pt x="16" y="34"/>
                  </a:lnTo>
                  <a:lnTo>
                    <a:pt x="16" y="32"/>
                  </a:lnTo>
                  <a:lnTo>
                    <a:pt x="15" y="32"/>
                  </a:lnTo>
                  <a:lnTo>
                    <a:pt x="9" y="32"/>
                  </a:lnTo>
                  <a:lnTo>
                    <a:pt x="5" y="30"/>
                  </a:lnTo>
                  <a:lnTo>
                    <a:pt x="1" y="32"/>
                  </a:lnTo>
                  <a:lnTo>
                    <a:pt x="0" y="34"/>
                  </a:lnTo>
                  <a:lnTo>
                    <a:pt x="1" y="38"/>
                  </a:lnTo>
                  <a:lnTo>
                    <a:pt x="7" y="38"/>
                  </a:lnTo>
                  <a:lnTo>
                    <a:pt x="11" y="41"/>
                  </a:lnTo>
                  <a:lnTo>
                    <a:pt x="13" y="41"/>
                  </a:lnTo>
                  <a:lnTo>
                    <a:pt x="15" y="41"/>
                  </a:lnTo>
                  <a:lnTo>
                    <a:pt x="16" y="38"/>
                  </a:lnTo>
                  <a:lnTo>
                    <a:pt x="24" y="38"/>
                  </a:lnTo>
                  <a:lnTo>
                    <a:pt x="28" y="41"/>
                  </a:lnTo>
                  <a:lnTo>
                    <a:pt x="39" y="41"/>
                  </a:lnTo>
                  <a:lnTo>
                    <a:pt x="41" y="38"/>
                  </a:lnTo>
                  <a:lnTo>
                    <a:pt x="45" y="41"/>
                  </a:lnTo>
                  <a:lnTo>
                    <a:pt x="47" y="41"/>
                  </a:lnTo>
                  <a:lnTo>
                    <a:pt x="47" y="41"/>
                  </a:lnTo>
                  <a:lnTo>
                    <a:pt x="47" y="41"/>
                  </a:lnTo>
                  <a:lnTo>
                    <a:pt x="47" y="41"/>
                  </a:lnTo>
                  <a:close/>
                  <a:moveTo>
                    <a:pt x="32" y="2"/>
                  </a:moveTo>
                  <a:lnTo>
                    <a:pt x="35" y="0"/>
                  </a:lnTo>
                  <a:lnTo>
                    <a:pt x="43" y="4"/>
                  </a:lnTo>
                  <a:lnTo>
                    <a:pt x="35" y="4"/>
                  </a:lnTo>
                  <a:lnTo>
                    <a:pt x="32" y="2"/>
                  </a:lnTo>
                  <a:lnTo>
                    <a:pt x="32" y="2"/>
                  </a:lnTo>
                  <a:lnTo>
                    <a:pt x="32" y="2"/>
                  </a:lnTo>
                  <a:lnTo>
                    <a:pt x="32" y="2"/>
                  </a:lnTo>
                  <a:close/>
                  <a:moveTo>
                    <a:pt x="24" y="24"/>
                  </a:moveTo>
                  <a:lnTo>
                    <a:pt x="28" y="23"/>
                  </a:lnTo>
                  <a:lnTo>
                    <a:pt x="32" y="26"/>
                  </a:lnTo>
                  <a:lnTo>
                    <a:pt x="33" y="28"/>
                  </a:lnTo>
                  <a:lnTo>
                    <a:pt x="28" y="26"/>
                  </a:lnTo>
                  <a:lnTo>
                    <a:pt x="24" y="24"/>
                  </a:lnTo>
                  <a:lnTo>
                    <a:pt x="24" y="24"/>
                  </a:lnTo>
                  <a:lnTo>
                    <a:pt x="24"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0" name="Freeform 161">
              <a:extLst>
                <a:ext uri="{FF2B5EF4-FFF2-40B4-BE49-F238E27FC236}">
                  <a16:creationId xmlns:a16="http://schemas.microsoft.com/office/drawing/2014/main" id="{B5337977-DD50-A74A-9A3A-A861242118AD}"/>
                </a:ext>
              </a:extLst>
            </p:cNvPr>
            <p:cNvSpPr>
              <a:spLocks noEditPoints="1"/>
            </p:cNvSpPr>
            <p:nvPr/>
          </p:nvSpPr>
          <p:spPr bwMode="auto">
            <a:xfrm>
              <a:off x="4811138" y="2644621"/>
              <a:ext cx="167254" cy="53691"/>
            </a:xfrm>
            <a:custGeom>
              <a:avLst/>
              <a:gdLst/>
              <a:ahLst/>
              <a:cxnLst>
                <a:cxn ang="0">
                  <a:pos x="42" y="26"/>
                </a:cxn>
                <a:cxn ang="0">
                  <a:pos x="40" y="34"/>
                </a:cxn>
                <a:cxn ang="0">
                  <a:pos x="36" y="34"/>
                </a:cxn>
                <a:cxn ang="0">
                  <a:pos x="38" y="30"/>
                </a:cxn>
                <a:cxn ang="0">
                  <a:pos x="38" y="28"/>
                </a:cxn>
                <a:cxn ang="0">
                  <a:pos x="13" y="23"/>
                </a:cxn>
                <a:cxn ang="0">
                  <a:pos x="2" y="26"/>
                </a:cxn>
                <a:cxn ang="0">
                  <a:pos x="6" y="30"/>
                </a:cxn>
                <a:cxn ang="0">
                  <a:pos x="10" y="30"/>
                </a:cxn>
                <a:cxn ang="0">
                  <a:pos x="21" y="21"/>
                </a:cxn>
                <a:cxn ang="0">
                  <a:pos x="30" y="21"/>
                </a:cxn>
                <a:cxn ang="0">
                  <a:pos x="42" y="15"/>
                </a:cxn>
                <a:cxn ang="0">
                  <a:pos x="55" y="11"/>
                </a:cxn>
                <a:cxn ang="0">
                  <a:pos x="60" y="15"/>
                </a:cxn>
                <a:cxn ang="0">
                  <a:pos x="57" y="21"/>
                </a:cxn>
                <a:cxn ang="0">
                  <a:pos x="74" y="21"/>
                </a:cxn>
                <a:cxn ang="0">
                  <a:pos x="83" y="24"/>
                </a:cxn>
                <a:cxn ang="0">
                  <a:pos x="87" y="26"/>
                </a:cxn>
                <a:cxn ang="0">
                  <a:pos x="100" y="30"/>
                </a:cxn>
                <a:cxn ang="0">
                  <a:pos x="109" y="34"/>
                </a:cxn>
                <a:cxn ang="0">
                  <a:pos x="121" y="43"/>
                </a:cxn>
                <a:cxn ang="0">
                  <a:pos x="130" y="49"/>
                </a:cxn>
                <a:cxn ang="0">
                  <a:pos x="141" y="55"/>
                </a:cxn>
                <a:cxn ang="0">
                  <a:pos x="139" y="58"/>
                </a:cxn>
                <a:cxn ang="0">
                  <a:pos x="139" y="70"/>
                </a:cxn>
                <a:cxn ang="0">
                  <a:pos x="158" y="66"/>
                </a:cxn>
                <a:cxn ang="0">
                  <a:pos x="177" y="68"/>
                </a:cxn>
                <a:cxn ang="0">
                  <a:pos x="183" y="62"/>
                </a:cxn>
                <a:cxn ang="0">
                  <a:pos x="196" y="58"/>
                </a:cxn>
                <a:cxn ang="0">
                  <a:pos x="188" y="53"/>
                </a:cxn>
                <a:cxn ang="0">
                  <a:pos x="170" y="49"/>
                </a:cxn>
                <a:cxn ang="0">
                  <a:pos x="170" y="43"/>
                </a:cxn>
                <a:cxn ang="0">
                  <a:pos x="158" y="36"/>
                </a:cxn>
                <a:cxn ang="0">
                  <a:pos x="147" y="34"/>
                </a:cxn>
                <a:cxn ang="0">
                  <a:pos x="143" y="30"/>
                </a:cxn>
                <a:cxn ang="0">
                  <a:pos x="138" y="30"/>
                </a:cxn>
                <a:cxn ang="0">
                  <a:pos x="123" y="23"/>
                </a:cxn>
                <a:cxn ang="0">
                  <a:pos x="104" y="15"/>
                </a:cxn>
                <a:cxn ang="0">
                  <a:pos x="96" y="9"/>
                </a:cxn>
                <a:cxn ang="0">
                  <a:pos x="75" y="7"/>
                </a:cxn>
                <a:cxn ang="0">
                  <a:pos x="57" y="0"/>
                </a:cxn>
                <a:cxn ang="0">
                  <a:pos x="36" y="4"/>
                </a:cxn>
                <a:cxn ang="0">
                  <a:pos x="17" y="11"/>
                </a:cxn>
                <a:cxn ang="0">
                  <a:pos x="11" y="19"/>
                </a:cxn>
              </a:cxnLst>
              <a:rect l="0" t="0" r="r" b="b"/>
              <a:pathLst>
                <a:path w="196" h="70">
                  <a:moveTo>
                    <a:pt x="38" y="28"/>
                  </a:moveTo>
                  <a:lnTo>
                    <a:pt x="40" y="26"/>
                  </a:lnTo>
                  <a:lnTo>
                    <a:pt x="42" y="26"/>
                  </a:lnTo>
                  <a:lnTo>
                    <a:pt x="45" y="30"/>
                  </a:lnTo>
                  <a:lnTo>
                    <a:pt x="45" y="34"/>
                  </a:lnTo>
                  <a:lnTo>
                    <a:pt x="40" y="34"/>
                  </a:lnTo>
                  <a:lnTo>
                    <a:pt x="36" y="34"/>
                  </a:lnTo>
                  <a:lnTo>
                    <a:pt x="34" y="30"/>
                  </a:lnTo>
                  <a:lnTo>
                    <a:pt x="36" y="34"/>
                  </a:lnTo>
                  <a:lnTo>
                    <a:pt x="38" y="34"/>
                  </a:lnTo>
                  <a:lnTo>
                    <a:pt x="40" y="30"/>
                  </a:lnTo>
                  <a:lnTo>
                    <a:pt x="38" y="30"/>
                  </a:lnTo>
                  <a:lnTo>
                    <a:pt x="38" y="28"/>
                  </a:lnTo>
                  <a:lnTo>
                    <a:pt x="38" y="28"/>
                  </a:lnTo>
                  <a:lnTo>
                    <a:pt x="38" y="28"/>
                  </a:lnTo>
                  <a:lnTo>
                    <a:pt x="38" y="28"/>
                  </a:lnTo>
                  <a:close/>
                  <a:moveTo>
                    <a:pt x="11" y="19"/>
                  </a:moveTo>
                  <a:lnTo>
                    <a:pt x="13" y="23"/>
                  </a:lnTo>
                  <a:lnTo>
                    <a:pt x="13" y="24"/>
                  </a:lnTo>
                  <a:lnTo>
                    <a:pt x="10" y="23"/>
                  </a:lnTo>
                  <a:lnTo>
                    <a:pt x="2" y="26"/>
                  </a:lnTo>
                  <a:lnTo>
                    <a:pt x="0" y="24"/>
                  </a:lnTo>
                  <a:lnTo>
                    <a:pt x="0" y="28"/>
                  </a:lnTo>
                  <a:lnTo>
                    <a:pt x="6" y="30"/>
                  </a:lnTo>
                  <a:lnTo>
                    <a:pt x="8" y="24"/>
                  </a:lnTo>
                  <a:lnTo>
                    <a:pt x="10" y="26"/>
                  </a:lnTo>
                  <a:lnTo>
                    <a:pt x="10" y="30"/>
                  </a:lnTo>
                  <a:lnTo>
                    <a:pt x="13" y="26"/>
                  </a:lnTo>
                  <a:lnTo>
                    <a:pt x="17" y="26"/>
                  </a:lnTo>
                  <a:lnTo>
                    <a:pt x="21" y="21"/>
                  </a:lnTo>
                  <a:lnTo>
                    <a:pt x="27" y="21"/>
                  </a:lnTo>
                  <a:lnTo>
                    <a:pt x="27" y="19"/>
                  </a:lnTo>
                  <a:lnTo>
                    <a:pt x="30" y="21"/>
                  </a:lnTo>
                  <a:lnTo>
                    <a:pt x="32" y="21"/>
                  </a:lnTo>
                  <a:lnTo>
                    <a:pt x="40" y="15"/>
                  </a:lnTo>
                  <a:lnTo>
                    <a:pt x="42" y="15"/>
                  </a:lnTo>
                  <a:lnTo>
                    <a:pt x="45" y="11"/>
                  </a:lnTo>
                  <a:lnTo>
                    <a:pt x="51" y="11"/>
                  </a:lnTo>
                  <a:lnTo>
                    <a:pt x="55" y="11"/>
                  </a:lnTo>
                  <a:lnTo>
                    <a:pt x="60" y="11"/>
                  </a:lnTo>
                  <a:lnTo>
                    <a:pt x="62" y="15"/>
                  </a:lnTo>
                  <a:lnTo>
                    <a:pt x="60" y="15"/>
                  </a:lnTo>
                  <a:lnTo>
                    <a:pt x="57" y="15"/>
                  </a:lnTo>
                  <a:lnTo>
                    <a:pt x="55" y="17"/>
                  </a:lnTo>
                  <a:lnTo>
                    <a:pt x="57" y="21"/>
                  </a:lnTo>
                  <a:lnTo>
                    <a:pt x="66" y="23"/>
                  </a:lnTo>
                  <a:lnTo>
                    <a:pt x="70" y="21"/>
                  </a:lnTo>
                  <a:lnTo>
                    <a:pt x="74" y="21"/>
                  </a:lnTo>
                  <a:lnTo>
                    <a:pt x="75" y="23"/>
                  </a:lnTo>
                  <a:lnTo>
                    <a:pt x="81" y="24"/>
                  </a:lnTo>
                  <a:lnTo>
                    <a:pt x="83" y="24"/>
                  </a:lnTo>
                  <a:lnTo>
                    <a:pt x="85" y="23"/>
                  </a:lnTo>
                  <a:lnTo>
                    <a:pt x="87" y="24"/>
                  </a:lnTo>
                  <a:lnTo>
                    <a:pt x="87" y="26"/>
                  </a:lnTo>
                  <a:lnTo>
                    <a:pt x="94" y="30"/>
                  </a:lnTo>
                  <a:lnTo>
                    <a:pt x="100" y="30"/>
                  </a:lnTo>
                  <a:lnTo>
                    <a:pt x="100" y="30"/>
                  </a:lnTo>
                  <a:lnTo>
                    <a:pt x="104" y="34"/>
                  </a:lnTo>
                  <a:lnTo>
                    <a:pt x="106" y="30"/>
                  </a:lnTo>
                  <a:lnTo>
                    <a:pt x="109" y="34"/>
                  </a:lnTo>
                  <a:lnTo>
                    <a:pt x="115" y="30"/>
                  </a:lnTo>
                  <a:lnTo>
                    <a:pt x="117" y="30"/>
                  </a:lnTo>
                  <a:lnTo>
                    <a:pt x="121" y="43"/>
                  </a:lnTo>
                  <a:lnTo>
                    <a:pt x="124" y="51"/>
                  </a:lnTo>
                  <a:lnTo>
                    <a:pt x="128" y="51"/>
                  </a:lnTo>
                  <a:lnTo>
                    <a:pt x="130" y="49"/>
                  </a:lnTo>
                  <a:lnTo>
                    <a:pt x="134" y="53"/>
                  </a:lnTo>
                  <a:lnTo>
                    <a:pt x="141" y="53"/>
                  </a:lnTo>
                  <a:lnTo>
                    <a:pt x="141" y="55"/>
                  </a:lnTo>
                  <a:lnTo>
                    <a:pt x="145" y="55"/>
                  </a:lnTo>
                  <a:lnTo>
                    <a:pt x="145" y="58"/>
                  </a:lnTo>
                  <a:lnTo>
                    <a:pt x="139" y="58"/>
                  </a:lnTo>
                  <a:lnTo>
                    <a:pt x="134" y="64"/>
                  </a:lnTo>
                  <a:lnTo>
                    <a:pt x="134" y="68"/>
                  </a:lnTo>
                  <a:lnTo>
                    <a:pt x="139" y="70"/>
                  </a:lnTo>
                  <a:lnTo>
                    <a:pt x="145" y="66"/>
                  </a:lnTo>
                  <a:lnTo>
                    <a:pt x="149" y="68"/>
                  </a:lnTo>
                  <a:lnTo>
                    <a:pt x="158" y="66"/>
                  </a:lnTo>
                  <a:lnTo>
                    <a:pt x="160" y="66"/>
                  </a:lnTo>
                  <a:lnTo>
                    <a:pt x="168" y="70"/>
                  </a:lnTo>
                  <a:lnTo>
                    <a:pt x="177" y="68"/>
                  </a:lnTo>
                  <a:lnTo>
                    <a:pt x="177" y="64"/>
                  </a:lnTo>
                  <a:lnTo>
                    <a:pt x="179" y="66"/>
                  </a:lnTo>
                  <a:lnTo>
                    <a:pt x="183" y="62"/>
                  </a:lnTo>
                  <a:lnTo>
                    <a:pt x="190" y="64"/>
                  </a:lnTo>
                  <a:lnTo>
                    <a:pt x="194" y="62"/>
                  </a:lnTo>
                  <a:lnTo>
                    <a:pt x="196" y="58"/>
                  </a:lnTo>
                  <a:lnTo>
                    <a:pt x="194" y="58"/>
                  </a:lnTo>
                  <a:lnTo>
                    <a:pt x="192" y="58"/>
                  </a:lnTo>
                  <a:lnTo>
                    <a:pt x="188" y="53"/>
                  </a:lnTo>
                  <a:lnTo>
                    <a:pt x="183" y="49"/>
                  </a:lnTo>
                  <a:lnTo>
                    <a:pt x="171" y="49"/>
                  </a:lnTo>
                  <a:lnTo>
                    <a:pt x="170" y="49"/>
                  </a:lnTo>
                  <a:lnTo>
                    <a:pt x="171" y="47"/>
                  </a:lnTo>
                  <a:lnTo>
                    <a:pt x="173" y="43"/>
                  </a:lnTo>
                  <a:lnTo>
                    <a:pt x="170" y="43"/>
                  </a:lnTo>
                  <a:lnTo>
                    <a:pt x="168" y="43"/>
                  </a:lnTo>
                  <a:lnTo>
                    <a:pt x="164" y="43"/>
                  </a:lnTo>
                  <a:lnTo>
                    <a:pt x="158" y="36"/>
                  </a:lnTo>
                  <a:lnTo>
                    <a:pt x="155" y="39"/>
                  </a:lnTo>
                  <a:lnTo>
                    <a:pt x="153" y="36"/>
                  </a:lnTo>
                  <a:lnTo>
                    <a:pt x="147" y="34"/>
                  </a:lnTo>
                  <a:lnTo>
                    <a:pt x="145" y="34"/>
                  </a:lnTo>
                  <a:lnTo>
                    <a:pt x="143" y="34"/>
                  </a:lnTo>
                  <a:lnTo>
                    <a:pt x="143" y="30"/>
                  </a:lnTo>
                  <a:lnTo>
                    <a:pt x="141" y="30"/>
                  </a:lnTo>
                  <a:lnTo>
                    <a:pt x="141" y="34"/>
                  </a:lnTo>
                  <a:lnTo>
                    <a:pt x="138" y="30"/>
                  </a:lnTo>
                  <a:lnTo>
                    <a:pt x="130" y="30"/>
                  </a:lnTo>
                  <a:lnTo>
                    <a:pt x="128" y="24"/>
                  </a:lnTo>
                  <a:lnTo>
                    <a:pt x="123" y="23"/>
                  </a:lnTo>
                  <a:lnTo>
                    <a:pt x="119" y="19"/>
                  </a:lnTo>
                  <a:lnTo>
                    <a:pt x="107" y="17"/>
                  </a:lnTo>
                  <a:lnTo>
                    <a:pt x="104" y="15"/>
                  </a:lnTo>
                  <a:lnTo>
                    <a:pt x="104" y="11"/>
                  </a:lnTo>
                  <a:lnTo>
                    <a:pt x="100" y="9"/>
                  </a:lnTo>
                  <a:lnTo>
                    <a:pt x="96" y="9"/>
                  </a:lnTo>
                  <a:lnTo>
                    <a:pt x="94" y="7"/>
                  </a:lnTo>
                  <a:lnTo>
                    <a:pt x="79" y="6"/>
                  </a:lnTo>
                  <a:lnTo>
                    <a:pt x="75" y="7"/>
                  </a:lnTo>
                  <a:lnTo>
                    <a:pt x="70" y="6"/>
                  </a:lnTo>
                  <a:lnTo>
                    <a:pt x="66" y="2"/>
                  </a:lnTo>
                  <a:lnTo>
                    <a:pt x="57" y="0"/>
                  </a:lnTo>
                  <a:lnTo>
                    <a:pt x="51" y="0"/>
                  </a:lnTo>
                  <a:lnTo>
                    <a:pt x="45" y="4"/>
                  </a:lnTo>
                  <a:lnTo>
                    <a:pt x="36" y="4"/>
                  </a:lnTo>
                  <a:lnTo>
                    <a:pt x="30" y="6"/>
                  </a:lnTo>
                  <a:lnTo>
                    <a:pt x="27" y="9"/>
                  </a:lnTo>
                  <a:lnTo>
                    <a:pt x="17" y="11"/>
                  </a:lnTo>
                  <a:lnTo>
                    <a:pt x="15" y="15"/>
                  </a:lnTo>
                  <a:lnTo>
                    <a:pt x="11" y="15"/>
                  </a:lnTo>
                  <a:lnTo>
                    <a:pt x="11" y="19"/>
                  </a:lnTo>
                  <a:lnTo>
                    <a:pt x="11" y="19"/>
                  </a:lnTo>
                  <a:lnTo>
                    <a:pt x="11"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1" name="Freeform 162">
              <a:extLst>
                <a:ext uri="{FF2B5EF4-FFF2-40B4-BE49-F238E27FC236}">
                  <a16:creationId xmlns:a16="http://schemas.microsoft.com/office/drawing/2014/main" id="{48DA93C9-3FB1-6741-A374-DE59BC982B66}"/>
                </a:ext>
              </a:extLst>
            </p:cNvPr>
            <p:cNvSpPr>
              <a:spLocks/>
            </p:cNvSpPr>
            <p:nvPr/>
          </p:nvSpPr>
          <p:spPr bwMode="auto">
            <a:xfrm>
              <a:off x="4843564" y="2850947"/>
              <a:ext cx="76800" cy="33749"/>
            </a:xfrm>
            <a:custGeom>
              <a:avLst/>
              <a:gdLst/>
              <a:ahLst/>
              <a:cxnLst>
                <a:cxn ang="0">
                  <a:pos x="77" y="38"/>
                </a:cxn>
                <a:cxn ang="0">
                  <a:pos x="71" y="30"/>
                </a:cxn>
                <a:cxn ang="0">
                  <a:pos x="75" y="23"/>
                </a:cxn>
                <a:cxn ang="0">
                  <a:pos x="79" y="23"/>
                </a:cxn>
                <a:cxn ang="0">
                  <a:pos x="77" y="21"/>
                </a:cxn>
                <a:cxn ang="0">
                  <a:pos x="75" y="23"/>
                </a:cxn>
                <a:cxn ang="0">
                  <a:pos x="71" y="19"/>
                </a:cxn>
                <a:cxn ang="0">
                  <a:pos x="66" y="13"/>
                </a:cxn>
                <a:cxn ang="0">
                  <a:pos x="60" y="10"/>
                </a:cxn>
                <a:cxn ang="0">
                  <a:pos x="53" y="13"/>
                </a:cxn>
                <a:cxn ang="0">
                  <a:pos x="53" y="17"/>
                </a:cxn>
                <a:cxn ang="0">
                  <a:pos x="49" y="23"/>
                </a:cxn>
                <a:cxn ang="0">
                  <a:pos x="41" y="27"/>
                </a:cxn>
                <a:cxn ang="0">
                  <a:pos x="41" y="30"/>
                </a:cxn>
                <a:cxn ang="0">
                  <a:pos x="47" y="36"/>
                </a:cxn>
                <a:cxn ang="0">
                  <a:pos x="45" y="38"/>
                </a:cxn>
                <a:cxn ang="0">
                  <a:pos x="41" y="40"/>
                </a:cxn>
                <a:cxn ang="0">
                  <a:pos x="34" y="44"/>
                </a:cxn>
                <a:cxn ang="0">
                  <a:pos x="34" y="38"/>
                </a:cxn>
                <a:cxn ang="0">
                  <a:pos x="34" y="32"/>
                </a:cxn>
                <a:cxn ang="0">
                  <a:pos x="28" y="32"/>
                </a:cxn>
                <a:cxn ang="0">
                  <a:pos x="28" y="36"/>
                </a:cxn>
                <a:cxn ang="0">
                  <a:pos x="26" y="36"/>
                </a:cxn>
                <a:cxn ang="0">
                  <a:pos x="21" y="32"/>
                </a:cxn>
                <a:cxn ang="0">
                  <a:pos x="13" y="27"/>
                </a:cxn>
                <a:cxn ang="0">
                  <a:pos x="13" y="23"/>
                </a:cxn>
                <a:cxn ang="0">
                  <a:pos x="11" y="23"/>
                </a:cxn>
                <a:cxn ang="0">
                  <a:pos x="4" y="23"/>
                </a:cxn>
                <a:cxn ang="0">
                  <a:pos x="0" y="23"/>
                </a:cxn>
                <a:cxn ang="0">
                  <a:pos x="2" y="17"/>
                </a:cxn>
                <a:cxn ang="0">
                  <a:pos x="2" y="13"/>
                </a:cxn>
                <a:cxn ang="0">
                  <a:pos x="0" y="10"/>
                </a:cxn>
                <a:cxn ang="0">
                  <a:pos x="2" y="4"/>
                </a:cxn>
                <a:cxn ang="0">
                  <a:pos x="7" y="2"/>
                </a:cxn>
                <a:cxn ang="0">
                  <a:pos x="9" y="6"/>
                </a:cxn>
                <a:cxn ang="0">
                  <a:pos x="13" y="8"/>
                </a:cxn>
                <a:cxn ang="0">
                  <a:pos x="13" y="10"/>
                </a:cxn>
                <a:cxn ang="0">
                  <a:pos x="13" y="12"/>
                </a:cxn>
                <a:cxn ang="0">
                  <a:pos x="17" y="12"/>
                </a:cxn>
                <a:cxn ang="0">
                  <a:pos x="17" y="10"/>
                </a:cxn>
                <a:cxn ang="0">
                  <a:pos x="21" y="10"/>
                </a:cxn>
                <a:cxn ang="0">
                  <a:pos x="32" y="15"/>
                </a:cxn>
                <a:cxn ang="0">
                  <a:pos x="37" y="12"/>
                </a:cxn>
                <a:cxn ang="0">
                  <a:pos x="53" y="4"/>
                </a:cxn>
                <a:cxn ang="0">
                  <a:pos x="60" y="0"/>
                </a:cxn>
                <a:cxn ang="0">
                  <a:pos x="62" y="4"/>
                </a:cxn>
                <a:cxn ang="0">
                  <a:pos x="71" y="4"/>
                </a:cxn>
                <a:cxn ang="0">
                  <a:pos x="81" y="10"/>
                </a:cxn>
                <a:cxn ang="0">
                  <a:pos x="85" y="15"/>
                </a:cxn>
                <a:cxn ang="0">
                  <a:pos x="88" y="17"/>
                </a:cxn>
                <a:cxn ang="0">
                  <a:pos x="88" y="23"/>
                </a:cxn>
                <a:cxn ang="0">
                  <a:pos x="88" y="32"/>
                </a:cxn>
                <a:cxn ang="0">
                  <a:pos x="85" y="36"/>
                </a:cxn>
                <a:cxn ang="0">
                  <a:pos x="81" y="42"/>
                </a:cxn>
                <a:cxn ang="0">
                  <a:pos x="81" y="42"/>
                </a:cxn>
              </a:cxnLst>
              <a:rect l="0" t="0" r="r" b="b"/>
              <a:pathLst>
                <a:path w="90" h="44">
                  <a:moveTo>
                    <a:pt x="81" y="42"/>
                  </a:moveTo>
                  <a:lnTo>
                    <a:pt x="77" y="38"/>
                  </a:lnTo>
                  <a:lnTo>
                    <a:pt x="75" y="32"/>
                  </a:lnTo>
                  <a:lnTo>
                    <a:pt x="71" y="30"/>
                  </a:lnTo>
                  <a:lnTo>
                    <a:pt x="75" y="27"/>
                  </a:lnTo>
                  <a:lnTo>
                    <a:pt x="75" y="23"/>
                  </a:lnTo>
                  <a:lnTo>
                    <a:pt x="77" y="23"/>
                  </a:lnTo>
                  <a:lnTo>
                    <a:pt x="79" y="23"/>
                  </a:lnTo>
                  <a:lnTo>
                    <a:pt x="79" y="19"/>
                  </a:lnTo>
                  <a:lnTo>
                    <a:pt x="77" y="21"/>
                  </a:lnTo>
                  <a:lnTo>
                    <a:pt x="75" y="23"/>
                  </a:lnTo>
                  <a:lnTo>
                    <a:pt x="75" y="23"/>
                  </a:lnTo>
                  <a:lnTo>
                    <a:pt x="71" y="23"/>
                  </a:lnTo>
                  <a:lnTo>
                    <a:pt x="71" y="19"/>
                  </a:lnTo>
                  <a:lnTo>
                    <a:pt x="68" y="15"/>
                  </a:lnTo>
                  <a:lnTo>
                    <a:pt x="66" y="13"/>
                  </a:lnTo>
                  <a:lnTo>
                    <a:pt x="64" y="12"/>
                  </a:lnTo>
                  <a:lnTo>
                    <a:pt x="60" y="10"/>
                  </a:lnTo>
                  <a:lnTo>
                    <a:pt x="56" y="10"/>
                  </a:lnTo>
                  <a:lnTo>
                    <a:pt x="53" y="13"/>
                  </a:lnTo>
                  <a:lnTo>
                    <a:pt x="53" y="17"/>
                  </a:lnTo>
                  <a:lnTo>
                    <a:pt x="53" y="17"/>
                  </a:lnTo>
                  <a:lnTo>
                    <a:pt x="53" y="19"/>
                  </a:lnTo>
                  <a:lnTo>
                    <a:pt x="49" y="23"/>
                  </a:lnTo>
                  <a:lnTo>
                    <a:pt x="43" y="23"/>
                  </a:lnTo>
                  <a:lnTo>
                    <a:pt x="41" y="27"/>
                  </a:lnTo>
                  <a:lnTo>
                    <a:pt x="41" y="27"/>
                  </a:lnTo>
                  <a:lnTo>
                    <a:pt x="41" y="30"/>
                  </a:lnTo>
                  <a:lnTo>
                    <a:pt x="43" y="32"/>
                  </a:lnTo>
                  <a:lnTo>
                    <a:pt x="47" y="36"/>
                  </a:lnTo>
                  <a:lnTo>
                    <a:pt x="47" y="38"/>
                  </a:lnTo>
                  <a:lnTo>
                    <a:pt x="45" y="38"/>
                  </a:lnTo>
                  <a:lnTo>
                    <a:pt x="41" y="38"/>
                  </a:lnTo>
                  <a:lnTo>
                    <a:pt x="41" y="40"/>
                  </a:lnTo>
                  <a:lnTo>
                    <a:pt x="37" y="44"/>
                  </a:lnTo>
                  <a:lnTo>
                    <a:pt x="34" y="44"/>
                  </a:lnTo>
                  <a:lnTo>
                    <a:pt x="32" y="40"/>
                  </a:lnTo>
                  <a:lnTo>
                    <a:pt x="34" y="38"/>
                  </a:lnTo>
                  <a:lnTo>
                    <a:pt x="32" y="36"/>
                  </a:lnTo>
                  <a:lnTo>
                    <a:pt x="34" y="32"/>
                  </a:lnTo>
                  <a:lnTo>
                    <a:pt x="32" y="32"/>
                  </a:lnTo>
                  <a:lnTo>
                    <a:pt x="28" y="32"/>
                  </a:lnTo>
                  <a:lnTo>
                    <a:pt x="28" y="32"/>
                  </a:lnTo>
                  <a:lnTo>
                    <a:pt x="28" y="36"/>
                  </a:lnTo>
                  <a:lnTo>
                    <a:pt x="28" y="36"/>
                  </a:lnTo>
                  <a:lnTo>
                    <a:pt x="26" y="36"/>
                  </a:lnTo>
                  <a:lnTo>
                    <a:pt x="22" y="36"/>
                  </a:lnTo>
                  <a:lnTo>
                    <a:pt x="21" y="32"/>
                  </a:lnTo>
                  <a:lnTo>
                    <a:pt x="21" y="27"/>
                  </a:lnTo>
                  <a:lnTo>
                    <a:pt x="13" y="27"/>
                  </a:lnTo>
                  <a:lnTo>
                    <a:pt x="13" y="27"/>
                  </a:lnTo>
                  <a:lnTo>
                    <a:pt x="13" y="23"/>
                  </a:lnTo>
                  <a:lnTo>
                    <a:pt x="11" y="23"/>
                  </a:lnTo>
                  <a:lnTo>
                    <a:pt x="11" y="23"/>
                  </a:lnTo>
                  <a:lnTo>
                    <a:pt x="7" y="23"/>
                  </a:lnTo>
                  <a:lnTo>
                    <a:pt x="4" y="23"/>
                  </a:lnTo>
                  <a:lnTo>
                    <a:pt x="2" y="23"/>
                  </a:lnTo>
                  <a:lnTo>
                    <a:pt x="0" y="23"/>
                  </a:lnTo>
                  <a:lnTo>
                    <a:pt x="0" y="21"/>
                  </a:lnTo>
                  <a:lnTo>
                    <a:pt x="2" y="17"/>
                  </a:lnTo>
                  <a:lnTo>
                    <a:pt x="4" y="15"/>
                  </a:lnTo>
                  <a:lnTo>
                    <a:pt x="2" y="13"/>
                  </a:lnTo>
                  <a:lnTo>
                    <a:pt x="0" y="12"/>
                  </a:lnTo>
                  <a:lnTo>
                    <a:pt x="0" y="10"/>
                  </a:lnTo>
                  <a:lnTo>
                    <a:pt x="2" y="8"/>
                  </a:lnTo>
                  <a:lnTo>
                    <a:pt x="2" y="4"/>
                  </a:lnTo>
                  <a:lnTo>
                    <a:pt x="4" y="2"/>
                  </a:lnTo>
                  <a:lnTo>
                    <a:pt x="7" y="2"/>
                  </a:lnTo>
                  <a:lnTo>
                    <a:pt x="7" y="4"/>
                  </a:lnTo>
                  <a:lnTo>
                    <a:pt x="9" y="6"/>
                  </a:lnTo>
                  <a:lnTo>
                    <a:pt x="11" y="8"/>
                  </a:lnTo>
                  <a:lnTo>
                    <a:pt x="13" y="8"/>
                  </a:lnTo>
                  <a:lnTo>
                    <a:pt x="13" y="8"/>
                  </a:lnTo>
                  <a:lnTo>
                    <a:pt x="13" y="10"/>
                  </a:lnTo>
                  <a:lnTo>
                    <a:pt x="13" y="10"/>
                  </a:lnTo>
                  <a:lnTo>
                    <a:pt x="13" y="12"/>
                  </a:lnTo>
                  <a:lnTo>
                    <a:pt x="17" y="13"/>
                  </a:lnTo>
                  <a:lnTo>
                    <a:pt x="17" y="12"/>
                  </a:lnTo>
                  <a:lnTo>
                    <a:pt x="17" y="10"/>
                  </a:lnTo>
                  <a:lnTo>
                    <a:pt x="17" y="10"/>
                  </a:lnTo>
                  <a:lnTo>
                    <a:pt x="17" y="8"/>
                  </a:lnTo>
                  <a:lnTo>
                    <a:pt x="21" y="10"/>
                  </a:lnTo>
                  <a:lnTo>
                    <a:pt x="26" y="13"/>
                  </a:lnTo>
                  <a:lnTo>
                    <a:pt x="32" y="15"/>
                  </a:lnTo>
                  <a:lnTo>
                    <a:pt x="36" y="13"/>
                  </a:lnTo>
                  <a:lnTo>
                    <a:pt x="37" y="12"/>
                  </a:lnTo>
                  <a:lnTo>
                    <a:pt x="47" y="6"/>
                  </a:lnTo>
                  <a:lnTo>
                    <a:pt x="53" y="4"/>
                  </a:lnTo>
                  <a:lnTo>
                    <a:pt x="56" y="0"/>
                  </a:lnTo>
                  <a:lnTo>
                    <a:pt x="60" y="0"/>
                  </a:lnTo>
                  <a:lnTo>
                    <a:pt x="60" y="2"/>
                  </a:lnTo>
                  <a:lnTo>
                    <a:pt x="62" y="4"/>
                  </a:lnTo>
                  <a:lnTo>
                    <a:pt x="64" y="4"/>
                  </a:lnTo>
                  <a:lnTo>
                    <a:pt x="71" y="4"/>
                  </a:lnTo>
                  <a:lnTo>
                    <a:pt x="75" y="4"/>
                  </a:lnTo>
                  <a:lnTo>
                    <a:pt x="81" y="10"/>
                  </a:lnTo>
                  <a:lnTo>
                    <a:pt x="85" y="13"/>
                  </a:lnTo>
                  <a:lnTo>
                    <a:pt x="85" y="15"/>
                  </a:lnTo>
                  <a:lnTo>
                    <a:pt x="88" y="15"/>
                  </a:lnTo>
                  <a:lnTo>
                    <a:pt x="88" y="17"/>
                  </a:lnTo>
                  <a:lnTo>
                    <a:pt x="88" y="21"/>
                  </a:lnTo>
                  <a:lnTo>
                    <a:pt x="88" y="23"/>
                  </a:lnTo>
                  <a:lnTo>
                    <a:pt x="90" y="27"/>
                  </a:lnTo>
                  <a:lnTo>
                    <a:pt x="88" y="32"/>
                  </a:lnTo>
                  <a:lnTo>
                    <a:pt x="86" y="36"/>
                  </a:lnTo>
                  <a:lnTo>
                    <a:pt x="85" y="36"/>
                  </a:lnTo>
                  <a:lnTo>
                    <a:pt x="83" y="36"/>
                  </a:lnTo>
                  <a:lnTo>
                    <a:pt x="81" y="42"/>
                  </a:lnTo>
                  <a:lnTo>
                    <a:pt x="81" y="42"/>
                  </a:lnTo>
                  <a:lnTo>
                    <a:pt x="81" y="4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2" name="Freeform 163">
              <a:extLst>
                <a:ext uri="{FF2B5EF4-FFF2-40B4-BE49-F238E27FC236}">
                  <a16:creationId xmlns:a16="http://schemas.microsoft.com/office/drawing/2014/main" id="{547DDBB4-17A3-0240-A13E-58691A0F9CBC}"/>
                </a:ext>
              </a:extLst>
            </p:cNvPr>
            <p:cNvSpPr>
              <a:spLocks/>
            </p:cNvSpPr>
            <p:nvPr/>
          </p:nvSpPr>
          <p:spPr bwMode="auto">
            <a:xfrm>
              <a:off x="4785537" y="2827936"/>
              <a:ext cx="52907" cy="43720"/>
            </a:xfrm>
            <a:custGeom>
              <a:avLst/>
              <a:gdLst/>
              <a:ahLst/>
              <a:cxnLst>
                <a:cxn ang="0">
                  <a:pos x="55" y="53"/>
                </a:cxn>
                <a:cxn ang="0">
                  <a:pos x="57" y="53"/>
                </a:cxn>
                <a:cxn ang="0">
                  <a:pos x="57" y="57"/>
                </a:cxn>
                <a:cxn ang="0">
                  <a:pos x="53" y="55"/>
                </a:cxn>
                <a:cxn ang="0">
                  <a:pos x="49" y="53"/>
                </a:cxn>
                <a:cxn ang="0">
                  <a:pos x="49" y="47"/>
                </a:cxn>
                <a:cxn ang="0">
                  <a:pos x="43" y="47"/>
                </a:cxn>
                <a:cxn ang="0">
                  <a:pos x="45" y="49"/>
                </a:cxn>
                <a:cxn ang="0">
                  <a:pos x="49" y="53"/>
                </a:cxn>
                <a:cxn ang="0">
                  <a:pos x="43" y="53"/>
                </a:cxn>
                <a:cxn ang="0">
                  <a:pos x="38" y="49"/>
                </a:cxn>
                <a:cxn ang="0">
                  <a:pos x="40" y="43"/>
                </a:cxn>
                <a:cxn ang="0">
                  <a:pos x="36" y="36"/>
                </a:cxn>
                <a:cxn ang="0">
                  <a:pos x="30" y="34"/>
                </a:cxn>
                <a:cxn ang="0">
                  <a:pos x="25" y="27"/>
                </a:cxn>
                <a:cxn ang="0">
                  <a:pos x="21" y="21"/>
                </a:cxn>
                <a:cxn ang="0">
                  <a:pos x="13" y="19"/>
                </a:cxn>
                <a:cxn ang="0">
                  <a:pos x="13" y="21"/>
                </a:cxn>
                <a:cxn ang="0">
                  <a:pos x="19" y="28"/>
                </a:cxn>
                <a:cxn ang="0">
                  <a:pos x="15" y="30"/>
                </a:cxn>
                <a:cxn ang="0">
                  <a:pos x="9" y="27"/>
                </a:cxn>
                <a:cxn ang="0">
                  <a:pos x="0" y="21"/>
                </a:cxn>
                <a:cxn ang="0">
                  <a:pos x="0" y="15"/>
                </a:cxn>
                <a:cxn ang="0">
                  <a:pos x="4" y="10"/>
                </a:cxn>
                <a:cxn ang="0">
                  <a:pos x="0" y="8"/>
                </a:cxn>
                <a:cxn ang="0">
                  <a:pos x="4" y="2"/>
                </a:cxn>
                <a:cxn ang="0">
                  <a:pos x="4" y="0"/>
                </a:cxn>
                <a:cxn ang="0">
                  <a:pos x="9" y="0"/>
                </a:cxn>
                <a:cxn ang="0">
                  <a:pos x="23" y="2"/>
                </a:cxn>
                <a:cxn ang="0">
                  <a:pos x="30" y="4"/>
                </a:cxn>
                <a:cxn ang="0">
                  <a:pos x="32" y="6"/>
                </a:cxn>
                <a:cxn ang="0">
                  <a:pos x="40" y="10"/>
                </a:cxn>
                <a:cxn ang="0">
                  <a:pos x="40" y="11"/>
                </a:cxn>
                <a:cxn ang="0">
                  <a:pos x="43" y="10"/>
                </a:cxn>
                <a:cxn ang="0">
                  <a:pos x="49" y="11"/>
                </a:cxn>
                <a:cxn ang="0">
                  <a:pos x="49" y="19"/>
                </a:cxn>
                <a:cxn ang="0">
                  <a:pos x="55" y="25"/>
                </a:cxn>
                <a:cxn ang="0">
                  <a:pos x="60" y="28"/>
                </a:cxn>
                <a:cxn ang="0">
                  <a:pos x="62" y="30"/>
                </a:cxn>
                <a:cxn ang="0">
                  <a:pos x="58" y="30"/>
                </a:cxn>
                <a:cxn ang="0">
                  <a:pos x="55" y="38"/>
                </a:cxn>
                <a:cxn ang="0">
                  <a:pos x="57" y="42"/>
                </a:cxn>
                <a:cxn ang="0">
                  <a:pos x="57" y="47"/>
                </a:cxn>
                <a:cxn ang="0">
                  <a:pos x="55" y="53"/>
                </a:cxn>
                <a:cxn ang="0">
                  <a:pos x="55" y="53"/>
                </a:cxn>
                <a:cxn ang="0">
                  <a:pos x="55" y="53"/>
                </a:cxn>
              </a:cxnLst>
              <a:rect l="0" t="0" r="r" b="b"/>
              <a:pathLst>
                <a:path w="62" h="57">
                  <a:moveTo>
                    <a:pt x="55" y="53"/>
                  </a:moveTo>
                  <a:lnTo>
                    <a:pt x="55" y="53"/>
                  </a:lnTo>
                  <a:lnTo>
                    <a:pt x="57" y="53"/>
                  </a:lnTo>
                  <a:lnTo>
                    <a:pt x="57" y="53"/>
                  </a:lnTo>
                  <a:lnTo>
                    <a:pt x="57" y="55"/>
                  </a:lnTo>
                  <a:lnTo>
                    <a:pt x="57" y="57"/>
                  </a:lnTo>
                  <a:lnTo>
                    <a:pt x="53" y="57"/>
                  </a:lnTo>
                  <a:lnTo>
                    <a:pt x="53" y="55"/>
                  </a:lnTo>
                  <a:lnTo>
                    <a:pt x="51" y="55"/>
                  </a:lnTo>
                  <a:lnTo>
                    <a:pt x="49" y="53"/>
                  </a:lnTo>
                  <a:lnTo>
                    <a:pt x="49" y="49"/>
                  </a:lnTo>
                  <a:lnTo>
                    <a:pt x="49" y="47"/>
                  </a:lnTo>
                  <a:lnTo>
                    <a:pt x="43" y="45"/>
                  </a:lnTo>
                  <a:lnTo>
                    <a:pt x="43" y="47"/>
                  </a:lnTo>
                  <a:lnTo>
                    <a:pt x="43" y="47"/>
                  </a:lnTo>
                  <a:lnTo>
                    <a:pt x="45" y="49"/>
                  </a:lnTo>
                  <a:lnTo>
                    <a:pt x="49" y="49"/>
                  </a:lnTo>
                  <a:lnTo>
                    <a:pt x="49" y="53"/>
                  </a:lnTo>
                  <a:lnTo>
                    <a:pt x="45" y="55"/>
                  </a:lnTo>
                  <a:lnTo>
                    <a:pt x="43" y="53"/>
                  </a:lnTo>
                  <a:lnTo>
                    <a:pt x="40" y="53"/>
                  </a:lnTo>
                  <a:lnTo>
                    <a:pt x="38" y="49"/>
                  </a:lnTo>
                  <a:lnTo>
                    <a:pt x="38" y="47"/>
                  </a:lnTo>
                  <a:lnTo>
                    <a:pt x="40" y="43"/>
                  </a:lnTo>
                  <a:lnTo>
                    <a:pt x="40" y="42"/>
                  </a:lnTo>
                  <a:lnTo>
                    <a:pt x="36" y="36"/>
                  </a:lnTo>
                  <a:lnTo>
                    <a:pt x="34" y="36"/>
                  </a:lnTo>
                  <a:lnTo>
                    <a:pt x="30" y="34"/>
                  </a:lnTo>
                  <a:lnTo>
                    <a:pt x="25" y="30"/>
                  </a:lnTo>
                  <a:lnTo>
                    <a:pt x="25" y="27"/>
                  </a:lnTo>
                  <a:lnTo>
                    <a:pt x="21" y="25"/>
                  </a:lnTo>
                  <a:lnTo>
                    <a:pt x="21" y="21"/>
                  </a:lnTo>
                  <a:lnTo>
                    <a:pt x="17" y="19"/>
                  </a:lnTo>
                  <a:lnTo>
                    <a:pt x="13" y="19"/>
                  </a:lnTo>
                  <a:lnTo>
                    <a:pt x="13" y="19"/>
                  </a:lnTo>
                  <a:lnTo>
                    <a:pt x="13" y="21"/>
                  </a:lnTo>
                  <a:lnTo>
                    <a:pt x="17" y="25"/>
                  </a:lnTo>
                  <a:lnTo>
                    <a:pt x="19" y="28"/>
                  </a:lnTo>
                  <a:lnTo>
                    <a:pt x="17" y="30"/>
                  </a:lnTo>
                  <a:lnTo>
                    <a:pt x="15" y="30"/>
                  </a:lnTo>
                  <a:lnTo>
                    <a:pt x="13" y="28"/>
                  </a:lnTo>
                  <a:lnTo>
                    <a:pt x="9" y="27"/>
                  </a:lnTo>
                  <a:lnTo>
                    <a:pt x="4" y="27"/>
                  </a:lnTo>
                  <a:lnTo>
                    <a:pt x="0" y="21"/>
                  </a:lnTo>
                  <a:lnTo>
                    <a:pt x="0" y="19"/>
                  </a:lnTo>
                  <a:lnTo>
                    <a:pt x="0" y="15"/>
                  </a:lnTo>
                  <a:lnTo>
                    <a:pt x="4" y="11"/>
                  </a:lnTo>
                  <a:lnTo>
                    <a:pt x="4" y="10"/>
                  </a:lnTo>
                  <a:lnTo>
                    <a:pt x="0" y="8"/>
                  </a:lnTo>
                  <a:lnTo>
                    <a:pt x="0" y="8"/>
                  </a:lnTo>
                  <a:lnTo>
                    <a:pt x="0" y="6"/>
                  </a:lnTo>
                  <a:lnTo>
                    <a:pt x="4" y="2"/>
                  </a:lnTo>
                  <a:lnTo>
                    <a:pt x="0" y="2"/>
                  </a:lnTo>
                  <a:lnTo>
                    <a:pt x="4" y="0"/>
                  </a:lnTo>
                  <a:lnTo>
                    <a:pt x="4" y="0"/>
                  </a:lnTo>
                  <a:lnTo>
                    <a:pt x="9" y="0"/>
                  </a:lnTo>
                  <a:lnTo>
                    <a:pt x="19" y="2"/>
                  </a:lnTo>
                  <a:lnTo>
                    <a:pt x="23" y="2"/>
                  </a:lnTo>
                  <a:lnTo>
                    <a:pt x="28" y="2"/>
                  </a:lnTo>
                  <a:lnTo>
                    <a:pt x="30" y="4"/>
                  </a:lnTo>
                  <a:lnTo>
                    <a:pt x="32" y="6"/>
                  </a:lnTo>
                  <a:lnTo>
                    <a:pt x="32" y="6"/>
                  </a:lnTo>
                  <a:lnTo>
                    <a:pt x="38" y="10"/>
                  </a:lnTo>
                  <a:lnTo>
                    <a:pt x="40" y="10"/>
                  </a:lnTo>
                  <a:lnTo>
                    <a:pt x="40" y="10"/>
                  </a:lnTo>
                  <a:lnTo>
                    <a:pt x="40" y="11"/>
                  </a:lnTo>
                  <a:lnTo>
                    <a:pt x="43" y="11"/>
                  </a:lnTo>
                  <a:lnTo>
                    <a:pt x="43" y="10"/>
                  </a:lnTo>
                  <a:lnTo>
                    <a:pt x="45" y="8"/>
                  </a:lnTo>
                  <a:lnTo>
                    <a:pt x="49" y="11"/>
                  </a:lnTo>
                  <a:lnTo>
                    <a:pt x="49" y="15"/>
                  </a:lnTo>
                  <a:lnTo>
                    <a:pt x="49" y="19"/>
                  </a:lnTo>
                  <a:lnTo>
                    <a:pt x="53" y="23"/>
                  </a:lnTo>
                  <a:lnTo>
                    <a:pt x="55" y="25"/>
                  </a:lnTo>
                  <a:lnTo>
                    <a:pt x="57" y="28"/>
                  </a:lnTo>
                  <a:lnTo>
                    <a:pt x="60" y="28"/>
                  </a:lnTo>
                  <a:lnTo>
                    <a:pt x="62" y="30"/>
                  </a:lnTo>
                  <a:lnTo>
                    <a:pt x="62" y="30"/>
                  </a:lnTo>
                  <a:lnTo>
                    <a:pt x="60" y="30"/>
                  </a:lnTo>
                  <a:lnTo>
                    <a:pt x="58" y="30"/>
                  </a:lnTo>
                  <a:lnTo>
                    <a:pt x="58" y="34"/>
                  </a:lnTo>
                  <a:lnTo>
                    <a:pt x="55" y="38"/>
                  </a:lnTo>
                  <a:lnTo>
                    <a:pt x="55" y="40"/>
                  </a:lnTo>
                  <a:lnTo>
                    <a:pt x="57" y="42"/>
                  </a:lnTo>
                  <a:lnTo>
                    <a:pt x="60" y="45"/>
                  </a:lnTo>
                  <a:lnTo>
                    <a:pt x="57" y="47"/>
                  </a:lnTo>
                  <a:lnTo>
                    <a:pt x="55" y="49"/>
                  </a:lnTo>
                  <a:lnTo>
                    <a:pt x="55" y="53"/>
                  </a:lnTo>
                  <a:lnTo>
                    <a:pt x="55" y="53"/>
                  </a:lnTo>
                  <a:lnTo>
                    <a:pt x="55" y="53"/>
                  </a:lnTo>
                  <a:lnTo>
                    <a:pt x="55" y="53"/>
                  </a:lnTo>
                  <a:lnTo>
                    <a:pt x="55" y="53"/>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3" name="Freeform 164">
              <a:extLst>
                <a:ext uri="{FF2B5EF4-FFF2-40B4-BE49-F238E27FC236}">
                  <a16:creationId xmlns:a16="http://schemas.microsoft.com/office/drawing/2014/main" id="{DDF4AACD-31CE-F44C-A5CB-2E97A4285ABA}"/>
                </a:ext>
              </a:extLst>
            </p:cNvPr>
            <p:cNvSpPr>
              <a:spLocks/>
            </p:cNvSpPr>
            <p:nvPr/>
          </p:nvSpPr>
          <p:spPr bwMode="auto">
            <a:xfrm>
              <a:off x="4763350" y="2770410"/>
              <a:ext cx="70827" cy="65196"/>
            </a:xfrm>
            <a:custGeom>
              <a:avLst/>
              <a:gdLst/>
              <a:ahLst/>
              <a:cxnLst>
                <a:cxn ang="0">
                  <a:pos x="34" y="75"/>
                </a:cxn>
                <a:cxn ang="0">
                  <a:pos x="39" y="75"/>
                </a:cxn>
                <a:cxn ang="0">
                  <a:pos x="52" y="77"/>
                </a:cxn>
                <a:cxn ang="0">
                  <a:pos x="58" y="79"/>
                </a:cxn>
                <a:cxn ang="0">
                  <a:pos x="62" y="81"/>
                </a:cxn>
                <a:cxn ang="0">
                  <a:pos x="67" y="85"/>
                </a:cxn>
                <a:cxn ang="0">
                  <a:pos x="69" y="85"/>
                </a:cxn>
                <a:cxn ang="0">
                  <a:pos x="71" y="79"/>
                </a:cxn>
                <a:cxn ang="0">
                  <a:pos x="67" y="75"/>
                </a:cxn>
                <a:cxn ang="0">
                  <a:pos x="71" y="66"/>
                </a:cxn>
                <a:cxn ang="0">
                  <a:pos x="69" y="66"/>
                </a:cxn>
                <a:cxn ang="0">
                  <a:pos x="67" y="66"/>
                </a:cxn>
                <a:cxn ang="0">
                  <a:pos x="69" y="62"/>
                </a:cxn>
                <a:cxn ang="0">
                  <a:pos x="69" y="56"/>
                </a:cxn>
                <a:cxn ang="0">
                  <a:pos x="73" y="47"/>
                </a:cxn>
                <a:cxn ang="0">
                  <a:pos x="73" y="49"/>
                </a:cxn>
                <a:cxn ang="0">
                  <a:pos x="73" y="53"/>
                </a:cxn>
                <a:cxn ang="0">
                  <a:pos x="73" y="56"/>
                </a:cxn>
                <a:cxn ang="0">
                  <a:pos x="75" y="54"/>
                </a:cxn>
                <a:cxn ang="0">
                  <a:pos x="77" y="37"/>
                </a:cxn>
                <a:cxn ang="0">
                  <a:pos x="75" y="32"/>
                </a:cxn>
                <a:cxn ang="0">
                  <a:pos x="75" y="30"/>
                </a:cxn>
                <a:cxn ang="0">
                  <a:pos x="77" y="30"/>
                </a:cxn>
                <a:cxn ang="0">
                  <a:pos x="79" y="26"/>
                </a:cxn>
                <a:cxn ang="0">
                  <a:pos x="83" y="21"/>
                </a:cxn>
                <a:cxn ang="0">
                  <a:pos x="83" y="17"/>
                </a:cxn>
                <a:cxn ang="0">
                  <a:pos x="83" y="13"/>
                </a:cxn>
                <a:cxn ang="0">
                  <a:pos x="83" y="4"/>
                </a:cxn>
                <a:cxn ang="0">
                  <a:pos x="83" y="0"/>
                </a:cxn>
                <a:cxn ang="0">
                  <a:pos x="79" y="2"/>
                </a:cxn>
                <a:cxn ang="0">
                  <a:pos x="77" y="0"/>
                </a:cxn>
                <a:cxn ang="0">
                  <a:pos x="75" y="4"/>
                </a:cxn>
                <a:cxn ang="0">
                  <a:pos x="69" y="7"/>
                </a:cxn>
                <a:cxn ang="0">
                  <a:pos x="64" y="9"/>
                </a:cxn>
                <a:cxn ang="0">
                  <a:pos x="58" y="9"/>
                </a:cxn>
                <a:cxn ang="0">
                  <a:pos x="54" y="5"/>
                </a:cxn>
                <a:cxn ang="0">
                  <a:pos x="54" y="9"/>
                </a:cxn>
                <a:cxn ang="0">
                  <a:pos x="47" y="15"/>
                </a:cxn>
                <a:cxn ang="0">
                  <a:pos x="45" y="17"/>
                </a:cxn>
                <a:cxn ang="0">
                  <a:pos x="37" y="22"/>
                </a:cxn>
                <a:cxn ang="0">
                  <a:pos x="34" y="24"/>
                </a:cxn>
                <a:cxn ang="0">
                  <a:pos x="30" y="22"/>
                </a:cxn>
                <a:cxn ang="0">
                  <a:pos x="20" y="26"/>
                </a:cxn>
                <a:cxn ang="0">
                  <a:pos x="15" y="30"/>
                </a:cxn>
                <a:cxn ang="0">
                  <a:pos x="13" y="36"/>
                </a:cxn>
                <a:cxn ang="0">
                  <a:pos x="7" y="39"/>
                </a:cxn>
                <a:cxn ang="0">
                  <a:pos x="3" y="41"/>
                </a:cxn>
                <a:cxn ang="0">
                  <a:pos x="0" y="41"/>
                </a:cxn>
                <a:cxn ang="0">
                  <a:pos x="5" y="51"/>
                </a:cxn>
                <a:cxn ang="0">
                  <a:pos x="9" y="56"/>
                </a:cxn>
                <a:cxn ang="0">
                  <a:pos x="19" y="66"/>
                </a:cxn>
                <a:cxn ang="0">
                  <a:pos x="30" y="75"/>
                </a:cxn>
                <a:cxn ang="0">
                  <a:pos x="30" y="77"/>
                </a:cxn>
              </a:cxnLst>
              <a:rect l="0" t="0" r="r" b="b"/>
              <a:pathLst>
                <a:path w="83" h="85">
                  <a:moveTo>
                    <a:pt x="30" y="77"/>
                  </a:moveTo>
                  <a:lnTo>
                    <a:pt x="34" y="75"/>
                  </a:lnTo>
                  <a:lnTo>
                    <a:pt x="34" y="75"/>
                  </a:lnTo>
                  <a:lnTo>
                    <a:pt x="39" y="75"/>
                  </a:lnTo>
                  <a:lnTo>
                    <a:pt x="49" y="77"/>
                  </a:lnTo>
                  <a:lnTo>
                    <a:pt x="52" y="77"/>
                  </a:lnTo>
                  <a:lnTo>
                    <a:pt x="58" y="77"/>
                  </a:lnTo>
                  <a:lnTo>
                    <a:pt x="58" y="79"/>
                  </a:lnTo>
                  <a:lnTo>
                    <a:pt x="62" y="81"/>
                  </a:lnTo>
                  <a:lnTo>
                    <a:pt x="62" y="81"/>
                  </a:lnTo>
                  <a:lnTo>
                    <a:pt x="67" y="85"/>
                  </a:lnTo>
                  <a:lnTo>
                    <a:pt x="67" y="85"/>
                  </a:lnTo>
                  <a:lnTo>
                    <a:pt x="69" y="85"/>
                  </a:lnTo>
                  <a:lnTo>
                    <a:pt x="69" y="85"/>
                  </a:lnTo>
                  <a:lnTo>
                    <a:pt x="71" y="83"/>
                  </a:lnTo>
                  <a:lnTo>
                    <a:pt x="71" y="79"/>
                  </a:lnTo>
                  <a:lnTo>
                    <a:pt x="67" y="77"/>
                  </a:lnTo>
                  <a:lnTo>
                    <a:pt x="67" y="75"/>
                  </a:lnTo>
                  <a:lnTo>
                    <a:pt x="69" y="69"/>
                  </a:lnTo>
                  <a:lnTo>
                    <a:pt x="71" y="66"/>
                  </a:lnTo>
                  <a:lnTo>
                    <a:pt x="71" y="62"/>
                  </a:lnTo>
                  <a:lnTo>
                    <a:pt x="69" y="66"/>
                  </a:lnTo>
                  <a:lnTo>
                    <a:pt x="69" y="66"/>
                  </a:lnTo>
                  <a:lnTo>
                    <a:pt x="67" y="66"/>
                  </a:lnTo>
                  <a:lnTo>
                    <a:pt x="67" y="66"/>
                  </a:lnTo>
                  <a:lnTo>
                    <a:pt x="69" y="62"/>
                  </a:lnTo>
                  <a:lnTo>
                    <a:pt x="71" y="56"/>
                  </a:lnTo>
                  <a:lnTo>
                    <a:pt x="69" y="56"/>
                  </a:lnTo>
                  <a:lnTo>
                    <a:pt x="69" y="53"/>
                  </a:lnTo>
                  <a:lnTo>
                    <a:pt x="73" y="47"/>
                  </a:lnTo>
                  <a:lnTo>
                    <a:pt x="73" y="47"/>
                  </a:lnTo>
                  <a:lnTo>
                    <a:pt x="73" y="49"/>
                  </a:lnTo>
                  <a:lnTo>
                    <a:pt x="73" y="49"/>
                  </a:lnTo>
                  <a:lnTo>
                    <a:pt x="73" y="53"/>
                  </a:lnTo>
                  <a:lnTo>
                    <a:pt x="73" y="53"/>
                  </a:lnTo>
                  <a:lnTo>
                    <a:pt x="73" y="56"/>
                  </a:lnTo>
                  <a:lnTo>
                    <a:pt x="75" y="56"/>
                  </a:lnTo>
                  <a:lnTo>
                    <a:pt x="75" y="54"/>
                  </a:lnTo>
                  <a:lnTo>
                    <a:pt x="77" y="47"/>
                  </a:lnTo>
                  <a:lnTo>
                    <a:pt x="77" y="37"/>
                  </a:lnTo>
                  <a:lnTo>
                    <a:pt x="77" y="36"/>
                  </a:lnTo>
                  <a:lnTo>
                    <a:pt x="75" y="32"/>
                  </a:lnTo>
                  <a:lnTo>
                    <a:pt x="75" y="32"/>
                  </a:lnTo>
                  <a:lnTo>
                    <a:pt x="75" y="30"/>
                  </a:lnTo>
                  <a:lnTo>
                    <a:pt x="75" y="30"/>
                  </a:lnTo>
                  <a:lnTo>
                    <a:pt x="77" y="30"/>
                  </a:lnTo>
                  <a:lnTo>
                    <a:pt x="79" y="30"/>
                  </a:lnTo>
                  <a:lnTo>
                    <a:pt x="79" y="26"/>
                  </a:lnTo>
                  <a:lnTo>
                    <a:pt x="83" y="22"/>
                  </a:lnTo>
                  <a:lnTo>
                    <a:pt x="83" y="21"/>
                  </a:lnTo>
                  <a:lnTo>
                    <a:pt x="83" y="17"/>
                  </a:lnTo>
                  <a:lnTo>
                    <a:pt x="83" y="17"/>
                  </a:lnTo>
                  <a:lnTo>
                    <a:pt x="83" y="15"/>
                  </a:lnTo>
                  <a:lnTo>
                    <a:pt x="83" y="13"/>
                  </a:lnTo>
                  <a:lnTo>
                    <a:pt x="83" y="9"/>
                  </a:lnTo>
                  <a:lnTo>
                    <a:pt x="83" y="4"/>
                  </a:lnTo>
                  <a:lnTo>
                    <a:pt x="83" y="2"/>
                  </a:lnTo>
                  <a:lnTo>
                    <a:pt x="83" y="0"/>
                  </a:lnTo>
                  <a:lnTo>
                    <a:pt x="83" y="2"/>
                  </a:lnTo>
                  <a:lnTo>
                    <a:pt x="79" y="2"/>
                  </a:lnTo>
                  <a:lnTo>
                    <a:pt x="79" y="0"/>
                  </a:lnTo>
                  <a:lnTo>
                    <a:pt x="77" y="0"/>
                  </a:lnTo>
                  <a:lnTo>
                    <a:pt x="75" y="2"/>
                  </a:lnTo>
                  <a:lnTo>
                    <a:pt x="75" y="4"/>
                  </a:lnTo>
                  <a:lnTo>
                    <a:pt x="71" y="5"/>
                  </a:lnTo>
                  <a:lnTo>
                    <a:pt x="69" y="7"/>
                  </a:lnTo>
                  <a:lnTo>
                    <a:pt x="67" y="7"/>
                  </a:lnTo>
                  <a:lnTo>
                    <a:pt x="64" y="9"/>
                  </a:lnTo>
                  <a:lnTo>
                    <a:pt x="62" y="9"/>
                  </a:lnTo>
                  <a:lnTo>
                    <a:pt x="58" y="9"/>
                  </a:lnTo>
                  <a:lnTo>
                    <a:pt x="58" y="7"/>
                  </a:lnTo>
                  <a:lnTo>
                    <a:pt x="54" y="5"/>
                  </a:lnTo>
                  <a:lnTo>
                    <a:pt x="54" y="5"/>
                  </a:lnTo>
                  <a:lnTo>
                    <a:pt x="54" y="9"/>
                  </a:lnTo>
                  <a:lnTo>
                    <a:pt x="51" y="9"/>
                  </a:lnTo>
                  <a:lnTo>
                    <a:pt x="47" y="15"/>
                  </a:lnTo>
                  <a:lnTo>
                    <a:pt x="47" y="17"/>
                  </a:lnTo>
                  <a:lnTo>
                    <a:pt x="45" y="17"/>
                  </a:lnTo>
                  <a:lnTo>
                    <a:pt x="41" y="21"/>
                  </a:lnTo>
                  <a:lnTo>
                    <a:pt x="37" y="22"/>
                  </a:lnTo>
                  <a:lnTo>
                    <a:pt x="37" y="24"/>
                  </a:lnTo>
                  <a:lnTo>
                    <a:pt x="34" y="24"/>
                  </a:lnTo>
                  <a:lnTo>
                    <a:pt x="34" y="24"/>
                  </a:lnTo>
                  <a:lnTo>
                    <a:pt x="30" y="22"/>
                  </a:lnTo>
                  <a:lnTo>
                    <a:pt x="24" y="22"/>
                  </a:lnTo>
                  <a:lnTo>
                    <a:pt x="20" y="26"/>
                  </a:lnTo>
                  <a:lnTo>
                    <a:pt x="15" y="26"/>
                  </a:lnTo>
                  <a:lnTo>
                    <a:pt x="15" y="30"/>
                  </a:lnTo>
                  <a:lnTo>
                    <a:pt x="15" y="30"/>
                  </a:lnTo>
                  <a:lnTo>
                    <a:pt x="13" y="36"/>
                  </a:lnTo>
                  <a:lnTo>
                    <a:pt x="13" y="39"/>
                  </a:lnTo>
                  <a:lnTo>
                    <a:pt x="7" y="39"/>
                  </a:lnTo>
                  <a:lnTo>
                    <a:pt x="3" y="39"/>
                  </a:lnTo>
                  <a:lnTo>
                    <a:pt x="3" y="41"/>
                  </a:lnTo>
                  <a:lnTo>
                    <a:pt x="3" y="41"/>
                  </a:lnTo>
                  <a:lnTo>
                    <a:pt x="0" y="41"/>
                  </a:lnTo>
                  <a:lnTo>
                    <a:pt x="0" y="41"/>
                  </a:lnTo>
                  <a:lnTo>
                    <a:pt x="5" y="51"/>
                  </a:lnTo>
                  <a:lnTo>
                    <a:pt x="9" y="53"/>
                  </a:lnTo>
                  <a:lnTo>
                    <a:pt x="9" y="56"/>
                  </a:lnTo>
                  <a:lnTo>
                    <a:pt x="15" y="60"/>
                  </a:lnTo>
                  <a:lnTo>
                    <a:pt x="19" y="66"/>
                  </a:lnTo>
                  <a:lnTo>
                    <a:pt x="28" y="75"/>
                  </a:lnTo>
                  <a:lnTo>
                    <a:pt x="30" y="75"/>
                  </a:lnTo>
                  <a:lnTo>
                    <a:pt x="30" y="77"/>
                  </a:lnTo>
                  <a:lnTo>
                    <a:pt x="30" y="77"/>
                  </a:lnTo>
                  <a:lnTo>
                    <a:pt x="30" y="7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4" name="Freeform 165">
              <a:extLst>
                <a:ext uri="{FF2B5EF4-FFF2-40B4-BE49-F238E27FC236}">
                  <a16:creationId xmlns:a16="http://schemas.microsoft.com/office/drawing/2014/main" id="{587EBB6A-E327-9040-9D74-20B1FC5B9881}"/>
                </a:ext>
              </a:extLst>
            </p:cNvPr>
            <p:cNvSpPr>
              <a:spLocks/>
            </p:cNvSpPr>
            <p:nvPr/>
          </p:nvSpPr>
          <p:spPr bwMode="auto">
            <a:xfrm>
              <a:off x="4730925" y="2754304"/>
              <a:ext cx="103254" cy="44487"/>
            </a:xfrm>
            <a:custGeom>
              <a:avLst/>
              <a:gdLst/>
              <a:ahLst/>
              <a:cxnLst>
                <a:cxn ang="0">
                  <a:pos x="45" y="58"/>
                </a:cxn>
                <a:cxn ang="0">
                  <a:pos x="51" y="55"/>
                </a:cxn>
                <a:cxn ang="0">
                  <a:pos x="53" y="49"/>
                </a:cxn>
                <a:cxn ang="0">
                  <a:pos x="57" y="45"/>
                </a:cxn>
                <a:cxn ang="0">
                  <a:pos x="68" y="42"/>
                </a:cxn>
                <a:cxn ang="0">
                  <a:pos x="72" y="43"/>
                </a:cxn>
                <a:cxn ang="0">
                  <a:pos x="75" y="42"/>
                </a:cxn>
                <a:cxn ang="0">
                  <a:pos x="81" y="36"/>
                </a:cxn>
                <a:cxn ang="0">
                  <a:pos x="83" y="34"/>
                </a:cxn>
                <a:cxn ang="0">
                  <a:pos x="90" y="28"/>
                </a:cxn>
                <a:cxn ang="0">
                  <a:pos x="90" y="25"/>
                </a:cxn>
                <a:cxn ang="0">
                  <a:pos x="94" y="28"/>
                </a:cxn>
                <a:cxn ang="0">
                  <a:pos x="100" y="28"/>
                </a:cxn>
                <a:cxn ang="0">
                  <a:pos x="105" y="26"/>
                </a:cxn>
                <a:cxn ang="0">
                  <a:pos x="109" y="25"/>
                </a:cxn>
                <a:cxn ang="0">
                  <a:pos x="113" y="21"/>
                </a:cxn>
                <a:cxn ang="0">
                  <a:pos x="115" y="21"/>
                </a:cxn>
                <a:cxn ang="0">
                  <a:pos x="119" y="21"/>
                </a:cxn>
                <a:cxn ang="0">
                  <a:pos x="119" y="19"/>
                </a:cxn>
                <a:cxn ang="0">
                  <a:pos x="113" y="13"/>
                </a:cxn>
                <a:cxn ang="0">
                  <a:pos x="113" y="17"/>
                </a:cxn>
                <a:cxn ang="0">
                  <a:pos x="105" y="17"/>
                </a:cxn>
                <a:cxn ang="0">
                  <a:pos x="100" y="13"/>
                </a:cxn>
                <a:cxn ang="0">
                  <a:pos x="98" y="13"/>
                </a:cxn>
                <a:cxn ang="0">
                  <a:pos x="98" y="9"/>
                </a:cxn>
                <a:cxn ang="0">
                  <a:pos x="104" y="9"/>
                </a:cxn>
                <a:cxn ang="0">
                  <a:pos x="109" y="11"/>
                </a:cxn>
                <a:cxn ang="0">
                  <a:pos x="102" y="6"/>
                </a:cxn>
                <a:cxn ang="0">
                  <a:pos x="94" y="6"/>
                </a:cxn>
                <a:cxn ang="0">
                  <a:pos x="94" y="8"/>
                </a:cxn>
                <a:cxn ang="0">
                  <a:pos x="83" y="6"/>
                </a:cxn>
                <a:cxn ang="0">
                  <a:pos x="72" y="2"/>
                </a:cxn>
                <a:cxn ang="0">
                  <a:pos x="66" y="2"/>
                </a:cxn>
                <a:cxn ang="0">
                  <a:pos x="64" y="6"/>
                </a:cxn>
                <a:cxn ang="0">
                  <a:pos x="60" y="6"/>
                </a:cxn>
                <a:cxn ang="0">
                  <a:pos x="47" y="6"/>
                </a:cxn>
                <a:cxn ang="0">
                  <a:pos x="32" y="8"/>
                </a:cxn>
                <a:cxn ang="0">
                  <a:pos x="28" y="8"/>
                </a:cxn>
                <a:cxn ang="0">
                  <a:pos x="25" y="13"/>
                </a:cxn>
                <a:cxn ang="0">
                  <a:pos x="17" y="15"/>
                </a:cxn>
                <a:cxn ang="0">
                  <a:pos x="9" y="25"/>
                </a:cxn>
                <a:cxn ang="0">
                  <a:pos x="8" y="32"/>
                </a:cxn>
                <a:cxn ang="0">
                  <a:pos x="4" y="36"/>
                </a:cxn>
                <a:cxn ang="0">
                  <a:pos x="2" y="38"/>
                </a:cxn>
                <a:cxn ang="0">
                  <a:pos x="4" y="51"/>
                </a:cxn>
                <a:cxn ang="0">
                  <a:pos x="11" y="53"/>
                </a:cxn>
                <a:cxn ang="0">
                  <a:pos x="17" y="55"/>
                </a:cxn>
                <a:cxn ang="0">
                  <a:pos x="17" y="53"/>
                </a:cxn>
                <a:cxn ang="0">
                  <a:pos x="23" y="57"/>
                </a:cxn>
                <a:cxn ang="0">
                  <a:pos x="32" y="58"/>
                </a:cxn>
                <a:cxn ang="0">
                  <a:pos x="32" y="53"/>
                </a:cxn>
                <a:cxn ang="0">
                  <a:pos x="38" y="53"/>
                </a:cxn>
                <a:cxn ang="0">
                  <a:pos x="41" y="55"/>
                </a:cxn>
                <a:cxn ang="0">
                  <a:pos x="41" y="55"/>
                </a:cxn>
                <a:cxn ang="0">
                  <a:pos x="41" y="58"/>
                </a:cxn>
                <a:cxn ang="0">
                  <a:pos x="41" y="58"/>
                </a:cxn>
              </a:cxnLst>
              <a:rect l="0" t="0" r="r" b="b"/>
              <a:pathLst>
                <a:path w="121" h="58">
                  <a:moveTo>
                    <a:pt x="41" y="58"/>
                  </a:moveTo>
                  <a:lnTo>
                    <a:pt x="45" y="58"/>
                  </a:lnTo>
                  <a:lnTo>
                    <a:pt x="51" y="58"/>
                  </a:lnTo>
                  <a:lnTo>
                    <a:pt x="51" y="55"/>
                  </a:lnTo>
                  <a:lnTo>
                    <a:pt x="53" y="49"/>
                  </a:lnTo>
                  <a:lnTo>
                    <a:pt x="53" y="49"/>
                  </a:lnTo>
                  <a:lnTo>
                    <a:pt x="53" y="45"/>
                  </a:lnTo>
                  <a:lnTo>
                    <a:pt x="57" y="45"/>
                  </a:lnTo>
                  <a:lnTo>
                    <a:pt x="62" y="42"/>
                  </a:lnTo>
                  <a:lnTo>
                    <a:pt x="68" y="42"/>
                  </a:lnTo>
                  <a:lnTo>
                    <a:pt x="70" y="43"/>
                  </a:lnTo>
                  <a:lnTo>
                    <a:pt x="72" y="43"/>
                  </a:lnTo>
                  <a:lnTo>
                    <a:pt x="73" y="43"/>
                  </a:lnTo>
                  <a:lnTo>
                    <a:pt x="75" y="42"/>
                  </a:lnTo>
                  <a:lnTo>
                    <a:pt x="79" y="40"/>
                  </a:lnTo>
                  <a:lnTo>
                    <a:pt x="81" y="36"/>
                  </a:lnTo>
                  <a:lnTo>
                    <a:pt x="83" y="36"/>
                  </a:lnTo>
                  <a:lnTo>
                    <a:pt x="83" y="34"/>
                  </a:lnTo>
                  <a:lnTo>
                    <a:pt x="87" y="28"/>
                  </a:lnTo>
                  <a:lnTo>
                    <a:pt x="90" y="28"/>
                  </a:lnTo>
                  <a:lnTo>
                    <a:pt x="90" y="25"/>
                  </a:lnTo>
                  <a:lnTo>
                    <a:pt x="90" y="25"/>
                  </a:lnTo>
                  <a:lnTo>
                    <a:pt x="94" y="26"/>
                  </a:lnTo>
                  <a:lnTo>
                    <a:pt x="94" y="28"/>
                  </a:lnTo>
                  <a:lnTo>
                    <a:pt x="98" y="28"/>
                  </a:lnTo>
                  <a:lnTo>
                    <a:pt x="100" y="28"/>
                  </a:lnTo>
                  <a:lnTo>
                    <a:pt x="102" y="26"/>
                  </a:lnTo>
                  <a:lnTo>
                    <a:pt x="105" y="26"/>
                  </a:lnTo>
                  <a:lnTo>
                    <a:pt x="107" y="25"/>
                  </a:lnTo>
                  <a:lnTo>
                    <a:pt x="109" y="25"/>
                  </a:lnTo>
                  <a:lnTo>
                    <a:pt x="109" y="21"/>
                  </a:lnTo>
                  <a:lnTo>
                    <a:pt x="113" y="21"/>
                  </a:lnTo>
                  <a:lnTo>
                    <a:pt x="113" y="21"/>
                  </a:lnTo>
                  <a:lnTo>
                    <a:pt x="115" y="21"/>
                  </a:lnTo>
                  <a:lnTo>
                    <a:pt x="117" y="21"/>
                  </a:lnTo>
                  <a:lnTo>
                    <a:pt x="119" y="21"/>
                  </a:lnTo>
                  <a:lnTo>
                    <a:pt x="121" y="21"/>
                  </a:lnTo>
                  <a:lnTo>
                    <a:pt x="119" y="19"/>
                  </a:lnTo>
                  <a:lnTo>
                    <a:pt x="115" y="15"/>
                  </a:lnTo>
                  <a:lnTo>
                    <a:pt x="113" y="13"/>
                  </a:lnTo>
                  <a:lnTo>
                    <a:pt x="113" y="13"/>
                  </a:lnTo>
                  <a:lnTo>
                    <a:pt x="113" y="17"/>
                  </a:lnTo>
                  <a:lnTo>
                    <a:pt x="109" y="17"/>
                  </a:lnTo>
                  <a:lnTo>
                    <a:pt x="105" y="17"/>
                  </a:lnTo>
                  <a:lnTo>
                    <a:pt x="104" y="15"/>
                  </a:lnTo>
                  <a:lnTo>
                    <a:pt x="100" y="13"/>
                  </a:lnTo>
                  <a:lnTo>
                    <a:pt x="98" y="13"/>
                  </a:lnTo>
                  <a:lnTo>
                    <a:pt x="98" y="13"/>
                  </a:lnTo>
                  <a:lnTo>
                    <a:pt x="100" y="11"/>
                  </a:lnTo>
                  <a:lnTo>
                    <a:pt x="98" y="9"/>
                  </a:lnTo>
                  <a:lnTo>
                    <a:pt x="100" y="9"/>
                  </a:lnTo>
                  <a:lnTo>
                    <a:pt x="104" y="9"/>
                  </a:lnTo>
                  <a:lnTo>
                    <a:pt x="109" y="11"/>
                  </a:lnTo>
                  <a:lnTo>
                    <a:pt x="109" y="11"/>
                  </a:lnTo>
                  <a:lnTo>
                    <a:pt x="105" y="8"/>
                  </a:lnTo>
                  <a:lnTo>
                    <a:pt x="102" y="6"/>
                  </a:lnTo>
                  <a:lnTo>
                    <a:pt x="98" y="6"/>
                  </a:lnTo>
                  <a:lnTo>
                    <a:pt x="94" y="6"/>
                  </a:lnTo>
                  <a:lnTo>
                    <a:pt x="94" y="6"/>
                  </a:lnTo>
                  <a:lnTo>
                    <a:pt x="94" y="8"/>
                  </a:lnTo>
                  <a:lnTo>
                    <a:pt x="90" y="6"/>
                  </a:lnTo>
                  <a:lnTo>
                    <a:pt x="83" y="6"/>
                  </a:lnTo>
                  <a:lnTo>
                    <a:pt x="75" y="6"/>
                  </a:lnTo>
                  <a:lnTo>
                    <a:pt x="72" y="2"/>
                  </a:lnTo>
                  <a:lnTo>
                    <a:pt x="68" y="0"/>
                  </a:lnTo>
                  <a:lnTo>
                    <a:pt x="66" y="2"/>
                  </a:lnTo>
                  <a:lnTo>
                    <a:pt x="68" y="2"/>
                  </a:lnTo>
                  <a:lnTo>
                    <a:pt x="64" y="6"/>
                  </a:lnTo>
                  <a:lnTo>
                    <a:pt x="62" y="6"/>
                  </a:lnTo>
                  <a:lnTo>
                    <a:pt x="60" y="6"/>
                  </a:lnTo>
                  <a:lnTo>
                    <a:pt x="55" y="6"/>
                  </a:lnTo>
                  <a:lnTo>
                    <a:pt x="47" y="6"/>
                  </a:lnTo>
                  <a:lnTo>
                    <a:pt x="36" y="6"/>
                  </a:lnTo>
                  <a:lnTo>
                    <a:pt x="32" y="8"/>
                  </a:lnTo>
                  <a:lnTo>
                    <a:pt x="28" y="6"/>
                  </a:lnTo>
                  <a:lnTo>
                    <a:pt x="28" y="8"/>
                  </a:lnTo>
                  <a:lnTo>
                    <a:pt x="26" y="9"/>
                  </a:lnTo>
                  <a:lnTo>
                    <a:pt x="25" y="13"/>
                  </a:lnTo>
                  <a:lnTo>
                    <a:pt x="19" y="17"/>
                  </a:lnTo>
                  <a:lnTo>
                    <a:pt x="17" y="15"/>
                  </a:lnTo>
                  <a:lnTo>
                    <a:pt x="13" y="21"/>
                  </a:lnTo>
                  <a:lnTo>
                    <a:pt x="9" y="25"/>
                  </a:lnTo>
                  <a:lnTo>
                    <a:pt x="11" y="26"/>
                  </a:lnTo>
                  <a:lnTo>
                    <a:pt x="8" y="32"/>
                  </a:lnTo>
                  <a:lnTo>
                    <a:pt x="4" y="36"/>
                  </a:lnTo>
                  <a:lnTo>
                    <a:pt x="4" y="36"/>
                  </a:lnTo>
                  <a:lnTo>
                    <a:pt x="4" y="38"/>
                  </a:lnTo>
                  <a:lnTo>
                    <a:pt x="2" y="38"/>
                  </a:lnTo>
                  <a:lnTo>
                    <a:pt x="0" y="45"/>
                  </a:lnTo>
                  <a:lnTo>
                    <a:pt x="4" y="51"/>
                  </a:lnTo>
                  <a:lnTo>
                    <a:pt x="6" y="51"/>
                  </a:lnTo>
                  <a:lnTo>
                    <a:pt x="11" y="53"/>
                  </a:lnTo>
                  <a:lnTo>
                    <a:pt x="17" y="57"/>
                  </a:lnTo>
                  <a:lnTo>
                    <a:pt x="17" y="55"/>
                  </a:lnTo>
                  <a:lnTo>
                    <a:pt x="13" y="53"/>
                  </a:lnTo>
                  <a:lnTo>
                    <a:pt x="17" y="53"/>
                  </a:lnTo>
                  <a:lnTo>
                    <a:pt x="19" y="53"/>
                  </a:lnTo>
                  <a:lnTo>
                    <a:pt x="23" y="57"/>
                  </a:lnTo>
                  <a:lnTo>
                    <a:pt x="25" y="58"/>
                  </a:lnTo>
                  <a:lnTo>
                    <a:pt x="32" y="58"/>
                  </a:lnTo>
                  <a:lnTo>
                    <a:pt x="36" y="55"/>
                  </a:lnTo>
                  <a:lnTo>
                    <a:pt x="32" y="53"/>
                  </a:lnTo>
                  <a:lnTo>
                    <a:pt x="36" y="53"/>
                  </a:lnTo>
                  <a:lnTo>
                    <a:pt x="38" y="53"/>
                  </a:lnTo>
                  <a:lnTo>
                    <a:pt x="38" y="55"/>
                  </a:lnTo>
                  <a:lnTo>
                    <a:pt x="41" y="55"/>
                  </a:lnTo>
                  <a:lnTo>
                    <a:pt x="41" y="53"/>
                  </a:lnTo>
                  <a:lnTo>
                    <a:pt x="41" y="55"/>
                  </a:lnTo>
                  <a:lnTo>
                    <a:pt x="41" y="57"/>
                  </a:lnTo>
                  <a:lnTo>
                    <a:pt x="41" y="58"/>
                  </a:lnTo>
                  <a:lnTo>
                    <a:pt x="41" y="58"/>
                  </a:lnTo>
                  <a:lnTo>
                    <a:pt x="41" y="58"/>
                  </a:lnTo>
                  <a:lnTo>
                    <a:pt x="41" y="5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5" name="Freeform 166">
              <a:extLst>
                <a:ext uri="{FF2B5EF4-FFF2-40B4-BE49-F238E27FC236}">
                  <a16:creationId xmlns:a16="http://schemas.microsoft.com/office/drawing/2014/main" id="{798390EA-51D6-E441-A3E3-5728C5563AA8}"/>
                </a:ext>
              </a:extLst>
            </p:cNvPr>
            <p:cNvSpPr>
              <a:spLocks/>
            </p:cNvSpPr>
            <p:nvPr/>
          </p:nvSpPr>
          <p:spPr bwMode="auto">
            <a:xfrm>
              <a:off x="4740310" y="2722856"/>
              <a:ext cx="17920" cy="31447"/>
            </a:xfrm>
            <a:custGeom>
              <a:avLst/>
              <a:gdLst/>
              <a:ahLst/>
              <a:cxnLst>
                <a:cxn ang="0">
                  <a:pos x="0" y="9"/>
                </a:cxn>
                <a:cxn ang="0">
                  <a:pos x="0" y="9"/>
                </a:cxn>
                <a:cxn ang="0">
                  <a:pos x="0" y="9"/>
                </a:cxn>
                <a:cxn ang="0">
                  <a:pos x="2" y="5"/>
                </a:cxn>
                <a:cxn ang="0">
                  <a:pos x="4" y="5"/>
                </a:cxn>
                <a:cxn ang="0">
                  <a:pos x="4" y="9"/>
                </a:cxn>
                <a:cxn ang="0">
                  <a:pos x="6" y="9"/>
                </a:cxn>
                <a:cxn ang="0">
                  <a:pos x="6" y="9"/>
                </a:cxn>
                <a:cxn ang="0">
                  <a:pos x="8" y="9"/>
                </a:cxn>
                <a:cxn ang="0">
                  <a:pos x="8" y="5"/>
                </a:cxn>
                <a:cxn ang="0">
                  <a:pos x="10" y="3"/>
                </a:cxn>
                <a:cxn ang="0">
                  <a:pos x="12" y="2"/>
                </a:cxn>
                <a:cxn ang="0">
                  <a:pos x="12" y="0"/>
                </a:cxn>
                <a:cxn ang="0">
                  <a:pos x="14" y="0"/>
                </a:cxn>
                <a:cxn ang="0">
                  <a:pos x="15" y="0"/>
                </a:cxn>
                <a:cxn ang="0">
                  <a:pos x="17" y="0"/>
                </a:cxn>
                <a:cxn ang="0">
                  <a:pos x="19" y="0"/>
                </a:cxn>
                <a:cxn ang="0">
                  <a:pos x="21" y="0"/>
                </a:cxn>
                <a:cxn ang="0">
                  <a:pos x="21" y="2"/>
                </a:cxn>
                <a:cxn ang="0">
                  <a:pos x="21" y="3"/>
                </a:cxn>
                <a:cxn ang="0">
                  <a:pos x="21" y="11"/>
                </a:cxn>
                <a:cxn ang="0">
                  <a:pos x="19" y="15"/>
                </a:cxn>
                <a:cxn ang="0">
                  <a:pos x="17" y="18"/>
                </a:cxn>
                <a:cxn ang="0">
                  <a:pos x="19" y="20"/>
                </a:cxn>
                <a:cxn ang="0">
                  <a:pos x="19" y="26"/>
                </a:cxn>
                <a:cxn ang="0">
                  <a:pos x="17" y="30"/>
                </a:cxn>
                <a:cxn ang="0">
                  <a:pos x="12" y="37"/>
                </a:cxn>
                <a:cxn ang="0">
                  <a:pos x="10" y="35"/>
                </a:cxn>
                <a:cxn ang="0">
                  <a:pos x="6" y="39"/>
                </a:cxn>
                <a:cxn ang="0">
                  <a:pos x="4" y="41"/>
                </a:cxn>
                <a:cxn ang="0">
                  <a:pos x="4" y="41"/>
                </a:cxn>
                <a:cxn ang="0">
                  <a:pos x="2" y="41"/>
                </a:cxn>
                <a:cxn ang="0">
                  <a:pos x="2" y="41"/>
                </a:cxn>
                <a:cxn ang="0">
                  <a:pos x="0" y="41"/>
                </a:cxn>
                <a:cxn ang="0">
                  <a:pos x="0" y="9"/>
                </a:cxn>
                <a:cxn ang="0">
                  <a:pos x="0" y="9"/>
                </a:cxn>
                <a:cxn ang="0">
                  <a:pos x="0" y="9"/>
                </a:cxn>
                <a:cxn ang="0">
                  <a:pos x="0" y="9"/>
                </a:cxn>
              </a:cxnLst>
              <a:rect l="0" t="0" r="r" b="b"/>
              <a:pathLst>
                <a:path w="21" h="41">
                  <a:moveTo>
                    <a:pt x="0" y="9"/>
                  </a:moveTo>
                  <a:lnTo>
                    <a:pt x="0" y="9"/>
                  </a:lnTo>
                  <a:lnTo>
                    <a:pt x="0" y="9"/>
                  </a:lnTo>
                  <a:lnTo>
                    <a:pt x="2" y="5"/>
                  </a:lnTo>
                  <a:lnTo>
                    <a:pt x="4" y="5"/>
                  </a:lnTo>
                  <a:lnTo>
                    <a:pt x="4" y="9"/>
                  </a:lnTo>
                  <a:lnTo>
                    <a:pt x="6" y="9"/>
                  </a:lnTo>
                  <a:lnTo>
                    <a:pt x="6" y="9"/>
                  </a:lnTo>
                  <a:lnTo>
                    <a:pt x="8" y="9"/>
                  </a:lnTo>
                  <a:lnTo>
                    <a:pt x="8" y="5"/>
                  </a:lnTo>
                  <a:lnTo>
                    <a:pt x="10" y="3"/>
                  </a:lnTo>
                  <a:lnTo>
                    <a:pt x="12" y="2"/>
                  </a:lnTo>
                  <a:lnTo>
                    <a:pt x="12" y="0"/>
                  </a:lnTo>
                  <a:lnTo>
                    <a:pt x="14" y="0"/>
                  </a:lnTo>
                  <a:lnTo>
                    <a:pt x="15" y="0"/>
                  </a:lnTo>
                  <a:lnTo>
                    <a:pt x="17" y="0"/>
                  </a:lnTo>
                  <a:lnTo>
                    <a:pt x="19" y="0"/>
                  </a:lnTo>
                  <a:lnTo>
                    <a:pt x="21" y="0"/>
                  </a:lnTo>
                  <a:lnTo>
                    <a:pt x="21" y="2"/>
                  </a:lnTo>
                  <a:lnTo>
                    <a:pt x="21" y="3"/>
                  </a:lnTo>
                  <a:lnTo>
                    <a:pt x="21" y="11"/>
                  </a:lnTo>
                  <a:lnTo>
                    <a:pt x="19" y="15"/>
                  </a:lnTo>
                  <a:lnTo>
                    <a:pt x="17" y="18"/>
                  </a:lnTo>
                  <a:lnTo>
                    <a:pt x="19" y="20"/>
                  </a:lnTo>
                  <a:lnTo>
                    <a:pt x="19" y="26"/>
                  </a:lnTo>
                  <a:lnTo>
                    <a:pt x="17" y="30"/>
                  </a:lnTo>
                  <a:lnTo>
                    <a:pt x="12" y="37"/>
                  </a:lnTo>
                  <a:lnTo>
                    <a:pt x="10" y="35"/>
                  </a:lnTo>
                  <a:lnTo>
                    <a:pt x="6" y="39"/>
                  </a:lnTo>
                  <a:lnTo>
                    <a:pt x="4" y="41"/>
                  </a:lnTo>
                  <a:lnTo>
                    <a:pt x="4" y="41"/>
                  </a:lnTo>
                  <a:lnTo>
                    <a:pt x="2" y="41"/>
                  </a:lnTo>
                  <a:lnTo>
                    <a:pt x="2" y="41"/>
                  </a:lnTo>
                  <a:lnTo>
                    <a:pt x="0" y="41"/>
                  </a:lnTo>
                  <a:lnTo>
                    <a:pt x="0" y="9"/>
                  </a:lnTo>
                  <a:lnTo>
                    <a:pt x="0" y="9"/>
                  </a:lnTo>
                  <a:lnTo>
                    <a:pt x="0" y="9"/>
                  </a:lnTo>
                  <a:lnTo>
                    <a:pt x="0" y="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6" name="Freeform 167">
              <a:extLst>
                <a:ext uri="{FF2B5EF4-FFF2-40B4-BE49-F238E27FC236}">
                  <a16:creationId xmlns:a16="http://schemas.microsoft.com/office/drawing/2014/main" id="{4F1C2669-C6C2-3241-B95C-F973FC31E8DF}"/>
                </a:ext>
              </a:extLst>
            </p:cNvPr>
            <p:cNvSpPr>
              <a:spLocks/>
            </p:cNvSpPr>
            <p:nvPr/>
          </p:nvSpPr>
          <p:spPr bwMode="auto">
            <a:xfrm>
              <a:off x="5280473" y="2909239"/>
              <a:ext cx="45226" cy="55992"/>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7" name="Freeform 168">
              <a:extLst>
                <a:ext uri="{FF2B5EF4-FFF2-40B4-BE49-F238E27FC236}">
                  <a16:creationId xmlns:a16="http://schemas.microsoft.com/office/drawing/2014/main" id="{ED1E3C5E-F35E-6A4B-B2C0-F1D462103643}"/>
                </a:ext>
              </a:extLst>
            </p:cNvPr>
            <p:cNvSpPr>
              <a:spLocks/>
            </p:cNvSpPr>
            <p:nvPr/>
          </p:nvSpPr>
          <p:spPr bwMode="auto">
            <a:xfrm>
              <a:off x="5280473" y="2909239"/>
              <a:ext cx="45226" cy="55992"/>
            </a:xfrm>
            <a:custGeom>
              <a:avLst/>
              <a:gdLst/>
              <a:ahLst/>
              <a:cxnLst>
                <a:cxn ang="0">
                  <a:pos x="0" y="56"/>
                </a:cxn>
                <a:cxn ang="0">
                  <a:pos x="0" y="60"/>
                </a:cxn>
                <a:cxn ang="0">
                  <a:pos x="0" y="62"/>
                </a:cxn>
                <a:cxn ang="0">
                  <a:pos x="4" y="62"/>
                </a:cxn>
                <a:cxn ang="0">
                  <a:pos x="4" y="64"/>
                </a:cxn>
                <a:cxn ang="0">
                  <a:pos x="5" y="67"/>
                </a:cxn>
                <a:cxn ang="0">
                  <a:pos x="9" y="67"/>
                </a:cxn>
                <a:cxn ang="0">
                  <a:pos x="11" y="66"/>
                </a:cxn>
                <a:cxn ang="0">
                  <a:pos x="13" y="64"/>
                </a:cxn>
                <a:cxn ang="0">
                  <a:pos x="15" y="64"/>
                </a:cxn>
                <a:cxn ang="0">
                  <a:pos x="15" y="66"/>
                </a:cxn>
                <a:cxn ang="0">
                  <a:pos x="19" y="67"/>
                </a:cxn>
                <a:cxn ang="0">
                  <a:pos x="19" y="71"/>
                </a:cxn>
                <a:cxn ang="0">
                  <a:pos x="21" y="73"/>
                </a:cxn>
                <a:cxn ang="0">
                  <a:pos x="24" y="69"/>
                </a:cxn>
                <a:cxn ang="0">
                  <a:pos x="24" y="67"/>
                </a:cxn>
                <a:cxn ang="0">
                  <a:pos x="24" y="66"/>
                </a:cxn>
                <a:cxn ang="0">
                  <a:pos x="30" y="66"/>
                </a:cxn>
                <a:cxn ang="0">
                  <a:pos x="30" y="60"/>
                </a:cxn>
                <a:cxn ang="0">
                  <a:pos x="34" y="56"/>
                </a:cxn>
                <a:cxn ang="0">
                  <a:pos x="39" y="49"/>
                </a:cxn>
                <a:cxn ang="0">
                  <a:pos x="39" y="45"/>
                </a:cxn>
                <a:cxn ang="0">
                  <a:pos x="43" y="41"/>
                </a:cxn>
                <a:cxn ang="0">
                  <a:pos x="47" y="34"/>
                </a:cxn>
                <a:cxn ang="0">
                  <a:pos x="49" y="32"/>
                </a:cxn>
                <a:cxn ang="0">
                  <a:pos x="49" y="32"/>
                </a:cxn>
                <a:cxn ang="0">
                  <a:pos x="53" y="28"/>
                </a:cxn>
                <a:cxn ang="0">
                  <a:pos x="53" y="22"/>
                </a:cxn>
                <a:cxn ang="0">
                  <a:pos x="49" y="18"/>
                </a:cxn>
                <a:cxn ang="0">
                  <a:pos x="47" y="22"/>
                </a:cxn>
                <a:cxn ang="0">
                  <a:pos x="45" y="18"/>
                </a:cxn>
                <a:cxn ang="0">
                  <a:pos x="45" y="17"/>
                </a:cxn>
                <a:cxn ang="0">
                  <a:pos x="39" y="9"/>
                </a:cxn>
                <a:cxn ang="0">
                  <a:pos x="36" y="9"/>
                </a:cxn>
                <a:cxn ang="0">
                  <a:pos x="34" y="7"/>
                </a:cxn>
                <a:cxn ang="0">
                  <a:pos x="21" y="3"/>
                </a:cxn>
                <a:cxn ang="0">
                  <a:pos x="15" y="0"/>
                </a:cxn>
                <a:cxn ang="0">
                  <a:pos x="11" y="0"/>
                </a:cxn>
                <a:cxn ang="0">
                  <a:pos x="7" y="3"/>
                </a:cxn>
                <a:cxn ang="0">
                  <a:pos x="4" y="3"/>
                </a:cxn>
                <a:cxn ang="0">
                  <a:pos x="4" y="3"/>
                </a:cxn>
                <a:cxn ang="0">
                  <a:pos x="4" y="3"/>
                </a:cxn>
                <a:cxn ang="0">
                  <a:pos x="0" y="7"/>
                </a:cxn>
                <a:cxn ang="0">
                  <a:pos x="0" y="9"/>
                </a:cxn>
                <a:cxn ang="0">
                  <a:pos x="0" y="15"/>
                </a:cxn>
                <a:cxn ang="0">
                  <a:pos x="0" y="18"/>
                </a:cxn>
                <a:cxn ang="0">
                  <a:pos x="0" y="22"/>
                </a:cxn>
                <a:cxn ang="0">
                  <a:pos x="0" y="24"/>
                </a:cxn>
                <a:cxn ang="0">
                  <a:pos x="4" y="26"/>
                </a:cxn>
                <a:cxn ang="0">
                  <a:pos x="5" y="30"/>
                </a:cxn>
                <a:cxn ang="0">
                  <a:pos x="7" y="34"/>
                </a:cxn>
                <a:cxn ang="0">
                  <a:pos x="9" y="37"/>
                </a:cxn>
                <a:cxn ang="0">
                  <a:pos x="9" y="37"/>
                </a:cxn>
                <a:cxn ang="0">
                  <a:pos x="9" y="41"/>
                </a:cxn>
                <a:cxn ang="0">
                  <a:pos x="5" y="43"/>
                </a:cxn>
                <a:cxn ang="0">
                  <a:pos x="5" y="49"/>
                </a:cxn>
                <a:cxn ang="0">
                  <a:pos x="7" y="50"/>
                </a:cxn>
                <a:cxn ang="0">
                  <a:pos x="5" y="54"/>
                </a:cxn>
                <a:cxn ang="0">
                  <a:pos x="0" y="56"/>
                </a:cxn>
                <a:cxn ang="0">
                  <a:pos x="0" y="56"/>
                </a:cxn>
                <a:cxn ang="0">
                  <a:pos x="0" y="56"/>
                </a:cxn>
                <a:cxn ang="0">
                  <a:pos x="0" y="56"/>
                </a:cxn>
              </a:cxnLst>
              <a:rect l="0" t="0" r="r" b="b"/>
              <a:pathLst>
                <a:path w="53" h="73">
                  <a:moveTo>
                    <a:pt x="0" y="56"/>
                  </a:moveTo>
                  <a:lnTo>
                    <a:pt x="0" y="60"/>
                  </a:lnTo>
                  <a:lnTo>
                    <a:pt x="0" y="62"/>
                  </a:lnTo>
                  <a:lnTo>
                    <a:pt x="4" y="62"/>
                  </a:lnTo>
                  <a:lnTo>
                    <a:pt x="4" y="64"/>
                  </a:lnTo>
                  <a:lnTo>
                    <a:pt x="5" y="67"/>
                  </a:lnTo>
                  <a:lnTo>
                    <a:pt x="9" y="67"/>
                  </a:lnTo>
                  <a:lnTo>
                    <a:pt x="11" y="66"/>
                  </a:lnTo>
                  <a:lnTo>
                    <a:pt x="13" y="64"/>
                  </a:lnTo>
                  <a:lnTo>
                    <a:pt x="15" y="64"/>
                  </a:lnTo>
                  <a:lnTo>
                    <a:pt x="15" y="66"/>
                  </a:lnTo>
                  <a:lnTo>
                    <a:pt x="19" y="67"/>
                  </a:lnTo>
                  <a:lnTo>
                    <a:pt x="19" y="71"/>
                  </a:lnTo>
                  <a:lnTo>
                    <a:pt x="21" y="73"/>
                  </a:lnTo>
                  <a:lnTo>
                    <a:pt x="24" y="69"/>
                  </a:lnTo>
                  <a:lnTo>
                    <a:pt x="24" y="67"/>
                  </a:lnTo>
                  <a:lnTo>
                    <a:pt x="24" y="66"/>
                  </a:lnTo>
                  <a:lnTo>
                    <a:pt x="30" y="66"/>
                  </a:lnTo>
                  <a:lnTo>
                    <a:pt x="30" y="60"/>
                  </a:lnTo>
                  <a:lnTo>
                    <a:pt x="34" y="56"/>
                  </a:lnTo>
                  <a:lnTo>
                    <a:pt x="39" y="49"/>
                  </a:lnTo>
                  <a:lnTo>
                    <a:pt x="39" y="45"/>
                  </a:lnTo>
                  <a:lnTo>
                    <a:pt x="43" y="41"/>
                  </a:lnTo>
                  <a:lnTo>
                    <a:pt x="47" y="34"/>
                  </a:lnTo>
                  <a:lnTo>
                    <a:pt x="49" y="32"/>
                  </a:lnTo>
                  <a:lnTo>
                    <a:pt x="49" y="32"/>
                  </a:lnTo>
                  <a:lnTo>
                    <a:pt x="53" y="28"/>
                  </a:lnTo>
                  <a:lnTo>
                    <a:pt x="53" y="22"/>
                  </a:lnTo>
                  <a:lnTo>
                    <a:pt x="49" y="18"/>
                  </a:lnTo>
                  <a:lnTo>
                    <a:pt x="47" y="22"/>
                  </a:lnTo>
                  <a:lnTo>
                    <a:pt x="45" y="18"/>
                  </a:lnTo>
                  <a:lnTo>
                    <a:pt x="45" y="17"/>
                  </a:lnTo>
                  <a:lnTo>
                    <a:pt x="39" y="9"/>
                  </a:lnTo>
                  <a:lnTo>
                    <a:pt x="36" y="9"/>
                  </a:lnTo>
                  <a:lnTo>
                    <a:pt x="34" y="7"/>
                  </a:lnTo>
                  <a:lnTo>
                    <a:pt x="21" y="3"/>
                  </a:lnTo>
                  <a:lnTo>
                    <a:pt x="15" y="0"/>
                  </a:lnTo>
                  <a:lnTo>
                    <a:pt x="11" y="0"/>
                  </a:lnTo>
                  <a:lnTo>
                    <a:pt x="7" y="3"/>
                  </a:lnTo>
                  <a:lnTo>
                    <a:pt x="4" y="3"/>
                  </a:lnTo>
                  <a:lnTo>
                    <a:pt x="4" y="3"/>
                  </a:lnTo>
                  <a:lnTo>
                    <a:pt x="4" y="3"/>
                  </a:lnTo>
                  <a:lnTo>
                    <a:pt x="0" y="7"/>
                  </a:lnTo>
                  <a:lnTo>
                    <a:pt x="0" y="9"/>
                  </a:lnTo>
                  <a:lnTo>
                    <a:pt x="0" y="15"/>
                  </a:lnTo>
                  <a:lnTo>
                    <a:pt x="0" y="18"/>
                  </a:lnTo>
                  <a:lnTo>
                    <a:pt x="0" y="22"/>
                  </a:lnTo>
                  <a:lnTo>
                    <a:pt x="0" y="24"/>
                  </a:lnTo>
                  <a:lnTo>
                    <a:pt x="4" y="26"/>
                  </a:lnTo>
                  <a:lnTo>
                    <a:pt x="5" y="30"/>
                  </a:lnTo>
                  <a:lnTo>
                    <a:pt x="7" y="34"/>
                  </a:lnTo>
                  <a:lnTo>
                    <a:pt x="9" y="37"/>
                  </a:lnTo>
                  <a:lnTo>
                    <a:pt x="9" y="37"/>
                  </a:lnTo>
                  <a:lnTo>
                    <a:pt x="9" y="41"/>
                  </a:lnTo>
                  <a:lnTo>
                    <a:pt x="5" y="43"/>
                  </a:lnTo>
                  <a:lnTo>
                    <a:pt x="5" y="49"/>
                  </a:lnTo>
                  <a:lnTo>
                    <a:pt x="7" y="50"/>
                  </a:lnTo>
                  <a:lnTo>
                    <a:pt x="5" y="54"/>
                  </a:lnTo>
                  <a:lnTo>
                    <a:pt x="0" y="56"/>
                  </a:lnTo>
                  <a:lnTo>
                    <a:pt x="0" y="56"/>
                  </a:lnTo>
                  <a:lnTo>
                    <a:pt x="0" y="56"/>
                  </a:lnTo>
                  <a:lnTo>
                    <a:pt x="0" y="5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8" name="Freeform 169">
              <a:extLst>
                <a:ext uri="{FF2B5EF4-FFF2-40B4-BE49-F238E27FC236}">
                  <a16:creationId xmlns:a16="http://schemas.microsoft.com/office/drawing/2014/main" id="{37932CFF-173C-6945-B8DD-764518489653}"/>
                </a:ext>
              </a:extLst>
            </p:cNvPr>
            <p:cNvSpPr>
              <a:spLocks/>
            </p:cNvSpPr>
            <p:nvPr/>
          </p:nvSpPr>
          <p:spPr bwMode="auto">
            <a:xfrm>
              <a:off x="5225859" y="2900035"/>
              <a:ext cx="62294" cy="65196"/>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9" name="Freeform 170">
              <a:extLst>
                <a:ext uri="{FF2B5EF4-FFF2-40B4-BE49-F238E27FC236}">
                  <a16:creationId xmlns:a16="http://schemas.microsoft.com/office/drawing/2014/main" id="{E7318215-A7F9-3749-B0F9-25D0A2693792}"/>
                </a:ext>
              </a:extLst>
            </p:cNvPr>
            <p:cNvSpPr>
              <a:spLocks/>
            </p:cNvSpPr>
            <p:nvPr/>
          </p:nvSpPr>
          <p:spPr bwMode="auto">
            <a:xfrm>
              <a:off x="5225859" y="2900035"/>
              <a:ext cx="62294" cy="65196"/>
            </a:xfrm>
            <a:custGeom>
              <a:avLst/>
              <a:gdLst/>
              <a:ahLst/>
              <a:cxnLst>
                <a:cxn ang="0">
                  <a:pos x="30" y="81"/>
                </a:cxn>
                <a:cxn ang="0">
                  <a:pos x="32" y="83"/>
                </a:cxn>
                <a:cxn ang="0">
                  <a:pos x="39" y="85"/>
                </a:cxn>
                <a:cxn ang="0">
                  <a:pos x="39" y="79"/>
                </a:cxn>
                <a:cxn ang="0">
                  <a:pos x="36" y="74"/>
                </a:cxn>
                <a:cxn ang="0">
                  <a:pos x="39" y="68"/>
                </a:cxn>
                <a:cxn ang="0">
                  <a:pos x="51" y="70"/>
                </a:cxn>
                <a:cxn ang="0">
                  <a:pos x="60" y="68"/>
                </a:cxn>
                <a:cxn ang="0">
                  <a:pos x="66" y="70"/>
                </a:cxn>
                <a:cxn ang="0">
                  <a:pos x="73" y="64"/>
                </a:cxn>
                <a:cxn ang="0">
                  <a:pos x="69" y="57"/>
                </a:cxn>
                <a:cxn ang="0">
                  <a:pos x="73" y="51"/>
                </a:cxn>
                <a:cxn ang="0">
                  <a:pos x="73" y="46"/>
                </a:cxn>
                <a:cxn ang="0">
                  <a:pos x="69" y="38"/>
                </a:cxn>
                <a:cxn ang="0">
                  <a:pos x="66" y="34"/>
                </a:cxn>
                <a:cxn ang="0">
                  <a:pos x="66" y="25"/>
                </a:cxn>
                <a:cxn ang="0">
                  <a:pos x="66" y="17"/>
                </a:cxn>
                <a:cxn ang="0">
                  <a:pos x="69" y="15"/>
                </a:cxn>
                <a:cxn ang="0">
                  <a:pos x="73" y="8"/>
                </a:cxn>
                <a:cxn ang="0">
                  <a:pos x="60" y="4"/>
                </a:cxn>
                <a:cxn ang="0">
                  <a:pos x="53" y="4"/>
                </a:cxn>
                <a:cxn ang="0">
                  <a:pos x="45" y="4"/>
                </a:cxn>
                <a:cxn ang="0">
                  <a:pos x="30" y="4"/>
                </a:cxn>
                <a:cxn ang="0">
                  <a:pos x="17" y="4"/>
                </a:cxn>
                <a:cxn ang="0">
                  <a:pos x="17" y="10"/>
                </a:cxn>
                <a:cxn ang="0">
                  <a:pos x="15" y="15"/>
                </a:cxn>
                <a:cxn ang="0">
                  <a:pos x="11" y="21"/>
                </a:cxn>
                <a:cxn ang="0">
                  <a:pos x="4" y="25"/>
                </a:cxn>
                <a:cxn ang="0">
                  <a:pos x="0" y="36"/>
                </a:cxn>
                <a:cxn ang="0">
                  <a:pos x="4" y="44"/>
                </a:cxn>
                <a:cxn ang="0">
                  <a:pos x="7" y="46"/>
                </a:cxn>
                <a:cxn ang="0">
                  <a:pos x="9" y="51"/>
                </a:cxn>
                <a:cxn ang="0">
                  <a:pos x="11" y="53"/>
                </a:cxn>
                <a:cxn ang="0">
                  <a:pos x="15" y="57"/>
                </a:cxn>
                <a:cxn ang="0">
                  <a:pos x="15" y="68"/>
                </a:cxn>
                <a:cxn ang="0">
                  <a:pos x="21" y="70"/>
                </a:cxn>
                <a:cxn ang="0">
                  <a:pos x="26" y="76"/>
                </a:cxn>
                <a:cxn ang="0">
                  <a:pos x="26" y="79"/>
                </a:cxn>
                <a:cxn ang="0">
                  <a:pos x="30" y="81"/>
                </a:cxn>
              </a:cxnLst>
              <a:rect l="0" t="0" r="r" b="b"/>
              <a:pathLst>
                <a:path w="73" h="85">
                  <a:moveTo>
                    <a:pt x="30" y="81"/>
                  </a:moveTo>
                  <a:lnTo>
                    <a:pt x="30" y="81"/>
                  </a:lnTo>
                  <a:lnTo>
                    <a:pt x="32" y="81"/>
                  </a:lnTo>
                  <a:lnTo>
                    <a:pt x="32" y="83"/>
                  </a:lnTo>
                  <a:lnTo>
                    <a:pt x="36" y="85"/>
                  </a:lnTo>
                  <a:lnTo>
                    <a:pt x="39" y="85"/>
                  </a:lnTo>
                  <a:lnTo>
                    <a:pt x="39" y="83"/>
                  </a:lnTo>
                  <a:lnTo>
                    <a:pt x="39" y="79"/>
                  </a:lnTo>
                  <a:lnTo>
                    <a:pt x="39" y="76"/>
                  </a:lnTo>
                  <a:lnTo>
                    <a:pt x="36" y="74"/>
                  </a:lnTo>
                  <a:lnTo>
                    <a:pt x="36" y="70"/>
                  </a:lnTo>
                  <a:lnTo>
                    <a:pt x="39" y="68"/>
                  </a:lnTo>
                  <a:lnTo>
                    <a:pt x="41" y="70"/>
                  </a:lnTo>
                  <a:lnTo>
                    <a:pt x="51" y="70"/>
                  </a:lnTo>
                  <a:lnTo>
                    <a:pt x="54" y="68"/>
                  </a:lnTo>
                  <a:lnTo>
                    <a:pt x="60" y="68"/>
                  </a:lnTo>
                  <a:lnTo>
                    <a:pt x="64" y="70"/>
                  </a:lnTo>
                  <a:lnTo>
                    <a:pt x="66" y="70"/>
                  </a:lnTo>
                  <a:lnTo>
                    <a:pt x="69" y="68"/>
                  </a:lnTo>
                  <a:lnTo>
                    <a:pt x="73" y="64"/>
                  </a:lnTo>
                  <a:lnTo>
                    <a:pt x="69" y="62"/>
                  </a:lnTo>
                  <a:lnTo>
                    <a:pt x="69" y="57"/>
                  </a:lnTo>
                  <a:lnTo>
                    <a:pt x="73" y="53"/>
                  </a:lnTo>
                  <a:lnTo>
                    <a:pt x="73" y="51"/>
                  </a:lnTo>
                  <a:lnTo>
                    <a:pt x="73" y="49"/>
                  </a:lnTo>
                  <a:lnTo>
                    <a:pt x="73" y="46"/>
                  </a:lnTo>
                  <a:lnTo>
                    <a:pt x="69" y="44"/>
                  </a:lnTo>
                  <a:lnTo>
                    <a:pt x="69" y="38"/>
                  </a:lnTo>
                  <a:lnTo>
                    <a:pt x="66" y="36"/>
                  </a:lnTo>
                  <a:lnTo>
                    <a:pt x="66" y="34"/>
                  </a:lnTo>
                  <a:lnTo>
                    <a:pt x="66" y="30"/>
                  </a:lnTo>
                  <a:lnTo>
                    <a:pt x="66" y="25"/>
                  </a:lnTo>
                  <a:lnTo>
                    <a:pt x="66" y="21"/>
                  </a:lnTo>
                  <a:lnTo>
                    <a:pt x="66" y="17"/>
                  </a:lnTo>
                  <a:lnTo>
                    <a:pt x="69" y="15"/>
                  </a:lnTo>
                  <a:lnTo>
                    <a:pt x="69" y="15"/>
                  </a:lnTo>
                  <a:lnTo>
                    <a:pt x="73" y="10"/>
                  </a:lnTo>
                  <a:lnTo>
                    <a:pt x="73" y="8"/>
                  </a:lnTo>
                  <a:lnTo>
                    <a:pt x="69" y="6"/>
                  </a:lnTo>
                  <a:lnTo>
                    <a:pt x="60" y="4"/>
                  </a:lnTo>
                  <a:lnTo>
                    <a:pt x="54" y="0"/>
                  </a:lnTo>
                  <a:lnTo>
                    <a:pt x="53" y="4"/>
                  </a:lnTo>
                  <a:lnTo>
                    <a:pt x="49" y="4"/>
                  </a:lnTo>
                  <a:lnTo>
                    <a:pt x="45" y="4"/>
                  </a:lnTo>
                  <a:lnTo>
                    <a:pt x="36" y="4"/>
                  </a:lnTo>
                  <a:lnTo>
                    <a:pt x="30" y="4"/>
                  </a:lnTo>
                  <a:lnTo>
                    <a:pt x="22" y="4"/>
                  </a:lnTo>
                  <a:lnTo>
                    <a:pt x="17" y="4"/>
                  </a:lnTo>
                  <a:lnTo>
                    <a:pt x="17" y="8"/>
                  </a:lnTo>
                  <a:lnTo>
                    <a:pt x="17" y="10"/>
                  </a:lnTo>
                  <a:lnTo>
                    <a:pt x="15" y="14"/>
                  </a:lnTo>
                  <a:lnTo>
                    <a:pt x="15" y="15"/>
                  </a:lnTo>
                  <a:lnTo>
                    <a:pt x="15" y="19"/>
                  </a:lnTo>
                  <a:lnTo>
                    <a:pt x="11" y="21"/>
                  </a:lnTo>
                  <a:lnTo>
                    <a:pt x="5" y="21"/>
                  </a:lnTo>
                  <a:lnTo>
                    <a:pt x="4" y="25"/>
                  </a:lnTo>
                  <a:lnTo>
                    <a:pt x="4" y="30"/>
                  </a:lnTo>
                  <a:lnTo>
                    <a:pt x="0" y="36"/>
                  </a:lnTo>
                  <a:lnTo>
                    <a:pt x="0" y="40"/>
                  </a:lnTo>
                  <a:lnTo>
                    <a:pt x="4" y="44"/>
                  </a:lnTo>
                  <a:lnTo>
                    <a:pt x="5" y="44"/>
                  </a:lnTo>
                  <a:lnTo>
                    <a:pt x="7" y="46"/>
                  </a:lnTo>
                  <a:lnTo>
                    <a:pt x="9" y="49"/>
                  </a:lnTo>
                  <a:lnTo>
                    <a:pt x="9" y="51"/>
                  </a:lnTo>
                  <a:lnTo>
                    <a:pt x="11" y="53"/>
                  </a:lnTo>
                  <a:lnTo>
                    <a:pt x="11" y="53"/>
                  </a:lnTo>
                  <a:lnTo>
                    <a:pt x="15" y="55"/>
                  </a:lnTo>
                  <a:lnTo>
                    <a:pt x="15" y="57"/>
                  </a:lnTo>
                  <a:lnTo>
                    <a:pt x="15" y="64"/>
                  </a:lnTo>
                  <a:lnTo>
                    <a:pt x="15" y="68"/>
                  </a:lnTo>
                  <a:lnTo>
                    <a:pt x="17" y="68"/>
                  </a:lnTo>
                  <a:lnTo>
                    <a:pt x="21" y="70"/>
                  </a:lnTo>
                  <a:lnTo>
                    <a:pt x="21" y="74"/>
                  </a:lnTo>
                  <a:lnTo>
                    <a:pt x="26" y="76"/>
                  </a:lnTo>
                  <a:lnTo>
                    <a:pt x="26" y="79"/>
                  </a:lnTo>
                  <a:lnTo>
                    <a:pt x="26" y="79"/>
                  </a:lnTo>
                  <a:lnTo>
                    <a:pt x="30" y="81"/>
                  </a:lnTo>
                  <a:lnTo>
                    <a:pt x="30" y="81"/>
                  </a:lnTo>
                  <a:lnTo>
                    <a:pt x="30" y="8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0" name="Freeform 171">
              <a:extLst>
                <a:ext uri="{FF2B5EF4-FFF2-40B4-BE49-F238E27FC236}">
                  <a16:creationId xmlns:a16="http://schemas.microsoft.com/office/drawing/2014/main" id="{2358A5A2-0A1B-5944-B017-6E30F459D38D}"/>
                </a:ext>
              </a:extLst>
            </p:cNvPr>
            <p:cNvSpPr>
              <a:spLocks/>
            </p:cNvSpPr>
            <p:nvPr/>
          </p:nvSpPr>
          <p:spPr bwMode="auto">
            <a:xfrm>
              <a:off x="5172953" y="2868588"/>
              <a:ext cx="80214" cy="105081"/>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1" name="Freeform 172">
              <a:extLst>
                <a:ext uri="{FF2B5EF4-FFF2-40B4-BE49-F238E27FC236}">
                  <a16:creationId xmlns:a16="http://schemas.microsoft.com/office/drawing/2014/main" id="{D7925113-D3EE-AC46-A055-193153D66DF5}"/>
                </a:ext>
              </a:extLst>
            </p:cNvPr>
            <p:cNvSpPr>
              <a:spLocks/>
            </p:cNvSpPr>
            <p:nvPr/>
          </p:nvSpPr>
          <p:spPr bwMode="auto">
            <a:xfrm>
              <a:off x="5172953" y="2868588"/>
              <a:ext cx="80214" cy="105081"/>
            </a:xfrm>
            <a:custGeom>
              <a:avLst/>
              <a:gdLst/>
              <a:ahLst/>
              <a:cxnLst>
                <a:cxn ang="0">
                  <a:pos x="15" y="60"/>
                </a:cxn>
                <a:cxn ang="0">
                  <a:pos x="19" y="60"/>
                </a:cxn>
                <a:cxn ang="0">
                  <a:pos x="26" y="64"/>
                </a:cxn>
                <a:cxn ang="0">
                  <a:pos x="22" y="71"/>
                </a:cxn>
                <a:cxn ang="0">
                  <a:pos x="24" y="75"/>
                </a:cxn>
                <a:cxn ang="0">
                  <a:pos x="30" y="79"/>
                </a:cxn>
                <a:cxn ang="0">
                  <a:pos x="34" y="81"/>
                </a:cxn>
                <a:cxn ang="0">
                  <a:pos x="30" y="87"/>
                </a:cxn>
                <a:cxn ang="0">
                  <a:pos x="28" y="98"/>
                </a:cxn>
                <a:cxn ang="0">
                  <a:pos x="26" y="105"/>
                </a:cxn>
                <a:cxn ang="0">
                  <a:pos x="26" y="109"/>
                </a:cxn>
                <a:cxn ang="0">
                  <a:pos x="26" y="115"/>
                </a:cxn>
                <a:cxn ang="0">
                  <a:pos x="34" y="122"/>
                </a:cxn>
                <a:cxn ang="0">
                  <a:pos x="35" y="130"/>
                </a:cxn>
                <a:cxn ang="0">
                  <a:pos x="45" y="137"/>
                </a:cxn>
                <a:cxn ang="0">
                  <a:pos x="51" y="134"/>
                </a:cxn>
                <a:cxn ang="0">
                  <a:pos x="56" y="134"/>
                </a:cxn>
                <a:cxn ang="0">
                  <a:pos x="60" y="130"/>
                </a:cxn>
                <a:cxn ang="0">
                  <a:pos x="69" y="128"/>
                </a:cxn>
                <a:cxn ang="0">
                  <a:pos x="79" y="120"/>
                </a:cxn>
                <a:cxn ang="0">
                  <a:pos x="83" y="122"/>
                </a:cxn>
                <a:cxn ang="0">
                  <a:pos x="94" y="120"/>
                </a:cxn>
                <a:cxn ang="0">
                  <a:pos x="90" y="119"/>
                </a:cxn>
                <a:cxn ang="0">
                  <a:pos x="84" y="115"/>
                </a:cxn>
                <a:cxn ang="0">
                  <a:pos x="81" y="107"/>
                </a:cxn>
                <a:cxn ang="0">
                  <a:pos x="79" y="103"/>
                </a:cxn>
                <a:cxn ang="0">
                  <a:pos x="79" y="94"/>
                </a:cxn>
                <a:cxn ang="0">
                  <a:pos x="73" y="94"/>
                </a:cxn>
                <a:cxn ang="0">
                  <a:pos x="73" y="90"/>
                </a:cxn>
                <a:cxn ang="0">
                  <a:pos x="69" y="85"/>
                </a:cxn>
                <a:cxn ang="0">
                  <a:pos x="64" y="81"/>
                </a:cxn>
                <a:cxn ang="0">
                  <a:pos x="67" y="71"/>
                </a:cxn>
                <a:cxn ang="0">
                  <a:pos x="69" y="62"/>
                </a:cxn>
                <a:cxn ang="0">
                  <a:pos x="79" y="60"/>
                </a:cxn>
                <a:cxn ang="0">
                  <a:pos x="79" y="55"/>
                </a:cxn>
                <a:cxn ang="0">
                  <a:pos x="81" y="51"/>
                </a:cxn>
                <a:cxn ang="0">
                  <a:pos x="79" y="47"/>
                </a:cxn>
                <a:cxn ang="0">
                  <a:pos x="79" y="39"/>
                </a:cxn>
                <a:cxn ang="0">
                  <a:pos x="66" y="32"/>
                </a:cxn>
                <a:cxn ang="0">
                  <a:pos x="60" y="32"/>
                </a:cxn>
                <a:cxn ang="0">
                  <a:pos x="52" y="36"/>
                </a:cxn>
                <a:cxn ang="0">
                  <a:pos x="51" y="36"/>
                </a:cxn>
                <a:cxn ang="0">
                  <a:pos x="52" y="24"/>
                </a:cxn>
                <a:cxn ang="0">
                  <a:pos x="49" y="17"/>
                </a:cxn>
                <a:cxn ang="0">
                  <a:pos x="35" y="7"/>
                </a:cxn>
                <a:cxn ang="0">
                  <a:pos x="34" y="2"/>
                </a:cxn>
                <a:cxn ang="0">
                  <a:pos x="28" y="0"/>
                </a:cxn>
                <a:cxn ang="0">
                  <a:pos x="22" y="7"/>
                </a:cxn>
                <a:cxn ang="0">
                  <a:pos x="15" y="11"/>
                </a:cxn>
                <a:cxn ang="0">
                  <a:pos x="11" y="19"/>
                </a:cxn>
                <a:cxn ang="0">
                  <a:pos x="17" y="22"/>
                </a:cxn>
                <a:cxn ang="0">
                  <a:pos x="20" y="28"/>
                </a:cxn>
                <a:cxn ang="0">
                  <a:pos x="11" y="32"/>
                </a:cxn>
                <a:cxn ang="0">
                  <a:pos x="5" y="32"/>
                </a:cxn>
                <a:cxn ang="0">
                  <a:pos x="3" y="39"/>
                </a:cxn>
                <a:cxn ang="0">
                  <a:pos x="0" y="47"/>
                </a:cxn>
                <a:cxn ang="0">
                  <a:pos x="13" y="58"/>
                </a:cxn>
                <a:cxn ang="0">
                  <a:pos x="13" y="60"/>
                </a:cxn>
              </a:cxnLst>
              <a:rect l="0" t="0" r="r" b="b"/>
              <a:pathLst>
                <a:path w="94" h="137">
                  <a:moveTo>
                    <a:pt x="13" y="60"/>
                  </a:moveTo>
                  <a:lnTo>
                    <a:pt x="15" y="60"/>
                  </a:lnTo>
                  <a:lnTo>
                    <a:pt x="15" y="62"/>
                  </a:lnTo>
                  <a:lnTo>
                    <a:pt x="19" y="60"/>
                  </a:lnTo>
                  <a:lnTo>
                    <a:pt x="22" y="60"/>
                  </a:lnTo>
                  <a:lnTo>
                    <a:pt x="26" y="64"/>
                  </a:lnTo>
                  <a:lnTo>
                    <a:pt x="26" y="70"/>
                  </a:lnTo>
                  <a:lnTo>
                    <a:pt x="22" y="71"/>
                  </a:lnTo>
                  <a:lnTo>
                    <a:pt x="20" y="75"/>
                  </a:lnTo>
                  <a:lnTo>
                    <a:pt x="24" y="75"/>
                  </a:lnTo>
                  <a:lnTo>
                    <a:pt x="28" y="75"/>
                  </a:lnTo>
                  <a:lnTo>
                    <a:pt x="30" y="79"/>
                  </a:lnTo>
                  <a:lnTo>
                    <a:pt x="30" y="81"/>
                  </a:lnTo>
                  <a:lnTo>
                    <a:pt x="34" y="81"/>
                  </a:lnTo>
                  <a:lnTo>
                    <a:pt x="34" y="83"/>
                  </a:lnTo>
                  <a:lnTo>
                    <a:pt x="30" y="87"/>
                  </a:lnTo>
                  <a:lnTo>
                    <a:pt x="30" y="90"/>
                  </a:lnTo>
                  <a:lnTo>
                    <a:pt x="28" y="98"/>
                  </a:lnTo>
                  <a:lnTo>
                    <a:pt x="28" y="102"/>
                  </a:lnTo>
                  <a:lnTo>
                    <a:pt x="26" y="105"/>
                  </a:lnTo>
                  <a:lnTo>
                    <a:pt x="26" y="109"/>
                  </a:lnTo>
                  <a:lnTo>
                    <a:pt x="26" y="109"/>
                  </a:lnTo>
                  <a:lnTo>
                    <a:pt x="26" y="113"/>
                  </a:lnTo>
                  <a:lnTo>
                    <a:pt x="26" y="115"/>
                  </a:lnTo>
                  <a:lnTo>
                    <a:pt x="30" y="119"/>
                  </a:lnTo>
                  <a:lnTo>
                    <a:pt x="34" y="122"/>
                  </a:lnTo>
                  <a:lnTo>
                    <a:pt x="34" y="126"/>
                  </a:lnTo>
                  <a:lnTo>
                    <a:pt x="35" y="130"/>
                  </a:lnTo>
                  <a:lnTo>
                    <a:pt x="43" y="134"/>
                  </a:lnTo>
                  <a:lnTo>
                    <a:pt x="45" y="137"/>
                  </a:lnTo>
                  <a:lnTo>
                    <a:pt x="49" y="134"/>
                  </a:lnTo>
                  <a:lnTo>
                    <a:pt x="51" y="134"/>
                  </a:lnTo>
                  <a:lnTo>
                    <a:pt x="51" y="134"/>
                  </a:lnTo>
                  <a:lnTo>
                    <a:pt x="56" y="134"/>
                  </a:lnTo>
                  <a:lnTo>
                    <a:pt x="58" y="132"/>
                  </a:lnTo>
                  <a:lnTo>
                    <a:pt x="60" y="130"/>
                  </a:lnTo>
                  <a:lnTo>
                    <a:pt x="64" y="128"/>
                  </a:lnTo>
                  <a:lnTo>
                    <a:pt x="69" y="128"/>
                  </a:lnTo>
                  <a:lnTo>
                    <a:pt x="73" y="122"/>
                  </a:lnTo>
                  <a:lnTo>
                    <a:pt x="79" y="120"/>
                  </a:lnTo>
                  <a:lnTo>
                    <a:pt x="83" y="120"/>
                  </a:lnTo>
                  <a:lnTo>
                    <a:pt x="83" y="122"/>
                  </a:lnTo>
                  <a:lnTo>
                    <a:pt x="86" y="120"/>
                  </a:lnTo>
                  <a:lnTo>
                    <a:pt x="94" y="120"/>
                  </a:lnTo>
                  <a:lnTo>
                    <a:pt x="90" y="119"/>
                  </a:lnTo>
                  <a:lnTo>
                    <a:pt x="90" y="119"/>
                  </a:lnTo>
                  <a:lnTo>
                    <a:pt x="90" y="115"/>
                  </a:lnTo>
                  <a:lnTo>
                    <a:pt x="84" y="115"/>
                  </a:lnTo>
                  <a:lnTo>
                    <a:pt x="84" y="109"/>
                  </a:lnTo>
                  <a:lnTo>
                    <a:pt x="81" y="107"/>
                  </a:lnTo>
                  <a:lnTo>
                    <a:pt x="79" y="107"/>
                  </a:lnTo>
                  <a:lnTo>
                    <a:pt x="79" y="103"/>
                  </a:lnTo>
                  <a:lnTo>
                    <a:pt x="79" y="96"/>
                  </a:lnTo>
                  <a:lnTo>
                    <a:pt x="79" y="94"/>
                  </a:lnTo>
                  <a:lnTo>
                    <a:pt x="75" y="94"/>
                  </a:lnTo>
                  <a:lnTo>
                    <a:pt x="73" y="94"/>
                  </a:lnTo>
                  <a:lnTo>
                    <a:pt x="73" y="90"/>
                  </a:lnTo>
                  <a:lnTo>
                    <a:pt x="73" y="90"/>
                  </a:lnTo>
                  <a:lnTo>
                    <a:pt x="69" y="87"/>
                  </a:lnTo>
                  <a:lnTo>
                    <a:pt x="69" y="85"/>
                  </a:lnTo>
                  <a:lnTo>
                    <a:pt x="67" y="83"/>
                  </a:lnTo>
                  <a:lnTo>
                    <a:pt x="64" y="81"/>
                  </a:lnTo>
                  <a:lnTo>
                    <a:pt x="64" y="77"/>
                  </a:lnTo>
                  <a:lnTo>
                    <a:pt x="67" y="71"/>
                  </a:lnTo>
                  <a:lnTo>
                    <a:pt x="67" y="66"/>
                  </a:lnTo>
                  <a:lnTo>
                    <a:pt x="69" y="62"/>
                  </a:lnTo>
                  <a:lnTo>
                    <a:pt x="73" y="62"/>
                  </a:lnTo>
                  <a:lnTo>
                    <a:pt x="79" y="60"/>
                  </a:lnTo>
                  <a:lnTo>
                    <a:pt x="79" y="56"/>
                  </a:lnTo>
                  <a:lnTo>
                    <a:pt x="79" y="55"/>
                  </a:lnTo>
                  <a:lnTo>
                    <a:pt x="81" y="51"/>
                  </a:lnTo>
                  <a:lnTo>
                    <a:pt x="81" y="51"/>
                  </a:lnTo>
                  <a:lnTo>
                    <a:pt x="79" y="51"/>
                  </a:lnTo>
                  <a:lnTo>
                    <a:pt x="79" y="47"/>
                  </a:lnTo>
                  <a:lnTo>
                    <a:pt x="79" y="43"/>
                  </a:lnTo>
                  <a:lnTo>
                    <a:pt x="79" y="39"/>
                  </a:lnTo>
                  <a:lnTo>
                    <a:pt x="69" y="38"/>
                  </a:lnTo>
                  <a:lnTo>
                    <a:pt x="66" y="32"/>
                  </a:lnTo>
                  <a:lnTo>
                    <a:pt x="60" y="28"/>
                  </a:lnTo>
                  <a:lnTo>
                    <a:pt x="60" y="32"/>
                  </a:lnTo>
                  <a:lnTo>
                    <a:pt x="56" y="32"/>
                  </a:lnTo>
                  <a:lnTo>
                    <a:pt x="52" y="36"/>
                  </a:lnTo>
                  <a:lnTo>
                    <a:pt x="52" y="38"/>
                  </a:lnTo>
                  <a:lnTo>
                    <a:pt x="51" y="36"/>
                  </a:lnTo>
                  <a:lnTo>
                    <a:pt x="52" y="28"/>
                  </a:lnTo>
                  <a:lnTo>
                    <a:pt x="52" y="24"/>
                  </a:lnTo>
                  <a:lnTo>
                    <a:pt x="51" y="19"/>
                  </a:lnTo>
                  <a:lnTo>
                    <a:pt x="49" y="17"/>
                  </a:lnTo>
                  <a:lnTo>
                    <a:pt x="41" y="11"/>
                  </a:lnTo>
                  <a:lnTo>
                    <a:pt x="35" y="7"/>
                  </a:lnTo>
                  <a:lnTo>
                    <a:pt x="35" y="4"/>
                  </a:lnTo>
                  <a:lnTo>
                    <a:pt x="34" y="2"/>
                  </a:lnTo>
                  <a:lnTo>
                    <a:pt x="30" y="0"/>
                  </a:lnTo>
                  <a:lnTo>
                    <a:pt x="28" y="0"/>
                  </a:lnTo>
                  <a:lnTo>
                    <a:pt x="28" y="2"/>
                  </a:lnTo>
                  <a:lnTo>
                    <a:pt x="22" y="7"/>
                  </a:lnTo>
                  <a:lnTo>
                    <a:pt x="19" y="11"/>
                  </a:lnTo>
                  <a:lnTo>
                    <a:pt x="15" y="11"/>
                  </a:lnTo>
                  <a:lnTo>
                    <a:pt x="9" y="15"/>
                  </a:lnTo>
                  <a:lnTo>
                    <a:pt x="11" y="19"/>
                  </a:lnTo>
                  <a:lnTo>
                    <a:pt x="13" y="22"/>
                  </a:lnTo>
                  <a:lnTo>
                    <a:pt x="17" y="22"/>
                  </a:lnTo>
                  <a:lnTo>
                    <a:pt x="20" y="26"/>
                  </a:lnTo>
                  <a:lnTo>
                    <a:pt x="20" y="28"/>
                  </a:lnTo>
                  <a:lnTo>
                    <a:pt x="15" y="32"/>
                  </a:lnTo>
                  <a:lnTo>
                    <a:pt x="11" y="32"/>
                  </a:lnTo>
                  <a:lnTo>
                    <a:pt x="9" y="32"/>
                  </a:lnTo>
                  <a:lnTo>
                    <a:pt x="5" y="32"/>
                  </a:lnTo>
                  <a:lnTo>
                    <a:pt x="3" y="36"/>
                  </a:lnTo>
                  <a:lnTo>
                    <a:pt x="3" y="39"/>
                  </a:lnTo>
                  <a:lnTo>
                    <a:pt x="0" y="43"/>
                  </a:lnTo>
                  <a:lnTo>
                    <a:pt x="0" y="47"/>
                  </a:lnTo>
                  <a:lnTo>
                    <a:pt x="5" y="53"/>
                  </a:lnTo>
                  <a:lnTo>
                    <a:pt x="13" y="58"/>
                  </a:lnTo>
                  <a:lnTo>
                    <a:pt x="13" y="60"/>
                  </a:lnTo>
                  <a:lnTo>
                    <a:pt x="13" y="60"/>
                  </a:lnTo>
                  <a:lnTo>
                    <a:pt x="13" y="6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2" name="Freeform 173">
              <a:extLst>
                <a:ext uri="{FF2B5EF4-FFF2-40B4-BE49-F238E27FC236}">
                  <a16:creationId xmlns:a16="http://schemas.microsoft.com/office/drawing/2014/main" id="{3F18F5F3-3B59-D948-8E6E-0EB5B34E4934}"/>
                </a:ext>
              </a:extLst>
            </p:cNvPr>
            <p:cNvSpPr>
              <a:spLocks noEditPoints="1"/>
            </p:cNvSpPr>
            <p:nvPr/>
          </p:nvSpPr>
          <p:spPr bwMode="auto">
            <a:xfrm>
              <a:off x="4983511" y="2807994"/>
              <a:ext cx="211627" cy="173345"/>
            </a:xfrm>
            <a:custGeom>
              <a:avLst/>
              <a:gdLst/>
              <a:ahLst/>
              <a:cxnLst>
                <a:cxn ang="0">
                  <a:pos x="139" y="226"/>
                </a:cxn>
                <a:cxn ang="0">
                  <a:pos x="165" y="203"/>
                </a:cxn>
                <a:cxn ang="0">
                  <a:pos x="175" y="194"/>
                </a:cxn>
                <a:cxn ang="0">
                  <a:pos x="165" y="171"/>
                </a:cxn>
                <a:cxn ang="0">
                  <a:pos x="160" y="160"/>
                </a:cxn>
                <a:cxn ang="0">
                  <a:pos x="186" y="164"/>
                </a:cxn>
                <a:cxn ang="0">
                  <a:pos x="214" y="154"/>
                </a:cxn>
                <a:cxn ang="0">
                  <a:pos x="225" y="132"/>
                </a:cxn>
                <a:cxn ang="0">
                  <a:pos x="225" y="109"/>
                </a:cxn>
                <a:cxn ang="0">
                  <a:pos x="239" y="103"/>
                </a:cxn>
                <a:cxn ang="0">
                  <a:pos x="235" y="88"/>
                </a:cxn>
                <a:cxn ang="0">
                  <a:pos x="248" y="75"/>
                </a:cxn>
                <a:cxn ang="0">
                  <a:pos x="227" y="73"/>
                </a:cxn>
                <a:cxn ang="0">
                  <a:pos x="218" y="73"/>
                </a:cxn>
                <a:cxn ang="0">
                  <a:pos x="227" y="64"/>
                </a:cxn>
                <a:cxn ang="0">
                  <a:pos x="214" y="54"/>
                </a:cxn>
                <a:cxn ang="0">
                  <a:pos x="201" y="47"/>
                </a:cxn>
                <a:cxn ang="0">
                  <a:pos x="190" y="41"/>
                </a:cxn>
                <a:cxn ang="0">
                  <a:pos x="209" y="36"/>
                </a:cxn>
                <a:cxn ang="0">
                  <a:pos x="186" y="32"/>
                </a:cxn>
                <a:cxn ang="0">
                  <a:pos x="161" y="39"/>
                </a:cxn>
                <a:cxn ang="0">
                  <a:pos x="146" y="45"/>
                </a:cxn>
                <a:cxn ang="0">
                  <a:pos x="107" y="39"/>
                </a:cxn>
                <a:cxn ang="0">
                  <a:pos x="97" y="32"/>
                </a:cxn>
                <a:cxn ang="0">
                  <a:pos x="77" y="20"/>
                </a:cxn>
                <a:cxn ang="0">
                  <a:pos x="67" y="5"/>
                </a:cxn>
                <a:cxn ang="0">
                  <a:pos x="56" y="19"/>
                </a:cxn>
                <a:cxn ang="0">
                  <a:pos x="64" y="24"/>
                </a:cxn>
                <a:cxn ang="0">
                  <a:pos x="52" y="26"/>
                </a:cxn>
                <a:cxn ang="0">
                  <a:pos x="35" y="39"/>
                </a:cxn>
                <a:cxn ang="0">
                  <a:pos x="30" y="66"/>
                </a:cxn>
                <a:cxn ang="0">
                  <a:pos x="24" y="51"/>
                </a:cxn>
                <a:cxn ang="0">
                  <a:pos x="30" y="30"/>
                </a:cxn>
                <a:cxn ang="0">
                  <a:pos x="30" y="17"/>
                </a:cxn>
                <a:cxn ang="0">
                  <a:pos x="26" y="17"/>
                </a:cxn>
                <a:cxn ang="0">
                  <a:pos x="11" y="34"/>
                </a:cxn>
                <a:cxn ang="0">
                  <a:pos x="1" y="60"/>
                </a:cxn>
                <a:cxn ang="0">
                  <a:pos x="18" y="83"/>
                </a:cxn>
                <a:cxn ang="0">
                  <a:pos x="17" y="96"/>
                </a:cxn>
                <a:cxn ang="0">
                  <a:pos x="35" y="103"/>
                </a:cxn>
                <a:cxn ang="0">
                  <a:pos x="56" y="103"/>
                </a:cxn>
                <a:cxn ang="0">
                  <a:pos x="81" y="120"/>
                </a:cxn>
                <a:cxn ang="0">
                  <a:pos x="101" y="120"/>
                </a:cxn>
                <a:cxn ang="0">
                  <a:pos x="107" y="130"/>
                </a:cxn>
                <a:cxn ang="0">
                  <a:pos x="101" y="147"/>
                </a:cxn>
                <a:cxn ang="0">
                  <a:pos x="101" y="164"/>
                </a:cxn>
                <a:cxn ang="0">
                  <a:pos x="105" y="188"/>
                </a:cxn>
                <a:cxn ang="0">
                  <a:pos x="107" y="199"/>
                </a:cxn>
                <a:cxn ang="0">
                  <a:pos x="114" y="216"/>
                </a:cxn>
                <a:cxn ang="0">
                  <a:pos x="97" y="7"/>
                </a:cxn>
                <a:cxn ang="0">
                  <a:pos x="90" y="4"/>
                </a:cxn>
                <a:cxn ang="0">
                  <a:pos x="84" y="5"/>
                </a:cxn>
                <a:cxn ang="0">
                  <a:pos x="77" y="2"/>
                </a:cxn>
                <a:cxn ang="0">
                  <a:pos x="65" y="0"/>
                </a:cxn>
                <a:cxn ang="0">
                  <a:pos x="60" y="0"/>
                </a:cxn>
                <a:cxn ang="0">
                  <a:pos x="177" y="26"/>
                </a:cxn>
                <a:cxn ang="0">
                  <a:pos x="163" y="30"/>
                </a:cxn>
              </a:cxnLst>
              <a:rect l="0" t="0" r="r" b="b"/>
              <a:pathLst>
                <a:path w="248" h="226">
                  <a:moveTo>
                    <a:pt x="114" y="216"/>
                  </a:moveTo>
                  <a:lnTo>
                    <a:pt x="122" y="220"/>
                  </a:lnTo>
                  <a:lnTo>
                    <a:pt x="129" y="226"/>
                  </a:lnTo>
                  <a:lnTo>
                    <a:pt x="131" y="226"/>
                  </a:lnTo>
                  <a:lnTo>
                    <a:pt x="139" y="226"/>
                  </a:lnTo>
                  <a:lnTo>
                    <a:pt x="145" y="220"/>
                  </a:lnTo>
                  <a:lnTo>
                    <a:pt x="152" y="218"/>
                  </a:lnTo>
                  <a:lnTo>
                    <a:pt x="154" y="215"/>
                  </a:lnTo>
                  <a:lnTo>
                    <a:pt x="163" y="209"/>
                  </a:lnTo>
                  <a:lnTo>
                    <a:pt x="165" y="203"/>
                  </a:lnTo>
                  <a:lnTo>
                    <a:pt x="167" y="199"/>
                  </a:lnTo>
                  <a:lnTo>
                    <a:pt x="177" y="199"/>
                  </a:lnTo>
                  <a:lnTo>
                    <a:pt x="180" y="196"/>
                  </a:lnTo>
                  <a:lnTo>
                    <a:pt x="180" y="194"/>
                  </a:lnTo>
                  <a:lnTo>
                    <a:pt x="175" y="194"/>
                  </a:lnTo>
                  <a:lnTo>
                    <a:pt x="169" y="194"/>
                  </a:lnTo>
                  <a:lnTo>
                    <a:pt x="160" y="190"/>
                  </a:lnTo>
                  <a:lnTo>
                    <a:pt x="161" y="184"/>
                  </a:lnTo>
                  <a:lnTo>
                    <a:pt x="160" y="181"/>
                  </a:lnTo>
                  <a:lnTo>
                    <a:pt x="165" y="171"/>
                  </a:lnTo>
                  <a:lnTo>
                    <a:pt x="163" y="169"/>
                  </a:lnTo>
                  <a:lnTo>
                    <a:pt x="160" y="164"/>
                  </a:lnTo>
                  <a:lnTo>
                    <a:pt x="156" y="164"/>
                  </a:lnTo>
                  <a:lnTo>
                    <a:pt x="154" y="160"/>
                  </a:lnTo>
                  <a:lnTo>
                    <a:pt x="160" y="160"/>
                  </a:lnTo>
                  <a:lnTo>
                    <a:pt x="163" y="160"/>
                  </a:lnTo>
                  <a:lnTo>
                    <a:pt x="169" y="164"/>
                  </a:lnTo>
                  <a:lnTo>
                    <a:pt x="177" y="164"/>
                  </a:lnTo>
                  <a:lnTo>
                    <a:pt x="184" y="164"/>
                  </a:lnTo>
                  <a:lnTo>
                    <a:pt x="186" y="164"/>
                  </a:lnTo>
                  <a:lnTo>
                    <a:pt x="193" y="164"/>
                  </a:lnTo>
                  <a:lnTo>
                    <a:pt x="199" y="156"/>
                  </a:lnTo>
                  <a:lnTo>
                    <a:pt x="205" y="156"/>
                  </a:lnTo>
                  <a:lnTo>
                    <a:pt x="205" y="156"/>
                  </a:lnTo>
                  <a:lnTo>
                    <a:pt x="214" y="154"/>
                  </a:lnTo>
                  <a:lnTo>
                    <a:pt x="220" y="154"/>
                  </a:lnTo>
                  <a:lnTo>
                    <a:pt x="231" y="147"/>
                  </a:lnTo>
                  <a:lnTo>
                    <a:pt x="233" y="143"/>
                  </a:lnTo>
                  <a:lnTo>
                    <a:pt x="233" y="139"/>
                  </a:lnTo>
                  <a:lnTo>
                    <a:pt x="225" y="132"/>
                  </a:lnTo>
                  <a:lnTo>
                    <a:pt x="220" y="126"/>
                  </a:lnTo>
                  <a:lnTo>
                    <a:pt x="218" y="120"/>
                  </a:lnTo>
                  <a:lnTo>
                    <a:pt x="222" y="118"/>
                  </a:lnTo>
                  <a:lnTo>
                    <a:pt x="222" y="113"/>
                  </a:lnTo>
                  <a:lnTo>
                    <a:pt x="225" y="109"/>
                  </a:lnTo>
                  <a:lnTo>
                    <a:pt x="229" y="111"/>
                  </a:lnTo>
                  <a:lnTo>
                    <a:pt x="231" y="109"/>
                  </a:lnTo>
                  <a:lnTo>
                    <a:pt x="235" y="111"/>
                  </a:lnTo>
                  <a:lnTo>
                    <a:pt x="239" y="107"/>
                  </a:lnTo>
                  <a:lnTo>
                    <a:pt x="239" y="103"/>
                  </a:lnTo>
                  <a:lnTo>
                    <a:pt x="235" y="100"/>
                  </a:lnTo>
                  <a:lnTo>
                    <a:pt x="233" y="100"/>
                  </a:lnTo>
                  <a:lnTo>
                    <a:pt x="231" y="96"/>
                  </a:lnTo>
                  <a:lnTo>
                    <a:pt x="229" y="94"/>
                  </a:lnTo>
                  <a:lnTo>
                    <a:pt x="235" y="88"/>
                  </a:lnTo>
                  <a:lnTo>
                    <a:pt x="239" y="88"/>
                  </a:lnTo>
                  <a:lnTo>
                    <a:pt x="242" y="85"/>
                  </a:lnTo>
                  <a:lnTo>
                    <a:pt x="248" y="79"/>
                  </a:lnTo>
                  <a:lnTo>
                    <a:pt x="248" y="77"/>
                  </a:lnTo>
                  <a:lnTo>
                    <a:pt x="248" y="75"/>
                  </a:lnTo>
                  <a:lnTo>
                    <a:pt x="239" y="73"/>
                  </a:lnTo>
                  <a:lnTo>
                    <a:pt x="235" y="73"/>
                  </a:lnTo>
                  <a:lnTo>
                    <a:pt x="235" y="73"/>
                  </a:lnTo>
                  <a:lnTo>
                    <a:pt x="231" y="73"/>
                  </a:lnTo>
                  <a:lnTo>
                    <a:pt x="227" y="73"/>
                  </a:lnTo>
                  <a:lnTo>
                    <a:pt x="225" y="73"/>
                  </a:lnTo>
                  <a:lnTo>
                    <a:pt x="218" y="75"/>
                  </a:lnTo>
                  <a:lnTo>
                    <a:pt x="214" y="75"/>
                  </a:lnTo>
                  <a:lnTo>
                    <a:pt x="214" y="75"/>
                  </a:lnTo>
                  <a:lnTo>
                    <a:pt x="218" y="73"/>
                  </a:lnTo>
                  <a:lnTo>
                    <a:pt x="218" y="73"/>
                  </a:lnTo>
                  <a:lnTo>
                    <a:pt x="222" y="71"/>
                  </a:lnTo>
                  <a:lnTo>
                    <a:pt x="224" y="69"/>
                  </a:lnTo>
                  <a:lnTo>
                    <a:pt x="227" y="66"/>
                  </a:lnTo>
                  <a:lnTo>
                    <a:pt x="227" y="64"/>
                  </a:lnTo>
                  <a:lnTo>
                    <a:pt x="225" y="62"/>
                  </a:lnTo>
                  <a:lnTo>
                    <a:pt x="225" y="60"/>
                  </a:lnTo>
                  <a:lnTo>
                    <a:pt x="224" y="60"/>
                  </a:lnTo>
                  <a:lnTo>
                    <a:pt x="218" y="56"/>
                  </a:lnTo>
                  <a:lnTo>
                    <a:pt x="214" y="54"/>
                  </a:lnTo>
                  <a:lnTo>
                    <a:pt x="210" y="51"/>
                  </a:lnTo>
                  <a:lnTo>
                    <a:pt x="210" y="51"/>
                  </a:lnTo>
                  <a:lnTo>
                    <a:pt x="205" y="51"/>
                  </a:lnTo>
                  <a:lnTo>
                    <a:pt x="205" y="49"/>
                  </a:lnTo>
                  <a:lnTo>
                    <a:pt x="201" y="47"/>
                  </a:lnTo>
                  <a:lnTo>
                    <a:pt x="199" y="47"/>
                  </a:lnTo>
                  <a:lnTo>
                    <a:pt x="199" y="51"/>
                  </a:lnTo>
                  <a:lnTo>
                    <a:pt x="195" y="47"/>
                  </a:lnTo>
                  <a:lnTo>
                    <a:pt x="195" y="43"/>
                  </a:lnTo>
                  <a:lnTo>
                    <a:pt x="190" y="41"/>
                  </a:lnTo>
                  <a:lnTo>
                    <a:pt x="190" y="39"/>
                  </a:lnTo>
                  <a:lnTo>
                    <a:pt x="193" y="37"/>
                  </a:lnTo>
                  <a:lnTo>
                    <a:pt x="201" y="37"/>
                  </a:lnTo>
                  <a:lnTo>
                    <a:pt x="203" y="36"/>
                  </a:lnTo>
                  <a:lnTo>
                    <a:pt x="209" y="36"/>
                  </a:lnTo>
                  <a:lnTo>
                    <a:pt x="210" y="32"/>
                  </a:lnTo>
                  <a:lnTo>
                    <a:pt x="205" y="34"/>
                  </a:lnTo>
                  <a:lnTo>
                    <a:pt x="195" y="32"/>
                  </a:lnTo>
                  <a:lnTo>
                    <a:pt x="190" y="32"/>
                  </a:lnTo>
                  <a:lnTo>
                    <a:pt x="186" y="32"/>
                  </a:lnTo>
                  <a:lnTo>
                    <a:pt x="178" y="36"/>
                  </a:lnTo>
                  <a:lnTo>
                    <a:pt x="175" y="34"/>
                  </a:lnTo>
                  <a:lnTo>
                    <a:pt x="171" y="34"/>
                  </a:lnTo>
                  <a:lnTo>
                    <a:pt x="165" y="39"/>
                  </a:lnTo>
                  <a:lnTo>
                    <a:pt x="161" y="39"/>
                  </a:lnTo>
                  <a:lnTo>
                    <a:pt x="156" y="43"/>
                  </a:lnTo>
                  <a:lnTo>
                    <a:pt x="156" y="45"/>
                  </a:lnTo>
                  <a:lnTo>
                    <a:pt x="150" y="45"/>
                  </a:lnTo>
                  <a:lnTo>
                    <a:pt x="148" y="47"/>
                  </a:lnTo>
                  <a:lnTo>
                    <a:pt x="146" y="45"/>
                  </a:lnTo>
                  <a:lnTo>
                    <a:pt x="137" y="39"/>
                  </a:lnTo>
                  <a:lnTo>
                    <a:pt x="135" y="36"/>
                  </a:lnTo>
                  <a:lnTo>
                    <a:pt x="135" y="36"/>
                  </a:lnTo>
                  <a:lnTo>
                    <a:pt x="126" y="36"/>
                  </a:lnTo>
                  <a:lnTo>
                    <a:pt x="107" y="39"/>
                  </a:lnTo>
                  <a:lnTo>
                    <a:pt x="99" y="39"/>
                  </a:lnTo>
                  <a:lnTo>
                    <a:pt x="96" y="37"/>
                  </a:lnTo>
                  <a:lnTo>
                    <a:pt x="94" y="36"/>
                  </a:lnTo>
                  <a:lnTo>
                    <a:pt x="94" y="32"/>
                  </a:lnTo>
                  <a:lnTo>
                    <a:pt x="97" y="32"/>
                  </a:lnTo>
                  <a:lnTo>
                    <a:pt x="96" y="30"/>
                  </a:lnTo>
                  <a:lnTo>
                    <a:pt x="92" y="24"/>
                  </a:lnTo>
                  <a:lnTo>
                    <a:pt x="88" y="20"/>
                  </a:lnTo>
                  <a:lnTo>
                    <a:pt x="81" y="24"/>
                  </a:lnTo>
                  <a:lnTo>
                    <a:pt x="77" y="20"/>
                  </a:lnTo>
                  <a:lnTo>
                    <a:pt x="73" y="20"/>
                  </a:lnTo>
                  <a:lnTo>
                    <a:pt x="71" y="20"/>
                  </a:lnTo>
                  <a:lnTo>
                    <a:pt x="67" y="17"/>
                  </a:lnTo>
                  <a:lnTo>
                    <a:pt x="67" y="11"/>
                  </a:lnTo>
                  <a:lnTo>
                    <a:pt x="67" y="5"/>
                  </a:lnTo>
                  <a:lnTo>
                    <a:pt x="65" y="4"/>
                  </a:lnTo>
                  <a:lnTo>
                    <a:pt x="60" y="5"/>
                  </a:lnTo>
                  <a:lnTo>
                    <a:pt x="56" y="13"/>
                  </a:lnTo>
                  <a:lnTo>
                    <a:pt x="56" y="17"/>
                  </a:lnTo>
                  <a:lnTo>
                    <a:pt x="56" y="19"/>
                  </a:lnTo>
                  <a:lnTo>
                    <a:pt x="60" y="17"/>
                  </a:lnTo>
                  <a:lnTo>
                    <a:pt x="64" y="17"/>
                  </a:lnTo>
                  <a:lnTo>
                    <a:pt x="67" y="20"/>
                  </a:lnTo>
                  <a:lnTo>
                    <a:pt x="67" y="20"/>
                  </a:lnTo>
                  <a:lnTo>
                    <a:pt x="64" y="24"/>
                  </a:lnTo>
                  <a:lnTo>
                    <a:pt x="60" y="20"/>
                  </a:lnTo>
                  <a:lnTo>
                    <a:pt x="58" y="20"/>
                  </a:lnTo>
                  <a:lnTo>
                    <a:pt x="56" y="20"/>
                  </a:lnTo>
                  <a:lnTo>
                    <a:pt x="56" y="24"/>
                  </a:lnTo>
                  <a:lnTo>
                    <a:pt x="52" y="26"/>
                  </a:lnTo>
                  <a:lnTo>
                    <a:pt x="43" y="26"/>
                  </a:lnTo>
                  <a:lnTo>
                    <a:pt x="37" y="30"/>
                  </a:lnTo>
                  <a:lnTo>
                    <a:pt x="33" y="32"/>
                  </a:lnTo>
                  <a:lnTo>
                    <a:pt x="33" y="36"/>
                  </a:lnTo>
                  <a:lnTo>
                    <a:pt x="35" y="39"/>
                  </a:lnTo>
                  <a:lnTo>
                    <a:pt x="35" y="49"/>
                  </a:lnTo>
                  <a:lnTo>
                    <a:pt x="37" y="51"/>
                  </a:lnTo>
                  <a:lnTo>
                    <a:pt x="39" y="56"/>
                  </a:lnTo>
                  <a:lnTo>
                    <a:pt x="35" y="62"/>
                  </a:lnTo>
                  <a:lnTo>
                    <a:pt x="30" y="66"/>
                  </a:lnTo>
                  <a:lnTo>
                    <a:pt x="26" y="66"/>
                  </a:lnTo>
                  <a:lnTo>
                    <a:pt x="26" y="60"/>
                  </a:lnTo>
                  <a:lnTo>
                    <a:pt x="22" y="56"/>
                  </a:lnTo>
                  <a:lnTo>
                    <a:pt x="22" y="51"/>
                  </a:lnTo>
                  <a:lnTo>
                    <a:pt x="24" y="51"/>
                  </a:lnTo>
                  <a:lnTo>
                    <a:pt x="24" y="47"/>
                  </a:lnTo>
                  <a:lnTo>
                    <a:pt x="32" y="39"/>
                  </a:lnTo>
                  <a:lnTo>
                    <a:pt x="32" y="34"/>
                  </a:lnTo>
                  <a:lnTo>
                    <a:pt x="30" y="30"/>
                  </a:lnTo>
                  <a:lnTo>
                    <a:pt x="30" y="30"/>
                  </a:lnTo>
                  <a:lnTo>
                    <a:pt x="30" y="26"/>
                  </a:lnTo>
                  <a:lnTo>
                    <a:pt x="26" y="26"/>
                  </a:lnTo>
                  <a:lnTo>
                    <a:pt x="24" y="20"/>
                  </a:lnTo>
                  <a:lnTo>
                    <a:pt x="26" y="19"/>
                  </a:lnTo>
                  <a:lnTo>
                    <a:pt x="30" y="17"/>
                  </a:lnTo>
                  <a:lnTo>
                    <a:pt x="35" y="17"/>
                  </a:lnTo>
                  <a:lnTo>
                    <a:pt x="39" y="11"/>
                  </a:lnTo>
                  <a:lnTo>
                    <a:pt x="37" y="11"/>
                  </a:lnTo>
                  <a:lnTo>
                    <a:pt x="35" y="13"/>
                  </a:lnTo>
                  <a:lnTo>
                    <a:pt x="26" y="17"/>
                  </a:lnTo>
                  <a:lnTo>
                    <a:pt x="22" y="24"/>
                  </a:lnTo>
                  <a:lnTo>
                    <a:pt x="18" y="26"/>
                  </a:lnTo>
                  <a:lnTo>
                    <a:pt x="17" y="26"/>
                  </a:lnTo>
                  <a:lnTo>
                    <a:pt x="13" y="32"/>
                  </a:lnTo>
                  <a:lnTo>
                    <a:pt x="11" y="34"/>
                  </a:lnTo>
                  <a:lnTo>
                    <a:pt x="5" y="43"/>
                  </a:lnTo>
                  <a:lnTo>
                    <a:pt x="3" y="47"/>
                  </a:lnTo>
                  <a:lnTo>
                    <a:pt x="5" y="51"/>
                  </a:lnTo>
                  <a:lnTo>
                    <a:pt x="3" y="56"/>
                  </a:lnTo>
                  <a:lnTo>
                    <a:pt x="1" y="60"/>
                  </a:lnTo>
                  <a:lnTo>
                    <a:pt x="0" y="64"/>
                  </a:lnTo>
                  <a:lnTo>
                    <a:pt x="3" y="62"/>
                  </a:lnTo>
                  <a:lnTo>
                    <a:pt x="7" y="62"/>
                  </a:lnTo>
                  <a:lnTo>
                    <a:pt x="13" y="77"/>
                  </a:lnTo>
                  <a:lnTo>
                    <a:pt x="18" y="83"/>
                  </a:lnTo>
                  <a:lnTo>
                    <a:pt x="18" y="86"/>
                  </a:lnTo>
                  <a:lnTo>
                    <a:pt x="17" y="90"/>
                  </a:lnTo>
                  <a:lnTo>
                    <a:pt x="17" y="94"/>
                  </a:lnTo>
                  <a:lnTo>
                    <a:pt x="17" y="94"/>
                  </a:lnTo>
                  <a:lnTo>
                    <a:pt x="17" y="96"/>
                  </a:lnTo>
                  <a:lnTo>
                    <a:pt x="18" y="100"/>
                  </a:lnTo>
                  <a:lnTo>
                    <a:pt x="24" y="101"/>
                  </a:lnTo>
                  <a:lnTo>
                    <a:pt x="28" y="103"/>
                  </a:lnTo>
                  <a:lnTo>
                    <a:pt x="32" y="105"/>
                  </a:lnTo>
                  <a:lnTo>
                    <a:pt x="35" y="103"/>
                  </a:lnTo>
                  <a:lnTo>
                    <a:pt x="39" y="103"/>
                  </a:lnTo>
                  <a:lnTo>
                    <a:pt x="43" y="105"/>
                  </a:lnTo>
                  <a:lnTo>
                    <a:pt x="47" y="103"/>
                  </a:lnTo>
                  <a:lnTo>
                    <a:pt x="50" y="103"/>
                  </a:lnTo>
                  <a:lnTo>
                    <a:pt x="56" y="103"/>
                  </a:lnTo>
                  <a:lnTo>
                    <a:pt x="60" y="105"/>
                  </a:lnTo>
                  <a:lnTo>
                    <a:pt x="73" y="120"/>
                  </a:lnTo>
                  <a:lnTo>
                    <a:pt x="81" y="118"/>
                  </a:lnTo>
                  <a:lnTo>
                    <a:pt x="81" y="120"/>
                  </a:lnTo>
                  <a:lnTo>
                    <a:pt x="81" y="120"/>
                  </a:lnTo>
                  <a:lnTo>
                    <a:pt x="84" y="120"/>
                  </a:lnTo>
                  <a:lnTo>
                    <a:pt x="88" y="120"/>
                  </a:lnTo>
                  <a:lnTo>
                    <a:pt x="92" y="120"/>
                  </a:lnTo>
                  <a:lnTo>
                    <a:pt x="96" y="120"/>
                  </a:lnTo>
                  <a:lnTo>
                    <a:pt x="101" y="120"/>
                  </a:lnTo>
                  <a:lnTo>
                    <a:pt x="101" y="118"/>
                  </a:lnTo>
                  <a:lnTo>
                    <a:pt x="105" y="118"/>
                  </a:lnTo>
                  <a:lnTo>
                    <a:pt x="107" y="120"/>
                  </a:lnTo>
                  <a:lnTo>
                    <a:pt x="107" y="126"/>
                  </a:lnTo>
                  <a:lnTo>
                    <a:pt x="107" y="130"/>
                  </a:lnTo>
                  <a:lnTo>
                    <a:pt x="107" y="134"/>
                  </a:lnTo>
                  <a:lnTo>
                    <a:pt x="105" y="135"/>
                  </a:lnTo>
                  <a:lnTo>
                    <a:pt x="101" y="139"/>
                  </a:lnTo>
                  <a:lnTo>
                    <a:pt x="99" y="139"/>
                  </a:lnTo>
                  <a:lnTo>
                    <a:pt x="101" y="147"/>
                  </a:lnTo>
                  <a:lnTo>
                    <a:pt x="101" y="149"/>
                  </a:lnTo>
                  <a:lnTo>
                    <a:pt x="99" y="154"/>
                  </a:lnTo>
                  <a:lnTo>
                    <a:pt x="99" y="160"/>
                  </a:lnTo>
                  <a:lnTo>
                    <a:pt x="101" y="164"/>
                  </a:lnTo>
                  <a:lnTo>
                    <a:pt x="101" y="164"/>
                  </a:lnTo>
                  <a:lnTo>
                    <a:pt x="105" y="175"/>
                  </a:lnTo>
                  <a:lnTo>
                    <a:pt x="99" y="186"/>
                  </a:lnTo>
                  <a:lnTo>
                    <a:pt x="101" y="190"/>
                  </a:lnTo>
                  <a:lnTo>
                    <a:pt x="101" y="190"/>
                  </a:lnTo>
                  <a:lnTo>
                    <a:pt x="105" y="188"/>
                  </a:lnTo>
                  <a:lnTo>
                    <a:pt x="105" y="190"/>
                  </a:lnTo>
                  <a:lnTo>
                    <a:pt x="105" y="190"/>
                  </a:lnTo>
                  <a:lnTo>
                    <a:pt x="107" y="194"/>
                  </a:lnTo>
                  <a:lnTo>
                    <a:pt x="109" y="196"/>
                  </a:lnTo>
                  <a:lnTo>
                    <a:pt x="107" y="199"/>
                  </a:lnTo>
                  <a:lnTo>
                    <a:pt x="109" y="203"/>
                  </a:lnTo>
                  <a:lnTo>
                    <a:pt x="114" y="213"/>
                  </a:lnTo>
                  <a:lnTo>
                    <a:pt x="114" y="216"/>
                  </a:lnTo>
                  <a:lnTo>
                    <a:pt x="114" y="216"/>
                  </a:lnTo>
                  <a:lnTo>
                    <a:pt x="114" y="216"/>
                  </a:lnTo>
                  <a:lnTo>
                    <a:pt x="114" y="216"/>
                  </a:lnTo>
                  <a:lnTo>
                    <a:pt x="114" y="216"/>
                  </a:lnTo>
                  <a:close/>
                  <a:moveTo>
                    <a:pt x="90" y="4"/>
                  </a:moveTo>
                  <a:lnTo>
                    <a:pt x="94" y="4"/>
                  </a:lnTo>
                  <a:lnTo>
                    <a:pt x="97" y="7"/>
                  </a:lnTo>
                  <a:lnTo>
                    <a:pt x="96" y="9"/>
                  </a:lnTo>
                  <a:lnTo>
                    <a:pt x="94" y="7"/>
                  </a:lnTo>
                  <a:lnTo>
                    <a:pt x="92" y="5"/>
                  </a:lnTo>
                  <a:lnTo>
                    <a:pt x="90" y="4"/>
                  </a:lnTo>
                  <a:lnTo>
                    <a:pt x="90" y="4"/>
                  </a:lnTo>
                  <a:lnTo>
                    <a:pt x="90" y="4"/>
                  </a:lnTo>
                  <a:lnTo>
                    <a:pt x="90" y="4"/>
                  </a:lnTo>
                  <a:close/>
                  <a:moveTo>
                    <a:pt x="77" y="2"/>
                  </a:moveTo>
                  <a:lnTo>
                    <a:pt x="81" y="5"/>
                  </a:lnTo>
                  <a:lnTo>
                    <a:pt x="84" y="5"/>
                  </a:lnTo>
                  <a:lnTo>
                    <a:pt x="82" y="7"/>
                  </a:lnTo>
                  <a:lnTo>
                    <a:pt x="77" y="7"/>
                  </a:lnTo>
                  <a:lnTo>
                    <a:pt x="77" y="4"/>
                  </a:lnTo>
                  <a:lnTo>
                    <a:pt x="77" y="2"/>
                  </a:lnTo>
                  <a:lnTo>
                    <a:pt x="77" y="2"/>
                  </a:lnTo>
                  <a:lnTo>
                    <a:pt x="77" y="2"/>
                  </a:lnTo>
                  <a:lnTo>
                    <a:pt x="77" y="2"/>
                  </a:lnTo>
                  <a:close/>
                  <a:moveTo>
                    <a:pt x="60" y="0"/>
                  </a:moveTo>
                  <a:lnTo>
                    <a:pt x="62" y="0"/>
                  </a:lnTo>
                  <a:lnTo>
                    <a:pt x="65" y="0"/>
                  </a:lnTo>
                  <a:lnTo>
                    <a:pt x="62" y="0"/>
                  </a:lnTo>
                  <a:lnTo>
                    <a:pt x="60" y="0"/>
                  </a:lnTo>
                  <a:lnTo>
                    <a:pt x="60" y="0"/>
                  </a:lnTo>
                  <a:lnTo>
                    <a:pt x="60" y="0"/>
                  </a:lnTo>
                  <a:lnTo>
                    <a:pt x="60" y="0"/>
                  </a:lnTo>
                  <a:close/>
                  <a:moveTo>
                    <a:pt x="163" y="30"/>
                  </a:moveTo>
                  <a:lnTo>
                    <a:pt x="167" y="26"/>
                  </a:lnTo>
                  <a:lnTo>
                    <a:pt x="169" y="30"/>
                  </a:lnTo>
                  <a:lnTo>
                    <a:pt x="175" y="26"/>
                  </a:lnTo>
                  <a:lnTo>
                    <a:pt x="177" y="26"/>
                  </a:lnTo>
                  <a:lnTo>
                    <a:pt x="173" y="30"/>
                  </a:lnTo>
                  <a:lnTo>
                    <a:pt x="169" y="30"/>
                  </a:lnTo>
                  <a:lnTo>
                    <a:pt x="165" y="30"/>
                  </a:lnTo>
                  <a:lnTo>
                    <a:pt x="165" y="30"/>
                  </a:lnTo>
                  <a:lnTo>
                    <a:pt x="163" y="30"/>
                  </a:lnTo>
                  <a:lnTo>
                    <a:pt x="163" y="30"/>
                  </a:lnTo>
                  <a:lnTo>
                    <a:pt x="163" y="30"/>
                  </a:lnTo>
                  <a:lnTo>
                    <a:pt x="163" y="3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3" name="Freeform 174">
              <a:extLst>
                <a:ext uri="{FF2B5EF4-FFF2-40B4-BE49-F238E27FC236}">
                  <a16:creationId xmlns:a16="http://schemas.microsoft.com/office/drawing/2014/main" id="{7C80935E-0F6F-D345-9D46-6E593821F410}"/>
                </a:ext>
              </a:extLst>
            </p:cNvPr>
            <p:cNvSpPr>
              <a:spLocks noEditPoints="1"/>
            </p:cNvSpPr>
            <p:nvPr/>
          </p:nvSpPr>
          <p:spPr bwMode="auto">
            <a:xfrm>
              <a:off x="4861485" y="2969834"/>
              <a:ext cx="94720" cy="92041"/>
            </a:xfrm>
            <a:custGeom>
              <a:avLst/>
              <a:gdLst/>
              <a:ahLst/>
              <a:cxnLst>
                <a:cxn ang="0">
                  <a:pos x="105" y="28"/>
                </a:cxn>
                <a:cxn ang="0">
                  <a:pos x="101" y="24"/>
                </a:cxn>
                <a:cxn ang="0">
                  <a:pos x="96" y="20"/>
                </a:cxn>
                <a:cxn ang="0">
                  <a:pos x="90" y="22"/>
                </a:cxn>
                <a:cxn ang="0">
                  <a:pos x="86" y="28"/>
                </a:cxn>
                <a:cxn ang="0">
                  <a:pos x="79" y="24"/>
                </a:cxn>
                <a:cxn ang="0">
                  <a:pos x="67" y="20"/>
                </a:cxn>
                <a:cxn ang="0">
                  <a:pos x="67" y="15"/>
                </a:cxn>
                <a:cxn ang="0">
                  <a:pos x="58" y="11"/>
                </a:cxn>
                <a:cxn ang="0">
                  <a:pos x="45" y="2"/>
                </a:cxn>
                <a:cxn ang="0">
                  <a:pos x="39" y="5"/>
                </a:cxn>
                <a:cxn ang="0">
                  <a:pos x="26" y="9"/>
                </a:cxn>
                <a:cxn ang="0">
                  <a:pos x="15" y="13"/>
                </a:cxn>
                <a:cxn ang="0">
                  <a:pos x="16" y="20"/>
                </a:cxn>
                <a:cxn ang="0">
                  <a:pos x="16" y="28"/>
                </a:cxn>
                <a:cxn ang="0">
                  <a:pos x="11" y="37"/>
                </a:cxn>
                <a:cxn ang="0">
                  <a:pos x="7" y="45"/>
                </a:cxn>
                <a:cxn ang="0">
                  <a:pos x="1" y="51"/>
                </a:cxn>
                <a:cxn ang="0">
                  <a:pos x="3" y="58"/>
                </a:cxn>
                <a:cxn ang="0">
                  <a:pos x="3" y="68"/>
                </a:cxn>
                <a:cxn ang="0">
                  <a:pos x="0" y="71"/>
                </a:cxn>
                <a:cxn ang="0">
                  <a:pos x="7" y="77"/>
                </a:cxn>
                <a:cxn ang="0">
                  <a:pos x="13" y="81"/>
                </a:cxn>
                <a:cxn ang="0">
                  <a:pos x="16" y="77"/>
                </a:cxn>
                <a:cxn ang="0">
                  <a:pos x="20" y="71"/>
                </a:cxn>
                <a:cxn ang="0">
                  <a:pos x="20" y="77"/>
                </a:cxn>
                <a:cxn ang="0">
                  <a:pos x="20" y="71"/>
                </a:cxn>
                <a:cxn ang="0">
                  <a:pos x="22" y="77"/>
                </a:cxn>
                <a:cxn ang="0">
                  <a:pos x="22" y="86"/>
                </a:cxn>
                <a:cxn ang="0">
                  <a:pos x="16" y="96"/>
                </a:cxn>
                <a:cxn ang="0">
                  <a:pos x="20" y="101"/>
                </a:cxn>
                <a:cxn ang="0">
                  <a:pos x="13" y="107"/>
                </a:cxn>
                <a:cxn ang="0">
                  <a:pos x="16" y="111"/>
                </a:cxn>
                <a:cxn ang="0">
                  <a:pos x="22" y="113"/>
                </a:cxn>
                <a:cxn ang="0">
                  <a:pos x="32" y="115"/>
                </a:cxn>
                <a:cxn ang="0">
                  <a:pos x="39" y="120"/>
                </a:cxn>
                <a:cxn ang="0">
                  <a:pos x="56" y="90"/>
                </a:cxn>
                <a:cxn ang="0">
                  <a:pos x="80" y="81"/>
                </a:cxn>
                <a:cxn ang="0">
                  <a:pos x="99" y="62"/>
                </a:cxn>
                <a:cxn ang="0">
                  <a:pos x="109" y="51"/>
                </a:cxn>
                <a:cxn ang="0">
                  <a:pos x="111" y="45"/>
                </a:cxn>
                <a:cxn ang="0">
                  <a:pos x="107" y="32"/>
                </a:cxn>
                <a:cxn ang="0">
                  <a:pos x="105" y="28"/>
                </a:cxn>
                <a:cxn ang="0">
                  <a:pos x="105" y="28"/>
                </a:cxn>
                <a:cxn ang="0">
                  <a:pos x="105" y="28"/>
                </a:cxn>
                <a:cxn ang="0">
                  <a:pos x="13" y="86"/>
                </a:cxn>
                <a:cxn ang="0">
                  <a:pos x="16" y="81"/>
                </a:cxn>
                <a:cxn ang="0">
                  <a:pos x="16" y="83"/>
                </a:cxn>
                <a:cxn ang="0">
                  <a:pos x="16" y="90"/>
                </a:cxn>
                <a:cxn ang="0">
                  <a:pos x="15" y="90"/>
                </a:cxn>
                <a:cxn ang="0">
                  <a:pos x="15" y="90"/>
                </a:cxn>
              </a:cxnLst>
              <a:rect l="0" t="0" r="r" b="b"/>
              <a:pathLst>
                <a:path w="111" h="120">
                  <a:moveTo>
                    <a:pt x="105" y="28"/>
                  </a:moveTo>
                  <a:lnTo>
                    <a:pt x="105" y="28"/>
                  </a:lnTo>
                  <a:lnTo>
                    <a:pt x="103" y="26"/>
                  </a:lnTo>
                  <a:lnTo>
                    <a:pt x="101" y="24"/>
                  </a:lnTo>
                  <a:lnTo>
                    <a:pt x="99" y="22"/>
                  </a:lnTo>
                  <a:lnTo>
                    <a:pt x="96" y="20"/>
                  </a:lnTo>
                  <a:lnTo>
                    <a:pt x="92" y="19"/>
                  </a:lnTo>
                  <a:lnTo>
                    <a:pt x="90" y="22"/>
                  </a:lnTo>
                  <a:lnTo>
                    <a:pt x="90" y="26"/>
                  </a:lnTo>
                  <a:lnTo>
                    <a:pt x="86" y="28"/>
                  </a:lnTo>
                  <a:lnTo>
                    <a:pt x="82" y="26"/>
                  </a:lnTo>
                  <a:lnTo>
                    <a:pt x="79" y="24"/>
                  </a:lnTo>
                  <a:lnTo>
                    <a:pt x="73" y="22"/>
                  </a:lnTo>
                  <a:lnTo>
                    <a:pt x="67" y="20"/>
                  </a:lnTo>
                  <a:lnTo>
                    <a:pt x="65" y="19"/>
                  </a:lnTo>
                  <a:lnTo>
                    <a:pt x="67" y="15"/>
                  </a:lnTo>
                  <a:lnTo>
                    <a:pt x="62" y="11"/>
                  </a:lnTo>
                  <a:lnTo>
                    <a:pt x="58" y="11"/>
                  </a:lnTo>
                  <a:lnTo>
                    <a:pt x="52" y="5"/>
                  </a:lnTo>
                  <a:lnTo>
                    <a:pt x="45" y="2"/>
                  </a:lnTo>
                  <a:lnTo>
                    <a:pt x="39" y="0"/>
                  </a:lnTo>
                  <a:lnTo>
                    <a:pt x="39" y="5"/>
                  </a:lnTo>
                  <a:lnTo>
                    <a:pt x="32" y="5"/>
                  </a:lnTo>
                  <a:lnTo>
                    <a:pt x="26" y="9"/>
                  </a:lnTo>
                  <a:lnTo>
                    <a:pt x="20" y="9"/>
                  </a:lnTo>
                  <a:lnTo>
                    <a:pt x="15" y="13"/>
                  </a:lnTo>
                  <a:lnTo>
                    <a:pt x="16" y="17"/>
                  </a:lnTo>
                  <a:lnTo>
                    <a:pt x="16" y="20"/>
                  </a:lnTo>
                  <a:lnTo>
                    <a:pt x="20" y="22"/>
                  </a:lnTo>
                  <a:lnTo>
                    <a:pt x="16" y="28"/>
                  </a:lnTo>
                  <a:lnTo>
                    <a:pt x="11" y="36"/>
                  </a:lnTo>
                  <a:lnTo>
                    <a:pt x="11" y="37"/>
                  </a:lnTo>
                  <a:lnTo>
                    <a:pt x="13" y="41"/>
                  </a:lnTo>
                  <a:lnTo>
                    <a:pt x="7" y="45"/>
                  </a:lnTo>
                  <a:lnTo>
                    <a:pt x="3" y="47"/>
                  </a:lnTo>
                  <a:lnTo>
                    <a:pt x="1" y="51"/>
                  </a:lnTo>
                  <a:lnTo>
                    <a:pt x="1" y="54"/>
                  </a:lnTo>
                  <a:lnTo>
                    <a:pt x="3" y="58"/>
                  </a:lnTo>
                  <a:lnTo>
                    <a:pt x="3" y="62"/>
                  </a:lnTo>
                  <a:lnTo>
                    <a:pt x="3" y="68"/>
                  </a:lnTo>
                  <a:lnTo>
                    <a:pt x="1" y="71"/>
                  </a:lnTo>
                  <a:lnTo>
                    <a:pt x="0" y="71"/>
                  </a:lnTo>
                  <a:lnTo>
                    <a:pt x="1" y="75"/>
                  </a:lnTo>
                  <a:lnTo>
                    <a:pt x="7" y="77"/>
                  </a:lnTo>
                  <a:lnTo>
                    <a:pt x="11" y="81"/>
                  </a:lnTo>
                  <a:lnTo>
                    <a:pt x="13" y="81"/>
                  </a:lnTo>
                  <a:lnTo>
                    <a:pt x="15" y="81"/>
                  </a:lnTo>
                  <a:lnTo>
                    <a:pt x="16" y="77"/>
                  </a:lnTo>
                  <a:lnTo>
                    <a:pt x="16" y="75"/>
                  </a:lnTo>
                  <a:lnTo>
                    <a:pt x="20" y="71"/>
                  </a:lnTo>
                  <a:lnTo>
                    <a:pt x="20" y="75"/>
                  </a:lnTo>
                  <a:lnTo>
                    <a:pt x="20" y="77"/>
                  </a:lnTo>
                  <a:lnTo>
                    <a:pt x="20" y="77"/>
                  </a:lnTo>
                  <a:lnTo>
                    <a:pt x="20" y="71"/>
                  </a:lnTo>
                  <a:lnTo>
                    <a:pt x="22" y="71"/>
                  </a:lnTo>
                  <a:lnTo>
                    <a:pt x="22" y="77"/>
                  </a:lnTo>
                  <a:lnTo>
                    <a:pt x="22" y="83"/>
                  </a:lnTo>
                  <a:lnTo>
                    <a:pt x="22" y="86"/>
                  </a:lnTo>
                  <a:lnTo>
                    <a:pt x="20" y="90"/>
                  </a:lnTo>
                  <a:lnTo>
                    <a:pt x="16" y="96"/>
                  </a:lnTo>
                  <a:lnTo>
                    <a:pt x="16" y="96"/>
                  </a:lnTo>
                  <a:lnTo>
                    <a:pt x="20" y="101"/>
                  </a:lnTo>
                  <a:lnTo>
                    <a:pt x="16" y="103"/>
                  </a:lnTo>
                  <a:lnTo>
                    <a:pt x="13" y="107"/>
                  </a:lnTo>
                  <a:lnTo>
                    <a:pt x="15" y="111"/>
                  </a:lnTo>
                  <a:lnTo>
                    <a:pt x="16" y="111"/>
                  </a:lnTo>
                  <a:lnTo>
                    <a:pt x="20" y="107"/>
                  </a:lnTo>
                  <a:lnTo>
                    <a:pt x="22" y="113"/>
                  </a:lnTo>
                  <a:lnTo>
                    <a:pt x="28" y="113"/>
                  </a:lnTo>
                  <a:lnTo>
                    <a:pt x="32" y="115"/>
                  </a:lnTo>
                  <a:lnTo>
                    <a:pt x="37" y="120"/>
                  </a:lnTo>
                  <a:lnTo>
                    <a:pt x="39" y="120"/>
                  </a:lnTo>
                  <a:lnTo>
                    <a:pt x="43" y="117"/>
                  </a:lnTo>
                  <a:lnTo>
                    <a:pt x="56" y="90"/>
                  </a:lnTo>
                  <a:lnTo>
                    <a:pt x="60" y="85"/>
                  </a:lnTo>
                  <a:lnTo>
                    <a:pt x="80" y="81"/>
                  </a:lnTo>
                  <a:lnTo>
                    <a:pt x="86" y="71"/>
                  </a:lnTo>
                  <a:lnTo>
                    <a:pt x="99" y="62"/>
                  </a:lnTo>
                  <a:lnTo>
                    <a:pt x="105" y="51"/>
                  </a:lnTo>
                  <a:lnTo>
                    <a:pt x="109" y="51"/>
                  </a:lnTo>
                  <a:lnTo>
                    <a:pt x="111" y="47"/>
                  </a:lnTo>
                  <a:lnTo>
                    <a:pt x="111" y="45"/>
                  </a:lnTo>
                  <a:lnTo>
                    <a:pt x="111" y="41"/>
                  </a:lnTo>
                  <a:lnTo>
                    <a:pt x="107" y="32"/>
                  </a:lnTo>
                  <a:lnTo>
                    <a:pt x="107" y="30"/>
                  </a:lnTo>
                  <a:lnTo>
                    <a:pt x="105" y="28"/>
                  </a:lnTo>
                  <a:lnTo>
                    <a:pt x="105" y="28"/>
                  </a:lnTo>
                  <a:lnTo>
                    <a:pt x="105" y="28"/>
                  </a:lnTo>
                  <a:lnTo>
                    <a:pt x="105" y="28"/>
                  </a:lnTo>
                  <a:lnTo>
                    <a:pt x="105" y="28"/>
                  </a:lnTo>
                  <a:close/>
                  <a:moveTo>
                    <a:pt x="15" y="90"/>
                  </a:moveTo>
                  <a:lnTo>
                    <a:pt x="13" y="86"/>
                  </a:lnTo>
                  <a:lnTo>
                    <a:pt x="16" y="83"/>
                  </a:lnTo>
                  <a:lnTo>
                    <a:pt x="16" y="81"/>
                  </a:lnTo>
                  <a:lnTo>
                    <a:pt x="20" y="81"/>
                  </a:lnTo>
                  <a:lnTo>
                    <a:pt x="16" y="83"/>
                  </a:lnTo>
                  <a:lnTo>
                    <a:pt x="16" y="86"/>
                  </a:lnTo>
                  <a:lnTo>
                    <a:pt x="16" y="90"/>
                  </a:lnTo>
                  <a:lnTo>
                    <a:pt x="15" y="90"/>
                  </a:lnTo>
                  <a:lnTo>
                    <a:pt x="15" y="90"/>
                  </a:lnTo>
                  <a:lnTo>
                    <a:pt x="15" y="90"/>
                  </a:lnTo>
                  <a:lnTo>
                    <a:pt x="15" y="9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4" name="Freeform 175">
              <a:extLst>
                <a:ext uri="{FF2B5EF4-FFF2-40B4-BE49-F238E27FC236}">
                  <a16:creationId xmlns:a16="http://schemas.microsoft.com/office/drawing/2014/main" id="{A9671460-79DC-6E41-A6B5-AA554738E277}"/>
                </a:ext>
              </a:extLst>
            </p:cNvPr>
            <p:cNvSpPr>
              <a:spLocks/>
            </p:cNvSpPr>
            <p:nvPr/>
          </p:nvSpPr>
          <p:spPr bwMode="auto">
            <a:xfrm>
              <a:off x="4856364" y="2989775"/>
              <a:ext cx="203947" cy="271522"/>
            </a:xfrm>
            <a:custGeom>
              <a:avLst/>
              <a:gdLst/>
              <a:ahLst/>
              <a:cxnLst>
                <a:cxn ang="0">
                  <a:pos x="218" y="207"/>
                </a:cxn>
                <a:cxn ang="0">
                  <a:pos x="203" y="207"/>
                </a:cxn>
                <a:cxn ang="0">
                  <a:pos x="205" y="185"/>
                </a:cxn>
                <a:cxn ang="0">
                  <a:pos x="188" y="188"/>
                </a:cxn>
                <a:cxn ang="0">
                  <a:pos x="166" y="177"/>
                </a:cxn>
                <a:cxn ang="0">
                  <a:pos x="145" y="156"/>
                </a:cxn>
                <a:cxn ang="0">
                  <a:pos x="141" y="143"/>
                </a:cxn>
                <a:cxn ang="0">
                  <a:pos x="143" y="130"/>
                </a:cxn>
                <a:cxn ang="0">
                  <a:pos x="150" y="121"/>
                </a:cxn>
                <a:cxn ang="0">
                  <a:pos x="154" y="104"/>
                </a:cxn>
                <a:cxn ang="0">
                  <a:pos x="167" y="91"/>
                </a:cxn>
                <a:cxn ang="0">
                  <a:pos x="194" y="83"/>
                </a:cxn>
                <a:cxn ang="0">
                  <a:pos x="201" y="79"/>
                </a:cxn>
                <a:cxn ang="0">
                  <a:pos x="209" y="79"/>
                </a:cxn>
                <a:cxn ang="0">
                  <a:pos x="198" y="74"/>
                </a:cxn>
                <a:cxn ang="0">
                  <a:pos x="205" y="49"/>
                </a:cxn>
                <a:cxn ang="0">
                  <a:pos x="196" y="43"/>
                </a:cxn>
                <a:cxn ang="0">
                  <a:pos x="175" y="42"/>
                </a:cxn>
                <a:cxn ang="0">
                  <a:pos x="160" y="45"/>
                </a:cxn>
                <a:cxn ang="0">
                  <a:pos x="154" y="42"/>
                </a:cxn>
                <a:cxn ang="0">
                  <a:pos x="149" y="28"/>
                </a:cxn>
                <a:cxn ang="0">
                  <a:pos x="130" y="15"/>
                </a:cxn>
                <a:cxn ang="0">
                  <a:pos x="120" y="4"/>
                </a:cxn>
                <a:cxn ang="0">
                  <a:pos x="111" y="2"/>
                </a:cxn>
                <a:cxn ang="0">
                  <a:pos x="115" y="19"/>
                </a:cxn>
                <a:cxn ang="0">
                  <a:pos x="92" y="45"/>
                </a:cxn>
                <a:cxn ang="0">
                  <a:pos x="47" y="89"/>
                </a:cxn>
                <a:cxn ang="0">
                  <a:pos x="34" y="83"/>
                </a:cxn>
                <a:cxn ang="0">
                  <a:pos x="21" y="83"/>
                </a:cxn>
                <a:cxn ang="0">
                  <a:pos x="22" y="68"/>
                </a:cxn>
                <a:cxn ang="0">
                  <a:pos x="9" y="74"/>
                </a:cxn>
                <a:cxn ang="0">
                  <a:pos x="0" y="91"/>
                </a:cxn>
                <a:cxn ang="0">
                  <a:pos x="2" y="100"/>
                </a:cxn>
                <a:cxn ang="0">
                  <a:pos x="6" y="113"/>
                </a:cxn>
                <a:cxn ang="0">
                  <a:pos x="7" y="121"/>
                </a:cxn>
                <a:cxn ang="0">
                  <a:pos x="30" y="132"/>
                </a:cxn>
                <a:cxn ang="0">
                  <a:pos x="38" y="149"/>
                </a:cxn>
                <a:cxn ang="0">
                  <a:pos x="51" y="168"/>
                </a:cxn>
                <a:cxn ang="0">
                  <a:pos x="60" y="185"/>
                </a:cxn>
                <a:cxn ang="0">
                  <a:pos x="70" y="207"/>
                </a:cxn>
                <a:cxn ang="0">
                  <a:pos x="71" y="215"/>
                </a:cxn>
                <a:cxn ang="0">
                  <a:pos x="83" y="232"/>
                </a:cxn>
                <a:cxn ang="0">
                  <a:pos x="96" y="251"/>
                </a:cxn>
                <a:cxn ang="0">
                  <a:pos x="100" y="262"/>
                </a:cxn>
                <a:cxn ang="0">
                  <a:pos x="102" y="271"/>
                </a:cxn>
                <a:cxn ang="0">
                  <a:pos x="109" y="281"/>
                </a:cxn>
                <a:cxn ang="0">
                  <a:pos x="122" y="290"/>
                </a:cxn>
                <a:cxn ang="0">
                  <a:pos x="132" y="296"/>
                </a:cxn>
                <a:cxn ang="0">
                  <a:pos x="143" y="305"/>
                </a:cxn>
                <a:cxn ang="0">
                  <a:pos x="154" y="313"/>
                </a:cxn>
                <a:cxn ang="0">
                  <a:pos x="169" y="318"/>
                </a:cxn>
                <a:cxn ang="0">
                  <a:pos x="181" y="326"/>
                </a:cxn>
                <a:cxn ang="0">
                  <a:pos x="190" y="335"/>
                </a:cxn>
                <a:cxn ang="0">
                  <a:pos x="199" y="343"/>
                </a:cxn>
                <a:cxn ang="0">
                  <a:pos x="213" y="354"/>
                </a:cxn>
                <a:cxn ang="0">
                  <a:pos x="228" y="347"/>
                </a:cxn>
                <a:cxn ang="0">
                  <a:pos x="230" y="335"/>
                </a:cxn>
                <a:cxn ang="0">
                  <a:pos x="228" y="332"/>
                </a:cxn>
                <a:cxn ang="0">
                  <a:pos x="239" y="313"/>
                </a:cxn>
                <a:cxn ang="0">
                  <a:pos x="233" y="290"/>
                </a:cxn>
                <a:cxn ang="0">
                  <a:pos x="233" y="266"/>
                </a:cxn>
                <a:cxn ang="0">
                  <a:pos x="239" y="237"/>
                </a:cxn>
                <a:cxn ang="0">
                  <a:pos x="222" y="211"/>
                </a:cxn>
              </a:cxnLst>
              <a:rect l="0" t="0" r="r" b="b"/>
              <a:pathLst>
                <a:path w="239" h="354">
                  <a:moveTo>
                    <a:pt x="222" y="211"/>
                  </a:moveTo>
                  <a:lnTo>
                    <a:pt x="220" y="207"/>
                  </a:lnTo>
                  <a:lnTo>
                    <a:pt x="218" y="207"/>
                  </a:lnTo>
                  <a:lnTo>
                    <a:pt x="218" y="207"/>
                  </a:lnTo>
                  <a:lnTo>
                    <a:pt x="213" y="207"/>
                  </a:lnTo>
                  <a:lnTo>
                    <a:pt x="209" y="211"/>
                  </a:lnTo>
                  <a:lnTo>
                    <a:pt x="207" y="211"/>
                  </a:lnTo>
                  <a:lnTo>
                    <a:pt x="203" y="207"/>
                  </a:lnTo>
                  <a:lnTo>
                    <a:pt x="203" y="202"/>
                  </a:lnTo>
                  <a:lnTo>
                    <a:pt x="203" y="192"/>
                  </a:lnTo>
                  <a:lnTo>
                    <a:pt x="203" y="187"/>
                  </a:lnTo>
                  <a:lnTo>
                    <a:pt x="205" y="185"/>
                  </a:lnTo>
                  <a:lnTo>
                    <a:pt x="205" y="181"/>
                  </a:lnTo>
                  <a:lnTo>
                    <a:pt x="203" y="177"/>
                  </a:lnTo>
                  <a:lnTo>
                    <a:pt x="196" y="181"/>
                  </a:lnTo>
                  <a:lnTo>
                    <a:pt x="188" y="188"/>
                  </a:lnTo>
                  <a:lnTo>
                    <a:pt x="181" y="188"/>
                  </a:lnTo>
                  <a:lnTo>
                    <a:pt x="171" y="188"/>
                  </a:lnTo>
                  <a:lnTo>
                    <a:pt x="169" y="183"/>
                  </a:lnTo>
                  <a:lnTo>
                    <a:pt x="166" y="177"/>
                  </a:lnTo>
                  <a:lnTo>
                    <a:pt x="160" y="177"/>
                  </a:lnTo>
                  <a:lnTo>
                    <a:pt x="150" y="177"/>
                  </a:lnTo>
                  <a:lnTo>
                    <a:pt x="154" y="172"/>
                  </a:lnTo>
                  <a:lnTo>
                    <a:pt x="145" y="156"/>
                  </a:lnTo>
                  <a:lnTo>
                    <a:pt x="139" y="151"/>
                  </a:lnTo>
                  <a:lnTo>
                    <a:pt x="141" y="149"/>
                  </a:lnTo>
                  <a:lnTo>
                    <a:pt x="139" y="147"/>
                  </a:lnTo>
                  <a:lnTo>
                    <a:pt x="141" y="143"/>
                  </a:lnTo>
                  <a:lnTo>
                    <a:pt x="141" y="138"/>
                  </a:lnTo>
                  <a:lnTo>
                    <a:pt x="139" y="136"/>
                  </a:lnTo>
                  <a:lnTo>
                    <a:pt x="143" y="134"/>
                  </a:lnTo>
                  <a:lnTo>
                    <a:pt x="143" y="130"/>
                  </a:lnTo>
                  <a:lnTo>
                    <a:pt x="149" y="126"/>
                  </a:lnTo>
                  <a:lnTo>
                    <a:pt x="150" y="126"/>
                  </a:lnTo>
                  <a:lnTo>
                    <a:pt x="154" y="124"/>
                  </a:lnTo>
                  <a:lnTo>
                    <a:pt x="150" y="121"/>
                  </a:lnTo>
                  <a:lnTo>
                    <a:pt x="150" y="113"/>
                  </a:lnTo>
                  <a:lnTo>
                    <a:pt x="154" y="109"/>
                  </a:lnTo>
                  <a:lnTo>
                    <a:pt x="154" y="107"/>
                  </a:lnTo>
                  <a:lnTo>
                    <a:pt x="154" y="104"/>
                  </a:lnTo>
                  <a:lnTo>
                    <a:pt x="154" y="98"/>
                  </a:lnTo>
                  <a:lnTo>
                    <a:pt x="160" y="96"/>
                  </a:lnTo>
                  <a:lnTo>
                    <a:pt x="164" y="94"/>
                  </a:lnTo>
                  <a:lnTo>
                    <a:pt x="167" y="91"/>
                  </a:lnTo>
                  <a:lnTo>
                    <a:pt x="169" y="89"/>
                  </a:lnTo>
                  <a:lnTo>
                    <a:pt x="171" y="87"/>
                  </a:lnTo>
                  <a:lnTo>
                    <a:pt x="182" y="87"/>
                  </a:lnTo>
                  <a:lnTo>
                    <a:pt x="194" y="83"/>
                  </a:lnTo>
                  <a:lnTo>
                    <a:pt x="194" y="79"/>
                  </a:lnTo>
                  <a:lnTo>
                    <a:pt x="196" y="79"/>
                  </a:lnTo>
                  <a:lnTo>
                    <a:pt x="199" y="79"/>
                  </a:lnTo>
                  <a:lnTo>
                    <a:pt x="201" y="79"/>
                  </a:lnTo>
                  <a:lnTo>
                    <a:pt x="207" y="83"/>
                  </a:lnTo>
                  <a:lnTo>
                    <a:pt x="205" y="83"/>
                  </a:lnTo>
                  <a:lnTo>
                    <a:pt x="209" y="83"/>
                  </a:lnTo>
                  <a:lnTo>
                    <a:pt x="209" y="79"/>
                  </a:lnTo>
                  <a:lnTo>
                    <a:pt x="209" y="74"/>
                  </a:lnTo>
                  <a:lnTo>
                    <a:pt x="207" y="72"/>
                  </a:lnTo>
                  <a:lnTo>
                    <a:pt x="203" y="74"/>
                  </a:lnTo>
                  <a:lnTo>
                    <a:pt x="198" y="74"/>
                  </a:lnTo>
                  <a:lnTo>
                    <a:pt x="198" y="72"/>
                  </a:lnTo>
                  <a:lnTo>
                    <a:pt x="209" y="49"/>
                  </a:lnTo>
                  <a:lnTo>
                    <a:pt x="209" y="49"/>
                  </a:lnTo>
                  <a:lnTo>
                    <a:pt x="205" y="49"/>
                  </a:lnTo>
                  <a:lnTo>
                    <a:pt x="203" y="47"/>
                  </a:lnTo>
                  <a:lnTo>
                    <a:pt x="199" y="45"/>
                  </a:lnTo>
                  <a:lnTo>
                    <a:pt x="198" y="45"/>
                  </a:lnTo>
                  <a:lnTo>
                    <a:pt x="196" y="43"/>
                  </a:lnTo>
                  <a:lnTo>
                    <a:pt x="192" y="43"/>
                  </a:lnTo>
                  <a:lnTo>
                    <a:pt x="184" y="45"/>
                  </a:lnTo>
                  <a:lnTo>
                    <a:pt x="182" y="43"/>
                  </a:lnTo>
                  <a:lnTo>
                    <a:pt x="175" y="42"/>
                  </a:lnTo>
                  <a:lnTo>
                    <a:pt x="171" y="45"/>
                  </a:lnTo>
                  <a:lnTo>
                    <a:pt x="169" y="47"/>
                  </a:lnTo>
                  <a:lnTo>
                    <a:pt x="164" y="47"/>
                  </a:lnTo>
                  <a:lnTo>
                    <a:pt x="160" y="45"/>
                  </a:lnTo>
                  <a:lnTo>
                    <a:pt x="158" y="47"/>
                  </a:lnTo>
                  <a:lnTo>
                    <a:pt x="154" y="45"/>
                  </a:lnTo>
                  <a:lnTo>
                    <a:pt x="154" y="43"/>
                  </a:lnTo>
                  <a:lnTo>
                    <a:pt x="154" y="42"/>
                  </a:lnTo>
                  <a:lnTo>
                    <a:pt x="150" y="36"/>
                  </a:lnTo>
                  <a:lnTo>
                    <a:pt x="150" y="34"/>
                  </a:lnTo>
                  <a:lnTo>
                    <a:pt x="149" y="34"/>
                  </a:lnTo>
                  <a:lnTo>
                    <a:pt x="149" y="28"/>
                  </a:lnTo>
                  <a:lnTo>
                    <a:pt x="145" y="23"/>
                  </a:lnTo>
                  <a:lnTo>
                    <a:pt x="135" y="23"/>
                  </a:lnTo>
                  <a:lnTo>
                    <a:pt x="134" y="23"/>
                  </a:lnTo>
                  <a:lnTo>
                    <a:pt x="130" y="15"/>
                  </a:lnTo>
                  <a:lnTo>
                    <a:pt x="130" y="10"/>
                  </a:lnTo>
                  <a:lnTo>
                    <a:pt x="126" y="8"/>
                  </a:lnTo>
                  <a:lnTo>
                    <a:pt x="124" y="4"/>
                  </a:lnTo>
                  <a:lnTo>
                    <a:pt x="120" y="4"/>
                  </a:lnTo>
                  <a:lnTo>
                    <a:pt x="113" y="2"/>
                  </a:lnTo>
                  <a:lnTo>
                    <a:pt x="111" y="0"/>
                  </a:lnTo>
                  <a:lnTo>
                    <a:pt x="109" y="0"/>
                  </a:lnTo>
                  <a:lnTo>
                    <a:pt x="111" y="2"/>
                  </a:lnTo>
                  <a:lnTo>
                    <a:pt x="111" y="4"/>
                  </a:lnTo>
                  <a:lnTo>
                    <a:pt x="115" y="13"/>
                  </a:lnTo>
                  <a:lnTo>
                    <a:pt x="115" y="17"/>
                  </a:lnTo>
                  <a:lnTo>
                    <a:pt x="115" y="19"/>
                  </a:lnTo>
                  <a:lnTo>
                    <a:pt x="113" y="23"/>
                  </a:lnTo>
                  <a:lnTo>
                    <a:pt x="109" y="23"/>
                  </a:lnTo>
                  <a:lnTo>
                    <a:pt x="105" y="34"/>
                  </a:lnTo>
                  <a:lnTo>
                    <a:pt x="92" y="45"/>
                  </a:lnTo>
                  <a:lnTo>
                    <a:pt x="85" y="53"/>
                  </a:lnTo>
                  <a:lnTo>
                    <a:pt x="66" y="57"/>
                  </a:lnTo>
                  <a:lnTo>
                    <a:pt x="62" y="62"/>
                  </a:lnTo>
                  <a:lnTo>
                    <a:pt x="47" y="89"/>
                  </a:lnTo>
                  <a:lnTo>
                    <a:pt x="45" y="92"/>
                  </a:lnTo>
                  <a:lnTo>
                    <a:pt x="43" y="92"/>
                  </a:lnTo>
                  <a:lnTo>
                    <a:pt x="38" y="87"/>
                  </a:lnTo>
                  <a:lnTo>
                    <a:pt x="34" y="83"/>
                  </a:lnTo>
                  <a:lnTo>
                    <a:pt x="28" y="83"/>
                  </a:lnTo>
                  <a:lnTo>
                    <a:pt x="26" y="79"/>
                  </a:lnTo>
                  <a:lnTo>
                    <a:pt x="22" y="83"/>
                  </a:lnTo>
                  <a:lnTo>
                    <a:pt x="21" y="83"/>
                  </a:lnTo>
                  <a:lnTo>
                    <a:pt x="17" y="79"/>
                  </a:lnTo>
                  <a:lnTo>
                    <a:pt x="21" y="74"/>
                  </a:lnTo>
                  <a:lnTo>
                    <a:pt x="26" y="74"/>
                  </a:lnTo>
                  <a:lnTo>
                    <a:pt x="22" y="68"/>
                  </a:lnTo>
                  <a:lnTo>
                    <a:pt x="21" y="68"/>
                  </a:lnTo>
                  <a:lnTo>
                    <a:pt x="21" y="68"/>
                  </a:lnTo>
                  <a:lnTo>
                    <a:pt x="13" y="72"/>
                  </a:lnTo>
                  <a:lnTo>
                    <a:pt x="9" y="74"/>
                  </a:lnTo>
                  <a:lnTo>
                    <a:pt x="4" y="79"/>
                  </a:lnTo>
                  <a:lnTo>
                    <a:pt x="2" y="87"/>
                  </a:lnTo>
                  <a:lnTo>
                    <a:pt x="0" y="89"/>
                  </a:lnTo>
                  <a:lnTo>
                    <a:pt x="0" y="91"/>
                  </a:lnTo>
                  <a:lnTo>
                    <a:pt x="4" y="92"/>
                  </a:lnTo>
                  <a:lnTo>
                    <a:pt x="4" y="96"/>
                  </a:lnTo>
                  <a:lnTo>
                    <a:pt x="2" y="98"/>
                  </a:lnTo>
                  <a:lnTo>
                    <a:pt x="2" y="100"/>
                  </a:lnTo>
                  <a:lnTo>
                    <a:pt x="6" y="104"/>
                  </a:lnTo>
                  <a:lnTo>
                    <a:pt x="7" y="109"/>
                  </a:lnTo>
                  <a:lnTo>
                    <a:pt x="7" y="113"/>
                  </a:lnTo>
                  <a:lnTo>
                    <a:pt x="6" y="113"/>
                  </a:lnTo>
                  <a:lnTo>
                    <a:pt x="2" y="113"/>
                  </a:lnTo>
                  <a:lnTo>
                    <a:pt x="0" y="117"/>
                  </a:lnTo>
                  <a:lnTo>
                    <a:pt x="4" y="119"/>
                  </a:lnTo>
                  <a:lnTo>
                    <a:pt x="7" y="121"/>
                  </a:lnTo>
                  <a:lnTo>
                    <a:pt x="13" y="124"/>
                  </a:lnTo>
                  <a:lnTo>
                    <a:pt x="17" y="126"/>
                  </a:lnTo>
                  <a:lnTo>
                    <a:pt x="26" y="130"/>
                  </a:lnTo>
                  <a:lnTo>
                    <a:pt x="30" y="132"/>
                  </a:lnTo>
                  <a:lnTo>
                    <a:pt x="30" y="136"/>
                  </a:lnTo>
                  <a:lnTo>
                    <a:pt x="34" y="141"/>
                  </a:lnTo>
                  <a:lnTo>
                    <a:pt x="36" y="147"/>
                  </a:lnTo>
                  <a:lnTo>
                    <a:pt x="38" y="149"/>
                  </a:lnTo>
                  <a:lnTo>
                    <a:pt x="45" y="153"/>
                  </a:lnTo>
                  <a:lnTo>
                    <a:pt x="47" y="158"/>
                  </a:lnTo>
                  <a:lnTo>
                    <a:pt x="51" y="164"/>
                  </a:lnTo>
                  <a:lnTo>
                    <a:pt x="51" y="168"/>
                  </a:lnTo>
                  <a:lnTo>
                    <a:pt x="51" y="173"/>
                  </a:lnTo>
                  <a:lnTo>
                    <a:pt x="54" y="177"/>
                  </a:lnTo>
                  <a:lnTo>
                    <a:pt x="56" y="181"/>
                  </a:lnTo>
                  <a:lnTo>
                    <a:pt x="60" y="185"/>
                  </a:lnTo>
                  <a:lnTo>
                    <a:pt x="62" y="190"/>
                  </a:lnTo>
                  <a:lnTo>
                    <a:pt x="60" y="192"/>
                  </a:lnTo>
                  <a:lnTo>
                    <a:pt x="64" y="198"/>
                  </a:lnTo>
                  <a:lnTo>
                    <a:pt x="70" y="207"/>
                  </a:lnTo>
                  <a:lnTo>
                    <a:pt x="71" y="211"/>
                  </a:lnTo>
                  <a:lnTo>
                    <a:pt x="71" y="211"/>
                  </a:lnTo>
                  <a:lnTo>
                    <a:pt x="71" y="215"/>
                  </a:lnTo>
                  <a:lnTo>
                    <a:pt x="71" y="215"/>
                  </a:lnTo>
                  <a:lnTo>
                    <a:pt x="79" y="222"/>
                  </a:lnTo>
                  <a:lnTo>
                    <a:pt x="81" y="224"/>
                  </a:lnTo>
                  <a:lnTo>
                    <a:pt x="81" y="230"/>
                  </a:lnTo>
                  <a:lnTo>
                    <a:pt x="83" y="232"/>
                  </a:lnTo>
                  <a:lnTo>
                    <a:pt x="88" y="236"/>
                  </a:lnTo>
                  <a:lnTo>
                    <a:pt x="88" y="237"/>
                  </a:lnTo>
                  <a:lnTo>
                    <a:pt x="94" y="247"/>
                  </a:lnTo>
                  <a:lnTo>
                    <a:pt x="96" y="251"/>
                  </a:lnTo>
                  <a:lnTo>
                    <a:pt x="102" y="260"/>
                  </a:lnTo>
                  <a:lnTo>
                    <a:pt x="102" y="262"/>
                  </a:lnTo>
                  <a:lnTo>
                    <a:pt x="102" y="266"/>
                  </a:lnTo>
                  <a:lnTo>
                    <a:pt x="100" y="262"/>
                  </a:lnTo>
                  <a:lnTo>
                    <a:pt x="100" y="266"/>
                  </a:lnTo>
                  <a:lnTo>
                    <a:pt x="100" y="268"/>
                  </a:lnTo>
                  <a:lnTo>
                    <a:pt x="100" y="271"/>
                  </a:lnTo>
                  <a:lnTo>
                    <a:pt x="102" y="271"/>
                  </a:lnTo>
                  <a:lnTo>
                    <a:pt x="105" y="271"/>
                  </a:lnTo>
                  <a:lnTo>
                    <a:pt x="105" y="275"/>
                  </a:lnTo>
                  <a:lnTo>
                    <a:pt x="105" y="275"/>
                  </a:lnTo>
                  <a:lnTo>
                    <a:pt x="109" y="281"/>
                  </a:lnTo>
                  <a:lnTo>
                    <a:pt x="115" y="283"/>
                  </a:lnTo>
                  <a:lnTo>
                    <a:pt x="117" y="286"/>
                  </a:lnTo>
                  <a:lnTo>
                    <a:pt x="118" y="290"/>
                  </a:lnTo>
                  <a:lnTo>
                    <a:pt x="122" y="290"/>
                  </a:lnTo>
                  <a:lnTo>
                    <a:pt x="124" y="292"/>
                  </a:lnTo>
                  <a:lnTo>
                    <a:pt x="126" y="296"/>
                  </a:lnTo>
                  <a:lnTo>
                    <a:pt x="126" y="296"/>
                  </a:lnTo>
                  <a:lnTo>
                    <a:pt x="132" y="296"/>
                  </a:lnTo>
                  <a:lnTo>
                    <a:pt x="134" y="294"/>
                  </a:lnTo>
                  <a:lnTo>
                    <a:pt x="134" y="296"/>
                  </a:lnTo>
                  <a:lnTo>
                    <a:pt x="135" y="301"/>
                  </a:lnTo>
                  <a:lnTo>
                    <a:pt x="143" y="305"/>
                  </a:lnTo>
                  <a:lnTo>
                    <a:pt x="145" y="305"/>
                  </a:lnTo>
                  <a:lnTo>
                    <a:pt x="145" y="309"/>
                  </a:lnTo>
                  <a:lnTo>
                    <a:pt x="149" y="311"/>
                  </a:lnTo>
                  <a:lnTo>
                    <a:pt x="154" y="313"/>
                  </a:lnTo>
                  <a:lnTo>
                    <a:pt x="154" y="311"/>
                  </a:lnTo>
                  <a:lnTo>
                    <a:pt x="158" y="313"/>
                  </a:lnTo>
                  <a:lnTo>
                    <a:pt x="164" y="317"/>
                  </a:lnTo>
                  <a:lnTo>
                    <a:pt x="169" y="318"/>
                  </a:lnTo>
                  <a:lnTo>
                    <a:pt x="173" y="320"/>
                  </a:lnTo>
                  <a:lnTo>
                    <a:pt x="175" y="320"/>
                  </a:lnTo>
                  <a:lnTo>
                    <a:pt x="175" y="322"/>
                  </a:lnTo>
                  <a:lnTo>
                    <a:pt x="181" y="326"/>
                  </a:lnTo>
                  <a:lnTo>
                    <a:pt x="184" y="330"/>
                  </a:lnTo>
                  <a:lnTo>
                    <a:pt x="188" y="332"/>
                  </a:lnTo>
                  <a:lnTo>
                    <a:pt x="190" y="332"/>
                  </a:lnTo>
                  <a:lnTo>
                    <a:pt x="190" y="335"/>
                  </a:lnTo>
                  <a:lnTo>
                    <a:pt x="190" y="337"/>
                  </a:lnTo>
                  <a:lnTo>
                    <a:pt x="190" y="339"/>
                  </a:lnTo>
                  <a:lnTo>
                    <a:pt x="196" y="341"/>
                  </a:lnTo>
                  <a:lnTo>
                    <a:pt x="199" y="343"/>
                  </a:lnTo>
                  <a:lnTo>
                    <a:pt x="205" y="349"/>
                  </a:lnTo>
                  <a:lnTo>
                    <a:pt x="209" y="352"/>
                  </a:lnTo>
                  <a:lnTo>
                    <a:pt x="213" y="354"/>
                  </a:lnTo>
                  <a:lnTo>
                    <a:pt x="213" y="354"/>
                  </a:lnTo>
                  <a:lnTo>
                    <a:pt x="218" y="352"/>
                  </a:lnTo>
                  <a:lnTo>
                    <a:pt x="222" y="349"/>
                  </a:lnTo>
                  <a:lnTo>
                    <a:pt x="224" y="350"/>
                  </a:lnTo>
                  <a:lnTo>
                    <a:pt x="228" y="347"/>
                  </a:lnTo>
                  <a:lnTo>
                    <a:pt x="230" y="345"/>
                  </a:lnTo>
                  <a:lnTo>
                    <a:pt x="226" y="341"/>
                  </a:lnTo>
                  <a:lnTo>
                    <a:pt x="228" y="337"/>
                  </a:lnTo>
                  <a:lnTo>
                    <a:pt x="230" y="335"/>
                  </a:lnTo>
                  <a:lnTo>
                    <a:pt x="231" y="335"/>
                  </a:lnTo>
                  <a:lnTo>
                    <a:pt x="231" y="332"/>
                  </a:lnTo>
                  <a:lnTo>
                    <a:pt x="230" y="332"/>
                  </a:lnTo>
                  <a:lnTo>
                    <a:pt x="228" y="332"/>
                  </a:lnTo>
                  <a:lnTo>
                    <a:pt x="230" y="326"/>
                  </a:lnTo>
                  <a:lnTo>
                    <a:pt x="233" y="322"/>
                  </a:lnTo>
                  <a:lnTo>
                    <a:pt x="239" y="317"/>
                  </a:lnTo>
                  <a:lnTo>
                    <a:pt x="239" y="313"/>
                  </a:lnTo>
                  <a:lnTo>
                    <a:pt x="233" y="301"/>
                  </a:lnTo>
                  <a:lnTo>
                    <a:pt x="233" y="296"/>
                  </a:lnTo>
                  <a:lnTo>
                    <a:pt x="233" y="292"/>
                  </a:lnTo>
                  <a:lnTo>
                    <a:pt x="233" y="290"/>
                  </a:lnTo>
                  <a:lnTo>
                    <a:pt x="233" y="286"/>
                  </a:lnTo>
                  <a:lnTo>
                    <a:pt x="233" y="285"/>
                  </a:lnTo>
                  <a:lnTo>
                    <a:pt x="237" y="277"/>
                  </a:lnTo>
                  <a:lnTo>
                    <a:pt x="233" y="266"/>
                  </a:lnTo>
                  <a:lnTo>
                    <a:pt x="233" y="260"/>
                  </a:lnTo>
                  <a:lnTo>
                    <a:pt x="237" y="254"/>
                  </a:lnTo>
                  <a:lnTo>
                    <a:pt x="237" y="241"/>
                  </a:lnTo>
                  <a:lnTo>
                    <a:pt x="239" y="237"/>
                  </a:lnTo>
                  <a:lnTo>
                    <a:pt x="239" y="232"/>
                  </a:lnTo>
                  <a:lnTo>
                    <a:pt x="222" y="211"/>
                  </a:lnTo>
                  <a:lnTo>
                    <a:pt x="222" y="211"/>
                  </a:lnTo>
                  <a:lnTo>
                    <a:pt x="222" y="2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5" name="Freeform 176">
              <a:extLst>
                <a:ext uri="{FF2B5EF4-FFF2-40B4-BE49-F238E27FC236}">
                  <a16:creationId xmlns:a16="http://schemas.microsoft.com/office/drawing/2014/main" id="{16364A32-4346-DD44-B81F-5EA61B8E17CC}"/>
                </a:ext>
              </a:extLst>
            </p:cNvPr>
            <p:cNvSpPr>
              <a:spLocks/>
            </p:cNvSpPr>
            <p:nvPr/>
          </p:nvSpPr>
          <p:spPr bwMode="auto">
            <a:xfrm>
              <a:off x="5045805" y="3131673"/>
              <a:ext cx="194561" cy="199423"/>
            </a:xfrm>
            <a:custGeom>
              <a:avLst/>
              <a:gdLst/>
              <a:ahLst/>
              <a:cxnLst>
                <a:cxn ang="0">
                  <a:pos x="218" y="190"/>
                </a:cxn>
                <a:cxn ang="0">
                  <a:pos x="216" y="147"/>
                </a:cxn>
                <a:cxn ang="0">
                  <a:pos x="207" y="124"/>
                </a:cxn>
                <a:cxn ang="0">
                  <a:pos x="168" y="103"/>
                </a:cxn>
                <a:cxn ang="0">
                  <a:pos x="169" y="83"/>
                </a:cxn>
                <a:cxn ang="0">
                  <a:pos x="151" y="77"/>
                </a:cxn>
                <a:cxn ang="0">
                  <a:pos x="141" y="68"/>
                </a:cxn>
                <a:cxn ang="0">
                  <a:pos x="124" y="64"/>
                </a:cxn>
                <a:cxn ang="0">
                  <a:pos x="107" y="52"/>
                </a:cxn>
                <a:cxn ang="0">
                  <a:pos x="94" y="52"/>
                </a:cxn>
                <a:cxn ang="0">
                  <a:pos x="83" y="39"/>
                </a:cxn>
                <a:cxn ang="0">
                  <a:pos x="77" y="28"/>
                </a:cxn>
                <a:cxn ang="0">
                  <a:pos x="75" y="7"/>
                </a:cxn>
                <a:cxn ang="0">
                  <a:pos x="70" y="3"/>
                </a:cxn>
                <a:cxn ang="0">
                  <a:pos x="56" y="3"/>
                </a:cxn>
                <a:cxn ang="0">
                  <a:pos x="40" y="19"/>
                </a:cxn>
                <a:cxn ang="0">
                  <a:pos x="24" y="24"/>
                </a:cxn>
                <a:cxn ang="0">
                  <a:pos x="11" y="24"/>
                </a:cxn>
                <a:cxn ang="0">
                  <a:pos x="15" y="54"/>
                </a:cxn>
                <a:cxn ang="0">
                  <a:pos x="11" y="77"/>
                </a:cxn>
                <a:cxn ang="0">
                  <a:pos x="11" y="101"/>
                </a:cxn>
                <a:cxn ang="0">
                  <a:pos x="11" y="109"/>
                </a:cxn>
                <a:cxn ang="0">
                  <a:pos x="15" y="130"/>
                </a:cxn>
                <a:cxn ang="0">
                  <a:pos x="8" y="143"/>
                </a:cxn>
                <a:cxn ang="0">
                  <a:pos x="9" y="149"/>
                </a:cxn>
                <a:cxn ang="0">
                  <a:pos x="11" y="156"/>
                </a:cxn>
                <a:cxn ang="0">
                  <a:pos x="15" y="165"/>
                </a:cxn>
                <a:cxn ang="0">
                  <a:pos x="17" y="177"/>
                </a:cxn>
                <a:cxn ang="0">
                  <a:pos x="30" y="192"/>
                </a:cxn>
                <a:cxn ang="0">
                  <a:pos x="24" y="209"/>
                </a:cxn>
                <a:cxn ang="0">
                  <a:pos x="49" y="260"/>
                </a:cxn>
                <a:cxn ang="0">
                  <a:pos x="58" y="256"/>
                </a:cxn>
                <a:cxn ang="0">
                  <a:pos x="64" y="246"/>
                </a:cxn>
                <a:cxn ang="0">
                  <a:pos x="81" y="241"/>
                </a:cxn>
                <a:cxn ang="0">
                  <a:pos x="92" y="241"/>
                </a:cxn>
                <a:cxn ang="0">
                  <a:pos x="104" y="245"/>
                </a:cxn>
                <a:cxn ang="0">
                  <a:pos x="109" y="254"/>
                </a:cxn>
                <a:cxn ang="0">
                  <a:pos x="109" y="243"/>
                </a:cxn>
                <a:cxn ang="0">
                  <a:pos x="134" y="237"/>
                </a:cxn>
                <a:cxn ang="0">
                  <a:pos x="143" y="226"/>
                </a:cxn>
                <a:cxn ang="0">
                  <a:pos x="141" y="213"/>
                </a:cxn>
                <a:cxn ang="0">
                  <a:pos x="149" y="192"/>
                </a:cxn>
                <a:cxn ang="0">
                  <a:pos x="200" y="184"/>
                </a:cxn>
                <a:cxn ang="0">
                  <a:pos x="216" y="197"/>
                </a:cxn>
              </a:cxnLst>
              <a:rect l="0" t="0" r="r" b="b"/>
              <a:pathLst>
                <a:path w="228" h="260">
                  <a:moveTo>
                    <a:pt x="216" y="197"/>
                  </a:moveTo>
                  <a:lnTo>
                    <a:pt x="218" y="192"/>
                  </a:lnTo>
                  <a:lnTo>
                    <a:pt x="218" y="190"/>
                  </a:lnTo>
                  <a:lnTo>
                    <a:pt x="228" y="171"/>
                  </a:lnTo>
                  <a:lnTo>
                    <a:pt x="228" y="164"/>
                  </a:lnTo>
                  <a:lnTo>
                    <a:pt x="216" y="147"/>
                  </a:lnTo>
                  <a:lnTo>
                    <a:pt x="207" y="143"/>
                  </a:lnTo>
                  <a:lnTo>
                    <a:pt x="207" y="137"/>
                  </a:lnTo>
                  <a:lnTo>
                    <a:pt x="207" y="124"/>
                  </a:lnTo>
                  <a:lnTo>
                    <a:pt x="175" y="124"/>
                  </a:lnTo>
                  <a:lnTo>
                    <a:pt x="175" y="116"/>
                  </a:lnTo>
                  <a:lnTo>
                    <a:pt x="168" y="103"/>
                  </a:lnTo>
                  <a:lnTo>
                    <a:pt x="169" y="100"/>
                  </a:lnTo>
                  <a:lnTo>
                    <a:pt x="169" y="92"/>
                  </a:lnTo>
                  <a:lnTo>
                    <a:pt x="169" y="83"/>
                  </a:lnTo>
                  <a:lnTo>
                    <a:pt x="168" y="79"/>
                  </a:lnTo>
                  <a:lnTo>
                    <a:pt x="162" y="77"/>
                  </a:lnTo>
                  <a:lnTo>
                    <a:pt x="151" y="77"/>
                  </a:lnTo>
                  <a:lnTo>
                    <a:pt x="145" y="75"/>
                  </a:lnTo>
                  <a:lnTo>
                    <a:pt x="141" y="73"/>
                  </a:lnTo>
                  <a:lnTo>
                    <a:pt x="141" y="68"/>
                  </a:lnTo>
                  <a:lnTo>
                    <a:pt x="137" y="66"/>
                  </a:lnTo>
                  <a:lnTo>
                    <a:pt x="128" y="64"/>
                  </a:lnTo>
                  <a:lnTo>
                    <a:pt x="124" y="64"/>
                  </a:lnTo>
                  <a:lnTo>
                    <a:pt x="119" y="58"/>
                  </a:lnTo>
                  <a:lnTo>
                    <a:pt x="113" y="58"/>
                  </a:lnTo>
                  <a:lnTo>
                    <a:pt x="107" y="52"/>
                  </a:lnTo>
                  <a:lnTo>
                    <a:pt x="100" y="54"/>
                  </a:lnTo>
                  <a:lnTo>
                    <a:pt x="98" y="54"/>
                  </a:lnTo>
                  <a:lnTo>
                    <a:pt x="94" y="52"/>
                  </a:lnTo>
                  <a:lnTo>
                    <a:pt x="88" y="49"/>
                  </a:lnTo>
                  <a:lnTo>
                    <a:pt x="85" y="47"/>
                  </a:lnTo>
                  <a:lnTo>
                    <a:pt x="83" y="39"/>
                  </a:lnTo>
                  <a:lnTo>
                    <a:pt x="79" y="37"/>
                  </a:lnTo>
                  <a:lnTo>
                    <a:pt x="75" y="30"/>
                  </a:lnTo>
                  <a:lnTo>
                    <a:pt x="77" y="28"/>
                  </a:lnTo>
                  <a:lnTo>
                    <a:pt x="75" y="19"/>
                  </a:lnTo>
                  <a:lnTo>
                    <a:pt x="77" y="13"/>
                  </a:lnTo>
                  <a:lnTo>
                    <a:pt x="75" y="7"/>
                  </a:lnTo>
                  <a:lnTo>
                    <a:pt x="75" y="3"/>
                  </a:lnTo>
                  <a:lnTo>
                    <a:pt x="73" y="0"/>
                  </a:lnTo>
                  <a:lnTo>
                    <a:pt x="70" y="3"/>
                  </a:lnTo>
                  <a:lnTo>
                    <a:pt x="66" y="0"/>
                  </a:lnTo>
                  <a:lnTo>
                    <a:pt x="60" y="0"/>
                  </a:lnTo>
                  <a:lnTo>
                    <a:pt x="56" y="3"/>
                  </a:lnTo>
                  <a:lnTo>
                    <a:pt x="51" y="3"/>
                  </a:lnTo>
                  <a:lnTo>
                    <a:pt x="41" y="11"/>
                  </a:lnTo>
                  <a:lnTo>
                    <a:pt x="40" y="19"/>
                  </a:lnTo>
                  <a:lnTo>
                    <a:pt x="34" y="20"/>
                  </a:lnTo>
                  <a:lnTo>
                    <a:pt x="28" y="20"/>
                  </a:lnTo>
                  <a:lnTo>
                    <a:pt x="24" y="24"/>
                  </a:lnTo>
                  <a:lnTo>
                    <a:pt x="21" y="24"/>
                  </a:lnTo>
                  <a:lnTo>
                    <a:pt x="15" y="28"/>
                  </a:lnTo>
                  <a:lnTo>
                    <a:pt x="11" y="24"/>
                  </a:lnTo>
                  <a:lnTo>
                    <a:pt x="0" y="28"/>
                  </a:lnTo>
                  <a:lnTo>
                    <a:pt x="15" y="49"/>
                  </a:lnTo>
                  <a:lnTo>
                    <a:pt x="15" y="54"/>
                  </a:lnTo>
                  <a:lnTo>
                    <a:pt x="15" y="58"/>
                  </a:lnTo>
                  <a:lnTo>
                    <a:pt x="15" y="71"/>
                  </a:lnTo>
                  <a:lnTo>
                    <a:pt x="11" y="77"/>
                  </a:lnTo>
                  <a:lnTo>
                    <a:pt x="11" y="83"/>
                  </a:lnTo>
                  <a:lnTo>
                    <a:pt x="15" y="94"/>
                  </a:lnTo>
                  <a:lnTo>
                    <a:pt x="11" y="101"/>
                  </a:lnTo>
                  <a:lnTo>
                    <a:pt x="11" y="103"/>
                  </a:lnTo>
                  <a:lnTo>
                    <a:pt x="11" y="107"/>
                  </a:lnTo>
                  <a:lnTo>
                    <a:pt x="11" y="109"/>
                  </a:lnTo>
                  <a:lnTo>
                    <a:pt x="11" y="113"/>
                  </a:lnTo>
                  <a:lnTo>
                    <a:pt x="11" y="116"/>
                  </a:lnTo>
                  <a:lnTo>
                    <a:pt x="15" y="130"/>
                  </a:lnTo>
                  <a:lnTo>
                    <a:pt x="15" y="133"/>
                  </a:lnTo>
                  <a:lnTo>
                    <a:pt x="11" y="137"/>
                  </a:lnTo>
                  <a:lnTo>
                    <a:pt x="8" y="143"/>
                  </a:lnTo>
                  <a:lnTo>
                    <a:pt x="6" y="147"/>
                  </a:lnTo>
                  <a:lnTo>
                    <a:pt x="8" y="149"/>
                  </a:lnTo>
                  <a:lnTo>
                    <a:pt x="9" y="149"/>
                  </a:lnTo>
                  <a:lnTo>
                    <a:pt x="9" y="152"/>
                  </a:lnTo>
                  <a:lnTo>
                    <a:pt x="11" y="152"/>
                  </a:lnTo>
                  <a:lnTo>
                    <a:pt x="11" y="156"/>
                  </a:lnTo>
                  <a:lnTo>
                    <a:pt x="15" y="160"/>
                  </a:lnTo>
                  <a:lnTo>
                    <a:pt x="15" y="162"/>
                  </a:lnTo>
                  <a:lnTo>
                    <a:pt x="15" y="165"/>
                  </a:lnTo>
                  <a:lnTo>
                    <a:pt x="15" y="167"/>
                  </a:lnTo>
                  <a:lnTo>
                    <a:pt x="15" y="171"/>
                  </a:lnTo>
                  <a:lnTo>
                    <a:pt x="17" y="177"/>
                  </a:lnTo>
                  <a:lnTo>
                    <a:pt x="19" y="181"/>
                  </a:lnTo>
                  <a:lnTo>
                    <a:pt x="28" y="188"/>
                  </a:lnTo>
                  <a:lnTo>
                    <a:pt x="30" y="192"/>
                  </a:lnTo>
                  <a:lnTo>
                    <a:pt x="26" y="197"/>
                  </a:lnTo>
                  <a:lnTo>
                    <a:pt x="28" y="201"/>
                  </a:lnTo>
                  <a:lnTo>
                    <a:pt x="24" y="209"/>
                  </a:lnTo>
                  <a:lnTo>
                    <a:pt x="26" y="214"/>
                  </a:lnTo>
                  <a:lnTo>
                    <a:pt x="36" y="222"/>
                  </a:lnTo>
                  <a:lnTo>
                    <a:pt x="49" y="260"/>
                  </a:lnTo>
                  <a:lnTo>
                    <a:pt x="55" y="260"/>
                  </a:lnTo>
                  <a:lnTo>
                    <a:pt x="56" y="256"/>
                  </a:lnTo>
                  <a:lnTo>
                    <a:pt x="58" y="256"/>
                  </a:lnTo>
                  <a:lnTo>
                    <a:pt x="58" y="256"/>
                  </a:lnTo>
                  <a:lnTo>
                    <a:pt x="60" y="254"/>
                  </a:lnTo>
                  <a:lnTo>
                    <a:pt x="64" y="246"/>
                  </a:lnTo>
                  <a:lnTo>
                    <a:pt x="70" y="239"/>
                  </a:lnTo>
                  <a:lnTo>
                    <a:pt x="75" y="237"/>
                  </a:lnTo>
                  <a:lnTo>
                    <a:pt x="81" y="241"/>
                  </a:lnTo>
                  <a:lnTo>
                    <a:pt x="85" y="241"/>
                  </a:lnTo>
                  <a:lnTo>
                    <a:pt x="88" y="239"/>
                  </a:lnTo>
                  <a:lnTo>
                    <a:pt x="92" y="241"/>
                  </a:lnTo>
                  <a:lnTo>
                    <a:pt x="100" y="239"/>
                  </a:lnTo>
                  <a:lnTo>
                    <a:pt x="104" y="239"/>
                  </a:lnTo>
                  <a:lnTo>
                    <a:pt x="104" y="245"/>
                  </a:lnTo>
                  <a:lnTo>
                    <a:pt x="107" y="254"/>
                  </a:lnTo>
                  <a:lnTo>
                    <a:pt x="107" y="256"/>
                  </a:lnTo>
                  <a:lnTo>
                    <a:pt x="109" y="254"/>
                  </a:lnTo>
                  <a:lnTo>
                    <a:pt x="109" y="250"/>
                  </a:lnTo>
                  <a:lnTo>
                    <a:pt x="109" y="246"/>
                  </a:lnTo>
                  <a:lnTo>
                    <a:pt x="109" y="243"/>
                  </a:lnTo>
                  <a:lnTo>
                    <a:pt x="113" y="237"/>
                  </a:lnTo>
                  <a:lnTo>
                    <a:pt x="124" y="237"/>
                  </a:lnTo>
                  <a:lnTo>
                    <a:pt x="134" y="237"/>
                  </a:lnTo>
                  <a:lnTo>
                    <a:pt x="137" y="241"/>
                  </a:lnTo>
                  <a:lnTo>
                    <a:pt x="137" y="235"/>
                  </a:lnTo>
                  <a:lnTo>
                    <a:pt x="143" y="226"/>
                  </a:lnTo>
                  <a:lnTo>
                    <a:pt x="143" y="220"/>
                  </a:lnTo>
                  <a:lnTo>
                    <a:pt x="143" y="214"/>
                  </a:lnTo>
                  <a:lnTo>
                    <a:pt x="141" y="213"/>
                  </a:lnTo>
                  <a:lnTo>
                    <a:pt x="147" y="205"/>
                  </a:lnTo>
                  <a:lnTo>
                    <a:pt x="149" y="197"/>
                  </a:lnTo>
                  <a:lnTo>
                    <a:pt x="149" y="192"/>
                  </a:lnTo>
                  <a:lnTo>
                    <a:pt x="154" y="192"/>
                  </a:lnTo>
                  <a:lnTo>
                    <a:pt x="179" y="184"/>
                  </a:lnTo>
                  <a:lnTo>
                    <a:pt x="200" y="184"/>
                  </a:lnTo>
                  <a:lnTo>
                    <a:pt x="211" y="192"/>
                  </a:lnTo>
                  <a:lnTo>
                    <a:pt x="215" y="192"/>
                  </a:lnTo>
                  <a:lnTo>
                    <a:pt x="216" y="197"/>
                  </a:lnTo>
                  <a:lnTo>
                    <a:pt x="216" y="197"/>
                  </a:lnTo>
                  <a:lnTo>
                    <a:pt x="216" y="19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6" name="Freeform 177">
              <a:extLst>
                <a:ext uri="{FF2B5EF4-FFF2-40B4-BE49-F238E27FC236}">
                  <a16:creationId xmlns:a16="http://schemas.microsoft.com/office/drawing/2014/main" id="{224F4E56-7754-D248-B034-5957B19E766E}"/>
                </a:ext>
              </a:extLst>
            </p:cNvPr>
            <p:cNvSpPr>
              <a:spLocks/>
            </p:cNvSpPr>
            <p:nvPr/>
          </p:nvSpPr>
          <p:spPr bwMode="auto">
            <a:xfrm>
              <a:off x="5162712" y="3272802"/>
              <a:ext cx="135680" cy="125790"/>
            </a:xfrm>
            <a:custGeom>
              <a:avLst/>
              <a:gdLst/>
              <a:ahLst/>
              <a:cxnLst>
                <a:cxn ang="0">
                  <a:pos x="2" y="51"/>
                </a:cxn>
                <a:cxn ang="0">
                  <a:pos x="6" y="36"/>
                </a:cxn>
                <a:cxn ang="0">
                  <a:pos x="6" y="29"/>
                </a:cxn>
                <a:cxn ang="0">
                  <a:pos x="12" y="13"/>
                </a:cxn>
                <a:cxn ang="0">
                  <a:pos x="17" y="8"/>
                </a:cxn>
                <a:cxn ang="0">
                  <a:pos x="64" y="0"/>
                </a:cxn>
                <a:cxn ang="0">
                  <a:pos x="79" y="10"/>
                </a:cxn>
                <a:cxn ang="0">
                  <a:pos x="81" y="17"/>
                </a:cxn>
                <a:cxn ang="0">
                  <a:pos x="85" y="27"/>
                </a:cxn>
                <a:cxn ang="0">
                  <a:pos x="89" y="46"/>
                </a:cxn>
                <a:cxn ang="0">
                  <a:pos x="89" y="51"/>
                </a:cxn>
                <a:cxn ang="0">
                  <a:pos x="95" y="55"/>
                </a:cxn>
                <a:cxn ang="0">
                  <a:pos x="108" y="57"/>
                </a:cxn>
                <a:cxn ang="0">
                  <a:pos x="121" y="55"/>
                </a:cxn>
                <a:cxn ang="0">
                  <a:pos x="128" y="59"/>
                </a:cxn>
                <a:cxn ang="0">
                  <a:pos x="136" y="83"/>
                </a:cxn>
                <a:cxn ang="0">
                  <a:pos x="140" y="91"/>
                </a:cxn>
                <a:cxn ang="0">
                  <a:pos x="153" y="89"/>
                </a:cxn>
                <a:cxn ang="0">
                  <a:pos x="159" y="91"/>
                </a:cxn>
                <a:cxn ang="0">
                  <a:pos x="157" y="113"/>
                </a:cxn>
                <a:cxn ang="0">
                  <a:pos x="155" y="115"/>
                </a:cxn>
                <a:cxn ang="0">
                  <a:pos x="155" y="119"/>
                </a:cxn>
                <a:cxn ang="0">
                  <a:pos x="153" y="121"/>
                </a:cxn>
                <a:cxn ang="0">
                  <a:pos x="153" y="128"/>
                </a:cxn>
                <a:cxn ang="0">
                  <a:pos x="149" y="140"/>
                </a:cxn>
                <a:cxn ang="0">
                  <a:pos x="147" y="145"/>
                </a:cxn>
                <a:cxn ang="0">
                  <a:pos x="136" y="157"/>
                </a:cxn>
                <a:cxn ang="0">
                  <a:pos x="128" y="160"/>
                </a:cxn>
                <a:cxn ang="0">
                  <a:pos x="123" y="164"/>
                </a:cxn>
                <a:cxn ang="0">
                  <a:pos x="119" y="164"/>
                </a:cxn>
                <a:cxn ang="0">
                  <a:pos x="108" y="162"/>
                </a:cxn>
                <a:cxn ang="0">
                  <a:pos x="83" y="160"/>
                </a:cxn>
                <a:cxn ang="0">
                  <a:pos x="81" y="157"/>
                </a:cxn>
                <a:cxn ang="0">
                  <a:pos x="89" y="143"/>
                </a:cxn>
                <a:cxn ang="0">
                  <a:pos x="89" y="136"/>
                </a:cxn>
                <a:cxn ang="0">
                  <a:pos x="96" y="128"/>
                </a:cxn>
                <a:cxn ang="0">
                  <a:pos x="95" y="121"/>
                </a:cxn>
                <a:cxn ang="0">
                  <a:pos x="85" y="111"/>
                </a:cxn>
                <a:cxn ang="0">
                  <a:pos x="66" y="106"/>
                </a:cxn>
                <a:cxn ang="0">
                  <a:pos x="55" y="100"/>
                </a:cxn>
                <a:cxn ang="0">
                  <a:pos x="36" y="91"/>
                </a:cxn>
                <a:cxn ang="0">
                  <a:pos x="31" y="83"/>
                </a:cxn>
                <a:cxn ang="0">
                  <a:pos x="12" y="70"/>
                </a:cxn>
                <a:cxn ang="0">
                  <a:pos x="6" y="62"/>
                </a:cxn>
                <a:cxn ang="0">
                  <a:pos x="0" y="57"/>
                </a:cxn>
                <a:cxn ang="0">
                  <a:pos x="0" y="57"/>
                </a:cxn>
              </a:cxnLst>
              <a:rect l="0" t="0" r="r" b="b"/>
              <a:pathLst>
                <a:path w="159" h="164">
                  <a:moveTo>
                    <a:pt x="0" y="57"/>
                  </a:moveTo>
                  <a:lnTo>
                    <a:pt x="2" y="51"/>
                  </a:lnTo>
                  <a:lnTo>
                    <a:pt x="6" y="42"/>
                  </a:lnTo>
                  <a:lnTo>
                    <a:pt x="6" y="36"/>
                  </a:lnTo>
                  <a:lnTo>
                    <a:pt x="6" y="30"/>
                  </a:lnTo>
                  <a:lnTo>
                    <a:pt x="6" y="29"/>
                  </a:lnTo>
                  <a:lnTo>
                    <a:pt x="10" y="21"/>
                  </a:lnTo>
                  <a:lnTo>
                    <a:pt x="12" y="13"/>
                  </a:lnTo>
                  <a:lnTo>
                    <a:pt x="12" y="10"/>
                  </a:lnTo>
                  <a:lnTo>
                    <a:pt x="17" y="8"/>
                  </a:lnTo>
                  <a:lnTo>
                    <a:pt x="42" y="0"/>
                  </a:lnTo>
                  <a:lnTo>
                    <a:pt x="64" y="0"/>
                  </a:lnTo>
                  <a:lnTo>
                    <a:pt x="76" y="10"/>
                  </a:lnTo>
                  <a:lnTo>
                    <a:pt x="79" y="10"/>
                  </a:lnTo>
                  <a:lnTo>
                    <a:pt x="83" y="13"/>
                  </a:lnTo>
                  <a:lnTo>
                    <a:pt x="81" y="17"/>
                  </a:lnTo>
                  <a:lnTo>
                    <a:pt x="85" y="21"/>
                  </a:lnTo>
                  <a:lnTo>
                    <a:pt x="85" y="27"/>
                  </a:lnTo>
                  <a:lnTo>
                    <a:pt x="89" y="32"/>
                  </a:lnTo>
                  <a:lnTo>
                    <a:pt x="89" y="46"/>
                  </a:lnTo>
                  <a:lnTo>
                    <a:pt x="89" y="47"/>
                  </a:lnTo>
                  <a:lnTo>
                    <a:pt x="89" y="51"/>
                  </a:lnTo>
                  <a:lnTo>
                    <a:pt x="89" y="57"/>
                  </a:lnTo>
                  <a:lnTo>
                    <a:pt x="95" y="55"/>
                  </a:lnTo>
                  <a:lnTo>
                    <a:pt x="98" y="57"/>
                  </a:lnTo>
                  <a:lnTo>
                    <a:pt x="108" y="57"/>
                  </a:lnTo>
                  <a:lnTo>
                    <a:pt x="113" y="59"/>
                  </a:lnTo>
                  <a:lnTo>
                    <a:pt x="121" y="55"/>
                  </a:lnTo>
                  <a:lnTo>
                    <a:pt x="125" y="59"/>
                  </a:lnTo>
                  <a:lnTo>
                    <a:pt x="128" y="59"/>
                  </a:lnTo>
                  <a:lnTo>
                    <a:pt x="130" y="62"/>
                  </a:lnTo>
                  <a:lnTo>
                    <a:pt x="136" y="83"/>
                  </a:lnTo>
                  <a:lnTo>
                    <a:pt x="140" y="91"/>
                  </a:lnTo>
                  <a:lnTo>
                    <a:pt x="140" y="91"/>
                  </a:lnTo>
                  <a:lnTo>
                    <a:pt x="149" y="87"/>
                  </a:lnTo>
                  <a:lnTo>
                    <a:pt x="153" y="89"/>
                  </a:lnTo>
                  <a:lnTo>
                    <a:pt x="157" y="91"/>
                  </a:lnTo>
                  <a:lnTo>
                    <a:pt x="159" y="91"/>
                  </a:lnTo>
                  <a:lnTo>
                    <a:pt x="157" y="94"/>
                  </a:lnTo>
                  <a:lnTo>
                    <a:pt x="157" y="113"/>
                  </a:lnTo>
                  <a:lnTo>
                    <a:pt x="155" y="115"/>
                  </a:lnTo>
                  <a:lnTo>
                    <a:pt x="155" y="115"/>
                  </a:lnTo>
                  <a:lnTo>
                    <a:pt x="155" y="115"/>
                  </a:lnTo>
                  <a:lnTo>
                    <a:pt x="155" y="119"/>
                  </a:lnTo>
                  <a:lnTo>
                    <a:pt x="155" y="121"/>
                  </a:lnTo>
                  <a:lnTo>
                    <a:pt x="153" y="121"/>
                  </a:lnTo>
                  <a:lnTo>
                    <a:pt x="153" y="127"/>
                  </a:lnTo>
                  <a:lnTo>
                    <a:pt x="153" y="128"/>
                  </a:lnTo>
                  <a:lnTo>
                    <a:pt x="153" y="136"/>
                  </a:lnTo>
                  <a:lnTo>
                    <a:pt x="149" y="140"/>
                  </a:lnTo>
                  <a:lnTo>
                    <a:pt x="147" y="143"/>
                  </a:lnTo>
                  <a:lnTo>
                    <a:pt x="147" y="145"/>
                  </a:lnTo>
                  <a:lnTo>
                    <a:pt x="138" y="153"/>
                  </a:lnTo>
                  <a:lnTo>
                    <a:pt x="136" y="157"/>
                  </a:lnTo>
                  <a:lnTo>
                    <a:pt x="134" y="162"/>
                  </a:lnTo>
                  <a:lnTo>
                    <a:pt x="128" y="160"/>
                  </a:lnTo>
                  <a:lnTo>
                    <a:pt x="127" y="162"/>
                  </a:lnTo>
                  <a:lnTo>
                    <a:pt x="123" y="164"/>
                  </a:lnTo>
                  <a:lnTo>
                    <a:pt x="121" y="164"/>
                  </a:lnTo>
                  <a:lnTo>
                    <a:pt x="119" y="164"/>
                  </a:lnTo>
                  <a:lnTo>
                    <a:pt x="115" y="164"/>
                  </a:lnTo>
                  <a:lnTo>
                    <a:pt x="108" y="162"/>
                  </a:lnTo>
                  <a:lnTo>
                    <a:pt x="96" y="159"/>
                  </a:lnTo>
                  <a:lnTo>
                    <a:pt x="83" y="160"/>
                  </a:lnTo>
                  <a:lnTo>
                    <a:pt x="81" y="160"/>
                  </a:lnTo>
                  <a:lnTo>
                    <a:pt x="81" y="157"/>
                  </a:lnTo>
                  <a:lnTo>
                    <a:pt x="85" y="149"/>
                  </a:lnTo>
                  <a:lnTo>
                    <a:pt x="89" y="143"/>
                  </a:lnTo>
                  <a:lnTo>
                    <a:pt x="89" y="140"/>
                  </a:lnTo>
                  <a:lnTo>
                    <a:pt x="89" y="136"/>
                  </a:lnTo>
                  <a:lnTo>
                    <a:pt x="95" y="134"/>
                  </a:lnTo>
                  <a:lnTo>
                    <a:pt x="96" y="128"/>
                  </a:lnTo>
                  <a:lnTo>
                    <a:pt x="96" y="125"/>
                  </a:lnTo>
                  <a:lnTo>
                    <a:pt x="95" y="121"/>
                  </a:lnTo>
                  <a:lnTo>
                    <a:pt x="89" y="115"/>
                  </a:lnTo>
                  <a:lnTo>
                    <a:pt x="85" y="111"/>
                  </a:lnTo>
                  <a:lnTo>
                    <a:pt x="74" y="110"/>
                  </a:lnTo>
                  <a:lnTo>
                    <a:pt x="66" y="106"/>
                  </a:lnTo>
                  <a:lnTo>
                    <a:pt x="59" y="100"/>
                  </a:lnTo>
                  <a:lnTo>
                    <a:pt x="55" y="100"/>
                  </a:lnTo>
                  <a:lnTo>
                    <a:pt x="47" y="94"/>
                  </a:lnTo>
                  <a:lnTo>
                    <a:pt x="36" y="91"/>
                  </a:lnTo>
                  <a:lnTo>
                    <a:pt x="34" y="87"/>
                  </a:lnTo>
                  <a:lnTo>
                    <a:pt x="31" y="83"/>
                  </a:lnTo>
                  <a:lnTo>
                    <a:pt x="25" y="83"/>
                  </a:lnTo>
                  <a:lnTo>
                    <a:pt x="12" y="70"/>
                  </a:lnTo>
                  <a:lnTo>
                    <a:pt x="10" y="62"/>
                  </a:lnTo>
                  <a:lnTo>
                    <a:pt x="6" y="62"/>
                  </a:lnTo>
                  <a:lnTo>
                    <a:pt x="2" y="59"/>
                  </a:lnTo>
                  <a:lnTo>
                    <a:pt x="0" y="57"/>
                  </a:lnTo>
                  <a:lnTo>
                    <a:pt x="0" y="57"/>
                  </a:lnTo>
                  <a:lnTo>
                    <a:pt x="0" y="5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7" name="Freeform 178">
              <a:extLst>
                <a:ext uri="{FF2B5EF4-FFF2-40B4-BE49-F238E27FC236}">
                  <a16:creationId xmlns:a16="http://schemas.microsoft.com/office/drawing/2014/main" id="{4BD1C638-CDCE-AA4D-80C2-B47202B4D4EA}"/>
                </a:ext>
              </a:extLst>
            </p:cNvPr>
            <p:cNvSpPr>
              <a:spLocks/>
            </p:cNvSpPr>
            <p:nvPr/>
          </p:nvSpPr>
          <p:spPr bwMode="auto">
            <a:xfrm>
              <a:off x="5243780" y="3436176"/>
              <a:ext cx="81920" cy="85138"/>
            </a:xfrm>
            <a:custGeom>
              <a:avLst/>
              <a:gdLst/>
              <a:ahLst/>
              <a:cxnLst>
                <a:cxn ang="0">
                  <a:pos x="13" y="2"/>
                </a:cxn>
                <a:cxn ang="0">
                  <a:pos x="26" y="0"/>
                </a:cxn>
                <a:cxn ang="0">
                  <a:pos x="33" y="10"/>
                </a:cxn>
                <a:cxn ang="0">
                  <a:pos x="39" y="17"/>
                </a:cxn>
                <a:cxn ang="0">
                  <a:pos x="45" y="25"/>
                </a:cxn>
                <a:cxn ang="0">
                  <a:pos x="52" y="21"/>
                </a:cxn>
                <a:cxn ang="0">
                  <a:pos x="62" y="30"/>
                </a:cxn>
                <a:cxn ang="0">
                  <a:pos x="69" y="34"/>
                </a:cxn>
                <a:cxn ang="0">
                  <a:pos x="75" y="40"/>
                </a:cxn>
                <a:cxn ang="0">
                  <a:pos x="84" y="49"/>
                </a:cxn>
                <a:cxn ang="0">
                  <a:pos x="94" y="59"/>
                </a:cxn>
                <a:cxn ang="0">
                  <a:pos x="90" y="68"/>
                </a:cxn>
                <a:cxn ang="0">
                  <a:pos x="92" y="76"/>
                </a:cxn>
                <a:cxn ang="0">
                  <a:pos x="96" y="79"/>
                </a:cxn>
                <a:cxn ang="0">
                  <a:pos x="94" y="83"/>
                </a:cxn>
                <a:cxn ang="0">
                  <a:pos x="92" y="91"/>
                </a:cxn>
                <a:cxn ang="0">
                  <a:pos x="88" y="98"/>
                </a:cxn>
                <a:cxn ang="0">
                  <a:pos x="84" y="100"/>
                </a:cxn>
                <a:cxn ang="0">
                  <a:pos x="75" y="108"/>
                </a:cxn>
                <a:cxn ang="0">
                  <a:pos x="69" y="108"/>
                </a:cxn>
                <a:cxn ang="0">
                  <a:pos x="69" y="111"/>
                </a:cxn>
                <a:cxn ang="0">
                  <a:pos x="64" y="111"/>
                </a:cxn>
                <a:cxn ang="0">
                  <a:pos x="60" y="108"/>
                </a:cxn>
                <a:cxn ang="0">
                  <a:pos x="52" y="108"/>
                </a:cxn>
                <a:cxn ang="0">
                  <a:pos x="43" y="111"/>
                </a:cxn>
                <a:cxn ang="0">
                  <a:pos x="43" y="108"/>
                </a:cxn>
                <a:cxn ang="0">
                  <a:pos x="39" y="108"/>
                </a:cxn>
                <a:cxn ang="0">
                  <a:pos x="32" y="102"/>
                </a:cxn>
                <a:cxn ang="0">
                  <a:pos x="18" y="102"/>
                </a:cxn>
                <a:cxn ang="0">
                  <a:pos x="13" y="98"/>
                </a:cxn>
                <a:cxn ang="0">
                  <a:pos x="3" y="89"/>
                </a:cxn>
                <a:cxn ang="0">
                  <a:pos x="0" y="74"/>
                </a:cxn>
                <a:cxn ang="0">
                  <a:pos x="0" y="72"/>
                </a:cxn>
                <a:cxn ang="0">
                  <a:pos x="7" y="66"/>
                </a:cxn>
                <a:cxn ang="0">
                  <a:pos x="3" y="51"/>
                </a:cxn>
                <a:cxn ang="0">
                  <a:pos x="3" y="43"/>
                </a:cxn>
                <a:cxn ang="0">
                  <a:pos x="3" y="34"/>
                </a:cxn>
                <a:cxn ang="0">
                  <a:pos x="7" y="25"/>
                </a:cxn>
                <a:cxn ang="0">
                  <a:pos x="7" y="19"/>
                </a:cxn>
                <a:cxn ang="0">
                  <a:pos x="9" y="8"/>
                </a:cxn>
                <a:cxn ang="0">
                  <a:pos x="13" y="2"/>
                </a:cxn>
                <a:cxn ang="0">
                  <a:pos x="13" y="2"/>
                </a:cxn>
              </a:cxnLst>
              <a:rect l="0" t="0" r="r" b="b"/>
              <a:pathLst>
                <a:path w="96" h="111">
                  <a:moveTo>
                    <a:pt x="13" y="2"/>
                  </a:moveTo>
                  <a:lnTo>
                    <a:pt x="13" y="2"/>
                  </a:lnTo>
                  <a:lnTo>
                    <a:pt x="15" y="4"/>
                  </a:lnTo>
                  <a:lnTo>
                    <a:pt x="26" y="0"/>
                  </a:lnTo>
                  <a:lnTo>
                    <a:pt x="30" y="4"/>
                  </a:lnTo>
                  <a:lnTo>
                    <a:pt x="33" y="10"/>
                  </a:lnTo>
                  <a:lnTo>
                    <a:pt x="37" y="10"/>
                  </a:lnTo>
                  <a:lnTo>
                    <a:pt x="39" y="17"/>
                  </a:lnTo>
                  <a:lnTo>
                    <a:pt x="43" y="25"/>
                  </a:lnTo>
                  <a:lnTo>
                    <a:pt x="45" y="25"/>
                  </a:lnTo>
                  <a:lnTo>
                    <a:pt x="48" y="21"/>
                  </a:lnTo>
                  <a:lnTo>
                    <a:pt x="52" y="21"/>
                  </a:lnTo>
                  <a:lnTo>
                    <a:pt x="56" y="28"/>
                  </a:lnTo>
                  <a:lnTo>
                    <a:pt x="62" y="30"/>
                  </a:lnTo>
                  <a:lnTo>
                    <a:pt x="65" y="30"/>
                  </a:lnTo>
                  <a:lnTo>
                    <a:pt x="69" y="34"/>
                  </a:lnTo>
                  <a:lnTo>
                    <a:pt x="69" y="40"/>
                  </a:lnTo>
                  <a:lnTo>
                    <a:pt x="75" y="40"/>
                  </a:lnTo>
                  <a:lnTo>
                    <a:pt x="82" y="43"/>
                  </a:lnTo>
                  <a:lnTo>
                    <a:pt x="84" y="49"/>
                  </a:lnTo>
                  <a:lnTo>
                    <a:pt x="90" y="55"/>
                  </a:lnTo>
                  <a:lnTo>
                    <a:pt x="94" y="59"/>
                  </a:lnTo>
                  <a:lnTo>
                    <a:pt x="94" y="64"/>
                  </a:lnTo>
                  <a:lnTo>
                    <a:pt x="90" y="68"/>
                  </a:lnTo>
                  <a:lnTo>
                    <a:pt x="92" y="74"/>
                  </a:lnTo>
                  <a:lnTo>
                    <a:pt x="92" y="76"/>
                  </a:lnTo>
                  <a:lnTo>
                    <a:pt x="92" y="77"/>
                  </a:lnTo>
                  <a:lnTo>
                    <a:pt x="96" y="79"/>
                  </a:lnTo>
                  <a:lnTo>
                    <a:pt x="96" y="81"/>
                  </a:lnTo>
                  <a:lnTo>
                    <a:pt x="94" y="83"/>
                  </a:lnTo>
                  <a:lnTo>
                    <a:pt x="92" y="87"/>
                  </a:lnTo>
                  <a:lnTo>
                    <a:pt x="92" y="91"/>
                  </a:lnTo>
                  <a:lnTo>
                    <a:pt x="88" y="94"/>
                  </a:lnTo>
                  <a:lnTo>
                    <a:pt x="88" y="98"/>
                  </a:lnTo>
                  <a:lnTo>
                    <a:pt x="88" y="98"/>
                  </a:lnTo>
                  <a:lnTo>
                    <a:pt x="84" y="100"/>
                  </a:lnTo>
                  <a:lnTo>
                    <a:pt x="82" y="106"/>
                  </a:lnTo>
                  <a:lnTo>
                    <a:pt x="75" y="108"/>
                  </a:lnTo>
                  <a:lnTo>
                    <a:pt x="73" y="108"/>
                  </a:lnTo>
                  <a:lnTo>
                    <a:pt x="69" y="108"/>
                  </a:lnTo>
                  <a:lnTo>
                    <a:pt x="69" y="111"/>
                  </a:lnTo>
                  <a:lnTo>
                    <a:pt x="69" y="111"/>
                  </a:lnTo>
                  <a:lnTo>
                    <a:pt x="67" y="111"/>
                  </a:lnTo>
                  <a:lnTo>
                    <a:pt x="64" y="111"/>
                  </a:lnTo>
                  <a:lnTo>
                    <a:pt x="62" y="111"/>
                  </a:lnTo>
                  <a:lnTo>
                    <a:pt x="60" y="108"/>
                  </a:lnTo>
                  <a:lnTo>
                    <a:pt x="56" y="108"/>
                  </a:lnTo>
                  <a:lnTo>
                    <a:pt x="52" y="108"/>
                  </a:lnTo>
                  <a:lnTo>
                    <a:pt x="45" y="111"/>
                  </a:lnTo>
                  <a:lnTo>
                    <a:pt x="43" y="111"/>
                  </a:lnTo>
                  <a:lnTo>
                    <a:pt x="43" y="108"/>
                  </a:lnTo>
                  <a:lnTo>
                    <a:pt x="43" y="108"/>
                  </a:lnTo>
                  <a:lnTo>
                    <a:pt x="43" y="108"/>
                  </a:lnTo>
                  <a:lnTo>
                    <a:pt x="39" y="108"/>
                  </a:lnTo>
                  <a:lnTo>
                    <a:pt x="37" y="106"/>
                  </a:lnTo>
                  <a:lnTo>
                    <a:pt x="32" y="102"/>
                  </a:lnTo>
                  <a:lnTo>
                    <a:pt x="28" y="102"/>
                  </a:lnTo>
                  <a:lnTo>
                    <a:pt x="18" y="102"/>
                  </a:lnTo>
                  <a:lnTo>
                    <a:pt x="15" y="102"/>
                  </a:lnTo>
                  <a:lnTo>
                    <a:pt x="13" y="98"/>
                  </a:lnTo>
                  <a:lnTo>
                    <a:pt x="9" y="96"/>
                  </a:lnTo>
                  <a:lnTo>
                    <a:pt x="3" y="89"/>
                  </a:lnTo>
                  <a:lnTo>
                    <a:pt x="0" y="81"/>
                  </a:lnTo>
                  <a:lnTo>
                    <a:pt x="0" y="74"/>
                  </a:lnTo>
                  <a:lnTo>
                    <a:pt x="0" y="74"/>
                  </a:lnTo>
                  <a:lnTo>
                    <a:pt x="0" y="72"/>
                  </a:lnTo>
                  <a:lnTo>
                    <a:pt x="3" y="68"/>
                  </a:lnTo>
                  <a:lnTo>
                    <a:pt x="7" y="66"/>
                  </a:lnTo>
                  <a:lnTo>
                    <a:pt x="3" y="60"/>
                  </a:lnTo>
                  <a:lnTo>
                    <a:pt x="3" y="51"/>
                  </a:lnTo>
                  <a:lnTo>
                    <a:pt x="3" y="49"/>
                  </a:lnTo>
                  <a:lnTo>
                    <a:pt x="3" y="43"/>
                  </a:lnTo>
                  <a:lnTo>
                    <a:pt x="3" y="40"/>
                  </a:lnTo>
                  <a:lnTo>
                    <a:pt x="3" y="34"/>
                  </a:lnTo>
                  <a:lnTo>
                    <a:pt x="7" y="34"/>
                  </a:lnTo>
                  <a:lnTo>
                    <a:pt x="7" y="25"/>
                  </a:lnTo>
                  <a:lnTo>
                    <a:pt x="3" y="21"/>
                  </a:lnTo>
                  <a:lnTo>
                    <a:pt x="7" y="19"/>
                  </a:lnTo>
                  <a:lnTo>
                    <a:pt x="7" y="10"/>
                  </a:lnTo>
                  <a:lnTo>
                    <a:pt x="9" y="8"/>
                  </a:lnTo>
                  <a:lnTo>
                    <a:pt x="9" y="4"/>
                  </a:lnTo>
                  <a:lnTo>
                    <a:pt x="13" y="2"/>
                  </a:lnTo>
                  <a:lnTo>
                    <a:pt x="13" y="2"/>
                  </a:lnTo>
                  <a:lnTo>
                    <a:pt x="13" y="2"/>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8" name="Freeform 179">
              <a:extLst>
                <a:ext uri="{FF2B5EF4-FFF2-40B4-BE49-F238E27FC236}">
                  <a16:creationId xmlns:a16="http://schemas.microsoft.com/office/drawing/2014/main" id="{B9596518-1EF9-DD4D-A003-711B10C1D1C7}"/>
                </a:ext>
              </a:extLst>
            </p:cNvPr>
            <p:cNvSpPr>
              <a:spLocks noEditPoints="1"/>
            </p:cNvSpPr>
            <p:nvPr/>
          </p:nvSpPr>
          <p:spPr bwMode="auto">
            <a:xfrm>
              <a:off x="8043577" y="2348554"/>
              <a:ext cx="67414" cy="105081"/>
            </a:xfrm>
            <a:custGeom>
              <a:avLst/>
              <a:gdLst/>
              <a:ahLst/>
              <a:cxnLst>
                <a:cxn ang="0">
                  <a:pos x="50" y="100"/>
                </a:cxn>
                <a:cxn ang="0">
                  <a:pos x="48" y="98"/>
                </a:cxn>
                <a:cxn ang="0">
                  <a:pos x="22" y="113"/>
                </a:cxn>
                <a:cxn ang="0">
                  <a:pos x="22" y="109"/>
                </a:cxn>
                <a:cxn ang="0">
                  <a:pos x="24" y="111"/>
                </a:cxn>
                <a:cxn ang="0">
                  <a:pos x="22" y="113"/>
                </a:cxn>
                <a:cxn ang="0">
                  <a:pos x="64" y="92"/>
                </a:cxn>
                <a:cxn ang="0">
                  <a:pos x="62" y="100"/>
                </a:cxn>
                <a:cxn ang="0">
                  <a:pos x="64" y="92"/>
                </a:cxn>
                <a:cxn ang="0">
                  <a:pos x="64" y="92"/>
                </a:cxn>
                <a:cxn ang="0">
                  <a:pos x="73" y="115"/>
                </a:cxn>
                <a:cxn ang="0">
                  <a:pos x="77" y="115"/>
                </a:cxn>
                <a:cxn ang="0">
                  <a:pos x="75" y="117"/>
                </a:cxn>
                <a:cxn ang="0">
                  <a:pos x="77" y="109"/>
                </a:cxn>
                <a:cxn ang="0">
                  <a:pos x="75" y="105"/>
                </a:cxn>
                <a:cxn ang="0">
                  <a:pos x="79" y="105"/>
                </a:cxn>
                <a:cxn ang="0">
                  <a:pos x="77" y="109"/>
                </a:cxn>
                <a:cxn ang="0">
                  <a:pos x="26" y="137"/>
                </a:cxn>
                <a:cxn ang="0">
                  <a:pos x="35" y="130"/>
                </a:cxn>
                <a:cxn ang="0">
                  <a:pos x="35" y="137"/>
                </a:cxn>
                <a:cxn ang="0">
                  <a:pos x="26" y="137"/>
                </a:cxn>
                <a:cxn ang="0">
                  <a:pos x="0" y="24"/>
                </a:cxn>
                <a:cxn ang="0">
                  <a:pos x="7" y="22"/>
                </a:cxn>
                <a:cxn ang="0">
                  <a:pos x="16" y="36"/>
                </a:cxn>
                <a:cxn ang="0">
                  <a:pos x="20" y="45"/>
                </a:cxn>
                <a:cxn ang="0">
                  <a:pos x="15" y="41"/>
                </a:cxn>
                <a:cxn ang="0">
                  <a:pos x="7" y="51"/>
                </a:cxn>
                <a:cxn ang="0">
                  <a:pos x="16" y="58"/>
                </a:cxn>
                <a:cxn ang="0">
                  <a:pos x="22" y="66"/>
                </a:cxn>
                <a:cxn ang="0">
                  <a:pos x="20" y="79"/>
                </a:cxn>
                <a:cxn ang="0">
                  <a:pos x="20" y="86"/>
                </a:cxn>
                <a:cxn ang="0">
                  <a:pos x="20" y="92"/>
                </a:cxn>
                <a:cxn ang="0">
                  <a:pos x="26" y="107"/>
                </a:cxn>
                <a:cxn ang="0">
                  <a:pos x="32" y="109"/>
                </a:cxn>
                <a:cxn ang="0">
                  <a:pos x="35" y="101"/>
                </a:cxn>
                <a:cxn ang="0">
                  <a:pos x="47" y="96"/>
                </a:cxn>
                <a:cxn ang="0">
                  <a:pos x="54" y="96"/>
                </a:cxn>
                <a:cxn ang="0">
                  <a:pos x="58" y="96"/>
                </a:cxn>
                <a:cxn ang="0">
                  <a:pos x="67" y="90"/>
                </a:cxn>
                <a:cxn ang="0">
                  <a:pos x="71" y="81"/>
                </a:cxn>
                <a:cxn ang="0">
                  <a:pos x="67" y="68"/>
                </a:cxn>
                <a:cxn ang="0">
                  <a:pos x="64" y="45"/>
                </a:cxn>
                <a:cxn ang="0">
                  <a:pos x="43" y="13"/>
                </a:cxn>
                <a:cxn ang="0">
                  <a:pos x="16" y="5"/>
                </a:cxn>
                <a:cxn ang="0">
                  <a:pos x="0" y="20"/>
                </a:cxn>
                <a:cxn ang="0">
                  <a:pos x="0" y="24"/>
                </a:cxn>
              </a:cxnLst>
              <a:rect l="0" t="0" r="r" b="b"/>
              <a:pathLst>
                <a:path w="79" h="137">
                  <a:moveTo>
                    <a:pt x="48" y="98"/>
                  </a:moveTo>
                  <a:lnTo>
                    <a:pt x="50" y="98"/>
                  </a:lnTo>
                  <a:lnTo>
                    <a:pt x="50" y="100"/>
                  </a:lnTo>
                  <a:lnTo>
                    <a:pt x="48" y="100"/>
                  </a:lnTo>
                  <a:lnTo>
                    <a:pt x="48" y="98"/>
                  </a:lnTo>
                  <a:lnTo>
                    <a:pt x="48" y="98"/>
                  </a:lnTo>
                  <a:lnTo>
                    <a:pt x="48" y="98"/>
                  </a:lnTo>
                  <a:lnTo>
                    <a:pt x="48" y="98"/>
                  </a:lnTo>
                  <a:close/>
                  <a:moveTo>
                    <a:pt x="22" y="113"/>
                  </a:moveTo>
                  <a:lnTo>
                    <a:pt x="20" y="109"/>
                  </a:lnTo>
                  <a:lnTo>
                    <a:pt x="20" y="109"/>
                  </a:lnTo>
                  <a:lnTo>
                    <a:pt x="22" y="109"/>
                  </a:lnTo>
                  <a:lnTo>
                    <a:pt x="24" y="105"/>
                  </a:lnTo>
                  <a:lnTo>
                    <a:pt x="24" y="109"/>
                  </a:lnTo>
                  <a:lnTo>
                    <a:pt x="24" y="111"/>
                  </a:lnTo>
                  <a:lnTo>
                    <a:pt x="24" y="111"/>
                  </a:lnTo>
                  <a:lnTo>
                    <a:pt x="22" y="113"/>
                  </a:lnTo>
                  <a:lnTo>
                    <a:pt x="22" y="113"/>
                  </a:lnTo>
                  <a:lnTo>
                    <a:pt x="22" y="113"/>
                  </a:lnTo>
                  <a:lnTo>
                    <a:pt x="22" y="113"/>
                  </a:lnTo>
                  <a:close/>
                  <a:moveTo>
                    <a:pt x="64" y="92"/>
                  </a:moveTo>
                  <a:lnTo>
                    <a:pt x="60" y="96"/>
                  </a:lnTo>
                  <a:lnTo>
                    <a:pt x="60" y="96"/>
                  </a:lnTo>
                  <a:lnTo>
                    <a:pt x="62" y="100"/>
                  </a:lnTo>
                  <a:lnTo>
                    <a:pt x="64" y="98"/>
                  </a:lnTo>
                  <a:lnTo>
                    <a:pt x="64" y="96"/>
                  </a:lnTo>
                  <a:lnTo>
                    <a:pt x="64" y="92"/>
                  </a:lnTo>
                  <a:lnTo>
                    <a:pt x="64" y="92"/>
                  </a:lnTo>
                  <a:lnTo>
                    <a:pt x="64" y="92"/>
                  </a:lnTo>
                  <a:lnTo>
                    <a:pt x="64" y="92"/>
                  </a:lnTo>
                  <a:lnTo>
                    <a:pt x="64" y="92"/>
                  </a:lnTo>
                  <a:close/>
                  <a:moveTo>
                    <a:pt x="75" y="117"/>
                  </a:moveTo>
                  <a:lnTo>
                    <a:pt x="73" y="115"/>
                  </a:lnTo>
                  <a:lnTo>
                    <a:pt x="75" y="113"/>
                  </a:lnTo>
                  <a:lnTo>
                    <a:pt x="79" y="113"/>
                  </a:lnTo>
                  <a:lnTo>
                    <a:pt x="77" y="115"/>
                  </a:lnTo>
                  <a:lnTo>
                    <a:pt x="75" y="117"/>
                  </a:lnTo>
                  <a:lnTo>
                    <a:pt x="75" y="117"/>
                  </a:lnTo>
                  <a:lnTo>
                    <a:pt x="75" y="117"/>
                  </a:lnTo>
                  <a:lnTo>
                    <a:pt x="75" y="117"/>
                  </a:lnTo>
                  <a:lnTo>
                    <a:pt x="75" y="117"/>
                  </a:lnTo>
                  <a:close/>
                  <a:moveTo>
                    <a:pt x="77" y="109"/>
                  </a:moveTo>
                  <a:lnTo>
                    <a:pt x="75" y="111"/>
                  </a:lnTo>
                  <a:lnTo>
                    <a:pt x="75" y="107"/>
                  </a:lnTo>
                  <a:lnTo>
                    <a:pt x="75" y="105"/>
                  </a:lnTo>
                  <a:lnTo>
                    <a:pt x="77" y="101"/>
                  </a:lnTo>
                  <a:lnTo>
                    <a:pt x="79" y="101"/>
                  </a:lnTo>
                  <a:lnTo>
                    <a:pt x="79" y="105"/>
                  </a:lnTo>
                  <a:lnTo>
                    <a:pt x="79" y="105"/>
                  </a:lnTo>
                  <a:lnTo>
                    <a:pt x="77" y="109"/>
                  </a:lnTo>
                  <a:lnTo>
                    <a:pt x="77" y="109"/>
                  </a:lnTo>
                  <a:lnTo>
                    <a:pt x="77" y="109"/>
                  </a:lnTo>
                  <a:lnTo>
                    <a:pt x="77" y="109"/>
                  </a:lnTo>
                  <a:close/>
                  <a:moveTo>
                    <a:pt x="26" y="137"/>
                  </a:moveTo>
                  <a:lnTo>
                    <a:pt x="26" y="135"/>
                  </a:lnTo>
                  <a:lnTo>
                    <a:pt x="28" y="132"/>
                  </a:lnTo>
                  <a:lnTo>
                    <a:pt x="35" y="130"/>
                  </a:lnTo>
                  <a:lnTo>
                    <a:pt x="39" y="132"/>
                  </a:lnTo>
                  <a:lnTo>
                    <a:pt x="39" y="132"/>
                  </a:lnTo>
                  <a:lnTo>
                    <a:pt x="35" y="137"/>
                  </a:lnTo>
                  <a:lnTo>
                    <a:pt x="32" y="137"/>
                  </a:lnTo>
                  <a:lnTo>
                    <a:pt x="26" y="137"/>
                  </a:lnTo>
                  <a:lnTo>
                    <a:pt x="26" y="137"/>
                  </a:lnTo>
                  <a:lnTo>
                    <a:pt x="26" y="137"/>
                  </a:lnTo>
                  <a:lnTo>
                    <a:pt x="26" y="137"/>
                  </a:lnTo>
                  <a:close/>
                  <a:moveTo>
                    <a:pt x="0" y="24"/>
                  </a:moveTo>
                  <a:lnTo>
                    <a:pt x="0" y="24"/>
                  </a:lnTo>
                  <a:lnTo>
                    <a:pt x="3" y="22"/>
                  </a:lnTo>
                  <a:lnTo>
                    <a:pt x="7" y="22"/>
                  </a:lnTo>
                  <a:lnTo>
                    <a:pt x="3" y="24"/>
                  </a:lnTo>
                  <a:lnTo>
                    <a:pt x="11" y="30"/>
                  </a:lnTo>
                  <a:lnTo>
                    <a:pt x="16" y="36"/>
                  </a:lnTo>
                  <a:lnTo>
                    <a:pt x="20" y="39"/>
                  </a:lnTo>
                  <a:lnTo>
                    <a:pt x="16" y="41"/>
                  </a:lnTo>
                  <a:lnTo>
                    <a:pt x="20" y="45"/>
                  </a:lnTo>
                  <a:lnTo>
                    <a:pt x="20" y="47"/>
                  </a:lnTo>
                  <a:lnTo>
                    <a:pt x="16" y="45"/>
                  </a:lnTo>
                  <a:lnTo>
                    <a:pt x="15" y="41"/>
                  </a:lnTo>
                  <a:lnTo>
                    <a:pt x="13" y="45"/>
                  </a:lnTo>
                  <a:lnTo>
                    <a:pt x="11" y="45"/>
                  </a:lnTo>
                  <a:lnTo>
                    <a:pt x="7" y="51"/>
                  </a:lnTo>
                  <a:lnTo>
                    <a:pt x="15" y="54"/>
                  </a:lnTo>
                  <a:lnTo>
                    <a:pt x="16" y="54"/>
                  </a:lnTo>
                  <a:lnTo>
                    <a:pt x="16" y="58"/>
                  </a:lnTo>
                  <a:lnTo>
                    <a:pt x="20" y="66"/>
                  </a:lnTo>
                  <a:lnTo>
                    <a:pt x="20" y="68"/>
                  </a:lnTo>
                  <a:lnTo>
                    <a:pt x="22" y="66"/>
                  </a:lnTo>
                  <a:lnTo>
                    <a:pt x="24" y="73"/>
                  </a:lnTo>
                  <a:lnTo>
                    <a:pt x="20" y="77"/>
                  </a:lnTo>
                  <a:lnTo>
                    <a:pt x="20" y="79"/>
                  </a:lnTo>
                  <a:lnTo>
                    <a:pt x="20" y="83"/>
                  </a:lnTo>
                  <a:lnTo>
                    <a:pt x="20" y="85"/>
                  </a:lnTo>
                  <a:lnTo>
                    <a:pt x="20" y="86"/>
                  </a:lnTo>
                  <a:lnTo>
                    <a:pt x="20" y="90"/>
                  </a:lnTo>
                  <a:lnTo>
                    <a:pt x="20" y="92"/>
                  </a:lnTo>
                  <a:lnTo>
                    <a:pt x="20" y="92"/>
                  </a:lnTo>
                  <a:lnTo>
                    <a:pt x="22" y="101"/>
                  </a:lnTo>
                  <a:lnTo>
                    <a:pt x="26" y="101"/>
                  </a:lnTo>
                  <a:lnTo>
                    <a:pt x="26" y="107"/>
                  </a:lnTo>
                  <a:lnTo>
                    <a:pt x="28" y="107"/>
                  </a:lnTo>
                  <a:lnTo>
                    <a:pt x="28" y="111"/>
                  </a:lnTo>
                  <a:lnTo>
                    <a:pt x="32" y="109"/>
                  </a:lnTo>
                  <a:lnTo>
                    <a:pt x="32" y="105"/>
                  </a:lnTo>
                  <a:lnTo>
                    <a:pt x="33" y="105"/>
                  </a:lnTo>
                  <a:lnTo>
                    <a:pt x="35" y="101"/>
                  </a:lnTo>
                  <a:lnTo>
                    <a:pt x="43" y="96"/>
                  </a:lnTo>
                  <a:lnTo>
                    <a:pt x="47" y="96"/>
                  </a:lnTo>
                  <a:lnTo>
                    <a:pt x="47" y="96"/>
                  </a:lnTo>
                  <a:lnTo>
                    <a:pt x="50" y="92"/>
                  </a:lnTo>
                  <a:lnTo>
                    <a:pt x="50" y="92"/>
                  </a:lnTo>
                  <a:lnTo>
                    <a:pt x="54" y="96"/>
                  </a:lnTo>
                  <a:lnTo>
                    <a:pt x="56" y="96"/>
                  </a:lnTo>
                  <a:lnTo>
                    <a:pt x="56" y="98"/>
                  </a:lnTo>
                  <a:lnTo>
                    <a:pt x="58" y="96"/>
                  </a:lnTo>
                  <a:lnTo>
                    <a:pt x="58" y="92"/>
                  </a:lnTo>
                  <a:lnTo>
                    <a:pt x="62" y="90"/>
                  </a:lnTo>
                  <a:lnTo>
                    <a:pt x="67" y="90"/>
                  </a:lnTo>
                  <a:lnTo>
                    <a:pt x="69" y="85"/>
                  </a:lnTo>
                  <a:lnTo>
                    <a:pt x="69" y="83"/>
                  </a:lnTo>
                  <a:lnTo>
                    <a:pt x="71" y="81"/>
                  </a:lnTo>
                  <a:lnTo>
                    <a:pt x="71" y="66"/>
                  </a:lnTo>
                  <a:lnTo>
                    <a:pt x="69" y="66"/>
                  </a:lnTo>
                  <a:lnTo>
                    <a:pt x="67" y="68"/>
                  </a:lnTo>
                  <a:lnTo>
                    <a:pt x="67" y="62"/>
                  </a:lnTo>
                  <a:lnTo>
                    <a:pt x="67" y="51"/>
                  </a:lnTo>
                  <a:lnTo>
                    <a:pt x="64" y="45"/>
                  </a:lnTo>
                  <a:lnTo>
                    <a:pt x="64" y="39"/>
                  </a:lnTo>
                  <a:lnTo>
                    <a:pt x="54" y="24"/>
                  </a:lnTo>
                  <a:lnTo>
                    <a:pt x="43" y="13"/>
                  </a:lnTo>
                  <a:lnTo>
                    <a:pt x="35" y="0"/>
                  </a:lnTo>
                  <a:lnTo>
                    <a:pt x="30" y="5"/>
                  </a:lnTo>
                  <a:lnTo>
                    <a:pt x="16" y="5"/>
                  </a:lnTo>
                  <a:lnTo>
                    <a:pt x="11" y="13"/>
                  </a:lnTo>
                  <a:lnTo>
                    <a:pt x="7" y="13"/>
                  </a:lnTo>
                  <a:lnTo>
                    <a:pt x="0" y="20"/>
                  </a:lnTo>
                  <a:lnTo>
                    <a:pt x="0" y="24"/>
                  </a:lnTo>
                  <a:lnTo>
                    <a:pt x="0" y="24"/>
                  </a:lnTo>
                  <a:lnTo>
                    <a:pt x="0" y="24"/>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9" name="Freeform 180">
              <a:extLst>
                <a:ext uri="{FF2B5EF4-FFF2-40B4-BE49-F238E27FC236}">
                  <a16:creationId xmlns:a16="http://schemas.microsoft.com/office/drawing/2014/main" id="{78C8761A-1BB1-FA4C-93DF-8227EFFE3FB0}"/>
                </a:ext>
              </a:extLst>
            </p:cNvPr>
            <p:cNvSpPr>
              <a:spLocks/>
            </p:cNvSpPr>
            <p:nvPr/>
          </p:nvSpPr>
          <p:spPr bwMode="auto">
            <a:xfrm>
              <a:off x="8006032" y="2255746"/>
              <a:ext cx="77654" cy="117353"/>
            </a:xfrm>
            <a:custGeom>
              <a:avLst/>
              <a:gdLst/>
              <a:ahLst/>
              <a:cxnLst>
                <a:cxn ang="0">
                  <a:pos x="0" y="85"/>
                </a:cxn>
                <a:cxn ang="0">
                  <a:pos x="8" y="76"/>
                </a:cxn>
                <a:cxn ang="0">
                  <a:pos x="13" y="70"/>
                </a:cxn>
                <a:cxn ang="0">
                  <a:pos x="21" y="62"/>
                </a:cxn>
                <a:cxn ang="0">
                  <a:pos x="25" y="49"/>
                </a:cxn>
                <a:cxn ang="0">
                  <a:pos x="25" y="40"/>
                </a:cxn>
                <a:cxn ang="0">
                  <a:pos x="32" y="44"/>
                </a:cxn>
                <a:cxn ang="0">
                  <a:pos x="38" y="45"/>
                </a:cxn>
                <a:cxn ang="0">
                  <a:pos x="45" y="45"/>
                </a:cxn>
                <a:cxn ang="0">
                  <a:pos x="57" y="45"/>
                </a:cxn>
                <a:cxn ang="0">
                  <a:pos x="60" y="40"/>
                </a:cxn>
                <a:cxn ang="0">
                  <a:pos x="53" y="30"/>
                </a:cxn>
                <a:cxn ang="0">
                  <a:pos x="59" y="30"/>
                </a:cxn>
                <a:cxn ang="0">
                  <a:pos x="66" y="19"/>
                </a:cxn>
                <a:cxn ang="0">
                  <a:pos x="74" y="15"/>
                </a:cxn>
                <a:cxn ang="0">
                  <a:pos x="74" y="10"/>
                </a:cxn>
                <a:cxn ang="0">
                  <a:pos x="74" y="0"/>
                </a:cxn>
                <a:cxn ang="0">
                  <a:pos x="79" y="4"/>
                </a:cxn>
                <a:cxn ang="0">
                  <a:pos x="79" y="10"/>
                </a:cxn>
                <a:cxn ang="0">
                  <a:pos x="91" y="15"/>
                </a:cxn>
                <a:cxn ang="0">
                  <a:pos x="83" y="23"/>
                </a:cxn>
                <a:cxn ang="0">
                  <a:pos x="83" y="27"/>
                </a:cxn>
                <a:cxn ang="0">
                  <a:pos x="79" y="40"/>
                </a:cxn>
                <a:cxn ang="0">
                  <a:pos x="83" y="53"/>
                </a:cxn>
                <a:cxn ang="0">
                  <a:pos x="85" y="60"/>
                </a:cxn>
                <a:cxn ang="0">
                  <a:pos x="83" y="66"/>
                </a:cxn>
                <a:cxn ang="0">
                  <a:pos x="74" y="77"/>
                </a:cxn>
                <a:cxn ang="0">
                  <a:pos x="70" y="83"/>
                </a:cxn>
                <a:cxn ang="0">
                  <a:pos x="62" y="85"/>
                </a:cxn>
                <a:cxn ang="0">
                  <a:pos x="55" y="93"/>
                </a:cxn>
                <a:cxn ang="0">
                  <a:pos x="57" y="100"/>
                </a:cxn>
                <a:cxn ang="0">
                  <a:pos x="57" y="108"/>
                </a:cxn>
                <a:cxn ang="0">
                  <a:pos x="64" y="113"/>
                </a:cxn>
                <a:cxn ang="0">
                  <a:pos x="79" y="125"/>
                </a:cxn>
                <a:cxn ang="0">
                  <a:pos x="60" y="130"/>
                </a:cxn>
                <a:cxn ang="0">
                  <a:pos x="47" y="138"/>
                </a:cxn>
                <a:cxn ang="0">
                  <a:pos x="40" y="147"/>
                </a:cxn>
                <a:cxn ang="0">
                  <a:pos x="34" y="143"/>
                </a:cxn>
                <a:cxn ang="0">
                  <a:pos x="32" y="151"/>
                </a:cxn>
                <a:cxn ang="0">
                  <a:pos x="25" y="153"/>
                </a:cxn>
                <a:cxn ang="0">
                  <a:pos x="27" y="143"/>
                </a:cxn>
                <a:cxn ang="0">
                  <a:pos x="19" y="145"/>
                </a:cxn>
                <a:cxn ang="0">
                  <a:pos x="19" y="140"/>
                </a:cxn>
                <a:cxn ang="0">
                  <a:pos x="23" y="128"/>
                </a:cxn>
                <a:cxn ang="0">
                  <a:pos x="30" y="125"/>
                </a:cxn>
                <a:cxn ang="0">
                  <a:pos x="21" y="126"/>
                </a:cxn>
                <a:cxn ang="0">
                  <a:pos x="19" y="115"/>
                </a:cxn>
                <a:cxn ang="0">
                  <a:pos x="21" y="104"/>
                </a:cxn>
                <a:cxn ang="0">
                  <a:pos x="25" y="100"/>
                </a:cxn>
                <a:cxn ang="0">
                  <a:pos x="19" y="104"/>
                </a:cxn>
                <a:cxn ang="0">
                  <a:pos x="13" y="100"/>
                </a:cxn>
                <a:cxn ang="0">
                  <a:pos x="8" y="100"/>
                </a:cxn>
                <a:cxn ang="0">
                  <a:pos x="4" y="96"/>
                </a:cxn>
                <a:cxn ang="0">
                  <a:pos x="0" y="96"/>
                </a:cxn>
                <a:cxn ang="0">
                  <a:pos x="0" y="96"/>
                </a:cxn>
              </a:cxnLst>
              <a:rect l="0" t="0" r="r" b="b"/>
              <a:pathLst>
                <a:path w="91" h="153">
                  <a:moveTo>
                    <a:pt x="0" y="96"/>
                  </a:moveTo>
                  <a:lnTo>
                    <a:pt x="0" y="85"/>
                  </a:lnTo>
                  <a:lnTo>
                    <a:pt x="8" y="81"/>
                  </a:lnTo>
                  <a:lnTo>
                    <a:pt x="8" y="76"/>
                  </a:lnTo>
                  <a:lnTo>
                    <a:pt x="8" y="74"/>
                  </a:lnTo>
                  <a:lnTo>
                    <a:pt x="13" y="70"/>
                  </a:lnTo>
                  <a:lnTo>
                    <a:pt x="17" y="64"/>
                  </a:lnTo>
                  <a:lnTo>
                    <a:pt x="21" y="62"/>
                  </a:lnTo>
                  <a:lnTo>
                    <a:pt x="23" y="53"/>
                  </a:lnTo>
                  <a:lnTo>
                    <a:pt x="25" y="49"/>
                  </a:lnTo>
                  <a:lnTo>
                    <a:pt x="25" y="47"/>
                  </a:lnTo>
                  <a:lnTo>
                    <a:pt x="25" y="40"/>
                  </a:lnTo>
                  <a:lnTo>
                    <a:pt x="28" y="38"/>
                  </a:lnTo>
                  <a:lnTo>
                    <a:pt x="32" y="44"/>
                  </a:lnTo>
                  <a:lnTo>
                    <a:pt x="34" y="44"/>
                  </a:lnTo>
                  <a:lnTo>
                    <a:pt x="38" y="45"/>
                  </a:lnTo>
                  <a:lnTo>
                    <a:pt x="40" y="45"/>
                  </a:lnTo>
                  <a:lnTo>
                    <a:pt x="45" y="45"/>
                  </a:lnTo>
                  <a:lnTo>
                    <a:pt x="53" y="45"/>
                  </a:lnTo>
                  <a:lnTo>
                    <a:pt x="57" y="45"/>
                  </a:lnTo>
                  <a:lnTo>
                    <a:pt x="60" y="44"/>
                  </a:lnTo>
                  <a:lnTo>
                    <a:pt x="60" y="40"/>
                  </a:lnTo>
                  <a:lnTo>
                    <a:pt x="55" y="34"/>
                  </a:lnTo>
                  <a:lnTo>
                    <a:pt x="53" y="30"/>
                  </a:lnTo>
                  <a:lnTo>
                    <a:pt x="55" y="30"/>
                  </a:lnTo>
                  <a:lnTo>
                    <a:pt x="59" y="30"/>
                  </a:lnTo>
                  <a:lnTo>
                    <a:pt x="66" y="23"/>
                  </a:lnTo>
                  <a:lnTo>
                    <a:pt x="66" y="19"/>
                  </a:lnTo>
                  <a:lnTo>
                    <a:pt x="70" y="15"/>
                  </a:lnTo>
                  <a:lnTo>
                    <a:pt x="74" y="15"/>
                  </a:lnTo>
                  <a:lnTo>
                    <a:pt x="74" y="13"/>
                  </a:lnTo>
                  <a:lnTo>
                    <a:pt x="74" y="10"/>
                  </a:lnTo>
                  <a:lnTo>
                    <a:pt x="74" y="4"/>
                  </a:lnTo>
                  <a:lnTo>
                    <a:pt x="74" y="0"/>
                  </a:lnTo>
                  <a:lnTo>
                    <a:pt x="77" y="0"/>
                  </a:lnTo>
                  <a:lnTo>
                    <a:pt x="79" y="4"/>
                  </a:lnTo>
                  <a:lnTo>
                    <a:pt x="79" y="6"/>
                  </a:lnTo>
                  <a:lnTo>
                    <a:pt x="79" y="10"/>
                  </a:lnTo>
                  <a:lnTo>
                    <a:pt x="87" y="10"/>
                  </a:lnTo>
                  <a:lnTo>
                    <a:pt x="91" y="15"/>
                  </a:lnTo>
                  <a:lnTo>
                    <a:pt x="91" y="15"/>
                  </a:lnTo>
                  <a:lnTo>
                    <a:pt x="83" y="23"/>
                  </a:lnTo>
                  <a:lnTo>
                    <a:pt x="83" y="21"/>
                  </a:lnTo>
                  <a:lnTo>
                    <a:pt x="83" y="27"/>
                  </a:lnTo>
                  <a:lnTo>
                    <a:pt x="79" y="34"/>
                  </a:lnTo>
                  <a:lnTo>
                    <a:pt x="79" y="40"/>
                  </a:lnTo>
                  <a:lnTo>
                    <a:pt x="83" y="44"/>
                  </a:lnTo>
                  <a:lnTo>
                    <a:pt x="83" y="53"/>
                  </a:lnTo>
                  <a:lnTo>
                    <a:pt x="87" y="57"/>
                  </a:lnTo>
                  <a:lnTo>
                    <a:pt x="85" y="60"/>
                  </a:lnTo>
                  <a:lnTo>
                    <a:pt x="79" y="64"/>
                  </a:lnTo>
                  <a:lnTo>
                    <a:pt x="83" y="66"/>
                  </a:lnTo>
                  <a:lnTo>
                    <a:pt x="70" y="76"/>
                  </a:lnTo>
                  <a:lnTo>
                    <a:pt x="74" y="77"/>
                  </a:lnTo>
                  <a:lnTo>
                    <a:pt x="70" y="81"/>
                  </a:lnTo>
                  <a:lnTo>
                    <a:pt x="70" y="83"/>
                  </a:lnTo>
                  <a:lnTo>
                    <a:pt x="66" y="83"/>
                  </a:lnTo>
                  <a:lnTo>
                    <a:pt x="62" y="85"/>
                  </a:lnTo>
                  <a:lnTo>
                    <a:pt x="60" y="89"/>
                  </a:lnTo>
                  <a:lnTo>
                    <a:pt x="55" y="93"/>
                  </a:lnTo>
                  <a:lnTo>
                    <a:pt x="55" y="98"/>
                  </a:lnTo>
                  <a:lnTo>
                    <a:pt x="57" y="100"/>
                  </a:lnTo>
                  <a:lnTo>
                    <a:pt x="55" y="104"/>
                  </a:lnTo>
                  <a:lnTo>
                    <a:pt x="57" y="108"/>
                  </a:lnTo>
                  <a:lnTo>
                    <a:pt x="62" y="109"/>
                  </a:lnTo>
                  <a:lnTo>
                    <a:pt x="64" y="113"/>
                  </a:lnTo>
                  <a:lnTo>
                    <a:pt x="79" y="121"/>
                  </a:lnTo>
                  <a:lnTo>
                    <a:pt x="79" y="125"/>
                  </a:lnTo>
                  <a:lnTo>
                    <a:pt x="74" y="130"/>
                  </a:lnTo>
                  <a:lnTo>
                    <a:pt x="60" y="130"/>
                  </a:lnTo>
                  <a:lnTo>
                    <a:pt x="53" y="138"/>
                  </a:lnTo>
                  <a:lnTo>
                    <a:pt x="47" y="138"/>
                  </a:lnTo>
                  <a:lnTo>
                    <a:pt x="40" y="143"/>
                  </a:lnTo>
                  <a:lnTo>
                    <a:pt x="40" y="147"/>
                  </a:lnTo>
                  <a:lnTo>
                    <a:pt x="34" y="143"/>
                  </a:lnTo>
                  <a:lnTo>
                    <a:pt x="34" y="143"/>
                  </a:lnTo>
                  <a:lnTo>
                    <a:pt x="34" y="145"/>
                  </a:lnTo>
                  <a:lnTo>
                    <a:pt x="32" y="151"/>
                  </a:lnTo>
                  <a:lnTo>
                    <a:pt x="28" y="149"/>
                  </a:lnTo>
                  <a:lnTo>
                    <a:pt x="25" y="153"/>
                  </a:lnTo>
                  <a:lnTo>
                    <a:pt x="23" y="149"/>
                  </a:lnTo>
                  <a:lnTo>
                    <a:pt x="27" y="143"/>
                  </a:lnTo>
                  <a:lnTo>
                    <a:pt x="23" y="143"/>
                  </a:lnTo>
                  <a:lnTo>
                    <a:pt x="19" y="145"/>
                  </a:lnTo>
                  <a:lnTo>
                    <a:pt x="17" y="143"/>
                  </a:lnTo>
                  <a:lnTo>
                    <a:pt x="19" y="140"/>
                  </a:lnTo>
                  <a:lnTo>
                    <a:pt x="19" y="134"/>
                  </a:lnTo>
                  <a:lnTo>
                    <a:pt x="23" y="128"/>
                  </a:lnTo>
                  <a:lnTo>
                    <a:pt x="27" y="128"/>
                  </a:lnTo>
                  <a:lnTo>
                    <a:pt x="30" y="125"/>
                  </a:lnTo>
                  <a:lnTo>
                    <a:pt x="27" y="126"/>
                  </a:lnTo>
                  <a:lnTo>
                    <a:pt x="21" y="126"/>
                  </a:lnTo>
                  <a:lnTo>
                    <a:pt x="19" y="125"/>
                  </a:lnTo>
                  <a:lnTo>
                    <a:pt x="19" y="115"/>
                  </a:lnTo>
                  <a:lnTo>
                    <a:pt x="23" y="108"/>
                  </a:lnTo>
                  <a:lnTo>
                    <a:pt x="21" y="104"/>
                  </a:lnTo>
                  <a:lnTo>
                    <a:pt x="23" y="104"/>
                  </a:lnTo>
                  <a:lnTo>
                    <a:pt x="25" y="100"/>
                  </a:lnTo>
                  <a:lnTo>
                    <a:pt x="21" y="100"/>
                  </a:lnTo>
                  <a:lnTo>
                    <a:pt x="19" y="104"/>
                  </a:lnTo>
                  <a:lnTo>
                    <a:pt x="13" y="104"/>
                  </a:lnTo>
                  <a:lnTo>
                    <a:pt x="13" y="100"/>
                  </a:lnTo>
                  <a:lnTo>
                    <a:pt x="8" y="98"/>
                  </a:lnTo>
                  <a:lnTo>
                    <a:pt x="8" y="100"/>
                  </a:lnTo>
                  <a:lnTo>
                    <a:pt x="4" y="104"/>
                  </a:lnTo>
                  <a:lnTo>
                    <a:pt x="4" y="96"/>
                  </a:lnTo>
                  <a:lnTo>
                    <a:pt x="4" y="98"/>
                  </a:lnTo>
                  <a:lnTo>
                    <a:pt x="0" y="96"/>
                  </a:lnTo>
                  <a:lnTo>
                    <a:pt x="0" y="96"/>
                  </a:lnTo>
                  <a:lnTo>
                    <a:pt x="0" y="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0" name="Freeform 181">
              <a:extLst>
                <a:ext uri="{FF2B5EF4-FFF2-40B4-BE49-F238E27FC236}">
                  <a16:creationId xmlns:a16="http://schemas.microsoft.com/office/drawing/2014/main" id="{8F2B50A5-2C74-C049-88E9-D11B7DCD5879}"/>
                </a:ext>
              </a:extLst>
            </p:cNvPr>
            <p:cNvSpPr>
              <a:spLocks noEditPoints="1"/>
            </p:cNvSpPr>
            <p:nvPr/>
          </p:nvSpPr>
          <p:spPr bwMode="auto">
            <a:xfrm>
              <a:off x="8087951" y="3120168"/>
              <a:ext cx="48640" cy="11505"/>
            </a:xfrm>
            <a:custGeom>
              <a:avLst/>
              <a:gdLst/>
              <a:ahLst/>
              <a:cxnLst>
                <a:cxn ang="0">
                  <a:pos x="0" y="11"/>
                </a:cxn>
                <a:cxn ang="0">
                  <a:pos x="4" y="15"/>
                </a:cxn>
                <a:cxn ang="0">
                  <a:pos x="8" y="13"/>
                </a:cxn>
                <a:cxn ang="0">
                  <a:pos x="10" y="13"/>
                </a:cxn>
                <a:cxn ang="0">
                  <a:pos x="10" y="9"/>
                </a:cxn>
                <a:cxn ang="0">
                  <a:pos x="8" y="9"/>
                </a:cxn>
                <a:cxn ang="0">
                  <a:pos x="4" y="11"/>
                </a:cxn>
                <a:cxn ang="0">
                  <a:pos x="0" y="11"/>
                </a:cxn>
                <a:cxn ang="0">
                  <a:pos x="0" y="11"/>
                </a:cxn>
                <a:cxn ang="0">
                  <a:pos x="0" y="11"/>
                </a:cxn>
                <a:cxn ang="0">
                  <a:pos x="0" y="11"/>
                </a:cxn>
                <a:cxn ang="0">
                  <a:pos x="15" y="7"/>
                </a:cxn>
                <a:cxn ang="0">
                  <a:pos x="19" y="11"/>
                </a:cxn>
                <a:cxn ang="0">
                  <a:pos x="23" y="15"/>
                </a:cxn>
                <a:cxn ang="0">
                  <a:pos x="23" y="15"/>
                </a:cxn>
                <a:cxn ang="0">
                  <a:pos x="27" y="11"/>
                </a:cxn>
                <a:cxn ang="0">
                  <a:pos x="30" y="11"/>
                </a:cxn>
                <a:cxn ang="0">
                  <a:pos x="32" y="11"/>
                </a:cxn>
                <a:cxn ang="0">
                  <a:pos x="42" y="11"/>
                </a:cxn>
                <a:cxn ang="0">
                  <a:pos x="45" y="7"/>
                </a:cxn>
                <a:cxn ang="0">
                  <a:pos x="51" y="5"/>
                </a:cxn>
                <a:cxn ang="0">
                  <a:pos x="53" y="5"/>
                </a:cxn>
                <a:cxn ang="0">
                  <a:pos x="55" y="5"/>
                </a:cxn>
                <a:cxn ang="0">
                  <a:pos x="57" y="2"/>
                </a:cxn>
                <a:cxn ang="0">
                  <a:pos x="57" y="0"/>
                </a:cxn>
                <a:cxn ang="0">
                  <a:pos x="57" y="0"/>
                </a:cxn>
                <a:cxn ang="0">
                  <a:pos x="49" y="0"/>
                </a:cxn>
                <a:cxn ang="0">
                  <a:pos x="44" y="0"/>
                </a:cxn>
                <a:cxn ang="0">
                  <a:pos x="42" y="2"/>
                </a:cxn>
                <a:cxn ang="0">
                  <a:pos x="38" y="2"/>
                </a:cxn>
                <a:cxn ang="0">
                  <a:pos x="32" y="2"/>
                </a:cxn>
                <a:cxn ang="0">
                  <a:pos x="25" y="2"/>
                </a:cxn>
                <a:cxn ang="0">
                  <a:pos x="19" y="5"/>
                </a:cxn>
                <a:cxn ang="0">
                  <a:pos x="15" y="7"/>
                </a:cxn>
                <a:cxn ang="0">
                  <a:pos x="15" y="7"/>
                </a:cxn>
                <a:cxn ang="0">
                  <a:pos x="15" y="7"/>
                </a:cxn>
              </a:cxnLst>
              <a:rect l="0" t="0" r="r" b="b"/>
              <a:pathLst>
                <a:path w="57" h="15">
                  <a:moveTo>
                    <a:pt x="0" y="11"/>
                  </a:moveTo>
                  <a:lnTo>
                    <a:pt x="4" y="15"/>
                  </a:lnTo>
                  <a:lnTo>
                    <a:pt x="8" y="13"/>
                  </a:lnTo>
                  <a:lnTo>
                    <a:pt x="10" y="13"/>
                  </a:lnTo>
                  <a:lnTo>
                    <a:pt x="10" y="9"/>
                  </a:lnTo>
                  <a:lnTo>
                    <a:pt x="8" y="9"/>
                  </a:lnTo>
                  <a:lnTo>
                    <a:pt x="4" y="11"/>
                  </a:lnTo>
                  <a:lnTo>
                    <a:pt x="0" y="11"/>
                  </a:lnTo>
                  <a:lnTo>
                    <a:pt x="0" y="11"/>
                  </a:lnTo>
                  <a:lnTo>
                    <a:pt x="0" y="11"/>
                  </a:lnTo>
                  <a:lnTo>
                    <a:pt x="0" y="11"/>
                  </a:lnTo>
                  <a:close/>
                  <a:moveTo>
                    <a:pt x="15" y="7"/>
                  </a:moveTo>
                  <a:lnTo>
                    <a:pt x="19" y="11"/>
                  </a:lnTo>
                  <a:lnTo>
                    <a:pt x="23" y="15"/>
                  </a:lnTo>
                  <a:lnTo>
                    <a:pt x="23" y="15"/>
                  </a:lnTo>
                  <a:lnTo>
                    <a:pt x="27" y="11"/>
                  </a:lnTo>
                  <a:lnTo>
                    <a:pt x="30" y="11"/>
                  </a:lnTo>
                  <a:lnTo>
                    <a:pt x="32" y="11"/>
                  </a:lnTo>
                  <a:lnTo>
                    <a:pt x="42" y="11"/>
                  </a:lnTo>
                  <a:lnTo>
                    <a:pt x="45" y="7"/>
                  </a:lnTo>
                  <a:lnTo>
                    <a:pt x="51" y="5"/>
                  </a:lnTo>
                  <a:lnTo>
                    <a:pt x="53" y="5"/>
                  </a:lnTo>
                  <a:lnTo>
                    <a:pt x="55" y="5"/>
                  </a:lnTo>
                  <a:lnTo>
                    <a:pt x="57" y="2"/>
                  </a:lnTo>
                  <a:lnTo>
                    <a:pt x="57" y="0"/>
                  </a:lnTo>
                  <a:lnTo>
                    <a:pt x="57" y="0"/>
                  </a:lnTo>
                  <a:lnTo>
                    <a:pt x="49" y="0"/>
                  </a:lnTo>
                  <a:lnTo>
                    <a:pt x="44" y="0"/>
                  </a:lnTo>
                  <a:lnTo>
                    <a:pt x="42" y="2"/>
                  </a:lnTo>
                  <a:lnTo>
                    <a:pt x="38" y="2"/>
                  </a:lnTo>
                  <a:lnTo>
                    <a:pt x="32" y="2"/>
                  </a:lnTo>
                  <a:lnTo>
                    <a:pt x="25" y="2"/>
                  </a:lnTo>
                  <a:lnTo>
                    <a:pt x="19" y="5"/>
                  </a:lnTo>
                  <a:lnTo>
                    <a:pt x="15" y="7"/>
                  </a:lnTo>
                  <a:lnTo>
                    <a:pt x="15" y="7"/>
                  </a:lnTo>
                  <a:lnTo>
                    <a:pt x="15"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1" name="Freeform 182">
              <a:extLst>
                <a:ext uri="{FF2B5EF4-FFF2-40B4-BE49-F238E27FC236}">
                  <a16:creationId xmlns:a16="http://schemas.microsoft.com/office/drawing/2014/main" id="{5D1E0AA4-B597-2B45-B1A5-BCD7EBA72ACB}"/>
                </a:ext>
              </a:extLst>
            </p:cNvPr>
            <p:cNvSpPr>
              <a:spLocks noEditPoints="1"/>
            </p:cNvSpPr>
            <p:nvPr/>
          </p:nvSpPr>
          <p:spPr bwMode="auto">
            <a:xfrm>
              <a:off x="7934350" y="2916143"/>
              <a:ext cx="18774" cy="13039"/>
            </a:xfrm>
            <a:custGeom>
              <a:avLst/>
              <a:gdLst/>
              <a:ahLst/>
              <a:cxnLst>
                <a:cxn ang="0">
                  <a:pos x="0" y="8"/>
                </a:cxn>
                <a:cxn ang="0">
                  <a:pos x="5" y="11"/>
                </a:cxn>
                <a:cxn ang="0">
                  <a:pos x="5" y="11"/>
                </a:cxn>
                <a:cxn ang="0">
                  <a:pos x="9" y="15"/>
                </a:cxn>
                <a:cxn ang="0">
                  <a:pos x="13" y="17"/>
                </a:cxn>
                <a:cxn ang="0">
                  <a:pos x="15" y="17"/>
                </a:cxn>
                <a:cxn ang="0">
                  <a:pos x="13" y="8"/>
                </a:cxn>
                <a:cxn ang="0">
                  <a:pos x="15" y="6"/>
                </a:cxn>
                <a:cxn ang="0">
                  <a:pos x="16" y="6"/>
                </a:cxn>
                <a:cxn ang="0">
                  <a:pos x="16" y="6"/>
                </a:cxn>
                <a:cxn ang="0">
                  <a:pos x="16" y="0"/>
                </a:cxn>
                <a:cxn ang="0">
                  <a:pos x="13" y="2"/>
                </a:cxn>
                <a:cxn ang="0">
                  <a:pos x="7" y="6"/>
                </a:cxn>
                <a:cxn ang="0">
                  <a:pos x="1" y="8"/>
                </a:cxn>
                <a:cxn ang="0">
                  <a:pos x="0" y="8"/>
                </a:cxn>
                <a:cxn ang="0">
                  <a:pos x="0" y="8"/>
                </a:cxn>
                <a:cxn ang="0">
                  <a:pos x="0" y="8"/>
                </a:cxn>
                <a:cxn ang="0">
                  <a:pos x="0" y="8"/>
                </a:cxn>
                <a:cxn ang="0">
                  <a:pos x="16" y="8"/>
                </a:cxn>
                <a:cxn ang="0">
                  <a:pos x="18" y="11"/>
                </a:cxn>
                <a:cxn ang="0">
                  <a:pos x="18" y="13"/>
                </a:cxn>
                <a:cxn ang="0">
                  <a:pos x="20" y="15"/>
                </a:cxn>
                <a:cxn ang="0">
                  <a:pos x="22" y="11"/>
                </a:cxn>
                <a:cxn ang="0">
                  <a:pos x="20" y="8"/>
                </a:cxn>
                <a:cxn ang="0">
                  <a:pos x="20" y="6"/>
                </a:cxn>
                <a:cxn ang="0">
                  <a:pos x="18" y="6"/>
                </a:cxn>
                <a:cxn ang="0">
                  <a:pos x="16" y="8"/>
                </a:cxn>
                <a:cxn ang="0">
                  <a:pos x="16" y="8"/>
                </a:cxn>
                <a:cxn ang="0">
                  <a:pos x="16" y="8"/>
                </a:cxn>
              </a:cxnLst>
              <a:rect l="0" t="0" r="r" b="b"/>
              <a:pathLst>
                <a:path w="22" h="17">
                  <a:moveTo>
                    <a:pt x="0" y="8"/>
                  </a:moveTo>
                  <a:lnTo>
                    <a:pt x="5" y="11"/>
                  </a:lnTo>
                  <a:lnTo>
                    <a:pt x="5" y="11"/>
                  </a:lnTo>
                  <a:lnTo>
                    <a:pt x="9" y="15"/>
                  </a:lnTo>
                  <a:lnTo>
                    <a:pt x="13" y="17"/>
                  </a:lnTo>
                  <a:lnTo>
                    <a:pt x="15" y="17"/>
                  </a:lnTo>
                  <a:lnTo>
                    <a:pt x="13" y="8"/>
                  </a:lnTo>
                  <a:lnTo>
                    <a:pt x="15" y="6"/>
                  </a:lnTo>
                  <a:lnTo>
                    <a:pt x="16" y="6"/>
                  </a:lnTo>
                  <a:lnTo>
                    <a:pt x="16" y="6"/>
                  </a:lnTo>
                  <a:lnTo>
                    <a:pt x="16" y="0"/>
                  </a:lnTo>
                  <a:lnTo>
                    <a:pt x="13" y="2"/>
                  </a:lnTo>
                  <a:lnTo>
                    <a:pt x="7" y="6"/>
                  </a:lnTo>
                  <a:lnTo>
                    <a:pt x="1" y="8"/>
                  </a:lnTo>
                  <a:lnTo>
                    <a:pt x="0" y="8"/>
                  </a:lnTo>
                  <a:lnTo>
                    <a:pt x="0" y="8"/>
                  </a:lnTo>
                  <a:lnTo>
                    <a:pt x="0" y="8"/>
                  </a:lnTo>
                  <a:lnTo>
                    <a:pt x="0" y="8"/>
                  </a:lnTo>
                  <a:close/>
                  <a:moveTo>
                    <a:pt x="16" y="8"/>
                  </a:moveTo>
                  <a:lnTo>
                    <a:pt x="18" y="11"/>
                  </a:lnTo>
                  <a:lnTo>
                    <a:pt x="18" y="13"/>
                  </a:lnTo>
                  <a:lnTo>
                    <a:pt x="20" y="15"/>
                  </a:lnTo>
                  <a:lnTo>
                    <a:pt x="22" y="11"/>
                  </a:lnTo>
                  <a:lnTo>
                    <a:pt x="20" y="8"/>
                  </a:lnTo>
                  <a:lnTo>
                    <a:pt x="20" y="6"/>
                  </a:lnTo>
                  <a:lnTo>
                    <a:pt x="18" y="6"/>
                  </a:lnTo>
                  <a:lnTo>
                    <a:pt x="16" y="8"/>
                  </a:lnTo>
                  <a:lnTo>
                    <a:pt x="16" y="8"/>
                  </a:lnTo>
                  <a:lnTo>
                    <a:pt x="16" y="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2" name="Freeform 183">
              <a:extLst>
                <a:ext uri="{FF2B5EF4-FFF2-40B4-BE49-F238E27FC236}">
                  <a16:creationId xmlns:a16="http://schemas.microsoft.com/office/drawing/2014/main" id="{F6E65461-8AD2-8E4E-94FD-FF9F248D63EB}"/>
                </a:ext>
              </a:extLst>
            </p:cNvPr>
            <p:cNvSpPr>
              <a:spLocks/>
            </p:cNvSpPr>
            <p:nvPr/>
          </p:nvSpPr>
          <p:spPr bwMode="auto">
            <a:xfrm>
              <a:off x="7741496" y="2774246"/>
              <a:ext cx="84480" cy="61361"/>
            </a:xfrm>
            <a:custGeom>
              <a:avLst/>
              <a:gdLst/>
              <a:ahLst/>
              <a:cxnLst>
                <a:cxn ang="0">
                  <a:pos x="47" y="78"/>
                </a:cxn>
                <a:cxn ang="0">
                  <a:pos x="54" y="70"/>
                </a:cxn>
                <a:cxn ang="0">
                  <a:pos x="60" y="72"/>
                </a:cxn>
                <a:cxn ang="0">
                  <a:pos x="71" y="72"/>
                </a:cxn>
                <a:cxn ang="0">
                  <a:pos x="81" y="74"/>
                </a:cxn>
                <a:cxn ang="0">
                  <a:pos x="77" y="68"/>
                </a:cxn>
                <a:cxn ang="0">
                  <a:pos x="71" y="64"/>
                </a:cxn>
                <a:cxn ang="0">
                  <a:pos x="75" y="55"/>
                </a:cxn>
                <a:cxn ang="0">
                  <a:pos x="82" y="51"/>
                </a:cxn>
                <a:cxn ang="0">
                  <a:pos x="92" y="46"/>
                </a:cxn>
                <a:cxn ang="0">
                  <a:pos x="98" y="44"/>
                </a:cxn>
                <a:cxn ang="0">
                  <a:pos x="99" y="34"/>
                </a:cxn>
                <a:cxn ang="0">
                  <a:pos x="99" y="25"/>
                </a:cxn>
                <a:cxn ang="0">
                  <a:pos x="96" y="12"/>
                </a:cxn>
                <a:cxn ang="0">
                  <a:pos x="90" y="6"/>
                </a:cxn>
                <a:cxn ang="0">
                  <a:pos x="82" y="2"/>
                </a:cxn>
                <a:cxn ang="0">
                  <a:pos x="81" y="0"/>
                </a:cxn>
                <a:cxn ang="0">
                  <a:pos x="71" y="2"/>
                </a:cxn>
                <a:cxn ang="0">
                  <a:pos x="71" y="10"/>
                </a:cxn>
                <a:cxn ang="0">
                  <a:pos x="75" y="17"/>
                </a:cxn>
                <a:cxn ang="0">
                  <a:pos x="66" y="10"/>
                </a:cxn>
                <a:cxn ang="0">
                  <a:pos x="56" y="6"/>
                </a:cxn>
                <a:cxn ang="0">
                  <a:pos x="50" y="6"/>
                </a:cxn>
                <a:cxn ang="0">
                  <a:pos x="41" y="2"/>
                </a:cxn>
                <a:cxn ang="0">
                  <a:pos x="34" y="2"/>
                </a:cxn>
                <a:cxn ang="0">
                  <a:pos x="26" y="2"/>
                </a:cxn>
                <a:cxn ang="0">
                  <a:pos x="13" y="6"/>
                </a:cxn>
                <a:cxn ang="0">
                  <a:pos x="5" y="10"/>
                </a:cxn>
                <a:cxn ang="0">
                  <a:pos x="0" y="19"/>
                </a:cxn>
                <a:cxn ang="0">
                  <a:pos x="2" y="34"/>
                </a:cxn>
                <a:cxn ang="0">
                  <a:pos x="7" y="40"/>
                </a:cxn>
                <a:cxn ang="0">
                  <a:pos x="5" y="48"/>
                </a:cxn>
                <a:cxn ang="0">
                  <a:pos x="9" y="51"/>
                </a:cxn>
                <a:cxn ang="0">
                  <a:pos x="11" y="57"/>
                </a:cxn>
                <a:cxn ang="0">
                  <a:pos x="15" y="64"/>
                </a:cxn>
                <a:cxn ang="0">
                  <a:pos x="18" y="64"/>
                </a:cxn>
                <a:cxn ang="0">
                  <a:pos x="18" y="70"/>
                </a:cxn>
                <a:cxn ang="0">
                  <a:pos x="20" y="74"/>
                </a:cxn>
                <a:cxn ang="0">
                  <a:pos x="24" y="70"/>
                </a:cxn>
                <a:cxn ang="0">
                  <a:pos x="26" y="68"/>
                </a:cxn>
                <a:cxn ang="0">
                  <a:pos x="30" y="72"/>
                </a:cxn>
                <a:cxn ang="0">
                  <a:pos x="26" y="78"/>
                </a:cxn>
                <a:cxn ang="0">
                  <a:pos x="30" y="80"/>
                </a:cxn>
                <a:cxn ang="0">
                  <a:pos x="32" y="78"/>
                </a:cxn>
                <a:cxn ang="0">
                  <a:pos x="35" y="80"/>
                </a:cxn>
                <a:cxn ang="0">
                  <a:pos x="39" y="80"/>
                </a:cxn>
                <a:cxn ang="0">
                  <a:pos x="43" y="80"/>
                </a:cxn>
              </a:cxnLst>
              <a:rect l="0" t="0" r="r" b="b"/>
              <a:pathLst>
                <a:path w="99" h="80">
                  <a:moveTo>
                    <a:pt x="43" y="80"/>
                  </a:moveTo>
                  <a:lnTo>
                    <a:pt x="47" y="78"/>
                  </a:lnTo>
                  <a:lnTo>
                    <a:pt x="52" y="76"/>
                  </a:lnTo>
                  <a:lnTo>
                    <a:pt x="54" y="70"/>
                  </a:lnTo>
                  <a:lnTo>
                    <a:pt x="56" y="70"/>
                  </a:lnTo>
                  <a:lnTo>
                    <a:pt x="60" y="72"/>
                  </a:lnTo>
                  <a:lnTo>
                    <a:pt x="69" y="70"/>
                  </a:lnTo>
                  <a:lnTo>
                    <a:pt x="71" y="72"/>
                  </a:lnTo>
                  <a:lnTo>
                    <a:pt x="75" y="76"/>
                  </a:lnTo>
                  <a:lnTo>
                    <a:pt x="81" y="74"/>
                  </a:lnTo>
                  <a:lnTo>
                    <a:pt x="77" y="70"/>
                  </a:lnTo>
                  <a:lnTo>
                    <a:pt x="77" y="68"/>
                  </a:lnTo>
                  <a:lnTo>
                    <a:pt x="75" y="64"/>
                  </a:lnTo>
                  <a:lnTo>
                    <a:pt x="71" y="64"/>
                  </a:lnTo>
                  <a:lnTo>
                    <a:pt x="71" y="57"/>
                  </a:lnTo>
                  <a:lnTo>
                    <a:pt x="75" y="55"/>
                  </a:lnTo>
                  <a:lnTo>
                    <a:pt x="81" y="55"/>
                  </a:lnTo>
                  <a:lnTo>
                    <a:pt x="82" y="51"/>
                  </a:lnTo>
                  <a:lnTo>
                    <a:pt x="90" y="48"/>
                  </a:lnTo>
                  <a:lnTo>
                    <a:pt x="92" y="46"/>
                  </a:lnTo>
                  <a:lnTo>
                    <a:pt x="94" y="44"/>
                  </a:lnTo>
                  <a:lnTo>
                    <a:pt x="98" y="44"/>
                  </a:lnTo>
                  <a:lnTo>
                    <a:pt x="99" y="38"/>
                  </a:lnTo>
                  <a:lnTo>
                    <a:pt x="99" y="34"/>
                  </a:lnTo>
                  <a:lnTo>
                    <a:pt x="99" y="29"/>
                  </a:lnTo>
                  <a:lnTo>
                    <a:pt x="99" y="25"/>
                  </a:lnTo>
                  <a:lnTo>
                    <a:pt x="99" y="21"/>
                  </a:lnTo>
                  <a:lnTo>
                    <a:pt x="96" y="12"/>
                  </a:lnTo>
                  <a:lnTo>
                    <a:pt x="92" y="10"/>
                  </a:lnTo>
                  <a:lnTo>
                    <a:pt x="90" y="6"/>
                  </a:lnTo>
                  <a:lnTo>
                    <a:pt x="90" y="6"/>
                  </a:lnTo>
                  <a:lnTo>
                    <a:pt x="82" y="2"/>
                  </a:lnTo>
                  <a:lnTo>
                    <a:pt x="81" y="2"/>
                  </a:lnTo>
                  <a:lnTo>
                    <a:pt x="81" y="0"/>
                  </a:lnTo>
                  <a:lnTo>
                    <a:pt x="71" y="2"/>
                  </a:lnTo>
                  <a:lnTo>
                    <a:pt x="71" y="2"/>
                  </a:lnTo>
                  <a:lnTo>
                    <a:pt x="75" y="8"/>
                  </a:lnTo>
                  <a:lnTo>
                    <a:pt x="71" y="10"/>
                  </a:lnTo>
                  <a:lnTo>
                    <a:pt x="75" y="14"/>
                  </a:lnTo>
                  <a:lnTo>
                    <a:pt x="75" y="17"/>
                  </a:lnTo>
                  <a:lnTo>
                    <a:pt x="69" y="16"/>
                  </a:lnTo>
                  <a:lnTo>
                    <a:pt x="66" y="10"/>
                  </a:lnTo>
                  <a:lnTo>
                    <a:pt x="60" y="8"/>
                  </a:lnTo>
                  <a:lnTo>
                    <a:pt x="56" y="6"/>
                  </a:lnTo>
                  <a:lnTo>
                    <a:pt x="52" y="2"/>
                  </a:lnTo>
                  <a:lnTo>
                    <a:pt x="50" y="6"/>
                  </a:lnTo>
                  <a:lnTo>
                    <a:pt x="47" y="2"/>
                  </a:lnTo>
                  <a:lnTo>
                    <a:pt x="41" y="2"/>
                  </a:lnTo>
                  <a:lnTo>
                    <a:pt x="39" y="2"/>
                  </a:lnTo>
                  <a:lnTo>
                    <a:pt x="34" y="2"/>
                  </a:lnTo>
                  <a:lnTo>
                    <a:pt x="30" y="2"/>
                  </a:lnTo>
                  <a:lnTo>
                    <a:pt x="26" y="2"/>
                  </a:lnTo>
                  <a:lnTo>
                    <a:pt x="20" y="2"/>
                  </a:lnTo>
                  <a:lnTo>
                    <a:pt x="13" y="6"/>
                  </a:lnTo>
                  <a:lnTo>
                    <a:pt x="9" y="6"/>
                  </a:lnTo>
                  <a:lnTo>
                    <a:pt x="5" y="10"/>
                  </a:lnTo>
                  <a:lnTo>
                    <a:pt x="3" y="16"/>
                  </a:lnTo>
                  <a:lnTo>
                    <a:pt x="0" y="19"/>
                  </a:lnTo>
                  <a:lnTo>
                    <a:pt x="0" y="27"/>
                  </a:lnTo>
                  <a:lnTo>
                    <a:pt x="2" y="34"/>
                  </a:lnTo>
                  <a:lnTo>
                    <a:pt x="5" y="36"/>
                  </a:lnTo>
                  <a:lnTo>
                    <a:pt x="7" y="40"/>
                  </a:lnTo>
                  <a:lnTo>
                    <a:pt x="7" y="46"/>
                  </a:lnTo>
                  <a:lnTo>
                    <a:pt x="5" y="48"/>
                  </a:lnTo>
                  <a:lnTo>
                    <a:pt x="5" y="48"/>
                  </a:lnTo>
                  <a:lnTo>
                    <a:pt x="9" y="51"/>
                  </a:lnTo>
                  <a:lnTo>
                    <a:pt x="9" y="55"/>
                  </a:lnTo>
                  <a:lnTo>
                    <a:pt x="11" y="57"/>
                  </a:lnTo>
                  <a:lnTo>
                    <a:pt x="11" y="61"/>
                  </a:lnTo>
                  <a:lnTo>
                    <a:pt x="15" y="64"/>
                  </a:lnTo>
                  <a:lnTo>
                    <a:pt x="15" y="64"/>
                  </a:lnTo>
                  <a:lnTo>
                    <a:pt x="18" y="64"/>
                  </a:lnTo>
                  <a:lnTo>
                    <a:pt x="15" y="68"/>
                  </a:lnTo>
                  <a:lnTo>
                    <a:pt x="18" y="70"/>
                  </a:lnTo>
                  <a:lnTo>
                    <a:pt x="18" y="74"/>
                  </a:lnTo>
                  <a:lnTo>
                    <a:pt x="20" y="74"/>
                  </a:lnTo>
                  <a:lnTo>
                    <a:pt x="24" y="74"/>
                  </a:lnTo>
                  <a:lnTo>
                    <a:pt x="24" y="70"/>
                  </a:lnTo>
                  <a:lnTo>
                    <a:pt x="26" y="68"/>
                  </a:lnTo>
                  <a:lnTo>
                    <a:pt x="26" y="68"/>
                  </a:lnTo>
                  <a:lnTo>
                    <a:pt x="26" y="70"/>
                  </a:lnTo>
                  <a:lnTo>
                    <a:pt x="30" y="72"/>
                  </a:lnTo>
                  <a:lnTo>
                    <a:pt x="30" y="76"/>
                  </a:lnTo>
                  <a:lnTo>
                    <a:pt x="26" y="78"/>
                  </a:lnTo>
                  <a:lnTo>
                    <a:pt x="26" y="80"/>
                  </a:lnTo>
                  <a:lnTo>
                    <a:pt x="30" y="80"/>
                  </a:lnTo>
                  <a:lnTo>
                    <a:pt x="30" y="80"/>
                  </a:lnTo>
                  <a:lnTo>
                    <a:pt x="32" y="78"/>
                  </a:lnTo>
                  <a:lnTo>
                    <a:pt x="34" y="78"/>
                  </a:lnTo>
                  <a:lnTo>
                    <a:pt x="35" y="80"/>
                  </a:lnTo>
                  <a:lnTo>
                    <a:pt x="39" y="80"/>
                  </a:lnTo>
                  <a:lnTo>
                    <a:pt x="39" y="80"/>
                  </a:lnTo>
                  <a:lnTo>
                    <a:pt x="43" y="80"/>
                  </a:lnTo>
                  <a:lnTo>
                    <a:pt x="43" y="80"/>
                  </a:lnTo>
                  <a:lnTo>
                    <a:pt x="43" y="8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3" name="Freeform 184">
              <a:extLst>
                <a:ext uri="{FF2B5EF4-FFF2-40B4-BE49-F238E27FC236}">
                  <a16:creationId xmlns:a16="http://schemas.microsoft.com/office/drawing/2014/main" id="{0B9A9F09-6BF2-7644-81C5-25323BC0375D}"/>
                </a:ext>
              </a:extLst>
            </p:cNvPr>
            <p:cNvSpPr>
              <a:spLocks/>
            </p:cNvSpPr>
            <p:nvPr/>
          </p:nvSpPr>
          <p:spPr bwMode="auto">
            <a:xfrm>
              <a:off x="7696268" y="2653058"/>
              <a:ext cx="125440" cy="134227"/>
            </a:xfrm>
            <a:custGeom>
              <a:avLst/>
              <a:gdLst/>
              <a:ahLst/>
              <a:cxnLst>
                <a:cxn ang="0">
                  <a:pos x="21" y="25"/>
                </a:cxn>
                <a:cxn ang="0">
                  <a:pos x="26" y="19"/>
                </a:cxn>
                <a:cxn ang="0">
                  <a:pos x="24" y="6"/>
                </a:cxn>
                <a:cxn ang="0">
                  <a:pos x="34" y="0"/>
                </a:cxn>
                <a:cxn ang="0">
                  <a:pos x="45" y="10"/>
                </a:cxn>
                <a:cxn ang="0">
                  <a:pos x="47" y="19"/>
                </a:cxn>
                <a:cxn ang="0">
                  <a:pos x="66" y="30"/>
                </a:cxn>
                <a:cxn ang="0">
                  <a:pos x="79" y="30"/>
                </a:cxn>
                <a:cxn ang="0">
                  <a:pos x="87" y="40"/>
                </a:cxn>
                <a:cxn ang="0">
                  <a:pos x="92" y="45"/>
                </a:cxn>
                <a:cxn ang="0">
                  <a:pos x="85" y="57"/>
                </a:cxn>
                <a:cxn ang="0">
                  <a:pos x="73" y="59"/>
                </a:cxn>
                <a:cxn ang="0">
                  <a:pos x="75" y="70"/>
                </a:cxn>
                <a:cxn ang="0">
                  <a:pos x="83" y="76"/>
                </a:cxn>
                <a:cxn ang="0">
                  <a:pos x="96" y="81"/>
                </a:cxn>
                <a:cxn ang="0">
                  <a:pos x="109" y="94"/>
                </a:cxn>
                <a:cxn ang="0">
                  <a:pos x="117" y="108"/>
                </a:cxn>
                <a:cxn ang="0">
                  <a:pos x="126" y="113"/>
                </a:cxn>
                <a:cxn ang="0">
                  <a:pos x="132" y="119"/>
                </a:cxn>
                <a:cxn ang="0">
                  <a:pos x="134" y="125"/>
                </a:cxn>
                <a:cxn ang="0">
                  <a:pos x="143" y="128"/>
                </a:cxn>
                <a:cxn ang="0">
                  <a:pos x="145" y="132"/>
                </a:cxn>
                <a:cxn ang="0">
                  <a:pos x="147" y="140"/>
                </a:cxn>
                <a:cxn ang="0">
                  <a:pos x="143" y="153"/>
                </a:cxn>
                <a:cxn ang="0">
                  <a:pos x="141" y="162"/>
                </a:cxn>
                <a:cxn ang="0">
                  <a:pos x="132" y="158"/>
                </a:cxn>
                <a:cxn ang="0">
                  <a:pos x="122" y="160"/>
                </a:cxn>
                <a:cxn ang="0">
                  <a:pos x="126" y="170"/>
                </a:cxn>
                <a:cxn ang="0">
                  <a:pos x="117" y="168"/>
                </a:cxn>
                <a:cxn ang="0">
                  <a:pos x="103" y="160"/>
                </a:cxn>
                <a:cxn ang="0">
                  <a:pos x="109" y="149"/>
                </a:cxn>
                <a:cxn ang="0">
                  <a:pos x="109" y="141"/>
                </a:cxn>
                <a:cxn ang="0">
                  <a:pos x="107" y="132"/>
                </a:cxn>
                <a:cxn ang="0">
                  <a:pos x="98" y="128"/>
                </a:cxn>
                <a:cxn ang="0">
                  <a:pos x="94" y="119"/>
                </a:cxn>
                <a:cxn ang="0">
                  <a:pos x="94" y="108"/>
                </a:cxn>
                <a:cxn ang="0">
                  <a:pos x="87" y="96"/>
                </a:cxn>
                <a:cxn ang="0">
                  <a:pos x="70" y="83"/>
                </a:cxn>
                <a:cxn ang="0">
                  <a:pos x="53" y="94"/>
                </a:cxn>
                <a:cxn ang="0">
                  <a:pos x="38" y="85"/>
                </a:cxn>
                <a:cxn ang="0">
                  <a:pos x="28" y="94"/>
                </a:cxn>
                <a:cxn ang="0">
                  <a:pos x="23" y="81"/>
                </a:cxn>
                <a:cxn ang="0">
                  <a:pos x="23" y="70"/>
                </a:cxn>
                <a:cxn ang="0">
                  <a:pos x="23" y="60"/>
                </a:cxn>
                <a:cxn ang="0">
                  <a:pos x="9" y="60"/>
                </a:cxn>
                <a:cxn ang="0">
                  <a:pos x="9" y="47"/>
                </a:cxn>
                <a:cxn ang="0">
                  <a:pos x="0" y="40"/>
                </a:cxn>
                <a:cxn ang="0">
                  <a:pos x="6" y="34"/>
                </a:cxn>
                <a:cxn ang="0">
                  <a:pos x="6" y="25"/>
                </a:cxn>
                <a:cxn ang="0">
                  <a:pos x="15" y="19"/>
                </a:cxn>
              </a:cxnLst>
              <a:rect l="0" t="0" r="r" b="b"/>
              <a:pathLst>
                <a:path w="147" h="175">
                  <a:moveTo>
                    <a:pt x="15" y="19"/>
                  </a:moveTo>
                  <a:lnTo>
                    <a:pt x="19" y="21"/>
                  </a:lnTo>
                  <a:lnTo>
                    <a:pt x="21" y="25"/>
                  </a:lnTo>
                  <a:lnTo>
                    <a:pt x="24" y="23"/>
                  </a:lnTo>
                  <a:lnTo>
                    <a:pt x="28" y="25"/>
                  </a:lnTo>
                  <a:lnTo>
                    <a:pt x="26" y="19"/>
                  </a:lnTo>
                  <a:lnTo>
                    <a:pt x="26" y="15"/>
                  </a:lnTo>
                  <a:lnTo>
                    <a:pt x="26" y="10"/>
                  </a:lnTo>
                  <a:lnTo>
                    <a:pt x="24" y="6"/>
                  </a:lnTo>
                  <a:lnTo>
                    <a:pt x="28" y="2"/>
                  </a:lnTo>
                  <a:lnTo>
                    <a:pt x="28" y="0"/>
                  </a:lnTo>
                  <a:lnTo>
                    <a:pt x="34" y="0"/>
                  </a:lnTo>
                  <a:lnTo>
                    <a:pt x="36" y="2"/>
                  </a:lnTo>
                  <a:lnTo>
                    <a:pt x="41" y="6"/>
                  </a:lnTo>
                  <a:lnTo>
                    <a:pt x="45" y="10"/>
                  </a:lnTo>
                  <a:lnTo>
                    <a:pt x="49" y="12"/>
                  </a:lnTo>
                  <a:lnTo>
                    <a:pt x="49" y="17"/>
                  </a:lnTo>
                  <a:lnTo>
                    <a:pt x="47" y="19"/>
                  </a:lnTo>
                  <a:lnTo>
                    <a:pt x="55" y="27"/>
                  </a:lnTo>
                  <a:lnTo>
                    <a:pt x="58" y="30"/>
                  </a:lnTo>
                  <a:lnTo>
                    <a:pt x="66" y="30"/>
                  </a:lnTo>
                  <a:lnTo>
                    <a:pt x="70" y="34"/>
                  </a:lnTo>
                  <a:lnTo>
                    <a:pt x="73" y="30"/>
                  </a:lnTo>
                  <a:lnTo>
                    <a:pt x="79" y="30"/>
                  </a:lnTo>
                  <a:lnTo>
                    <a:pt x="83" y="36"/>
                  </a:lnTo>
                  <a:lnTo>
                    <a:pt x="87" y="36"/>
                  </a:lnTo>
                  <a:lnTo>
                    <a:pt x="87" y="40"/>
                  </a:lnTo>
                  <a:lnTo>
                    <a:pt x="87" y="42"/>
                  </a:lnTo>
                  <a:lnTo>
                    <a:pt x="92" y="44"/>
                  </a:lnTo>
                  <a:lnTo>
                    <a:pt x="92" y="45"/>
                  </a:lnTo>
                  <a:lnTo>
                    <a:pt x="88" y="47"/>
                  </a:lnTo>
                  <a:lnTo>
                    <a:pt x="87" y="55"/>
                  </a:lnTo>
                  <a:lnTo>
                    <a:pt x="85" y="57"/>
                  </a:lnTo>
                  <a:lnTo>
                    <a:pt x="83" y="57"/>
                  </a:lnTo>
                  <a:lnTo>
                    <a:pt x="77" y="59"/>
                  </a:lnTo>
                  <a:lnTo>
                    <a:pt x="73" y="59"/>
                  </a:lnTo>
                  <a:lnTo>
                    <a:pt x="75" y="60"/>
                  </a:lnTo>
                  <a:lnTo>
                    <a:pt x="79" y="66"/>
                  </a:lnTo>
                  <a:lnTo>
                    <a:pt x="75" y="70"/>
                  </a:lnTo>
                  <a:lnTo>
                    <a:pt x="77" y="72"/>
                  </a:lnTo>
                  <a:lnTo>
                    <a:pt x="79" y="72"/>
                  </a:lnTo>
                  <a:lnTo>
                    <a:pt x="83" y="76"/>
                  </a:lnTo>
                  <a:lnTo>
                    <a:pt x="87" y="77"/>
                  </a:lnTo>
                  <a:lnTo>
                    <a:pt x="92" y="79"/>
                  </a:lnTo>
                  <a:lnTo>
                    <a:pt x="96" y="81"/>
                  </a:lnTo>
                  <a:lnTo>
                    <a:pt x="102" y="85"/>
                  </a:lnTo>
                  <a:lnTo>
                    <a:pt x="107" y="91"/>
                  </a:lnTo>
                  <a:lnTo>
                    <a:pt x="109" y="94"/>
                  </a:lnTo>
                  <a:lnTo>
                    <a:pt x="109" y="96"/>
                  </a:lnTo>
                  <a:lnTo>
                    <a:pt x="115" y="104"/>
                  </a:lnTo>
                  <a:lnTo>
                    <a:pt x="117" y="108"/>
                  </a:lnTo>
                  <a:lnTo>
                    <a:pt x="120" y="109"/>
                  </a:lnTo>
                  <a:lnTo>
                    <a:pt x="122" y="109"/>
                  </a:lnTo>
                  <a:lnTo>
                    <a:pt x="126" y="113"/>
                  </a:lnTo>
                  <a:lnTo>
                    <a:pt x="126" y="115"/>
                  </a:lnTo>
                  <a:lnTo>
                    <a:pt x="128" y="119"/>
                  </a:lnTo>
                  <a:lnTo>
                    <a:pt x="132" y="119"/>
                  </a:lnTo>
                  <a:lnTo>
                    <a:pt x="132" y="119"/>
                  </a:lnTo>
                  <a:lnTo>
                    <a:pt x="132" y="121"/>
                  </a:lnTo>
                  <a:lnTo>
                    <a:pt x="134" y="125"/>
                  </a:lnTo>
                  <a:lnTo>
                    <a:pt x="137" y="125"/>
                  </a:lnTo>
                  <a:lnTo>
                    <a:pt x="139" y="128"/>
                  </a:lnTo>
                  <a:lnTo>
                    <a:pt x="143" y="128"/>
                  </a:lnTo>
                  <a:lnTo>
                    <a:pt x="147" y="128"/>
                  </a:lnTo>
                  <a:lnTo>
                    <a:pt x="147" y="128"/>
                  </a:lnTo>
                  <a:lnTo>
                    <a:pt x="145" y="132"/>
                  </a:lnTo>
                  <a:lnTo>
                    <a:pt x="143" y="136"/>
                  </a:lnTo>
                  <a:lnTo>
                    <a:pt x="145" y="140"/>
                  </a:lnTo>
                  <a:lnTo>
                    <a:pt x="147" y="140"/>
                  </a:lnTo>
                  <a:lnTo>
                    <a:pt x="147" y="143"/>
                  </a:lnTo>
                  <a:lnTo>
                    <a:pt x="143" y="149"/>
                  </a:lnTo>
                  <a:lnTo>
                    <a:pt x="143" y="153"/>
                  </a:lnTo>
                  <a:lnTo>
                    <a:pt x="145" y="155"/>
                  </a:lnTo>
                  <a:lnTo>
                    <a:pt x="145" y="160"/>
                  </a:lnTo>
                  <a:lnTo>
                    <a:pt x="141" y="162"/>
                  </a:lnTo>
                  <a:lnTo>
                    <a:pt x="139" y="162"/>
                  </a:lnTo>
                  <a:lnTo>
                    <a:pt x="134" y="160"/>
                  </a:lnTo>
                  <a:lnTo>
                    <a:pt x="132" y="158"/>
                  </a:lnTo>
                  <a:lnTo>
                    <a:pt x="132" y="158"/>
                  </a:lnTo>
                  <a:lnTo>
                    <a:pt x="122" y="158"/>
                  </a:lnTo>
                  <a:lnTo>
                    <a:pt x="122" y="160"/>
                  </a:lnTo>
                  <a:lnTo>
                    <a:pt x="126" y="166"/>
                  </a:lnTo>
                  <a:lnTo>
                    <a:pt x="122" y="168"/>
                  </a:lnTo>
                  <a:lnTo>
                    <a:pt x="126" y="170"/>
                  </a:lnTo>
                  <a:lnTo>
                    <a:pt x="126" y="175"/>
                  </a:lnTo>
                  <a:lnTo>
                    <a:pt x="120" y="174"/>
                  </a:lnTo>
                  <a:lnTo>
                    <a:pt x="117" y="168"/>
                  </a:lnTo>
                  <a:lnTo>
                    <a:pt x="111" y="166"/>
                  </a:lnTo>
                  <a:lnTo>
                    <a:pt x="109" y="164"/>
                  </a:lnTo>
                  <a:lnTo>
                    <a:pt x="103" y="160"/>
                  </a:lnTo>
                  <a:lnTo>
                    <a:pt x="107" y="160"/>
                  </a:lnTo>
                  <a:lnTo>
                    <a:pt x="109" y="158"/>
                  </a:lnTo>
                  <a:lnTo>
                    <a:pt x="109" y="149"/>
                  </a:lnTo>
                  <a:lnTo>
                    <a:pt x="107" y="149"/>
                  </a:lnTo>
                  <a:lnTo>
                    <a:pt x="109" y="145"/>
                  </a:lnTo>
                  <a:lnTo>
                    <a:pt x="109" y="141"/>
                  </a:lnTo>
                  <a:lnTo>
                    <a:pt x="111" y="138"/>
                  </a:lnTo>
                  <a:lnTo>
                    <a:pt x="109" y="136"/>
                  </a:lnTo>
                  <a:lnTo>
                    <a:pt x="107" y="132"/>
                  </a:lnTo>
                  <a:lnTo>
                    <a:pt x="107" y="130"/>
                  </a:lnTo>
                  <a:lnTo>
                    <a:pt x="103" y="128"/>
                  </a:lnTo>
                  <a:lnTo>
                    <a:pt x="98" y="128"/>
                  </a:lnTo>
                  <a:lnTo>
                    <a:pt x="96" y="125"/>
                  </a:lnTo>
                  <a:lnTo>
                    <a:pt x="92" y="121"/>
                  </a:lnTo>
                  <a:lnTo>
                    <a:pt x="94" y="119"/>
                  </a:lnTo>
                  <a:lnTo>
                    <a:pt x="94" y="115"/>
                  </a:lnTo>
                  <a:lnTo>
                    <a:pt x="92" y="109"/>
                  </a:lnTo>
                  <a:lnTo>
                    <a:pt x="94" y="108"/>
                  </a:lnTo>
                  <a:lnTo>
                    <a:pt x="94" y="104"/>
                  </a:lnTo>
                  <a:lnTo>
                    <a:pt x="92" y="100"/>
                  </a:lnTo>
                  <a:lnTo>
                    <a:pt x="87" y="96"/>
                  </a:lnTo>
                  <a:lnTo>
                    <a:pt x="79" y="91"/>
                  </a:lnTo>
                  <a:lnTo>
                    <a:pt x="77" y="85"/>
                  </a:lnTo>
                  <a:lnTo>
                    <a:pt x="70" y="83"/>
                  </a:lnTo>
                  <a:lnTo>
                    <a:pt x="62" y="85"/>
                  </a:lnTo>
                  <a:lnTo>
                    <a:pt x="58" y="94"/>
                  </a:lnTo>
                  <a:lnTo>
                    <a:pt x="53" y="94"/>
                  </a:lnTo>
                  <a:lnTo>
                    <a:pt x="49" y="91"/>
                  </a:lnTo>
                  <a:lnTo>
                    <a:pt x="45" y="91"/>
                  </a:lnTo>
                  <a:lnTo>
                    <a:pt x="38" y="85"/>
                  </a:lnTo>
                  <a:lnTo>
                    <a:pt x="34" y="91"/>
                  </a:lnTo>
                  <a:lnTo>
                    <a:pt x="34" y="94"/>
                  </a:lnTo>
                  <a:lnTo>
                    <a:pt x="28" y="94"/>
                  </a:lnTo>
                  <a:lnTo>
                    <a:pt x="23" y="96"/>
                  </a:lnTo>
                  <a:lnTo>
                    <a:pt x="23" y="89"/>
                  </a:lnTo>
                  <a:lnTo>
                    <a:pt x="23" y="81"/>
                  </a:lnTo>
                  <a:lnTo>
                    <a:pt x="21" y="76"/>
                  </a:lnTo>
                  <a:lnTo>
                    <a:pt x="23" y="74"/>
                  </a:lnTo>
                  <a:lnTo>
                    <a:pt x="23" y="70"/>
                  </a:lnTo>
                  <a:lnTo>
                    <a:pt x="21" y="66"/>
                  </a:lnTo>
                  <a:lnTo>
                    <a:pt x="23" y="64"/>
                  </a:lnTo>
                  <a:lnTo>
                    <a:pt x="23" y="60"/>
                  </a:lnTo>
                  <a:lnTo>
                    <a:pt x="15" y="60"/>
                  </a:lnTo>
                  <a:lnTo>
                    <a:pt x="13" y="60"/>
                  </a:lnTo>
                  <a:lnTo>
                    <a:pt x="9" y="60"/>
                  </a:lnTo>
                  <a:lnTo>
                    <a:pt x="6" y="57"/>
                  </a:lnTo>
                  <a:lnTo>
                    <a:pt x="9" y="55"/>
                  </a:lnTo>
                  <a:lnTo>
                    <a:pt x="9" y="47"/>
                  </a:lnTo>
                  <a:lnTo>
                    <a:pt x="6" y="44"/>
                  </a:lnTo>
                  <a:lnTo>
                    <a:pt x="2" y="45"/>
                  </a:lnTo>
                  <a:lnTo>
                    <a:pt x="0" y="40"/>
                  </a:lnTo>
                  <a:lnTo>
                    <a:pt x="2" y="36"/>
                  </a:lnTo>
                  <a:lnTo>
                    <a:pt x="4" y="36"/>
                  </a:lnTo>
                  <a:lnTo>
                    <a:pt x="6" y="34"/>
                  </a:lnTo>
                  <a:lnTo>
                    <a:pt x="6" y="30"/>
                  </a:lnTo>
                  <a:lnTo>
                    <a:pt x="6" y="27"/>
                  </a:lnTo>
                  <a:lnTo>
                    <a:pt x="6" y="25"/>
                  </a:lnTo>
                  <a:lnTo>
                    <a:pt x="11" y="23"/>
                  </a:lnTo>
                  <a:lnTo>
                    <a:pt x="15" y="19"/>
                  </a:lnTo>
                  <a:lnTo>
                    <a:pt x="15" y="19"/>
                  </a:lnTo>
                  <a:lnTo>
                    <a:pt x="15" y="1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4" name="Freeform 185">
              <a:extLst>
                <a:ext uri="{FF2B5EF4-FFF2-40B4-BE49-F238E27FC236}">
                  <a16:creationId xmlns:a16="http://schemas.microsoft.com/office/drawing/2014/main" id="{2A367CA7-64B1-8941-B75E-229415462D65}"/>
                </a:ext>
              </a:extLst>
            </p:cNvPr>
            <p:cNvSpPr>
              <a:spLocks noEditPoints="1"/>
            </p:cNvSpPr>
            <p:nvPr/>
          </p:nvSpPr>
          <p:spPr bwMode="auto">
            <a:xfrm>
              <a:off x="7656163" y="2682204"/>
              <a:ext cx="134827" cy="227035"/>
            </a:xfrm>
            <a:custGeom>
              <a:avLst/>
              <a:gdLst/>
              <a:ahLst/>
              <a:cxnLst>
                <a:cxn ang="0">
                  <a:pos x="51" y="15"/>
                </a:cxn>
                <a:cxn ang="0">
                  <a:pos x="66" y="26"/>
                </a:cxn>
                <a:cxn ang="0">
                  <a:pos x="68" y="56"/>
                </a:cxn>
                <a:cxn ang="0">
                  <a:pos x="94" y="49"/>
                </a:cxn>
                <a:cxn ang="0">
                  <a:pos x="126" y="51"/>
                </a:cxn>
                <a:cxn ang="0">
                  <a:pos x="139" y="75"/>
                </a:cxn>
                <a:cxn ang="0">
                  <a:pos x="152" y="90"/>
                </a:cxn>
                <a:cxn ang="0">
                  <a:pos x="154" y="109"/>
                </a:cxn>
                <a:cxn ang="0">
                  <a:pos x="139" y="120"/>
                </a:cxn>
                <a:cxn ang="0">
                  <a:pos x="113" y="122"/>
                </a:cxn>
                <a:cxn ang="0">
                  <a:pos x="100" y="154"/>
                </a:cxn>
                <a:cxn ang="0">
                  <a:pos x="103" y="169"/>
                </a:cxn>
                <a:cxn ang="0">
                  <a:pos x="94" y="164"/>
                </a:cxn>
                <a:cxn ang="0">
                  <a:pos x="85" y="160"/>
                </a:cxn>
                <a:cxn ang="0">
                  <a:pos x="73" y="154"/>
                </a:cxn>
                <a:cxn ang="0">
                  <a:pos x="68" y="143"/>
                </a:cxn>
                <a:cxn ang="0">
                  <a:pos x="56" y="145"/>
                </a:cxn>
                <a:cxn ang="0">
                  <a:pos x="56" y="151"/>
                </a:cxn>
                <a:cxn ang="0">
                  <a:pos x="54" y="171"/>
                </a:cxn>
                <a:cxn ang="0">
                  <a:pos x="43" y="207"/>
                </a:cxn>
                <a:cxn ang="0">
                  <a:pos x="45" y="218"/>
                </a:cxn>
                <a:cxn ang="0">
                  <a:pos x="51" y="224"/>
                </a:cxn>
                <a:cxn ang="0">
                  <a:pos x="58" y="239"/>
                </a:cxn>
                <a:cxn ang="0">
                  <a:pos x="66" y="241"/>
                </a:cxn>
                <a:cxn ang="0">
                  <a:pos x="70" y="260"/>
                </a:cxn>
                <a:cxn ang="0">
                  <a:pos x="73" y="264"/>
                </a:cxn>
                <a:cxn ang="0">
                  <a:pos x="88" y="275"/>
                </a:cxn>
                <a:cxn ang="0">
                  <a:pos x="100" y="288"/>
                </a:cxn>
                <a:cxn ang="0">
                  <a:pos x="81" y="294"/>
                </a:cxn>
                <a:cxn ang="0">
                  <a:pos x="75" y="279"/>
                </a:cxn>
                <a:cxn ang="0">
                  <a:pos x="54" y="275"/>
                </a:cxn>
                <a:cxn ang="0">
                  <a:pos x="51" y="265"/>
                </a:cxn>
                <a:cxn ang="0">
                  <a:pos x="38" y="245"/>
                </a:cxn>
                <a:cxn ang="0">
                  <a:pos x="30" y="245"/>
                </a:cxn>
                <a:cxn ang="0">
                  <a:pos x="32" y="224"/>
                </a:cxn>
                <a:cxn ang="0">
                  <a:pos x="32" y="211"/>
                </a:cxn>
                <a:cxn ang="0">
                  <a:pos x="45" y="179"/>
                </a:cxn>
                <a:cxn ang="0">
                  <a:pos x="43" y="154"/>
                </a:cxn>
                <a:cxn ang="0">
                  <a:pos x="34" y="126"/>
                </a:cxn>
                <a:cxn ang="0">
                  <a:pos x="26" y="102"/>
                </a:cxn>
                <a:cxn ang="0">
                  <a:pos x="24" y="79"/>
                </a:cxn>
                <a:cxn ang="0">
                  <a:pos x="6" y="53"/>
                </a:cxn>
                <a:cxn ang="0">
                  <a:pos x="6" y="34"/>
                </a:cxn>
                <a:cxn ang="0">
                  <a:pos x="21" y="17"/>
                </a:cxn>
                <a:cxn ang="0">
                  <a:pos x="36" y="6"/>
                </a:cxn>
                <a:cxn ang="0">
                  <a:pos x="45" y="0"/>
                </a:cxn>
                <a:cxn ang="0">
                  <a:pos x="56" y="279"/>
                </a:cxn>
                <a:cxn ang="0">
                  <a:pos x="43" y="258"/>
                </a:cxn>
                <a:cxn ang="0">
                  <a:pos x="43" y="258"/>
                </a:cxn>
                <a:cxn ang="0">
                  <a:pos x="32" y="254"/>
                </a:cxn>
                <a:cxn ang="0">
                  <a:pos x="30" y="249"/>
                </a:cxn>
                <a:cxn ang="0">
                  <a:pos x="96" y="168"/>
                </a:cxn>
                <a:cxn ang="0">
                  <a:pos x="60" y="215"/>
                </a:cxn>
                <a:cxn ang="0">
                  <a:pos x="58" y="220"/>
                </a:cxn>
              </a:cxnLst>
              <a:rect l="0" t="0" r="r" b="b"/>
              <a:pathLst>
                <a:path w="158" h="296">
                  <a:moveTo>
                    <a:pt x="45" y="0"/>
                  </a:moveTo>
                  <a:lnTo>
                    <a:pt x="47" y="4"/>
                  </a:lnTo>
                  <a:lnTo>
                    <a:pt x="51" y="4"/>
                  </a:lnTo>
                  <a:lnTo>
                    <a:pt x="54" y="6"/>
                  </a:lnTo>
                  <a:lnTo>
                    <a:pt x="54" y="13"/>
                  </a:lnTo>
                  <a:lnTo>
                    <a:pt x="51" y="15"/>
                  </a:lnTo>
                  <a:lnTo>
                    <a:pt x="54" y="21"/>
                  </a:lnTo>
                  <a:lnTo>
                    <a:pt x="58" y="21"/>
                  </a:lnTo>
                  <a:lnTo>
                    <a:pt x="60" y="19"/>
                  </a:lnTo>
                  <a:lnTo>
                    <a:pt x="68" y="19"/>
                  </a:lnTo>
                  <a:lnTo>
                    <a:pt x="68" y="22"/>
                  </a:lnTo>
                  <a:lnTo>
                    <a:pt x="66" y="26"/>
                  </a:lnTo>
                  <a:lnTo>
                    <a:pt x="68" y="30"/>
                  </a:lnTo>
                  <a:lnTo>
                    <a:pt x="68" y="34"/>
                  </a:lnTo>
                  <a:lnTo>
                    <a:pt x="66" y="34"/>
                  </a:lnTo>
                  <a:lnTo>
                    <a:pt x="68" y="39"/>
                  </a:lnTo>
                  <a:lnTo>
                    <a:pt x="68" y="47"/>
                  </a:lnTo>
                  <a:lnTo>
                    <a:pt x="68" y="56"/>
                  </a:lnTo>
                  <a:lnTo>
                    <a:pt x="73" y="55"/>
                  </a:lnTo>
                  <a:lnTo>
                    <a:pt x="79" y="53"/>
                  </a:lnTo>
                  <a:lnTo>
                    <a:pt x="79" y="49"/>
                  </a:lnTo>
                  <a:lnTo>
                    <a:pt x="85" y="45"/>
                  </a:lnTo>
                  <a:lnTo>
                    <a:pt x="90" y="49"/>
                  </a:lnTo>
                  <a:lnTo>
                    <a:pt x="94" y="49"/>
                  </a:lnTo>
                  <a:lnTo>
                    <a:pt x="98" y="53"/>
                  </a:lnTo>
                  <a:lnTo>
                    <a:pt x="105" y="53"/>
                  </a:lnTo>
                  <a:lnTo>
                    <a:pt x="109" y="43"/>
                  </a:lnTo>
                  <a:lnTo>
                    <a:pt x="115" y="43"/>
                  </a:lnTo>
                  <a:lnTo>
                    <a:pt x="122" y="45"/>
                  </a:lnTo>
                  <a:lnTo>
                    <a:pt x="126" y="51"/>
                  </a:lnTo>
                  <a:lnTo>
                    <a:pt x="134" y="56"/>
                  </a:lnTo>
                  <a:lnTo>
                    <a:pt x="137" y="60"/>
                  </a:lnTo>
                  <a:lnTo>
                    <a:pt x="139" y="64"/>
                  </a:lnTo>
                  <a:lnTo>
                    <a:pt x="139" y="68"/>
                  </a:lnTo>
                  <a:lnTo>
                    <a:pt x="137" y="70"/>
                  </a:lnTo>
                  <a:lnTo>
                    <a:pt x="139" y="75"/>
                  </a:lnTo>
                  <a:lnTo>
                    <a:pt x="139" y="79"/>
                  </a:lnTo>
                  <a:lnTo>
                    <a:pt x="137" y="81"/>
                  </a:lnTo>
                  <a:lnTo>
                    <a:pt x="143" y="85"/>
                  </a:lnTo>
                  <a:lnTo>
                    <a:pt x="145" y="88"/>
                  </a:lnTo>
                  <a:lnTo>
                    <a:pt x="149" y="88"/>
                  </a:lnTo>
                  <a:lnTo>
                    <a:pt x="152" y="90"/>
                  </a:lnTo>
                  <a:lnTo>
                    <a:pt x="152" y="92"/>
                  </a:lnTo>
                  <a:lnTo>
                    <a:pt x="154" y="96"/>
                  </a:lnTo>
                  <a:lnTo>
                    <a:pt x="158" y="98"/>
                  </a:lnTo>
                  <a:lnTo>
                    <a:pt x="154" y="102"/>
                  </a:lnTo>
                  <a:lnTo>
                    <a:pt x="154" y="105"/>
                  </a:lnTo>
                  <a:lnTo>
                    <a:pt x="154" y="109"/>
                  </a:lnTo>
                  <a:lnTo>
                    <a:pt x="154" y="109"/>
                  </a:lnTo>
                  <a:lnTo>
                    <a:pt x="154" y="119"/>
                  </a:lnTo>
                  <a:lnTo>
                    <a:pt x="154" y="120"/>
                  </a:lnTo>
                  <a:lnTo>
                    <a:pt x="149" y="122"/>
                  </a:lnTo>
                  <a:lnTo>
                    <a:pt x="145" y="119"/>
                  </a:lnTo>
                  <a:lnTo>
                    <a:pt x="139" y="120"/>
                  </a:lnTo>
                  <a:lnTo>
                    <a:pt x="137" y="119"/>
                  </a:lnTo>
                  <a:lnTo>
                    <a:pt x="134" y="119"/>
                  </a:lnTo>
                  <a:lnTo>
                    <a:pt x="128" y="120"/>
                  </a:lnTo>
                  <a:lnTo>
                    <a:pt x="126" y="119"/>
                  </a:lnTo>
                  <a:lnTo>
                    <a:pt x="120" y="119"/>
                  </a:lnTo>
                  <a:lnTo>
                    <a:pt x="113" y="122"/>
                  </a:lnTo>
                  <a:lnTo>
                    <a:pt x="109" y="122"/>
                  </a:lnTo>
                  <a:lnTo>
                    <a:pt x="105" y="128"/>
                  </a:lnTo>
                  <a:lnTo>
                    <a:pt x="103" y="134"/>
                  </a:lnTo>
                  <a:lnTo>
                    <a:pt x="100" y="137"/>
                  </a:lnTo>
                  <a:lnTo>
                    <a:pt x="100" y="145"/>
                  </a:lnTo>
                  <a:lnTo>
                    <a:pt x="100" y="154"/>
                  </a:lnTo>
                  <a:lnTo>
                    <a:pt x="105" y="154"/>
                  </a:lnTo>
                  <a:lnTo>
                    <a:pt x="105" y="158"/>
                  </a:lnTo>
                  <a:lnTo>
                    <a:pt x="105" y="166"/>
                  </a:lnTo>
                  <a:lnTo>
                    <a:pt x="105" y="168"/>
                  </a:lnTo>
                  <a:lnTo>
                    <a:pt x="105" y="168"/>
                  </a:lnTo>
                  <a:lnTo>
                    <a:pt x="103" y="169"/>
                  </a:lnTo>
                  <a:lnTo>
                    <a:pt x="103" y="171"/>
                  </a:lnTo>
                  <a:lnTo>
                    <a:pt x="103" y="169"/>
                  </a:lnTo>
                  <a:lnTo>
                    <a:pt x="100" y="166"/>
                  </a:lnTo>
                  <a:lnTo>
                    <a:pt x="98" y="166"/>
                  </a:lnTo>
                  <a:lnTo>
                    <a:pt x="98" y="164"/>
                  </a:lnTo>
                  <a:lnTo>
                    <a:pt x="94" y="164"/>
                  </a:lnTo>
                  <a:lnTo>
                    <a:pt x="90" y="158"/>
                  </a:lnTo>
                  <a:lnTo>
                    <a:pt x="86" y="158"/>
                  </a:lnTo>
                  <a:lnTo>
                    <a:pt x="85" y="158"/>
                  </a:lnTo>
                  <a:lnTo>
                    <a:pt x="85" y="160"/>
                  </a:lnTo>
                  <a:lnTo>
                    <a:pt x="85" y="160"/>
                  </a:lnTo>
                  <a:lnTo>
                    <a:pt x="85" y="160"/>
                  </a:lnTo>
                  <a:lnTo>
                    <a:pt x="79" y="158"/>
                  </a:lnTo>
                  <a:lnTo>
                    <a:pt x="75" y="160"/>
                  </a:lnTo>
                  <a:lnTo>
                    <a:pt x="73" y="158"/>
                  </a:lnTo>
                  <a:lnTo>
                    <a:pt x="71" y="158"/>
                  </a:lnTo>
                  <a:lnTo>
                    <a:pt x="71" y="158"/>
                  </a:lnTo>
                  <a:lnTo>
                    <a:pt x="73" y="154"/>
                  </a:lnTo>
                  <a:lnTo>
                    <a:pt x="71" y="151"/>
                  </a:lnTo>
                  <a:lnTo>
                    <a:pt x="71" y="145"/>
                  </a:lnTo>
                  <a:lnTo>
                    <a:pt x="73" y="145"/>
                  </a:lnTo>
                  <a:lnTo>
                    <a:pt x="71" y="143"/>
                  </a:lnTo>
                  <a:lnTo>
                    <a:pt x="68" y="143"/>
                  </a:lnTo>
                  <a:lnTo>
                    <a:pt x="68" y="143"/>
                  </a:lnTo>
                  <a:lnTo>
                    <a:pt x="66" y="143"/>
                  </a:lnTo>
                  <a:lnTo>
                    <a:pt x="66" y="141"/>
                  </a:lnTo>
                  <a:lnTo>
                    <a:pt x="62" y="143"/>
                  </a:lnTo>
                  <a:lnTo>
                    <a:pt x="60" y="143"/>
                  </a:lnTo>
                  <a:lnTo>
                    <a:pt x="58" y="143"/>
                  </a:lnTo>
                  <a:lnTo>
                    <a:pt x="56" y="145"/>
                  </a:lnTo>
                  <a:lnTo>
                    <a:pt x="54" y="145"/>
                  </a:lnTo>
                  <a:lnTo>
                    <a:pt x="54" y="143"/>
                  </a:lnTo>
                  <a:lnTo>
                    <a:pt x="54" y="145"/>
                  </a:lnTo>
                  <a:lnTo>
                    <a:pt x="54" y="145"/>
                  </a:lnTo>
                  <a:lnTo>
                    <a:pt x="56" y="149"/>
                  </a:lnTo>
                  <a:lnTo>
                    <a:pt x="56" y="151"/>
                  </a:lnTo>
                  <a:lnTo>
                    <a:pt x="54" y="154"/>
                  </a:lnTo>
                  <a:lnTo>
                    <a:pt x="54" y="158"/>
                  </a:lnTo>
                  <a:lnTo>
                    <a:pt x="54" y="160"/>
                  </a:lnTo>
                  <a:lnTo>
                    <a:pt x="54" y="164"/>
                  </a:lnTo>
                  <a:lnTo>
                    <a:pt x="54" y="168"/>
                  </a:lnTo>
                  <a:lnTo>
                    <a:pt x="54" y="171"/>
                  </a:lnTo>
                  <a:lnTo>
                    <a:pt x="51" y="175"/>
                  </a:lnTo>
                  <a:lnTo>
                    <a:pt x="51" y="179"/>
                  </a:lnTo>
                  <a:lnTo>
                    <a:pt x="49" y="194"/>
                  </a:lnTo>
                  <a:lnTo>
                    <a:pt x="45" y="200"/>
                  </a:lnTo>
                  <a:lnTo>
                    <a:pt x="45" y="201"/>
                  </a:lnTo>
                  <a:lnTo>
                    <a:pt x="43" y="207"/>
                  </a:lnTo>
                  <a:lnTo>
                    <a:pt x="45" y="207"/>
                  </a:lnTo>
                  <a:lnTo>
                    <a:pt x="45" y="207"/>
                  </a:lnTo>
                  <a:lnTo>
                    <a:pt x="43" y="211"/>
                  </a:lnTo>
                  <a:lnTo>
                    <a:pt x="43" y="211"/>
                  </a:lnTo>
                  <a:lnTo>
                    <a:pt x="45" y="217"/>
                  </a:lnTo>
                  <a:lnTo>
                    <a:pt x="45" y="218"/>
                  </a:lnTo>
                  <a:lnTo>
                    <a:pt x="49" y="224"/>
                  </a:lnTo>
                  <a:lnTo>
                    <a:pt x="47" y="226"/>
                  </a:lnTo>
                  <a:lnTo>
                    <a:pt x="49" y="230"/>
                  </a:lnTo>
                  <a:lnTo>
                    <a:pt x="51" y="230"/>
                  </a:lnTo>
                  <a:lnTo>
                    <a:pt x="51" y="226"/>
                  </a:lnTo>
                  <a:lnTo>
                    <a:pt x="51" y="224"/>
                  </a:lnTo>
                  <a:lnTo>
                    <a:pt x="51" y="226"/>
                  </a:lnTo>
                  <a:lnTo>
                    <a:pt x="54" y="226"/>
                  </a:lnTo>
                  <a:lnTo>
                    <a:pt x="56" y="226"/>
                  </a:lnTo>
                  <a:lnTo>
                    <a:pt x="56" y="230"/>
                  </a:lnTo>
                  <a:lnTo>
                    <a:pt x="58" y="233"/>
                  </a:lnTo>
                  <a:lnTo>
                    <a:pt x="58" y="239"/>
                  </a:lnTo>
                  <a:lnTo>
                    <a:pt x="60" y="239"/>
                  </a:lnTo>
                  <a:lnTo>
                    <a:pt x="62" y="241"/>
                  </a:lnTo>
                  <a:lnTo>
                    <a:pt x="64" y="241"/>
                  </a:lnTo>
                  <a:lnTo>
                    <a:pt x="64" y="239"/>
                  </a:lnTo>
                  <a:lnTo>
                    <a:pt x="64" y="239"/>
                  </a:lnTo>
                  <a:lnTo>
                    <a:pt x="66" y="241"/>
                  </a:lnTo>
                  <a:lnTo>
                    <a:pt x="68" y="245"/>
                  </a:lnTo>
                  <a:lnTo>
                    <a:pt x="68" y="247"/>
                  </a:lnTo>
                  <a:lnTo>
                    <a:pt x="70" y="249"/>
                  </a:lnTo>
                  <a:lnTo>
                    <a:pt x="71" y="256"/>
                  </a:lnTo>
                  <a:lnTo>
                    <a:pt x="71" y="258"/>
                  </a:lnTo>
                  <a:lnTo>
                    <a:pt x="70" y="260"/>
                  </a:lnTo>
                  <a:lnTo>
                    <a:pt x="70" y="258"/>
                  </a:lnTo>
                  <a:lnTo>
                    <a:pt x="66" y="260"/>
                  </a:lnTo>
                  <a:lnTo>
                    <a:pt x="66" y="264"/>
                  </a:lnTo>
                  <a:lnTo>
                    <a:pt x="71" y="265"/>
                  </a:lnTo>
                  <a:lnTo>
                    <a:pt x="71" y="260"/>
                  </a:lnTo>
                  <a:lnTo>
                    <a:pt x="73" y="264"/>
                  </a:lnTo>
                  <a:lnTo>
                    <a:pt x="73" y="265"/>
                  </a:lnTo>
                  <a:lnTo>
                    <a:pt x="75" y="269"/>
                  </a:lnTo>
                  <a:lnTo>
                    <a:pt x="79" y="275"/>
                  </a:lnTo>
                  <a:lnTo>
                    <a:pt x="85" y="275"/>
                  </a:lnTo>
                  <a:lnTo>
                    <a:pt x="85" y="275"/>
                  </a:lnTo>
                  <a:lnTo>
                    <a:pt x="88" y="275"/>
                  </a:lnTo>
                  <a:lnTo>
                    <a:pt x="92" y="275"/>
                  </a:lnTo>
                  <a:lnTo>
                    <a:pt x="94" y="281"/>
                  </a:lnTo>
                  <a:lnTo>
                    <a:pt x="96" y="282"/>
                  </a:lnTo>
                  <a:lnTo>
                    <a:pt x="100" y="286"/>
                  </a:lnTo>
                  <a:lnTo>
                    <a:pt x="100" y="288"/>
                  </a:lnTo>
                  <a:lnTo>
                    <a:pt x="100" y="288"/>
                  </a:lnTo>
                  <a:lnTo>
                    <a:pt x="100" y="292"/>
                  </a:lnTo>
                  <a:lnTo>
                    <a:pt x="96" y="294"/>
                  </a:lnTo>
                  <a:lnTo>
                    <a:pt x="94" y="292"/>
                  </a:lnTo>
                  <a:lnTo>
                    <a:pt x="90" y="292"/>
                  </a:lnTo>
                  <a:lnTo>
                    <a:pt x="86" y="296"/>
                  </a:lnTo>
                  <a:lnTo>
                    <a:pt x="81" y="294"/>
                  </a:lnTo>
                  <a:lnTo>
                    <a:pt x="81" y="292"/>
                  </a:lnTo>
                  <a:lnTo>
                    <a:pt x="85" y="288"/>
                  </a:lnTo>
                  <a:lnTo>
                    <a:pt x="85" y="282"/>
                  </a:lnTo>
                  <a:lnTo>
                    <a:pt x="81" y="281"/>
                  </a:lnTo>
                  <a:lnTo>
                    <a:pt x="79" y="281"/>
                  </a:lnTo>
                  <a:lnTo>
                    <a:pt x="75" y="279"/>
                  </a:lnTo>
                  <a:lnTo>
                    <a:pt x="71" y="279"/>
                  </a:lnTo>
                  <a:lnTo>
                    <a:pt x="68" y="275"/>
                  </a:lnTo>
                  <a:lnTo>
                    <a:pt x="66" y="279"/>
                  </a:lnTo>
                  <a:lnTo>
                    <a:pt x="64" y="281"/>
                  </a:lnTo>
                  <a:lnTo>
                    <a:pt x="64" y="279"/>
                  </a:lnTo>
                  <a:lnTo>
                    <a:pt x="54" y="275"/>
                  </a:lnTo>
                  <a:lnTo>
                    <a:pt x="54" y="271"/>
                  </a:lnTo>
                  <a:lnTo>
                    <a:pt x="56" y="269"/>
                  </a:lnTo>
                  <a:lnTo>
                    <a:pt x="56" y="269"/>
                  </a:lnTo>
                  <a:lnTo>
                    <a:pt x="54" y="269"/>
                  </a:lnTo>
                  <a:lnTo>
                    <a:pt x="54" y="265"/>
                  </a:lnTo>
                  <a:lnTo>
                    <a:pt x="51" y="265"/>
                  </a:lnTo>
                  <a:lnTo>
                    <a:pt x="51" y="260"/>
                  </a:lnTo>
                  <a:lnTo>
                    <a:pt x="47" y="256"/>
                  </a:lnTo>
                  <a:lnTo>
                    <a:pt x="43" y="256"/>
                  </a:lnTo>
                  <a:lnTo>
                    <a:pt x="41" y="249"/>
                  </a:lnTo>
                  <a:lnTo>
                    <a:pt x="38" y="249"/>
                  </a:lnTo>
                  <a:lnTo>
                    <a:pt x="38" y="245"/>
                  </a:lnTo>
                  <a:lnTo>
                    <a:pt x="36" y="243"/>
                  </a:lnTo>
                  <a:lnTo>
                    <a:pt x="36" y="241"/>
                  </a:lnTo>
                  <a:lnTo>
                    <a:pt x="32" y="243"/>
                  </a:lnTo>
                  <a:lnTo>
                    <a:pt x="32" y="247"/>
                  </a:lnTo>
                  <a:lnTo>
                    <a:pt x="30" y="247"/>
                  </a:lnTo>
                  <a:lnTo>
                    <a:pt x="30" y="245"/>
                  </a:lnTo>
                  <a:lnTo>
                    <a:pt x="26" y="239"/>
                  </a:lnTo>
                  <a:lnTo>
                    <a:pt x="30" y="235"/>
                  </a:lnTo>
                  <a:lnTo>
                    <a:pt x="26" y="230"/>
                  </a:lnTo>
                  <a:lnTo>
                    <a:pt x="30" y="230"/>
                  </a:lnTo>
                  <a:lnTo>
                    <a:pt x="30" y="224"/>
                  </a:lnTo>
                  <a:lnTo>
                    <a:pt x="32" y="224"/>
                  </a:lnTo>
                  <a:lnTo>
                    <a:pt x="32" y="220"/>
                  </a:lnTo>
                  <a:lnTo>
                    <a:pt x="30" y="220"/>
                  </a:lnTo>
                  <a:lnTo>
                    <a:pt x="34" y="217"/>
                  </a:lnTo>
                  <a:lnTo>
                    <a:pt x="32" y="215"/>
                  </a:lnTo>
                  <a:lnTo>
                    <a:pt x="36" y="211"/>
                  </a:lnTo>
                  <a:lnTo>
                    <a:pt x="32" y="211"/>
                  </a:lnTo>
                  <a:lnTo>
                    <a:pt x="34" y="203"/>
                  </a:lnTo>
                  <a:lnTo>
                    <a:pt x="34" y="201"/>
                  </a:lnTo>
                  <a:lnTo>
                    <a:pt x="36" y="200"/>
                  </a:lnTo>
                  <a:lnTo>
                    <a:pt x="38" y="194"/>
                  </a:lnTo>
                  <a:lnTo>
                    <a:pt x="41" y="190"/>
                  </a:lnTo>
                  <a:lnTo>
                    <a:pt x="45" y="179"/>
                  </a:lnTo>
                  <a:lnTo>
                    <a:pt x="49" y="177"/>
                  </a:lnTo>
                  <a:lnTo>
                    <a:pt x="49" y="171"/>
                  </a:lnTo>
                  <a:lnTo>
                    <a:pt x="45" y="168"/>
                  </a:lnTo>
                  <a:lnTo>
                    <a:pt x="47" y="164"/>
                  </a:lnTo>
                  <a:lnTo>
                    <a:pt x="45" y="158"/>
                  </a:lnTo>
                  <a:lnTo>
                    <a:pt x="43" y="154"/>
                  </a:lnTo>
                  <a:lnTo>
                    <a:pt x="41" y="151"/>
                  </a:lnTo>
                  <a:lnTo>
                    <a:pt x="41" y="145"/>
                  </a:lnTo>
                  <a:lnTo>
                    <a:pt x="41" y="143"/>
                  </a:lnTo>
                  <a:lnTo>
                    <a:pt x="43" y="139"/>
                  </a:lnTo>
                  <a:lnTo>
                    <a:pt x="39" y="132"/>
                  </a:lnTo>
                  <a:lnTo>
                    <a:pt x="34" y="126"/>
                  </a:lnTo>
                  <a:lnTo>
                    <a:pt x="30" y="122"/>
                  </a:lnTo>
                  <a:lnTo>
                    <a:pt x="24" y="115"/>
                  </a:lnTo>
                  <a:lnTo>
                    <a:pt x="24" y="113"/>
                  </a:lnTo>
                  <a:lnTo>
                    <a:pt x="21" y="105"/>
                  </a:lnTo>
                  <a:lnTo>
                    <a:pt x="26" y="103"/>
                  </a:lnTo>
                  <a:lnTo>
                    <a:pt x="26" y="102"/>
                  </a:lnTo>
                  <a:lnTo>
                    <a:pt x="24" y="92"/>
                  </a:lnTo>
                  <a:lnTo>
                    <a:pt x="26" y="88"/>
                  </a:lnTo>
                  <a:lnTo>
                    <a:pt x="30" y="88"/>
                  </a:lnTo>
                  <a:lnTo>
                    <a:pt x="30" y="83"/>
                  </a:lnTo>
                  <a:lnTo>
                    <a:pt x="26" y="81"/>
                  </a:lnTo>
                  <a:lnTo>
                    <a:pt x="24" y="79"/>
                  </a:lnTo>
                  <a:lnTo>
                    <a:pt x="21" y="73"/>
                  </a:lnTo>
                  <a:lnTo>
                    <a:pt x="19" y="70"/>
                  </a:lnTo>
                  <a:lnTo>
                    <a:pt x="15" y="62"/>
                  </a:lnTo>
                  <a:lnTo>
                    <a:pt x="9" y="58"/>
                  </a:lnTo>
                  <a:lnTo>
                    <a:pt x="9" y="55"/>
                  </a:lnTo>
                  <a:lnTo>
                    <a:pt x="6" y="53"/>
                  </a:lnTo>
                  <a:lnTo>
                    <a:pt x="2" y="47"/>
                  </a:lnTo>
                  <a:lnTo>
                    <a:pt x="0" y="45"/>
                  </a:lnTo>
                  <a:lnTo>
                    <a:pt x="0" y="43"/>
                  </a:lnTo>
                  <a:lnTo>
                    <a:pt x="4" y="43"/>
                  </a:lnTo>
                  <a:lnTo>
                    <a:pt x="7" y="39"/>
                  </a:lnTo>
                  <a:lnTo>
                    <a:pt x="6" y="34"/>
                  </a:lnTo>
                  <a:lnTo>
                    <a:pt x="6" y="30"/>
                  </a:lnTo>
                  <a:lnTo>
                    <a:pt x="9" y="28"/>
                  </a:lnTo>
                  <a:lnTo>
                    <a:pt x="7" y="21"/>
                  </a:lnTo>
                  <a:lnTo>
                    <a:pt x="11" y="17"/>
                  </a:lnTo>
                  <a:lnTo>
                    <a:pt x="19" y="21"/>
                  </a:lnTo>
                  <a:lnTo>
                    <a:pt x="21" y="17"/>
                  </a:lnTo>
                  <a:lnTo>
                    <a:pt x="26" y="17"/>
                  </a:lnTo>
                  <a:lnTo>
                    <a:pt x="26" y="15"/>
                  </a:lnTo>
                  <a:lnTo>
                    <a:pt x="26" y="9"/>
                  </a:lnTo>
                  <a:lnTo>
                    <a:pt x="30" y="7"/>
                  </a:lnTo>
                  <a:lnTo>
                    <a:pt x="34" y="7"/>
                  </a:lnTo>
                  <a:lnTo>
                    <a:pt x="36" y="6"/>
                  </a:lnTo>
                  <a:lnTo>
                    <a:pt x="34" y="4"/>
                  </a:lnTo>
                  <a:lnTo>
                    <a:pt x="34" y="0"/>
                  </a:lnTo>
                  <a:lnTo>
                    <a:pt x="38" y="0"/>
                  </a:lnTo>
                  <a:lnTo>
                    <a:pt x="43" y="0"/>
                  </a:lnTo>
                  <a:lnTo>
                    <a:pt x="45" y="0"/>
                  </a:lnTo>
                  <a:lnTo>
                    <a:pt x="45" y="0"/>
                  </a:lnTo>
                  <a:lnTo>
                    <a:pt x="45" y="0"/>
                  </a:lnTo>
                  <a:lnTo>
                    <a:pt x="45" y="0"/>
                  </a:lnTo>
                  <a:close/>
                  <a:moveTo>
                    <a:pt x="54" y="275"/>
                  </a:moveTo>
                  <a:lnTo>
                    <a:pt x="54" y="279"/>
                  </a:lnTo>
                  <a:lnTo>
                    <a:pt x="56" y="279"/>
                  </a:lnTo>
                  <a:lnTo>
                    <a:pt x="56" y="279"/>
                  </a:lnTo>
                  <a:lnTo>
                    <a:pt x="54" y="275"/>
                  </a:lnTo>
                  <a:lnTo>
                    <a:pt x="54" y="275"/>
                  </a:lnTo>
                  <a:lnTo>
                    <a:pt x="54" y="275"/>
                  </a:lnTo>
                  <a:lnTo>
                    <a:pt x="54" y="275"/>
                  </a:lnTo>
                  <a:lnTo>
                    <a:pt x="54" y="275"/>
                  </a:lnTo>
                  <a:close/>
                  <a:moveTo>
                    <a:pt x="43" y="258"/>
                  </a:moveTo>
                  <a:lnTo>
                    <a:pt x="43" y="260"/>
                  </a:lnTo>
                  <a:lnTo>
                    <a:pt x="43" y="260"/>
                  </a:lnTo>
                  <a:lnTo>
                    <a:pt x="43" y="258"/>
                  </a:lnTo>
                  <a:lnTo>
                    <a:pt x="43" y="258"/>
                  </a:lnTo>
                  <a:lnTo>
                    <a:pt x="43" y="258"/>
                  </a:lnTo>
                  <a:lnTo>
                    <a:pt x="43" y="258"/>
                  </a:lnTo>
                  <a:lnTo>
                    <a:pt x="43" y="258"/>
                  </a:lnTo>
                  <a:close/>
                  <a:moveTo>
                    <a:pt x="30" y="249"/>
                  </a:moveTo>
                  <a:lnTo>
                    <a:pt x="30" y="250"/>
                  </a:lnTo>
                  <a:lnTo>
                    <a:pt x="30" y="252"/>
                  </a:lnTo>
                  <a:lnTo>
                    <a:pt x="30" y="256"/>
                  </a:lnTo>
                  <a:lnTo>
                    <a:pt x="32" y="254"/>
                  </a:lnTo>
                  <a:lnTo>
                    <a:pt x="32" y="249"/>
                  </a:lnTo>
                  <a:lnTo>
                    <a:pt x="32" y="249"/>
                  </a:lnTo>
                  <a:lnTo>
                    <a:pt x="30" y="249"/>
                  </a:lnTo>
                  <a:lnTo>
                    <a:pt x="30" y="249"/>
                  </a:lnTo>
                  <a:lnTo>
                    <a:pt x="30" y="249"/>
                  </a:lnTo>
                  <a:lnTo>
                    <a:pt x="30" y="249"/>
                  </a:lnTo>
                  <a:close/>
                  <a:moveTo>
                    <a:pt x="96" y="168"/>
                  </a:moveTo>
                  <a:lnTo>
                    <a:pt x="98" y="171"/>
                  </a:lnTo>
                  <a:lnTo>
                    <a:pt x="100" y="173"/>
                  </a:lnTo>
                  <a:lnTo>
                    <a:pt x="100" y="173"/>
                  </a:lnTo>
                  <a:lnTo>
                    <a:pt x="96" y="168"/>
                  </a:lnTo>
                  <a:lnTo>
                    <a:pt x="96" y="168"/>
                  </a:lnTo>
                  <a:lnTo>
                    <a:pt x="96" y="168"/>
                  </a:lnTo>
                  <a:lnTo>
                    <a:pt x="96" y="168"/>
                  </a:lnTo>
                  <a:close/>
                  <a:moveTo>
                    <a:pt x="60" y="215"/>
                  </a:moveTo>
                  <a:lnTo>
                    <a:pt x="56" y="215"/>
                  </a:lnTo>
                  <a:lnTo>
                    <a:pt x="58" y="217"/>
                  </a:lnTo>
                  <a:lnTo>
                    <a:pt x="60" y="215"/>
                  </a:lnTo>
                  <a:lnTo>
                    <a:pt x="60" y="215"/>
                  </a:lnTo>
                  <a:lnTo>
                    <a:pt x="60" y="215"/>
                  </a:lnTo>
                  <a:lnTo>
                    <a:pt x="60" y="215"/>
                  </a:lnTo>
                  <a:close/>
                  <a:moveTo>
                    <a:pt x="60" y="218"/>
                  </a:moveTo>
                  <a:lnTo>
                    <a:pt x="58" y="220"/>
                  </a:lnTo>
                  <a:lnTo>
                    <a:pt x="58" y="220"/>
                  </a:lnTo>
                  <a:lnTo>
                    <a:pt x="60" y="226"/>
                  </a:lnTo>
                  <a:lnTo>
                    <a:pt x="62" y="220"/>
                  </a:lnTo>
                  <a:lnTo>
                    <a:pt x="60" y="218"/>
                  </a:lnTo>
                  <a:lnTo>
                    <a:pt x="60" y="218"/>
                  </a:lnTo>
                  <a:lnTo>
                    <a:pt x="60" y="218"/>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5" name="Freeform 186">
              <a:extLst>
                <a:ext uri="{FF2B5EF4-FFF2-40B4-BE49-F238E27FC236}">
                  <a16:creationId xmlns:a16="http://schemas.microsoft.com/office/drawing/2014/main" id="{C4CF4FF9-D504-9841-810A-04EA31D8DE67}"/>
                </a:ext>
              </a:extLst>
            </p:cNvPr>
            <p:cNvSpPr>
              <a:spLocks noEditPoints="1"/>
            </p:cNvSpPr>
            <p:nvPr/>
          </p:nvSpPr>
          <p:spPr bwMode="auto">
            <a:xfrm>
              <a:off x="7570829" y="2559483"/>
              <a:ext cx="138241" cy="284561"/>
            </a:xfrm>
            <a:custGeom>
              <a:avLst/>
              <a:gdLst/>
              <a:ahLst/>
              <a:cxnLst>
                <a:cxn ang="0">
                  <a:pos x="90" y="5"/>
                </a:cxn>
                <a:cxn ang="0">
                  <a:pos x="106" y="28"/>
                </a:cxn>
                <a:cxn ang="0">
                  <a:pos x="100" y="53"/>
                </a:cxn>
                <a:cxn ang="0">
                  <a:pos x="90" y="64"/>
                </a:cxn>
                <a:cxn ang="0">
                  <a:pos x="94" y="79"/>
                </a:cxn>
                <a:cxn ang="0">
                  <a:pos x="111" y="88"/>
                </a:cxn>
                <a:cxn ang="0">
                  <a:pos x="121" y="102"/>
                </a:cxn>
                <a:cxn ang="0">
                  <a:pos x="136" y="105"/>
                </a:cxn>
                <a:cxn ang="0">
                  <a:pos x="126" y="126"/>
                </a:cxn>
                <a:cxn ang="0">
                  <a:pos x="141" y="134"/>
                </a:cxn>
                <a:cxn ang="0">
                  <a:pos x="162" y="135"/>
                </a:cxn>
                <a:cxn ang="0">
                  <a:pos x="153" y="152"/>
                </a:cxn>
                <a:cxn ang="0">
                  <a:pos x="136" y="164"/>
                </a:cxn>
                <a:cxn ang="0">
                  <a:pos x="128" y="177"/>
                </a:cxn>
                <a:cxn ang="0">
                  <a:pos x="107" y="190"/>
                </a:cxn>
                <a:cxn ang="0">
                  <a:pos x="104" y="207"/>
                </a:cxn>
                <a:cxn ang="0">
                  <a:pos x="122" y="231"/>
                </a:cxn>
                <a:cxn ang="0">
                  <a:pos x="124" y="252"/>
                </a:cxn>
                <a:cxn ang="0">
                  <a:pos x="130" y="282"/>
                </a:cxn>
                <a:cxn ang="0">
                  <a:pos x="141" y="309"/>
                </a:cxn>
                <a:cxn ang="0">
                  <a:pos x="149" y="333"/>
                </a:cxn>
                <a:cxn ang="0">
                  <a:pos x="136" y="361"/>
                </a:cxn>
                <a:cxn ang="0">
                  <a:pos x="130" y="358"/>
                </a:cxn>
                <a:cxn ang="0">
                  <a:pos x="134" y="346"/>
                </a:cxn>
                <a:cxn ang="0">
                  <a:pos x="136" y="329"/>
                </a:cxn>
                <a:cxn ang="0">
                  <a:pos x="130" y="305"/>
                </a:cxn>
                <a:cxn ang="0">
                  <a:pos x="121" y="297"/>
                </a:cxn>
                <a:cxn ang="0">
                  <a:pos x="113" y="275"/>
                </a:cxn>
                <a:cxn ang="0">
                  <a:pos x="111" y="248"/>
                </a:cxn>
                <a:cxn ang="0">
                  <a:pos x="106" y="241"/>
                </a:cxn>
                <a:cxn ang="0">
                  <a:pos x="92" y="224"/>
                </a:cxn>
                <a:cxn ang="0">
                  <a:pos x="92" y="228"/>
                </a:cxn>
                <a:cxn ang="0">
                  <a:pos x="83" y="237"/>
                </a:cxn>
                <a:cxn ang="0">
                  <a:pos x="77" y="245"/>
                </a:cxn>
                <a:cxn ang="0">
                  <a:pos x="62" y="252"/>
                </a:cxn>
                <a:cxn ang="0">
                  <a:pos x="51" y="258"/>
                </a:cxn>
                <a:cxn ang="0">
                  <a:pos x="49" y="248"/>
                </a:cxn>
                <a:cxn ang="0">
                  <a:pos x="53" y="224"/>
                </a:cxn>
                <a:cxn ang="0">
                  <a:pos x="45" y="205"/>
                </a:cxn>
                <a:cxn ang="0">
                  <a:pos x="32" y="186"/>
                </a:cxn>
                <a:cxn ang="0">
                  <a:pos x="21" y="184"/>
                </a:cxn>
                <a:cxn ang="0">
                  <a:pos x="28" y="184"/>
                </a:cxn>
                <a:cxn ang="0">
                  <a:pos x="28" y="173"/>
                </a:cxn>
                <a:cxn ang="0">
                  <a:pos x="13" y="169"/>
                </a:cxn>
                <a:cxn ang="0">
                  <a:pos x="11" y="169"/>
                </a:cxn>
                <a:cxn ang="0">
                  <a:pos x="0" y="147"/>
                </a:cxn>
                <a:cxn ang="0">
                  <a:pos x="10" y="130"/>
                </a:cxn>
                <a:cxn ang="0">
                  <a:pos x="17" y="109"/>
                </a:cxn>
                <a:cxn ang="0">
                  <a:pos x="28" y="90"/>
                </a:cxn>
                <a:cxn ang="0">
                  <a:pos x="38" y="53"/>
                </a:cxn>
                <a:cxn ang="0">
                  <a:pos x="53" y="22"/>
                </a:cxn>
                <a:cxn ang="0">
                  <a:pos x="72" y="13"/>
                </a:cxn>
                <a:cxn ang="0">
                  <a:pos x="74" y="2"/>
                </a:cxn>
                <a:cxn ang="0">
                  <a:pos x="26" y="194"/>
                </a:cxn>
              </a:cxnLst>
              <a:rect l="0" t="0" r="r" b="b"/>
              <a:pathLst>
                <a:path w="162" h="371">
                  <a:moveTo>
                    <a:pt x="74" y="2"/>
                  </a:moveTo>
                  <a:lnTo>
                    <a:pt x="77" y="0"/>
                  </a:lnTo>
                  <a:lnTo>
                    <a:pt x="81" y="2"/>
                  </a:lnTo>
                  <a:lnTo>
                    <a:pt x="83" y="0"/>
                  </a:lnTo>
                  <a:lnTo>
                    <a:pt x="87" y="0"/>
                  </a:lnTo>
                  <a:lnTo>
                    <a:pt x="90" y="5"/>
                  </a:lnTo>
                  <a:lnTo>
                    <a:pt x="94" y="7"/>
                  </a:lnTo>
                  <a:lnTo>
                    <a:pt x="94" y="15"/>
                  </a:lnTo>
                  <a:lnTo>
                    <a:pt x="98" y="15"/>
                  </a:lnTo>
                  <a:lnTo>
                    <a:pt x="102" y="17"/>
                  </a:lnTo>
                  <a:lnTo>
                    <a:pt x="102" y="22"/>
                  </a:lnTo>
                  <a:lnTo>
                    <a:pt x="106" y="28"/>
                  </a:lnTo>
                  <a:lnTo>
                    <a:pt x="106" y="36"/>
                  </a:lnTo>
                  <a:lnTo>
                    <a:pt x="104" y="41"/>
                  </a:lnTo>
                  <a:lnTo>
                    <a:pt x="104" y="47"/>
                  </a:lnTo>
                  <a:lnTo>
                    <a:pt x="104" y="47"/>
                  </a:lnTo>
                  <a:lnTo>
                    <a:pt x="100" y="51"/>
                  </a:lnTo>
                  <a:lnTo>
                    <a:pt x="100" y="53"/>
                  </a:lnTo>
                  <a:lnTo>
                    <a:pt x="98" y="54"/>
                  </a:lnTo>
                  <a:lnTo>
                    <a:pt x="96" y="56"/>
                  </a:lnTo>
                  <a:lnTo>
                    <a:pt x="98" y="60"/>
                  </a:lnTo>
                  <a:lnTo>
                    <a:pt x="96" y="62"/>
                  </a:lnTo>
                  <a:lnTo>
                    <a:pt x="94" y="62"/>
                  </a:lnTo>
                  <a:lnTo>
                    <a:pt x="90" y="64"/>
                  </a:lnTo>
                  <a:lnTo>
                    <a:pt x="90" y="68"/>
                  </a:lnTo>
                  <a:lnTo>
                    <a:pt x="92" y="69"/>
                  </a:lnTo>
                  <a:lnTo>
                    <a:pt x="90" y="71"/>
                  </a:lnTo>
                  <a:lnTo>
                    <a:pt x="90" y="75"/>
                  </a:lnTo>
                  <a:lnTo>
                    <a:pt x="92" y="75"/>
                  </a:lnTo>
                  <a:lnTo>
                    <a:pt x="94" y="79"/>
                  </a:lnTo>
                  <a:lnTo>
                    <a:pt x="98" y="81"/>
                  </a:lnTo>
                  <a:lnTo>
                    <a:pt x="96" y="86"/>
                  </a:lnTo>
                  <a:lnTo>
                    <a:pt x="98" y="90"/>
                  </a:lnTo>
                  <a:lnTo>
                    <a:pt x="104" y="86"/>
                  </a:lnTo>
                  <a:lnTo>
                    <a:pt x="111" y="85"/>
                  </a:lnTo>
                  <a:lnTo>
                    <a:pt x="111" y="88"/>
                  </a:lnTo>
                  <a:lnTo>
                    <a:pt x="111" y="90"/>
                  </a:lnTo>
                  <a:lnTo>
                    <a:pt x="113" y="92"/>
                  </a:lnTo>
                  <a:lnTo>
                    <a:pt x="117" y="92"/>
                  </a:lnTo>
                  <a:lnTo>
                    <a:pt x="121" y="94"/>
                  </a:lnTo>
                  <a:lnTo>
                    <a:pt x="117" y="96"/>
                  </a:lnTo>
                  <a:lnTo>
                    <a:pt x="121" y="102"/>
                  </a:lnTo>
                  <a:lnTo>
                    <a:pt x="124" y="102"/>
                  </a:lnTo>
                  <a:lnTo>
                    <a:pt x="124" y="102"/>
                  </a:lnTo>
                  <a:lnTo>
                    <a:pt x="124" y="105"/>
                  </a:lnTo>
                  <a:lnTo>
                    <a:pt x="126" y="105"/>
                  </a:lnTo>
                  <a:lnTo>
                    <a:pt x="132" y="105"/>
                  </a:lnTo>
                  <a:lnTo>
                    <a:pt x="136" y="105"/>
                  </a:lnTo>
                  <a:lnTo>
                    <a:pt x="136" y="109"/>
                  </a:lnTo>
                  <a:lnTo>
                    <a:pt x="134" y="111"/>
                  </a:lnTo>
                  <a:lnTo>
                    <a:pt x="134" y="115"/>
                  </a:lnTo>
                  <a:lnTo>
                    <a:pt x="130" y="120"/>
                  </a:lnTo>
                  <a:lnTo>
                    <a:pt x="126" y="124"/>
                  </a:lnTo>
                  <a:lnTo>
                    <a:pt x="126" y="126"/>
                  </a:lnTo>
                  <a:lnTo>
                    <a:pt x="130" y="126"/>
                  </a:lnTo>
                  <a:lnTo>
                    <a:pt x="136" y="126"/>
                  </a:lnTo>
                  <a:lnTo>
                    <a:pt x="136" y="126"/>
                  </a:lnTo>
                  <a:lnTo>
                    <a:pt x="138" y="124"/>
                  </a:lnTo>
                  <a:lnTo>
                    <a:pt x="141" y="126"/>
                  </a:lnTo>
                  <a:lnTo>
                    <a:pt x="141" y="134"/>
                  </a:lnTo>
                  <a:lnTo>
                    <a:pt x="141" y="135"/>
                  </a:lnTo>
                  <a:lnTo>
                    <a:pt x="145" y="139"/>
                  </a:lnTo>
                  <a:lnTo>
                    <a:pt x="147" y="135"/>
                  </a:lnTo>
                  <a:lnTo>
                    <a:pt x="153" y="135"/>
                  </a:lnTo>
                  <a:lnTo>
                    <a:pt x="160" y="134"/>
                  </a:lnTo>
                  <a:lnTo>
                    <a:pt x="162" y="135"/>
                  </a:lnTo>
                  <a:lnTo>
                    <a:pt x="162" y="139"/>
                  </a:lnTo>
                  <a:lnTo>
                    <a:pt x="158" y="141"/>
                  </a:lnTo>
                  <a:lnTo>
                    <a:pt x="153" y="143"/>
                  </a:lnTo>
                  <a:lnTo>
                    <a:pt x="153" y="147"/>
                  </a:lnTo>
                  <a:lnTo>
                    <a:pt x="151" y="149"/>
                  </a:lnTo>
                  <a:lnTo>
                    <a:pt x="153" y="152"/>
                  </a:lnTo>
                  <a:lnTo>
                    <a:pt x="149" y="154"/>
                  </a:lnTo>
                  <a:lnTo>
                    <a:pt x="147" y="154"/>
                  </a:lnTo>
                  <a:lnTo>
                    <a:pt x="145" y="160"/>
                  </a:lnTo>
                  <a:lnTo>
                    <a:pt x="138" y="160"/>
                  </a:lnTo>
                  <a:lnTo>
                    <a:pt x="136" y="160"/>
                  </a:lnTo>
                  <a:lnTo>
                    <a:pt x="136" y="164"/>
                  </a:lnTo>
                  <a:lnTo>
                    <a:pt x="138" y="166"/>
                  </a:lnTo>
                  <a:lnTo>
                    <a:pt x="136" y="169"/>
                  </a:lnTo>
                  <a:lnTo>
                    <a:pt x="132" y="169"/>
                  </a:lnTo>
                  <a:lnTo>
                    <a:pt x="128" y="169"/>
                  </a:lnTo>
                  <a:lnTo>
                    <a:pt x="128" y="175"/>
                  </a:lnTo>
                  <a:lnTo>
                    <a:pt x="128" y="177"/>
                  </a:lnTo>
                  <a:lnTo>
                    <a:pt x="122" y="177"/>
                  </a:lnTo>
                  <a:lnTo>
                    <a:pt x="121" y="181"/>
                  </a:lnTo>
                  <a:lnTo>
                    <a:pt x="111" y="177"/>
                  </a:lnTo>
                  <a:lnTo>
                    <a:pt x="107" y="181"/>
                  </a:lnTo>
                  <a:lnTo>
                    <a:pt x="111" y="188"/>
                  </a:lnTo>
                  <a:lnTo>
                    <a:pt x="107" y="190"/>
                  </a:lnTo>
                  <a:lnTo>
                    <a:pt x="107" y="194"/>
                  </a:lnTo>
                  <a:lnTo>
                    <a:pt x="107" y="198"/>
                  </a:lnTo>
                  <a:lnTo>
                    <a:pt x="106" y="203"/>
                  </a:lnTo>
                  <a:lnTo>
                    <a:pt x="100" y="203"/>
                  </a:lnTo>
                  <a:lnTo>
                    <a:pt x="102" y="205"/>
                  </a:lnTo>
                  <a:lnTo>
                    <a:pt x="104" y="207"/>
                  </a:lnTo>
                  <a:lnTo>
                    <a:pt x="107" y="213"/>
                  </a:lnTo>
                  <a:lnTo>
                    <a:pt x="111" y="215"/>
                  </a:lnTo>
                  <a:lnTo>
                    <a:pt x="111" y="218"/>
                  </a:lnTo>
                  <a:lnTo>
                    <a:pt x="117" y="222"/>
                  </a:lnTo>
                  <a:lnTo>
                    <a:pt x="121" y="230"/>
                  </a:lnTo>
                  <a:lnTo>
                    <a:pt x="122" y="231"/>
                  </a:lnTo>
                  <a:lnTo>
                    <a:pt x="124" y="237"/>
                  </a:lnTo>
                  <a:lnTo>
                    <a:pt x="126" y="241"/>
                  </a:lnTo>
                  <a:lnTo>
                    <a:pt x="130" y="243"/>
                  </a:lnTo>
                  <a:lnTo>
                    <a:pt x="130" y="247"/>
                  </a:lnTo>
                  <a:lnTo>
                    <a:pt x="126" y="248"/>
                  </a:lnTo>
                  <a:lnTo>
                    <a:pt x="124" y="252"/>
                  </a:lnTo>
                  <a:lnTo>
                    <a:pt x="126" y="260"/>
                  </a:lnTo>
                  <a:lnTo>
                    <a:pt x="126" y="262"/>
                  </a:lnTo>
                  <a:lnTo>
                    <a:pt x="122" y="265"/>
                  </a:lnTo>
                  <a:lnTo>
                    <a:pt x="124" y="271"/>
                  </a:lnTo>
                  <a:lnTo>
                    <a:pt x="124" y="275"/>
                  </a:lnTo>
                  <a:lnTo>
                    <a:pt x="130" y="282"/>
                  </a:lnTo>
                  <a:lnTo>
                    <a:pt x="136" y="284"/>
                  </a:lnTo>
                  <a:lnTo>
                    <a:pt x="141" y="290"/>
                  </a:lnTo>
                  <a:lnTo>
                    <a:pt x="145" y="297"/>
                  </a:lnTo>
                  <a:lnTo>
                    <a:pt x="141" y="301"/>
                  </a:lnTo>
                  <a:lnTo>
                    <a:pt x="141" y="305"/>
                  </a:lnTo>
                  <a:lnTo>
                    <a:pt x="141" y="309"/>
                  </a:lnTo>
                  <a:lnTo>
                    <a:pt x="145" y="312"/>
                  </a:lnTo>
                  <a:lnTo>
                    <a:pt x="145" y="316"/>
                  </a:lnTo>
                  <a:lnTo>
                    <a:pt x="147" y="322"/>
                  </a:lnTo>
                  <a:lnTo>
                    <a:pt x="145" y="326"/>
                  </a:lnTo>
                  <a:lnTo>
                    <a:pt x="149" y="329"/>
                  </a:lnTo>
                  <a:lnTo>
                    <a:pt x="149" y="333"/>
                  </a:lnTo>
                  <a:lnTo>
                    <a:pt x="145" y="337"/>
                  </a:lnTo>
                  <a:lnTo>
                    <a:pt x="141" y="348"/>
                  </a:lnTo>
                  <a:lnTo>
                    <a:pt x="138" y="352"/>
                  </a:lnTo>
                  <a:lnTo>
                    <a:pt x="138" y="356"/>
                  </a:lnTo>
                  <a:lnTo>
                    <a:pt x="136" y="360"/>
                  </a:lnTo>
                  <a:lnTo>
                    <a:pt x="136" y="361"/>
                  </a:lnTo>
                  <a:lnTo>
                    <a:pt x="136" y="361"/>
                  </a:lnTo>
                  <a:lnTo>
                    <a:pt x="134" y="365"/>
                  </a:lnTo>
                  <a:lnTo>
                    <a:pt x="134" y="371"/>
                  </a:lnTo>
                  <a:lnTo>
                    <a:pt x="132" y="365"/>
                  </a:lnTo>
                  <a:lnTo>
                    <a:pt x="132" y="360"/>
                  </a:lnTo>
                  <a:lnTo>
                    <a:pt x="130" y="358"/>
                  </a:lnTo>
                  <a:lnTo>
                    <a:pt x="130" y="356"/>
                  </a:lnTo>
                  <a:lnTo>
                    <a:pt x="132" y="356"/>
                  </a:lnTo>
                  <a:lnTo>
                    <a:pt x="132" y="354"/>
                  </a:lnTo>
                  <a:lnTo>
                    <a:pt x="136" y="350"/>
                  </a:lnTo>
                  <a:lnTo>
                    <a:pt x="136" y="348"/>
                  </a:lnTo>
                  <a:lnTo>
                    <a:pt x="134" y="346"/>
                  </a:lnTo>
                  <a:lnTo>
                    <a:pt x="134" y="343"/>
                  </a:lnTo>
                  <a:lnTo>
                    <a:pt x="136" y="343"/>
                  </a:lnTo>
                  <a:lnTo>
                    <a:pt x="138" y="341"/>
                  </a:lnTo>
                  <a:lnTo>
                    <a:pt x="136" y="333"/>
                  </a:lnTo>
                  <a:lnTo>
                    <a:pt x="138" y="333"/>
                  </a:lnTo>
                  <a:lnTo>
                    <a:pt x="136" y="329"/>
                  </a:lnTo>
                  <a:lnTo>
                    <a:pt x="134" y="326"/>
                  </a:lnTo>
                  <a:lnTo>
                    <a:pt x="132" y="322"/>
                  </a:lnTo>
                  <a:lnTo>
                    <a:pt x="134" y="322"/>
                  </a:lnTo>
                  <a:lnTo>
                    <a:pt x="134" y="316"/>
                  </a:lnTo>
                  <a:lnTo>
                    <a:pt x="130" y="316"/>
                  </a:lnTo>
                  <a:lnTo>
                    <a:pt x="130" y="305"/>
                  </a:lnTo>
                  <a:lnTo>
                    <a:pt x="126" y="301"/>
                  </a:lnTo>
                  <a:lnTo>
                    <a:pt x="126" y="297"/>
                  </a:lnTo>
                  <a:lnTo>
                    <a:pt x="122" y="294"/>
                  </a:lnTo>
                  <a:lnTo>
                    <a:pt x="122" y="299"/>
                  </a:lnTo>
                  <a:lnTo>
                    <a:pt x="121" y="299"/>
                  </a:lnTo>
                  <a:lnTo>
                    <a:pt x="121" y="297"/>
                  </a:lnTo>
                  <a:lnTo>
                    <a:pt x="121" y="294"/>
                  </a:lnTo>
                  <a:lnTo>
                    <a:pt x="121" y="284"/>
                  </a:lnTo>
                  <a:lnTo>
                    <a:pt x="117" y="282"/>
                  </a:lnTo>
                  <a:lnTo>
                    <a:pt x="117" y="279"/>
                  </a:lnTo>
                  <a:lnTo>
                    <a:pt x="121" y="277"/>
                  </a:lnTo>
                  <a:lnTo>
                    <a:pt x="113" y="275"/>
                  </a:lnTo>
                  <a:lnTo>
                    <a:pt x="113" y="267"/>
                  </a:lnTo>
                  <a:lnTo>
                    <a:pt x="111" y="267"/>
                  </a:lnTo>
                  <a:lnTo>
                    <a:pt x="111" y="254"/>
                  </a:lnTo>
                  <a:lnTo>
                    <a:pt x="107" y="254"/>
                  </a:lnTo>
                  <a:lnTo>
                    <a:pt x="107" y="248"/>
                  </a:lnTo>
                  <a:lnTo>
                    <a:pt x="111" y="248"/>
                  </a:lnTo>
                  <a:lnTo>
                    <a:pt x="111" y="247"/>
                  </a:lnTo>
                  <a:lnTo>
                    <a:pt x="107" y="243"/>
                  </a:lnTo>
                  <a:lnTo>
                    <a:pt x="107" y="241"/>
                  </a:lnTo>
                  <a:lnTo>
                    <a:pt x="107" y="237"/>
                  </a:lnTo>
                  <a:lnTo>
                    <a:pt x="107" y="241"/>
                  </a:lnTo>
                  <a:lnTo>
                    <a:pt x="106" y="241"/>
                  </a:lnTo>
                  <a:lnTo>
                    <a:pt x="102" y="241"/>
                  </a:lnTo>
                  <a:lnTo>
                    <a:pt x="100" y="237"/>
                  </a:lnTo>
                  <a:lnTo>
                    <a:pt x="100" y="235"/>
                  </a:lnTo>
                  <a:lnTo>
                    <a:pt x="96" y="228"/>
                  </a:lnTo>
                  <a:lnTo>
                    <a:pt x="94" y="224"/>
                  </a:lnTo>
                  <a:lnTo>
                    <a:pt x="92" y="224"/>
                  </a:lnTo>
                  <a:lnTo>
                    <a:pt x="92" y="224"/>
                  </a:lnTo>
                  <a:lnTo>
                    <a:pt x="89" y="222"/>
                  </a:lnTo>
                  <a:lnTo>
                    <a:pt x="90" y="224"/>
                  </a:lnTo>
                  <a:lnTo>
                    <a:pt x="90" y="224"/>
                  </a:lnTo>
                  <a:lnTo>
                    <a:pt x="90" y="228"/>
                  </a:lnTo>
                  <a:lnTo>
                    <a:pt x="92" y="228"/>
                  </a:lnTo>
                  <a:lnTo>
                    <a:pt x="92" y="231"/>
                  </a:lnTo>
                  <a:lnTo>
                    <a:pt x="90" y="233"/>
                  </a:lnTo>
                  <a:lnTo>
                    <a:pt x="90" y="237"/>
                  </a:lnTo>
                  <a:lnTo>
                    <a:pt x="87" y="241"/>
                  </a:lnTo>
                  <a:lnTo>
                    <a:pt x="83" y="239"/>
                  </a:lnTo>
                  <a:lnTo>
                    <a:pt x="83" y="237"/>
                  </a:lnTo>
                  <a:lnTo>
                    <a:pt x="81" y="237"/>
                  </a:lnTo>
                  <a:lnTo>
                    <a:pt x="83" y="241"/>
                  </a:lnTo>
                  <a:lnTo>
                    <a:pt x="83" y="241"/>
                  </a:lnTo>
                  <a:lnTo>
                    <a:pt x="83" y="243"/>
                  </a:lnTo>
                  <a:lnTo>
                    <a:pt x="81" y="245"/>
                  </a:lnTo>
                  <a:lnTo>
                    <a:pt x="77" y="245"/>
                  </a:lnTo>
                  <a:lnTo>
                    <a:pt x="75" y="243"/>
                  </a:lnTo>
                  <a:lnTo>
                    <a:pt x="75" y="247"/>
                  </a:lnTo>
                  <a:lnTo>
                    <a:pt x="68" y="252"/>
                  </a:lnTo>
                  <a:lnTo>
                    <a:pt x="64" y="252"/>
                  </a:lnTo>
                  <a:lnTo>
                    <a:pt x="62" y="252"/>
                  </a:lnTo>
                  <a:lnTo>
                    <a:pt x="62" y="252"/>
                  </a:lnTo>
                  <a:lnTo>
                    <a:pt x="62" y="252"/>
                  </a:lnTo>
                  <a:lnTo>
                    <a:pt x="62" y="254"/>
                  </a:lnTo>
                  <a:lnTo>
                    <a:pt x="58" y="254"/>
                  </a:lnTo>
                  <a:lnTo>
                    <a:pt x="58" y="252"/>
                  </a:lnTo>
                  <a:lnTo>
                    <a:pt x="53" y="254"/>
                  </a:lnTo>
                  <a:lnTo>
                    <a:pt x="51" y="258"/>
                  </a:lnTo>
                  <a:lnTo>
                    <a:pt x="49" y="258"/>
                  </a:lnTo>
                  <a:lnTo>
                    <a:pt x="49" y="252"/>
                  </a:lnTo>
                  <a:lnTo>
                    <a:pt x="53" y="247"/>
                  </a:lnTo>
                  <a:lnTo>
                    <a:pt x="53" y="241"/>
                  </a:lnTo>
                  <a:lnTo>
                    <a:pt x="53" y="247"/>
                  </a:lnTo>
                  <a:lnTo>
                    <a:pt x="49" y="248"/>
                  </a:lnTo>
                  <a:lnTo>
                    <a:pt x="45" y="254"/>
                  </a:lnTo>
                  <a:lnTo>
                    <a:pt x="45" y="252"/>
                  </a:lnTo>
                  <a:lnTo>
                    <a:pt x="45" y="252"/>
                  </a:lnTo>
                  <a:lnTo>
                    <a:pt x="45" y="247"/>
                  </a:lnTo>
                  <a:lnTo>
                    <a:pt x="47" y="228"/>
                  </a:lnTo>
                  <a:lnTo>
                    <a:pt x="53" y="224"/>
                  </a:lnTo>
                  <a:lnTo>
                    <a:pt x="51" y="224"/>
                  </a:lnTo>
                  <a:lnTo>
                    <a:pt x="47" y="215"/>
                  </a:lnTo>
                  <a:lnTo>
                    <a:pt x="47" y="209"/>
                  </a:lnTo>
                  <a:lnTo>
                    <a:pt x="45" y="207"/>
                  </a:lnTo>
                  <a:lnTo>
                    <a:pt x="43" y="205"/>
                  </a:lnTo>
                  <a:lnTo>
                    <a:pt x="45" y="205"/>
                  </a:lnTo>
                  <a:lnTo>
                    <a:pt x="42" y="203"/>
                  </a:lnTo>
                  <a:lnTo>
                    <a:pt x="40" y="198"/>
                  </a:lnTo>
                  <a:lnTo>
                    <a:pt x="38" y="194"/>
                  </a:lnTo>
                  <a:lnTo>
                    <a:pt x="38" y="190"/>
                  </a:lnTo>
                  <a:lnTo>
                    <a:pt x="38" y="190"/>
                  </a:lnTo>
                  <a:lnTo>
                    <a:pt x="32" y="186"/>
                  </a:lnTo>
                  <a:lnTo>
                    <a:pt x="34" y="190"/>
                  </a:lnTo>
                  <a:lnTo>
                    <a:pt x="34" y="194"/>
                  </a:lnTo>
                  <a:lnTo>
                    <a:pt x="28" y="194"/>
                  </a:lnTo>
                  <a:lnTo>
                    <a:pt x="25" y="190"/>
                  </a:lnTo>
                  <a:lnTo>
                    <a:pt x="25" y="188"/>
                  </a:lnTo>
                  <a:lnTo>
                    <a:pt x="21" y="184"/>
                  </a:lnTo>
                  <a:lnTo>
                    <a:pt x="21" y="182"/>
                  </a:lnTo>
                  <a:lnTo>
                    <a:pt x="25" y="182"/>
                  </a:lnTo>
                  <a:lnTo>
                    <a:pt x="26" y="186"/>
                  </a:lnTo>
                  <a:lnTo>
                    <a:pt x="28" y="186"/>
                  </a:lnTo>
                  <a:lnTo>
                    <a:pt x="28" y="186"/>
                  </a:lnTo>
                  <a:lnTo>
                    <a:pt x="28" y="184"/>
                  </a:lnTo>
                  <a:lnTo>
                    <a:pt x="26" y="182"/>
                  </a:lnTo>
                  <a:lnTo>
                    <a:pt x="28" y="181"/>
                  </a:lnTo>
                  <a:lnTo>
                    <a:pt x="28" y="182"/>
                  </a:lnTo>
                  <a:lnTo>
                    <a:pt x="32" y="182"/>
                  </a:lnTo>
                  <a:lnTo>
                    <a:pt x="32" y="179"/>
                  </a:lnTo>
                  <a:lnTo>
                    <a:pt x="28" y="173"/>
                  </a:lnTo>
                  <a:lnTo>
                    <a:pt x="23" y="171"/>
                  </a:lnTo>
                  <a:lnTo>
                    <a:pt x="23" y="169"/>
                  </a:lnTo>
                  <a:lnTo>
                    <a:pt x="19" y="169"/>
                  </a:lnTo>
                  <a:lnTo>
                    <a:pt x="17" y="166"/>
                  </a:lnTo>
                  <a:lnTo>
                    <a:pt x="17" y="169"/>
                  </a:lnTo>
                  <a:lnTo>
                    <a:pt x="13" y="169"/>
                  </a:lnTo>
                  <a:lnTo>
                    <a:pt x="13" y="169"/>
                  </a:lnTo>
                  <a:lnTo>
                    <a:pt x="15" y="164"/>
                  </a:lnTo>
                  <a:lnTo>
                    <a:pt x="13" y="164"/>
                  </a:lnTo>
                  <a:lnTo>
                    <a:pt x="10" y="164"/>
                  </a:lnTo>
                  <a:lnTo>
                    <a:pt x="10" y="164"/>
                  </a:lnTo>
                  <a:lnTo>
                    <a:pt x="11" y="169"/>
                  </a:lnTo>
                  <a:lnTo>
                    <a:pt x="4" y="160"/>
                  </a:lnTo>
                  <a:lnTo>
                    <a:pt x="0" y="156"/>
                  </a:lnTo>
                  <a:lnTo>
                    <a:pt x="0" y="152"/>
                  </a:lnTo>
                  <a:lnTo>
                    <a:pt x="0" y="152"/>
                  </a:lnTo>
                  <a:lnTo>
                    <a:pt x="0" y="150"/>
                  </a:lnTo>
                  <a:lnTo>
                    <a:pt x="0" y="147"/>
                  </a:lnTo>
                  <a:lnTo>
                    <a:pt x="4" y="143"/>
                  </a:lnTo>
                  <a:lnTo>
                    <a:pt x="4" y="143"/>
                  </a:lnTo>
                  <a:lnTo>
                    <a:pt x="8" y="139"/>
                  </a:lnTo>
                  <a:lnTo>
                    <a:pt x="8" y="134"/>
                  </a:lnTo>
                  <a:lnTo>
                    <a:pt x="8" y="130"/>
                  </a:lnTo>
                  <a:lnTo>
                    <a:pt x="10" y="130"/>
                  </a:lnTo>
                  <a:lnTo>
                    <a:pt x="11" y="130"/>
                  </a:lnTo>
                  <a:lnTo>
                    <a:pt x="13" y="122"/>
                  </a:lnTo>
                  <a:lnTo>
                    <a:pt x="13" y="118"/>
                  </a:lnTo>
                  <a:lnTo>
                    <a:pt x="13" y="115"/>
                  </a:lnTo>
                  <a:lnTo>
                    <a:pt x="13" y="109"/>
                  </a:lnTo>
                  <a:lnTo>
                    <a:pt x="17" y="109"/>
                  </a:lnTo>
                  <a:lnTo>
                    <a:pt x="17" y="102"/>
                  </a:lnTo>
                  <a:lnTo>
                    <a:pt x="17" y="100"/>
                  </a:lnTo>
                  <a:lnTo>
                    <a:pt x="15" y="90"/>
                  </a:lnTo>
                  <a:lnTo>
                    <a:pt x="19" y="90"/>
                  </a:lnTo>
                  <a:lnTo>
                    <a:pt x="23" y="90"/>
                  </a:lnTo>
                  <a:lnTo>
                    <a:pt x="28" y="90"/>
                  </a:lnTo>
                  <a:lnTo>
                    <a:pt x="28" y="85"/>
                  </a:lnTo>
                  <a:lnTo>
                    <a:pt x="32" y="75"/>
                  </a:lnTo>
                  <a:lnTo>
                    <a:pt x="38" y="66"/>
                  </a:lnTo>
                  <a:lnTo>
                    <a:pt x="32" y="64"/>
                  </a:lnTo>
                  <a:lnTo>
                    <a:pt x="32" y="62"/>
                  </a:lnTo>
                  <a:lnTo>
                    <a:pt x="38" y="53"/>
                  </a:lnTo>
                  <a:lnTo>
                    <a:pt x="38" y="47"/>
                  </a:lnTo>
                  <a:lnTo>
                    <a:pt x="38" y="41"/>
                  </a:lnTo>
                  <a:lnTo>
                    <a:pt x="38" y="39"/>
                  </a:lnTo>
                  <a:lnTo>
                    <a:pt x="43" y="28"/>
                  </a:lnTo>
                  <a:lnTo>
                    <a:pt x="49" y="28"/>
                  </a:lnTo>
                  <a:lnTo>
                    <a:pt x="53" y="22"/>
                  </a:lnTo>
                  <a:lnTo>
                    <a:pt x="53" y="17"/>
                  </a:lnTo>
                  <a:lnTo>
                    <a:pt x="62" y="17"/>
                  </a:lnTo>
                  <a:lnTo>
                    <a:pt x="66" y="13"/>
                  </a:lnTo>
                  <a:lnTo>
                    <a:pt x="68" y="15"/>
                  </a:lnTo>
                  <a:lnTo>
                    <a:pt x="72" y="17"/>
                  </a:lnTo>
                  <a:lnTo>
                    <a:pt x="72" y="13"/>
                  </a:lnTo>
                  <a:lnTo>
                    <a:pt x="72" y="7"/>
                  </a:lnTo>
                  <a:lnTo>
                    <a:pt x="75" y="5"/>
                  </a:lnTo>
                  <a:lnTo>
                    <a:pt x="75" y="2"/>
                  </a:lnTo>
                  <a:lnTo>
                    <a:pt x="74" y="2"/>
                  </a:lnTo>
                  <a:lnTo>
                    <a:pt x="74" y="2"/>
                  </a:lnTo>
                  <a:lnTo>
                    <a:pt x="74" y="2"/>
                  </a:lnTo>
                  <a:lnTo>
                    <a:pt x="74" y="2"/>
                  </a:lnTo>
                  <a:close/>
                  <a:moveTo>
                    <a:pt x="25" y="196"/>
                  </a:moveTo>
                  <a:lnTo>
                    <a:pt x="25" y="199"/>
                  </a:lnTo>
                  <a:lnTo>
                    <a:pt x="28" y="203"/>
                  </a:lnTo>
                  <a:lnTo>
                    <a:pt x="28" y="198"/>
                  </a:lnTo>
                  <a:lnTo>
                    <a:pt x="26" y="194"/>
                  </a:lnTo>
                  <a:lnTo>
                    <a:pt x="25" y="196"/>
                  </a:lnTo>
                  <a:lnTo>
                    <a:pt x="25" y="196"/>
                  </a:lnTo>
                  <a:lnTo>
                    <a:pt x="25" y="196"/>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6" name="Freeform 187">
              <a:extLst>
                <a:ext uri="{FF2B5EF4-FFF2-40B4-BE49-F238E27FC236}">
                  <a16:creationId xmlns:a16="http://schemas.microsoft.com/office/drawing/2014/main" id="{4139C375-92E0-984E-B35D-4107C367B0DF}"/>
                </a:ext>
              </a:extLst>
            </p:cNvPr>
            <p:cNvSpPr>
              <a:spLocks noEditPoints="1"/>
            </p:cNvSpPr>
            <p:nvPr/>
          </p:nvSpPr>
          <p:spPr bwMode="auto">
            <a:xfrm>
              <a:off x="7466722" y="2584027"/>
              <a:ext cx="85334" cy="98177"/>
            </a:xfrm>
            <a:custGeom>
              <a:avLst/>
              <a:gdLst/>
              <a:ahLst/>
              <a:cxnLst>
                <a:cxn ang="0">
                  <a:pos x="96" y="113"/>
                </a:cxn>
                <a:cxn ang="0">
                  <a:pos x="90" y="122"/>
                </a:cxn>
                <a:cxn ang="0">
                  <a:pos x="84" y="113"/>
                </a:cxn>
                <a:cxn ang="0">
                  <a:pos x="84" y="109"/>
                </a:cxn>
                <a:cxn ang="0">
                  <a:pos x="81" y="103"/>
                </a:cxn>
                <a:cxn ang="0">
                  <a:pos x="73" y="83"/>
                </a:cxn>
                <a:cxn ang="0">
                  <a:pos x="66" y="85"/>
                </a:cxn>
                <a:cxn ang="0">
                  <a:pos x="54" y="79"/>
                </a:cxn>
                <a:cxn ang="0">
                  <a:pos x="54" y="83"/>
                </a:cxn>
                <a:cxn ang="0">
                  <a:pos x="54" y="96"/>
                </a:cxn>
                <a:cxn ang="0">
                  <a:pos x="49" y="98"/>
                </a:cxn>
                <a:cxn ang="0">
                  <a:pos x="43" y="100"/>
                </a:cxn>
                <a:cxn ang="0">
                  <a:pos x="43" y="86"/>
                </a:cxn>
                <a:cxn ang="0">
                  <a:pos x="39" y="96"/>
                </a:cxn>
                <a:cxn ang="0">
                  <a:pos x="39" y="103"/>
                </a:cxn>
                <a:cxn ang="0">
                  <a:pos x="34" y="105"/>
                </a:cxn>
                <a:cxn ang="0">
                  <a:pos x="28" y="96"/>
                </a:cxn>
                <a:cxn ang="0">
                  <a:pos x="19" y="73"/>
                </a:cxn>
                <a:cxn ang="0">
                  <a:pos x="13" y="53"/>
                </a:cxn>
                <a:cxn ang="0">
                  <a:pos x="7" y="37"/>
                </a:cxn>
                <a:cxn ang="0">
                  <a:pos x="19" y="30"/>
                </a:cxn>
                <a:cxn ang="0">
                  <a:pos x="7" y="24"/>
                </a:cxn>
                <a:cxn ang="0">
                  <a:pos x="5" y="7"/>
                </a:cxn>
                <a:cxn ang="0">
                  <a:pos x="7" y="0"/>
                </a:cxn>
                <a:cxn ang="0">
                  <a:pos x="13" y="11"/>
                </a:cxn>
                <a:cxn ang="0">
                  <a:pos x="19" y="7"/>
                </a:cxn>
                <a:cxn ang="0">
                  <a:pos x="28" y="11"/>
                </a:cxn>
                <a:cxn ang="0">
                  <a:pos x="34" y="21"/>
                </a:cxn>
                <a:cxn ang="0">
                  <a:pos x="39" y="30"/>
                </a:cxn>
                <a:cxn ang="0">
                  <a:pos x="58" y="32"/>
                </a:cxn>
                <a:cxn ang="0">
                  <a:pos x="75" y="32"/>
                </a:cxn>
                <a:cxn ang="0">
                  <a:pos x="81" y="39"/>
                </a:cxn>
                <a:cxn ang="0">
                  <a:pos x="75" y="54"/>
                </a:cxn>
                <a:cxn ang="0">
                  <a:pos x="69" y="56"/>
                </a:cxn>
                <a:cxn ang="0">
                  <a:pos x="69" y="68"/>
                </a:cxn>
                <a:cxn ang="0">
                  <a:pos x="75" y="79"/>
                </a:cxn>
                <a:cxn ang="0">
                  <a:pos x="79" y="70"/>
                </a:cxn>
                <a:cxn ang="0">
                  <a:pos x="81" y="66"/>
                </a:cxn>
                <a:cxn ang="0">
                  <a:pos x="88" y="70"/>
                </a:cxn>
                <a:cxn ang="0">
                  <a:pos x="94" y="90"/>
                </a:cxn>
                <a:cxn ang="0">
                  <a:pos x="100" y="102"/>
                </a:cxn>
                <a:cxn ang="0">
                  <a:pos x="100" y="103"/>
                </a:cxn>
                <a:cxn ang="0">
                  <a:pos x="69" y="88"/>
                </a:cxn>
                <a:cxn ang="0">
                  <a:pos x="73" y="88"/>
                </a:cxn>
                <a:cxn ang="0">
                  <a:pos x="64" y="90"/>
                </a:cxn>
                <a:cxn ang="0">
                  <a:pos x="69" y="88"/>
                </a:cxn>
                <a:cxn ang="0">
                  <a:pos x="64" y="86"/>
                </a:cxn>
                <a:cxn ang="0">
                  <a:pos x="54" y="86"/>
                </a:cxn>
                <a:cxn ang="0">
                  <a:pos x="60" y="88"/>
                </a:cxn>
              </a:cxnLst>
              <a:rect l="0" t="0" r="r" b="b"/>
              <a:pathLst>
                <a:path w="100" h="128">
                  <a:moveTo>
                    <a:pt x="100" y="103"/>
                  </a:moveTo>
                  <a:lnTo>
                    <a:pt x="100" y="109"/>
                  </a:lnTo>
                  <a:lnTo>
                    <a:pt x="96" y="113"/>
                  </a:lnTo>
                  <a:lnTo>
                    <a:pt x="96" y="113"/>
                  </a:lnTo>
                  <a:lnTo>
                    <a:pt x="92" y="115"/>
                  </a:lnTo>
                  <a:lnTo>
                    <a:pt x="90" y="118"/>
                  </a:lnTo>
                  <a:lnTo>
                    <a:pt x="90" y="122"/>
                  </a:lnTo>
                  <a:lnTo>
                    <a:pt x="90" y="122"/>
                  </a:lnTo>
                  <a:lnTo>
                    <a:pt x="92" y="128"/>
                  </a:lnTo>
                  <a:lnTo>
                    <a:pt x="90" y="128"/>
                  </a:lnTo>
                  <a:lnTo>
                    <a:pt x="88" y="118"/>
                  </a:lnTo>
                  <a:lnTo>
                    <a:pt x="84" y="113"/>
                  </a:lnTo>
                  <a:lnTo>
                    <a:pt x="84" y="113"/>
                  </a:lnTo>
                  <a:lnTo>
                    <a:pt x="84" y="109"/>
                  </a:lnTo>
                  <a:lnTo>
                    <a:pt x="84" y="107"/>
                  </a:lnTo>
                  <a:lnTo>
                    <a:pt x="84" y="109"/>
                  </a:lnTo>
                  <a:lnTo>
                    <a:pt x="81" y="109"/>
                  </a:lnTo>
                  <a:lnTo>
                    <a:pt x="81" y="109"/>
                  </a:lnTo>
                  <a:lnTo>
                    <a:pt x="81" y="105"/>
                  </a:lnTo>
                  <a:lnTo>
                    <a:pt x="81" y="103"/>
                  </a:lnTo>
                  <a:lnTo>
                    <a:pt x="81" y="100"/>
                  </a:lnTo>
                  <a:lnTo>
                    <a:pt x="81" y="96"/>
                  </a:lnTo>
                  <a:lnTo>
                    <a:pt x="79" y="94"/>
                  </a:lnTo>
                  <a:lnTo>
                    <a:pt x="73" y="83"/>
                  </a:lnTo>
                  <a:lnTo>
                    <a:pt x="73" y="83"/>
                  </a:lnTo>
                  <a:lnTo>
                    <a:pt x="73" y="83"/>
                  </a:lnTo>
                  <a:lnTo>
                    <a:pt x="69" y="83"/>
                  </a:lnTo>
                  <a:lnTo>
                    <a:pt x="66" y="85"/>
                  </a:lnTo>
                  <a:lnTo>
                    <a:pt x="58" y="83"/>
                  </a:lnTo>
                  <a:lnTo>
                    <a:pt x="58" y="79"/>
                  </a:lnTo>
                  <a:lnTo>
                    <a:pt x="58" y="79"/>
                  </a:lnTo>
                  <a:lnTo>
                    <a:pt x="54" y="79"/>
                  </a:lnTo>
                  <a:lnTo>
                    <a:pt x="52" y="73"/>
                  </a:lnTo>
                  <a:lnTo>
                    <a:pt x="52" y="79"/>
                  </a:lnTo>
                  <a:lnTo>
                    <a:pt x="54" y="83"/>
                  </a:lnTo>
                  <a:lnTo>
                    <a:pt x="54" y="83"/>
                  </a:lnTo>
                  <a:lnTo>
                    <a:pt x="49" y="85"/>
                  </a:lnTo>
                  <a:lnTo>
                    <a:pt x="54" y="86"/>
                  </a:lnTo>
                  <a:lnTo>
                    <a:pt x="54" y="90"/>
                  </a:lnTo>
                  <a:lnTo>
                    <a:pt x="54" y="96"/>
                  </a:lnTo>
                  <a:lnTo>
                    <a:pt x="52" y="98"/>
                  </a:lnTo>
                  <a:lnTo>
                    <a:pt x="49" y="103"/>
                  </a:lnTo>
                  <a:lnTo>
                    <a:pt x="47" y="102"/>
                  </a:lnTo>
                  <a:lnTo>
                    <a:pt x="49" y="98"/>
                  </a:lnTo>
                  <a:lnTo>
                    <a:pt x="49" y="98"/>
                  </a:lnTo>
                  <a:lnTo>
                    <a:pt x="49" y="96"/>
                  </a:lnTo>
                  <a:lnTo>
                    <a:pt x="47" y="96"/>
                  </a:lnTo>
                  <a:lnTo>
                    <a:pt x="43" y="100"/>
                  </a:lnTo>
                  <a:lnTo>
                    <a:pt x="43" y="96"/>
                  </a:lnTo>
                  <a:lnTo>
                    <a:pt x="43" y="90"/>
                  </a:lnTo>
                  <a:lnTo>
                    <a:pt x="43" y="88"/>
                  </a:lnTo>
                  <a:lnTo>
                    <a:pt x="43" y="86"/>
                  </a:lnTo>
                  <a:lnTo>
                    <a:pt x="43" y="88"/>
                  </a:lnTo>
                  <a:lnTo>
                    <a:pt x="43" y="92"/>
                  </a:lnTo>
                  <a:lnTo>
                    <a:pt x="39" y="96"/>
                  </a:lnTo>
                  <a:lnTo>
                    <a:pt x="39" y="96"/>
                  </a:lnTo>
                  <a:lnTo>
                    <a:pt x="43" y="100"/>
                  </a:lnTo>
                  <a:lnTo>
                    <a:pt x="43" y="103"/>
                  </a:lnTo>
                  <a:lnTo>
                    <a:pt x="39" y="105"/>
                  </a:lnTo>
                  <a:lnTo>
                    <a:pt x="39" y="103"/>
                  </a:lnTo>
                  <a:lnTo>
                    <a:pt x="37" y="103"/>
                  </a:lnTo>
                  <a:lnTo>
                    <a:pt x="34" y="103"/>
                  </a:lnTo>
                  <a:lnTo>
                    <a:pt x="34" y="105"/>
                  </a:lnTo>
                  <a:lnTo>
                    <a:pt x="34" y="105"/>
                  </a:lnTo>
                  <a:lnTo>
                    <a:pt x="32" y="103"/>
                  </a:lnTo>
                  <a:lnTo>
                    <a:pt x="28" y="100"/>
                  </a:lnTo>
                  <a:lnTo>
                    <a:pt x="28" y="102"/>
                  </a:lnTo>
                  <a:lnTo>
                    <a:pt x="28" y="96"/>
                  </a:lnTo>
                  <a:lnTo>
                    <a:pt x="26" y="92"/>
                  </a:lnTo>
                  <a:lnTo>
                    <a:pt x="26" y="86"/>
                  </a:lnTo>
                  <a:lnTo>
                    <a:pt x="19" y="79"/>
                  </a:lnTo>
                  <a:lnTo>
                    <a:pt x="19" y="73"/>
                  </a:lnTo>
                  <a:lnTo>
                    <a:pt x="19" y="70"/>
                  </a:lnTo>
                  <a:lnTo>
                    <a:pt x="19" y="66"/>
                  </a:lnTo>
                  <a:lnTo>
                    <a:pt x="19" y="58"/>
                  </a:lnTo>
                  <a:lnTo>
                    <a:pt x="13" y="53"/>
                  </a:lnTo>
                  <a:lnTo>
                    <a:pt x="7" y="53"/>
                  </a:lnTo>
                  <a:lnTo>
                    <a:pt x="5" y="45"/>
                  </a:lnTo>
                  <a:lnTo>
                    <a:pt x="5" y="37"/>
                  </a:lnTo>
                  <a:lnTo>
                    <a:pt x="7" y="37"/>
                  </a:lnTo>
                  <a:lnTo>
                    <a:pt x="7" y="34"/>
                  </a:lnTo>
                  <a:lnTo>
                    <a:pt x="13" y="32"/>
                  </a:lnTo>
                  <a:lnTo>
                    <a:pt x="13" y="34"/>
                  </a:lnTo>
                  <a:lnTo>
                    <a:pt x="19" y="30"/>
                  </a:lnTo>
                  <a:lnTo>
                    <a:pt x="17" y="26"/>
                  </a:lnTo>
                  <a:lnTo>
                    <a:pt x="17" y="22"/>
                  </a:lnTo>
                  <a:lnTo>
                    <a:pt x="13" y="22"/>
                  </a:lnTo>
                  <a:lnTo>
                    <a:pt x="7" y="24"/>
                  </a:lnTo>
                  <a:lnTo>
                    <a:pt x="0" y="21"/>
                  </a:lnTo>
                  <a:lnTo>
                    <a:pt x="0" y="17"/>
                  </a:lnTo>
                  <a:lnTo>
                    <a:pt x="4" y="11"/>
                  </a:lnTo>
                  <a:lnTo>
                    <a:pt x="5" y="7"/>
                  </a:lnTo>
                  <a:lnTo>
                    <a:pt x="4" y="7"/>
                  </a:lnTo>
                  <a:lnTo>
                    <a:pt x="4" y="4"/>
                  </a:lnTo>
                  <a:lnTo>
                    <a:pt x="5" y="4"/>
                  </a:lnTo>
                  <a:lnTo>
                    <a:pt x="7" y="0"/>
                  </a:lnTo>
                  <a:lnTo>
                    <a:pt x="7" y="4"/>
                  </a:lnTo>
                  <a:lnTo>
                    <a:pt x="11" y="7"/>
                  </a:lnTo>
                  <a:lnTo>
                    <a:pt x="11" y="7"/>
                  </a:lnTo>
                  <a:lnTo>
                    <a:pt x="13" y="11"/>
                  </a:lnTo>
                  <a:lnTo>
                    <a:pt x="19" y="11"/>
                  </a:lnTo>
                  <a:lnTo>
                    <a:pt x="19" y="9"/>
                  </a:lnTo>
                  <a:lnTo>
                    <a:pt x="17" y="9"/>
                  </a:lnTo>
                  <a:lnTo>
                    <a:pt x="19" y="7"/>
                  </a:lnTo>
                  <a:lnTo>
                    <a:pt x="19" y="7"/>
                  </a:lnTo>
                  <a:lnTo>
                    <a:pt x="22" y="9"/>
                  </a:lnTo>
                  <a:lnTo>
                    <a:pt x="22" y="11"/>
                  </a:lnTo>
                  <a:lnTo>
                    <a:pt x="28" y="11"/>
                  </a:lnTo>
                  <a:lnTo>
                    <a:pt x="28" y="11"/>
                  </a:lnTo>
                  <a:lnTo>
                    <a:pt x="28" y="9"/>
                  </a:lnTo>
                  <a:lnTo>
                    <a:pt x="34" y="15"/>
                  </a:lnTo>
                  <a:lnTo>
                    <a:pt x="34" y="21"/>
                  </a:lnTo>
                  <a:lnTo>
                    <a:pt x="34" y="22"/>
                  </a:lnTo>
                  <a:lnTo>
                    <a:pt x="34" y="26"/>
                  </a:lnTo>
                  <a:lnTo>
                    <a:pt x="34" y="30"/>
                  </a:lnTo>
                  <a:lnTo>
                    <a:pt x="39" y="30"/>
                  </a:lnTo>
                  <a:lnTo>
                    <a:pt x="43" y="30"/>
                  </a:lnTo>
                  <a:lnTo>
                    <a:pt x="47" y="32"/>
                  </a:lnTo>
                  <a:lnTo>
                    <a:pt x="52" y="32"/>
                  </a:lnTo>
                  <a:lnTo>
                    <a:pt x="58" y="32"/>
                  </a:lnTo>
                  <a:lnTo>
                    <a:pt x="64" y="32"/>
                  </a:lnTo>
                  <a:lnTo>
                    <a:pt x="73" y="32"/>
                  </a:lnTo>
                  <a:lnTo>
                    <a:pt x="75" y="32"/>
                  </a:lnTo>
                  <a:lnTo>
                    <a:pt x="75" y="32"/>
                  </a:lnTo>
                  <a:lnTo>
                    <a:pt x="79" y="32"/>
                  </a:lnTo>
                  <a:lnTo>
                    <a:pt x="81" y="34"/>
                  </a:lnTo>
                  <a:lnTo>
                    <a:pt x="84" y="34"/>
                  </a:lnTo>
                  <a:lnTo>
                    <a:pt x="81" y="39"/>
                  </a:lnTo>
                  <a:lnTo>
                    <a:pt x="81" y="43"/>
                  </a:lnTo>
                  <a:lnTo>
                    <a:pt x="79" y="53"/>
                  </a:lnTo>
                  <a:lnTo>
                    <a:pt x="75" y="53"/>
                  </a:lnTo>
                  <a:lnTo>
                    <a:pt x="75" y="54"/>
                  </a:lnTo>
                  <a:lnTo>
                    <a:pt x="75" y="56"/>
                  </a:lnTo>
                  <a:lnTo>
                    <a:pt x="73" y="56"/>
                  </a:lnTo>
                  <a:lnTo>
                    <a:pt x="73" y="54"/>
                  </a:lnTo>
                  <a:lnTo>
                    <a:pt x="69" y="56"/>
                  </a:lnTo>
                  <a:lnTo>
                    <a:pt x="66" y="60"/>
                  </a:lnTo>
                  <a:lnTo>
                    <a:pt x="64" y="60"/>
                  </a:lnTo>
                  <a:lnTo>
                    <a:pt x="64" y="64"/>
                  </a:lnTo>
                  <a:lnTo>
                    <a:pt x="69" y="68"/>
                  </a:lnTo>
                  <a:lnTo>
                    <a:pt x="69" y="70"/>
                  </a:lnTo>
                  <a:lnTo>
                    <a:pt x="69" y="70"/>
                  </a:lnTo>
                  <a:lnTo>
                    <a:pt x="73" y="73"/>
                  </a:lnTo>
                  <a:lnTo>
                    <a:pt x="75" y="79"/>
                  </a:lnTo>
                  <a:lnTo>
                    <a:pt x="79" y="79"/>
                  </a:lnTo>
                  <a:lnTo>
                    <a:pt x="79" y="73"/>
                  </a:lnTo>
                  <a:lnTo>
                    <a:pt x="79" y="73"/>
                  </a:lnTo>
                  <a:lnTo>
                    <a:pt x="79" y="70"/>
                  </a:lnTo>
                  <a:lnTo>
                    <a:pt x="79" y="70"/>
                  </a:lnTo>
                  <a:lnTo>
                    <a:pt x="81" y="68"/>
                  </a:lnTo>
                  <a:lnTo>
                    <a:pt x="79" y="66"/>
                  </a:lnTo>
                  <a:lnTo>
                    <a:pt x="81" y="66"/>
                  </a:lnTo>
                  <a:lnTo>
                    <a:pt x="84" y="66"/>
                  </a:lnTo>
                  <a:lnTo>
                    <a:pt x="86" y="66"/>
                  </a:lnTo>
                  <a:lnTo>
                    <a:pt x="88" y="68"/>
                  </a:lnTo>
                  <a:lnTo>
                    <a:pt x="88" y="70"/>
                  </a:lnTo>
                  <a:lnTo>
                    <a:pt x="90" y="77"/>
                  </a:lnTo>
                  <a:lnTo>
                    <a:pt x="90" y="79"/>
                  </a:lnTo>
                  <a:lnTo>
                    <a:pt x="92" y="83"/>
                  </a:lnTo>
                  <a:lnTo>
                    <a:pt x="94" y="90"/>
                  </a:lnTo>
                  <a:lnTo>
                    <a:pt x="94" y="94"/>
                  </a:lnTo>
                  <a:lnTo>
                    <a:pt x="96" y="98"/>
                  </a:lnTo>
                  <a:lnTo>
                    <a:pt x="100" y="100"/>
                  </a:lnTo>
                  <a:lnTo>
                    <a:pt x="100" y="102"/>
                  </a:lnTo>
                  <a:lnTo>
                    <a:pt x="100" y="103"/>
                  </a:lnTo>
                  <a:lnTo>
                    <a:pt x="100" y="103"/>
                  </a:lnTo>
                  <a:lnTo>
                    <a:pt x="100" y="103"/>
                  </a:lnTo>
                  <a:lnTo>
                    <a:pt x="100" y="103"/>
                  </a:lnTo>
                  <a:lnTo>
                    <a:pt x="100" y="103"/>
                  </a:lnTo>
                  <a:close/>
                  <a:moveTo>
                    <a:pt x="73" y="88"/>
                  </a:moveTo>
                  <a:lnTo>
                    <a:pt x="73" y="86"/>
                  </a:lnTo>
                  <a:lnTo>
                    <a:pt x="69" y="88"/>
                  </a:lnTo>
                  <a:lnTo>
                    <a:pt x="69" y="92"/>
                  </a:lnTo>
                  <a:lnTo>
                    <a:pt x="73" y="90"/>
                  </a:lnTo>
                  <a:lnTo>
                    <a:pt x="73" y="88"/>
                  </a:lnTo>
                  <a:lnTo>
                    <a:pt x="73" y="88"/>
                  </a:lnTo>
                  <a:lnTo>
                    <a:pt x="73" y="88"/>
                  </a:lnTo>
                  <a:lnTo>
                    <a:pt x="73" y="88"/>
                  </a:lnTo>
                  <a:close/>
                  <a:moveTo>
                    <a:pt x="64" y="86"/>
                  </a:moveTo>
                  <a:lnTo>
                    <a:pt x="64" y="90"/>
                  </a:lnTo>
                  <a:lnTo>
                    <a:pt x="64" y="94"/>
                  </a:lnTo>
                  <a:lnTo>
                    <a:pt x="66" y="96"/>
                  </a:lnTo>
                  <a:lnTo>
                    <a:pt x="69" y="92"/>
                  </a:lnTo>
                  <a:lnTo>
                    <a:pt x="69" y="88"/>
                  </a:lnTo>
                  <a:lnTo>
                    <a:pt x="64" y="85"/>
                  </a:lnTo>
                  <a:lnTo>
                    <a:pt x="64" y="85"/>
                  </a:lnTo>
                  <a:lnTo>
                    <a:pt x="64" y="86"/>
                  </a:lnTo>
                  <a:lnTo>
                    <a:pt x="64" y="86"/>
                  </a:lnTo>
                  <a:lnTo>
                    <a:pt x="64" y="86"/>
                  </a:lnTo>
                  <a:lnTo>
                    <a:pt x="64" y="86"/>
                  </a:lnTo>
                  <a:close/>
                  <a:moveTo>
                    <a:pt x="58" y="85"/>
                  </a:moveTo>
                  <a:lnTo>
                    <a:pt x="54" y="86"/>
                  </a:lnTo>
                  <a:lnTo>
                    <a:pt x="54" y="86"/>
                  </a:lnTo>
                  <a:lnTo>
                    <a:pt x="58" y="94"/>
                  </a:lnTo>
                  <a:lnTo>
                    <a:pt x="60" y="94"/>
                  </a:lnTo>
                  <a:lnTo>
                    <a:pt x="60" y="88"/>
                  </a:lnTo>
                  <a:lnTo>
                    <a:pt x="58" y="85"/>
                  </a:lnTo>
                  <a:lnTo>
                    <a:pt x="58" y="85"/>
                  </a:lnTo>
                  <a:lnTo>
                    <a:pt x="58" y="85"/>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7" name="Freeform 188">
              <a:extLst>
                <a:ext uri="{FF2B5EF4-FFF2-40B4-BE49-F238E27FC236}">
                  <a16:creationId xmlns:a16="http://schemas.microsoft.com/office/drawing/2014/main" id="{3E3C0877-A40E-0145-8CEF-065AE7E25072}"/>
                </a:ext>
              </a:extLst>
            </p:cNvPr>
            <p:cNvSpPr>
              <a:spLocks/>
            </p:cNvSpPr>
            <p:nvPr/>
          </p:nvSpPr>
          <p:spPr bwMode="auto">
            <a:xfrm>
              <a:off x="7479522" y="2563317"/>
              <a:ext cx="49494" cy="29146"/>
            </a:xfrm>
            <a:custGeom>
              <a:avLst/>
              <a:gdLst/>
              <a:ahLst/>
              <a:cxnLst>
                <a:cxn ang="0">
                  <a:pos x="4" y="17"/>
                </a:cxn>
                <a:cxn ang="0">
                  <a:pos x="5" y="16"/>
                </a:cxn>
                <a:cxn ang="0">
                  <a:pos x="9" y="8"/>
                </a:cxn>
                <a:cxn ang="0">
                  <a:pos x="21" y="2"/>
                </a:cxn>
                <a:cxn ang="0">
                  <a:pos x="26" y="0"/>
                </a:cxn>
                <a:cxn ang="0">
                  <a:pos x="28" y="4"/>
                </a:cxn>
                <a:cxn ang="0">
                  <a:pos x="37" y="6"/>
                </a:cxn>
                <a:cxn ang="0">
                  <a:pos x="41" y="8"/>
                </a:cxn>
                <a:cxn ang="0">
                  <a:pos x="45" y="4"/>
                </a:cxn>
                <a:cxn ang="0">
                  <a:pos x="49" y="6"/>
                </a:cxn>
                <a:cxn ang="0">
                  <a:pos x="54" y="8"/>
                </a:cxn>
                <a:cxn ang="0">
                  <a:pos x="54" y="8"/>
                </a:cxn>
                <a:cxn ang="0">
                  <a:pos x="54" y="14"/>
                </a:cxn>
                <a:cxn ang="0">
                  <a:pos x="54" y="17"/>
                </a:cxn>
                <a:cxn ang="0">
                  <a:pos x="58" y="21"/>
                </a:cxn>
                <a:cxn ang="0">
                  <a:pos x="58" y="27"/>
                </a:cxn>
                <a:cxn ang="0">
                  <a:pos x="58" y="29"/>
                </a:cxn>
                <a:cxn ang="0">
                  <a:pos x="51" y="32"/>
                </a:cxn>
                <a:cxn ang="0">
                  <a:pos x="45" y="32"/>
                </a:cxn>
                <a:cxn ang="0">
                  <a:pos x="41" y="34"/>
                </a:cxn>
                <a:cxn ang="0">
                  <a:pos x="36" y="32"/>
                </a:cxn>
                <a:cxn ang="0">
                  <a:pos x="32" y="32"/>
                </a:cxn>
                <a:cxn ang="0">
                  <a:pos x="28" y="38"/>
                </a:cxn>
                <a:cxn ang="0">
                  <a:pos x="22" y="38"/>
                </a:cxn>
                <a:cxn ang="0">
                  <a:pos x="15" y="32"/>
                </a:cxn>
                <a:cxn ang="0">
                  <a:pos x="11" y="34"/>
                </a:cxn>
                <a:cxn ang="0">
                  <a:pos x="5" y="32"/>
                </a:cxn>
                <a:cxn ang="0">
                  <a:pos x="0" y="27"/>
                </a:cxn>
                <a:cxn ang="0">
                  <a:pos x="4" y="23"/>
                </a:cxn>
                <a:cxn ang="0">
                  <a:pos x="4" y="17"/>
                </a:cxn>
                <a:cxn ang="0">
                  <a:pos x="4" y="17"/>
                </a:cxn>
                <a:cxn ang="0">
                  <a:pos x="4" y="17"/>
                </a:cxn>
              </a:cxnLst>
              <a:rect l="0" t="0" r="r" b="b"/>
              <a:pathLst>
                <a:path w="58" h="38">
                  <a:moveTo>
                    <a:pt x="4" y="17"/>
                  </a:moveTo>
                  <a:lnTo>
                    <a:pt x="5" y="16"/>
                  </a:lnTo>
                  <a:lnTo>
                    <a:pt x="9" y="8"/>
                  </a:lnTo>
                  <a:lnTo>
                    <a:pt x="21" y="2"/>
                  </a:lnTo>
                  <a:lnTo>
                    <a:pt x="26" y="0"/>
                  </a:lnTo>
                  <a:lnTo>
                    <a:pt x="28" y="4"/>
                  </a:lnTo>
                  <a:lnTo>
                    <a:pt x="37" y="6"/>
                  </a:lnTo>
                  <a:lnTo>
                    <a:pt x="41" y="8"/>
                  </a:lnTo>
                  <a:lnTo>
                    <a:pt x="45" y="4"/>
                  </a:lnTo>
                  <a:lnTo>
                    <a:pt x="49" y="6"/>
                  </a:lnTo>
                  <a:lnTo>
                    <a:pt x="54" y="8"/>
                  </a:lnTo>
                  <a:lnTo>
                    <a:pt x="54" y="8"/>
                  </a:lnTo>
                  <a:lnTo>
                    <a:pt x="54" y="14"/>
                  </a:lnTo>
                  <a:lnTo>
                    <a:pt x="54" y="17"/>
                  </a:lnTo>
                  <a:lnTo>
                    <a:pt x="58" y="21"/>
                  </a:lnTo>
                  <a:lnTo>
                    <a:pt x="58" y="27"/>
                  </a:lnTo>
                  <a:lnTo>
                    <a:pt x="58" y="29"/>
                  </a:lnTo>
                  <a:lnTo>
                    <a:pt x="51" y="32"/>
                  </a:lnTo>
                  <a:lnTo>
                    <a:pt x="45" y="32"/>
                  </a:lnTo>
                  <a:lnTo>
                    <a:pt x="41" y="34"/>
                  </a:lnTo>
                  <a:lnTo>
                    <a:pt x="36" y="32"/>
                  </a:lnTo>
                  <a:lnTo>
                    <a:pt x="32" y="32"/>
                  </a:lnTo>
                  <a:lnTo>
                    <a:pt x="28" y="38"/>
                  </a:lnTo>
                  <a:lnTo>
                    <a:pt x="22" y="38"/>
                  </a:lnTo>
                  <a:lnTo>
                    <a:pt x="15" y="32"/>
                  </a:lnTo>
                  <a:lnTo>
                    <a:pt x="11" y="34"/>
                  </a:lnTo>
                  <a:lnTo>
                    <a:pt x="5" y="32"/>
                  </a:lnTo>
                  <a:lnTo>
                    <a:pt x="0" y="27"/>
                  </a:lnTo>
                  <a:lnTo>
                    <a:pt x="4" y="23"/>
                  </a:lnTo>
                  <a:lnTo>
                    <a:pt x="4" y="17"/>
                  </a:lnTo>
                  <a:lnTo>
                    <a:pt x="4" y="17"/>
                  </a:lnTo>
                  <a:lnTo>
                    <a:pt x="4" y="1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8" name="Freeform 189">
              <a:extLst>
                <a:ext uri="{FF2B5EF4-FFF2-40B4-BE49-F238E27FC236}">
                  <a16:creationId xmlns:a16="http://schemas.microsoft.com/office/drawing/2014/main" id="{86412580-164F-FF4E-B817-2B8775D1A8F6}"/>
                </a:ext>
              </a:extLst>
            </p:cNvPr>
            <p:cNvSpPr>
              <a:spLocks noEditPoints="1"/>
            </p:cNvSpPr>
            <p:nvPr/>
          </p:nvSpPr>
          <p:spPr bwMode="auto">
            <a:xfrm>
              <a:off x="8753553" y="3216810"/>
              <a:ext cx="36694" cy="80536"/>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9" name="Freeform 190">
              <a:extLst>
                <a:ext uri="{FF2B5EF4-FFF2-40B4-BE49-F238E27FC236}">
                  <a16:creationId xmlns:a16="http://schemas.microsoft.com/office/drawing/2014/main" id="{DEA95EB5-93D4-2F46-B089-22B98A6F94AF}"/>
                </a:ext>
              </a:extLst>
            </p:cNvPr>
            <p:cNvSpPr>
              <a:spLocks noEditPoints="1"/>
            </p:cNvSpPr>
            <p:nvPr/>
          </p:nvSpPr>
          <p:spPr bwMode="auto">
            <a:xfrm>
              <a:off x="8753553" y="3216810"/>
              <a:ext cx="36694" cy="80536"/>
            </a:xfrm>
            <a:custGeom>
              <a:avLst/>
              <a:gdLst/>
              <a:ahLst/>
              <a:cxnLst>
                <a:cxn ang="0">
                  <a:pos x="43" y="102"/>
                </a:cxn>
                <a:cxn ang="0">
                  <a:pos x="41" y="102"/>
                </a:cxn>
                <a:cxn ang="0">
                  <a:pos x="41" y="98"/>
                </a:cxn>
                <a:cxn ang="0">
                  <a:pos x="41" y="98"/>
                </a:cxn>
                <a:cxn ang="0">
                  <a:pos x="41" y="85"/>
                </a:cxn>
                <a:cxn ang="0">
                  <a:pos x="37" y="88"/>
                </a:cxn>
                <a:cxn ang="0">
                  <a:pos x="39" y="83"/>
                </a:cxn>
                <a:cxn ang="0">
                  <a:pos x="39" y="83"/>
                </a:cxn>
                <a:cxn ang="0">
                  <a:pos x="26" y="60"/>
                </a:cxn>
                <a:cxn ang="0">
                  <a:pos x="32" y="60"/>
                </a:cxn>
                <a:cxn ang="0">
                  <a:pos x="30" y="66"/>
                </a:cxn>
                <a:cxn ang="0">
                  <a:pos x="26" y="60"/>
                </a:cxn>
                <a:cxn ang="0">
                  <a:pos x="26" y="60"/>
                </a:cxn>
                <a:cxn ang="0">
                  <a:pos x="30" y="2"/>
                </a:cxn>
                <a:cxn ang="0">
                  <a:pos x="30" y="13"/>
                </a:cxn>
                <a:cxn ang="0">
                  <a:pos x="30" y="2"/>
                </a:cxn>
                <a:cxn ang="0">
                  <a:pos x="30" y="2"/>
                </a:cxn>
                <a:cxn ang="0">
                  <a:pos x="20" y="15"/>
                </a:cxn>
                <a:cxn ang="0">
                  <a:pos x="26" y="13"/>
                </a:cxn>
                <a:cxn ang="0">
                  <a:pos x="22" y="13"/>
                </a:cxn>
                <a:cxn ang="0">
                  <a:pos x="20" y="15"/>
                </a:cxn>
                <a:cxn ang="0">
                  <a:pos x="20" y="15"/>
                </a:cxn>
                <a:cxn ang="0">
                  <a:pos x="30" y="17"/>
                </a:cxn>
                <a:cxn ang="0">
                  <a:pos x="32" y="24"/>
                </a:cxn>
                <a:cxn ang="0">
                  <a:pos x="30" y="26"/>
                </a:cxn>
                <a:cxn ang="0">
                  <a:pos x="30" y="21"/>
                </a:cxn>
                <a:cxn ang="0">
                  <a:pos x="30" y="17"/>
                </a:cxn>
                <a:cxn ang="0">
                  <a:pos x="30" y="17"/>
                </a:cxn>
                <a:cxn ang="0">
                  <a:pos x="28" y="41"/>
                </a:cxn>
                <a:cxn ang="0">
                  <a:pos x="33" y="45"/>
                </a:cxn>
                <a:cxn ang="0">
                  <a:pos x="26" y="45"/>
                </a:cxn>
                <a:cxn ang="0">
                  <a:pos x="26" y="45"/>
                </a:cxn>
                <a:cxn ang="0">
                  <a:pos x="26" y="34"/>
                </a:cxn>
                <a:cxn ang="0">
                  <a:pos x="30" y="34"/>
                </a:cxn>
                <a:cxn ang="0">
                  <a:pos x="32" y="38"/>
                </a:cxn>
                <a:cxn ang="0">
                  <a:pos x="28" y="39"/>
                </a:cxn>
                <a:cxn ang="0">
                  <a:pos x="22" y="38"/>
                </a:cxn>
                <a:cxn ang="0">
                  <a:pos x="26" y="34"/>
                </a:cxn>
                <a:cxn ang="0">
                  <a:pos x="26" y="34"/>
                </a:cxn>
                <a:cxn ang="0">
                  <a:pos x="13" y="26"/>
                </a:cxn>
                <a:cxn ang="0">
                  <a:pos x="16" y="32"/>
                </a:cxn>
                <a:cxn ang="0">
                  <a:pos x="20" y="39"/>
                </a:cxn>
                <a:cxn ang="0">
                  <a:pos x="13" y="41"/>
                </a:cxn>
                <a:cxn ang="0">
                  <a:pos x="13" y="34"/>
                </a:cxn>
                <a:cxn ang="0">
                  <a:pos x="13" y="30"/>
                </a:cxn>
                <a:cxn ang="0">
                  <a:pos x="11" y="26"/>
                </a:cxn>
                <a:cxn ang="0">
                  <a:pos x="11" y="26"/>
                </a:cxn>
                <a:cxn ang="0">
                  <a:pos x="11" y="26"/>
                </a:cxn>
                <a:cxn ang="0">
                  <a:pos x="0" y="5"/>
                </a:cxn>
                <a:cxn ang="0">
                  <a:pos x="1" y="15"/>
                </a:cxn>
                <a:cxn ang="0">
                  <a:pos x="7" y="21"/>
                </a:cxn>
                <a:cxn ang="0">
                  <a:pos x="11" y="17"/>
                </a:cxn>
                <a:cxn ang="0">
                  <a:pos x="13" y="13"/>
                </a:cxn>
                <a:cxn ang="0">
                  <a:pos x="13" y="5"/>
                </a:cxn>
                <a:cxn ang="0">
                  <a:pos x="7" y="5"/>
                </a:cxn>
                <a:cxn ang="0">
                  <a:pos x="7" y="9"/>
                </a:cxn>
                <a:cxn ang="0">
                  <a:pos x="5" y="2"/>
                </a:cxn>
                <a:cxn ang="0">
                  <a:pos x="1" y="0"/>
                </a:cxn>
                <a:cxn ang="0">
                  <a:pos x="1" y="0"/>
                </a:cxn>
              </a:cxnLst>
              <a:rect l="0" t="0" r="r" b="b"/>
              <a:pathLst>
                <a:path w="43" h="105">
                  <a:moveTo>
                    <a:pt x="41" y="98"/>
                  </a:moveTo>
                  <a:lnTo>
                    <a:pt x="43" y="102"/>
                  </a:lnTo>
                  <a:lnTo>
                    <a:pt x="43" y="105"/>
                  </a:lnTo>
                  <a:lnTo>
                    <a:pt x="41" y="102"/>
                  </a:lnTo>
                  <a:lnTo>
                    <a:pt x="41" y="98"/>
                  </a:lnTo>
                  <a:lnTo>
                    <a:pt x="41" y="98"/>
                  </a:lnTo>
                  <a:lnTo>
                    <a:pt x="41" y="98"/>
                  </a:lnTo>
                  <a:lnTo>
                    <a:pt x="41" y="98"/>
                  </a:lnTo>
                  <a:close/>
                  <a:moveTo>
                    <a:pt x="39" y="83"/>
                  </a:moveTo>
                  <a:lnTo>
                    <a:pt x="41" y="85"/>
                  </a:lnTo>
                  <a:lnTo>
                    <a:pt x="41" y="92"/>
                  </a:lnTo>
                  <a:lnTo>
                    <a:pt x="37" y="88"/>
                  </a:lnTo>
                  <a:lnTo>
                    <a:pt x="37" y="85"/>
                  </a:lnTo>
                  <a:lnTo>
                    <a:pt x="39" y="83"/>
                  </a:lnTo>
                  <a:lnTo>
                    <a:pt x="39" y="83"/>
                  </a:lnTo>
                  <a:lnTo>
                    <a:pt x="39" y="83"/>
                  </a:lnTo>
                  <a:lnTo>
                    <a:pt x="39" y="83"/>
                  </a:lnTo>
                  <a:close/>
                  <a:moveTo>
                    <a:pt x="26" y="60"/>
                  </a:moveTo>
                  <a:lnTo>
                    <a:pt x="30" y="60"/>
                  </a:lnTo>
                  <a:lnTo>
                    <a:pt x="32" y="60"/>
                  </a:lnTo>
                  <a:lnTo>
                    <a:pt x="32" y="64"/>
                  </a:lnTo>
                  <a:lnTo>
                    <a:pt x="30" y="66"/>
                  </a:lnTo>
                  <a:lnTo>
                    <a:pt x="26" y="64"/>
                  </a:lnTo>
                  <a:lnTo>
                    <a:pt x="26" y="60"/>
                  </a:lnTo>
                  <a:lnTo>
                    <a:pt x="26" y="60"/>
                  </a:lnTo>
                  <a:lnTo>
                    <a:pt x="26" y="60"/>
                  </a:lnTo>
                  <a:lnTo>
                    <a:pt x="26" y="60"/>
                  </a:lnTo>
                  <a:close/>
                  <a:moveTo>
                    <a:pt x="30" y="2"/>
                  </a:moveTo>
                  <a:lnTo>
                    <a:pt x="33" y="9"/>
                  </a:lnTo>
                  <a:lnTo>
                    <a:pt x="30" y="13"/>
                  </a:lnTo>
                  <a:lnTo>
                    <a:pt x="32" y="9"/>
                  </a:lnTo>
                  <a:lnTo>
                    <a:pt x="30" y="2"/>
                  </a:lnTo>
                  <a:lnTo>
                    <a:pt x="30" y="2"/>
                  </a:lnTo>
                  <a:lnTo>
                    <a:pt x="30" y="2"/>
                  </a:lnTo>
                  <a:lnTo>
                    <a:pt x="30" y="2"/>
                  </a:lnTo>
                  <a:close/>
                  <a:moveTo>
                    <a:pt x="20" y="15"/>
                  </a:moveTo>
                  <a:lnTo>
                    <a:pt x="26" y="17"/>
                  </a:lnTo>
                  <a:lnTo>
                    <a:pt x="26" y="13"/>
                  </a:lnTo>
                  <a:lnTo>
                    <a:pt x="28" y="11"/>
                  </a:lnTo>
                  <a:lnTo>
                    <a:pt x="22" y="13"/>
                  </a:lnTo>
                  <a:lnTo>
                    <a:pt x="22" y="13"/>
                  </a:lnTo>
                  <a:lnTo>
                    <a:pt x="20" y="15"/>
                  </a:lnTo>
                  <a:lnTo>
                    <a:pt x="20" y="15"/>
                  </a:lnTo>
                  <a:lnTo>
                    <a:pt x="20" y="15"/>
                  </a:lnTo>
                  <a:lnTo>
                    <a:pt x="20" y="15"/>
                  </a:lnTo>
                  <a:close/>
                  <a:moveTo>
                    <a:pt x="30" y="17"/>
                  </a:moveTo>
                  <a:lnTo>
                    <a:pt x="32" y="21"/>
                  </a:lnTo>
                  <a:lnTo>
                    <a:pt x="32" y="24"/>
                  </a:lnTo>
                  <a:lnTo>
                    <a:pt x="32" y="26"/>
                  </a:lnTo>
                  <a:lnTo>
                    <a:pt x="30" y="26"/>
                  </a:lnTo>
                  <a:lnTo>
                    <a:pt x="30" y="21"/>
                  </a:lnTo>
                  <a:lnTo>
                    <a:pt x="30" y="21"/>
                  </a:lnTo>
                  <a:lnTo>
                    <a:pt x="30" y="17"/>
                  </a:lnTo>
                  <a:lnTo>
                    <a:pt x="30" y="17"/>
                  </a:lnTo>
                  <a:lnTo>
                    <a:pt x="30" y="17"/>
                  </a:lnTo>
                  <a:lnTo>
                    <a:pt x="30" y="17"/>
                  </a:lnTo>
                  <a:close/>
                  <a:moveTo>
                    <a:pt x="26" y="45"/>
                  </a:moveTo>
                  <a:lnTo>
                    <a:pt x="28" y="41"/>
                  </a:lnTo>
                  <a:lnTo>
                    <a:pt x="32" y="45"/>
                  </a:lnTo>
                  <a:lnTo>
                    <a:pt x="33" y="45"/>
                  </a:lnTo>
                  <a:lnTo>
                    <a:pt x="28" y="45"/>
                  </a:lnTo>
                  <a:lnTo>
                    <a:pt x="26" y="45"/>
                  </a:lnTo>
                  <a:lnTo>
                    <a:pt x="26" y="45"/>
                  </a:lnTo>
                  <a:lnTo>
                    <a:pt x="26" y="45"/>
                  </a:lnTo>
                  <a:lnTo>
                    <a:pt x="26" y="45"/>
                  </a:lnTo>
                  <a:close/>
                  <a:moveTo>
                    <a:pt x="26" y="34"/>
                  </a:moveTo>
                  <a:lnTo>
                    <a:pt x="28" y="32"/>
                  </a:lnTo>
                  <a:lnTo>
                    <a:pt x="30" y="34"/>
                  </a:lnTo>
                  <a:lnTo>
                    <a:pt x="32" y="34"/>
                  </a:lnTo>
                  <a:lnTo>
                    <a:pt x="32" y="38"/>
                  </a:lnTo>
                  <a:lnTo>
                    <a:pt x="30" y="38"/>
                  </a:lnTo>
                  <a:lnTo>
                    <a:pt x="28" y="39"/>
                  </a:lnTo>
                  <a:lnTo>
                    <a:pt x="26" y="39"/>
                  </a:lnTo>
                  <a:lnTo>
                    <a:pt x="22" y="38"/>
                  </a:lnTo>
                  <a:lnTo>
                    <a:pt x="26" y="34"/>
                  </a:lnTo>
                  <a:lnTo>
                    <a:pt x="26" y="34"/>
                  </a:lnTo>
                  <a:lnTo>
                    <a:pt x="26" y="34"/>
                  </a:lnTo>
                  <a:lnTo>
                    <a:pt x="26" y="34"/>
                  </a:lnTo>
                  <a:close/>
                  <a:moveTo>
                    <a:pt x="11" y="26"/>
                  </a:moveTo>
                  <a:lnTo>
                    <a:pt x="13" y="26"/>
                  </a:lnTo>
                  <a:lnTo>
                    <a:pt x="16" y="30"/>
                  </a:lnTo>
                  <a:lnTo>
                    <a:pt x="16" y="32"/>
                  </a:lnTo>
                  <a:lnTo>
                    <a:pt x="20" y="36"/>
                  </a:lnTo>
                  <a:lnTo>
                    <a:pt x="20" y="39"/>
                  </a:lnTo>
                  <a:lnTo>
                    <a:pt x="16" y="39"/>
                  </a:lnTo>
                  <a:lnTo>
                    <a:pt x="13" y="41"/>
                  </a:lnTo>
                  <a:lnTo>
                    <a:pt x="13" y="39"/>
                  </a:lnTo>
                  <a:lnTo>
                    <a:pt x="13" y="34"/>
                  </a:lnTo>
                  <a:lnTo>
                    <a:pt x="16" y="32"/>
                  </a:lnTo>
                  <a:lnTo>
                    <a:pt x="13" y="30"/>
                  </a:lnTo>
                  <a:lnTo>
                    <a:pt x="11" y="30"/>
                  </a:lnTo>
                  <a:lnTo>
                    <a:pt x="11" y="26"/>
                  </a:lnTo>
                  <a:lnTo>
                    <a:pt x="11" y="26"/>
                  </a:lnTo>
                  <a:lnTo>
                    <a:pt x="11" y="26"/>
                  </a:lnTo>
                  <a:lnTo>
                    <a:pt x="11" y="26"/>
                  </a:lnTo>
                  <a:lnTo>
                    <a:pt x="11" y="26"/>
                  </a:lnTo>
                  <a:close/>
                  <a:moveTo>
                    <a:pt x="1" y="0"/>
                  </a:moveTo>
                  <a:lnTo>
                    <a:pt x="0" y="5"/>
                  </a:lnTo>
                  <a:lnTo>
                    <a:pt x="1" y="11"/>
                  </a:lnTo>
                  <a:lnTo>
                    <a:pt x="1" y="15"/>
                  </a:lnTo>
                  <a:lnTo>
                    <a:pt x="3" y="21"/>
                  </a:lnTo>
                  <a:lnTo>
                    <a:pt x="7" y="21"/>
                  </a:lnTo>
                  <a:lnTo>
                    <a:pt x="7" y="17"/>
                  </a:lnTo>
                  <a:lnTo>
                    <a:pt x="11" y="17"/>
                  </a:lnTo>
                  <a:lnTo>
                    <a:pt x="13" y="17"/>
                  </a:lnTo>
                  <a:lnTo>
                    <a:pt x="13" y="13"/>
                  </a:lnTo>
                  <a:lnTo>
                    <a:pt x="11" y="9"/>
                  </a:lnTo>
                  <a:lnTo>
                    <a:pt x="13" y="5"/>
                  </a:lnTo>
                  <a:lnTo>
                    <a:pt x="11" y="5"/>
                  </a:lnTo>
                  <a:lnTo>
                    <a:pt x="7" y="5"/>
                  </a:lnTo>
                  <a:lnTo>
                    <a:pt x="7" y="9"/>
                  </a:lnTo>
                  <a:lnTo>
                    <a:pt x="7" y="9"/>
                  </a:lnTo>
                  <a:lnTo>
                    <a:pt x="5" y="7"/>
                  </a:lnTo>
                  <a:lnTo>
                    <a:pt x="5" y="2"/>
                  </a:lnTo>
                  <a:lnTo>
                    <a:pt x="5" y="2"/>
                  </a:lnTo>
                  <a:lnTo>
                    <a:pt x="1" y="0"/>
                  </a:lnTo>
                  <a:lnTo>
                    <a:pt x="1" y="0"/>
                  </a:lnTo>
                  <a:lnTo>
                    <a:pt x="1" y="0"/>
                  </a:lnTo>
                  <a:lnTo>
                    <a:pt x="1" y="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0" name="Freeform 191">
              <a:extLst>
                <a:ext uri="{FF2B5EF4-FFF2-40B4-BE49-F238E27FC236}">
                  <a16:creationId xmlns:a16="http://schemas.microsoft.com/office/drawing/2014/main" id="{D8D6257D-BC8C-3F44-BC3C-D4BF0DB7C4A8}"/>
                </a:ext>
              </a:extLst>
            </p:cNvPr>
            <p:cNvSpPr>
              <a:spLocks noEditPoints="1"/>
            </p:cNvSpPr>
            <p:nvPr/>
          </p:nvSpPr>
          <p:spPr bwMode="auto">
            <a:xfrm>
              <a:off x="8595685" y="3082583"/>
              <a:ext cx="157867" cy="85138"/>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1" name="Freeform 192">
              <a:extLst>
                <a:ext uri="{FF2B5EF4-FFF2-40B4-BE49-F238E27FC236}">
                  <a16:creationId xmlns:a16="http://schemas.microsoft.com/office/drawing/2014/main" id="{50AE09CB-C433-3D41-9719-346766D4668D}"/>
                </a:ext>
              </a:extLst>
            </p:cNvPr>
            <p:cNvSpPr>
              <a:spLocks noEditPoints="1"/>
            </p:cNvSpPr>
            <p:nvPr/>
          </p:nvSpPr>
          <p:spPr bwMode="auto">
            <a:xfrm>
              <a:off x="8595685" y="3082583"/>
              <a:ext cx="157867" cy="85138"/>
            </a:xfrm>
            <a:custGeom>
              <a:avLst/>
              <a:gdLst/>
              <a:ahLst/>
              <a:cxnLst>
                <a:cxn ang="0">
                  <a:pos x="183" y="92"/>
                </a:cxn>
                <a:cxn ang="0">
                  <a:pos x="177" y="94"/>
                </a:cxn>
                <a:cxn ang="0">
                  <a:pos x="177" y="92"/>
                </a:cxn>
                <a:cxn ang="0">
                  <a:pos x="72" y="107"/>
                </a:cxn>
                <a:cxn ang="0">
                  <a:pos x="77" y="111"/>
                </a:cxn>
                <a:cxn ang="0">
                  <a:pos x="70" y="109"/>
                </a:cxn>
                <a:cxn ang="0">
                  <a:pos x="70" y="107"/>
                </a:cxn>
                <a:cxn ang="0">
                  <a:pos x="100" y="83"/>
                </a:cxn>
                <a:cxn ang="0">
                  <a:pos x="111" y="92"/>
                </a:cxn>
                <a:cxn ang="0">
                  <a:pos x="109" y="94"/>
                </a:cxn>
                <a:cxn ang="0">
                  <a:pos x="98" y="86"/>
                </a:cxn>
                <a:cxn ang="0">
                  <a:pos x="96" y="83"/>
                </a:cxn>
                <a:cxn ang="0">
                  <a:pos x="72" y="64"/>
                </a:cxn>
                <a:cxn ang="0">
                  <a:pos x="85" y="69"/>
                </a:cxn>
                <a:cxn ang="0">
                  <a:pos x="85" y="75"/>
                </a:cxn>
                <a:cxn ang="0">
                  <a:pos x="75" y="73"/>
                </a:cxn>
                <a:cxn ang="0">
                  <a:pos x="66" y="60"/>
                </a:cxn>
                <a:cxn ang="0">
                  <a:pos x="70" y="60"/>
                </a:cxn>
                <a:cxn ang="0">
                  <a:pos x="75" y="54"/>
                </a:cxn>
                <a:cxn ang="0">
                  <a:pos x="81" y="56"/>
                </a:cxn>
                <a:cxn ang="0">
                  <a:pos x="81" y="56"/>
                </a:cxn>
                <a:cxn ang="0">
                  <a:pos x="85" y="47"/>
                </a:cxn>
                <a:cxn ang="0">
                  <a:pos x="89" y="56"/>
                </a:cxn>
                <a:cxn ang="0">
                  <a:pos x="100" y="69"/>
                </a:cxn>
                <a:cxn ang="0">
                  <a:pos x="100" y="62"/>
                </a:cxn>
                <a:cxn ang="0">
                  <a:pos x="90" y="51"/>
                </a:cxn>
                <a:cxn ang="0">
                  <a:pos x="85" y="41"/>
                </a:cxn>
                <a:cxn ang="0">
                  <a:pos x="85" y="41"/>
                </a:cxn>
                <a:cxn ang="0">
                  <a:pos x="57" y="32"/>
                </a:cxn>
                <a:cxn ang="0">
                  <a:pos x="66" y="41"/>
                </a:cxn>
                <a:cxn ang="0">
                  <a:pos x="64" y="47"/>
                </a:cxn>
                <a:cxn ang="0">
                  <a:pos x="58" y="37"/>
                </a:cxn>
                <a:cxn ang="0">
                  <a:pos x="45" y="26"/>
                </a:cxn>
                <a:cxn ang="0">
                  <a:pos x="45" y="26"/>
                </a:cxn>
                <a:cxn ang="0">
                  <a:pos x="36" y="49"/>
                </a:cxn>
                <a:cxn ang="0">
                  <a:pos x="32" y="47"/>
                </a:cxn>
                <a:cxn ang="0">
                  <a:pos x="32" y="47"/>
                </a:cxn>
                <a:cxn ang="0">
                  <a:pos x="26" y="47"/>
                </a:cxn>
                <a:cxn ang="0">
                  <a:pos x="21" y="47"/>
                </a:cxn>
                <a:cxn ang="0">
                  <a:pos x="21" y="41"/>
                </a:cxn>
                <a:cxn ang="0">
                  <a:pos x="26" y="43"/>
                </a:cxn>
                <a:cxn ang="0">
                  <a:pos x="32" y="41"/>
                </a:cxn>
                <a:cxn ang="0">
                  <a:pos x="26" y="35"/>
                </a:cxn>
                <a:cxn ang="0">
                  <a:pos x="21" y="41"/>
                </a:cxn>
                <a:cxn ang="0">
                  <a:pos x="21" y="41"/>
                </a:cxn>
                <a:cxn ang="0">
                  <a:pos x="21" y="35"/>
                </a:cxn>
                <a:cxn ang="0">
                  <a:pos x="17" y="35"/>
                </a:cxn>
                <a:cxn ang="0">
                  <a:pos x="17" y="34"/>
                </a:cxn>
                <a:cxn ang="0">
                  <a:pos x="9" y="28"/>
                </a:cxn>
                <a:cxn ang="0">
                  <a:pos x="11" y="34"/>
                </a:cxn>
                <a:cxn ang="0">
                  <a:pos x="9" y="28"/>
                </a:cxn>
                <a:cxn ang="0">
                  <a:pos x="9" y="28"/>
                </a:cxn>
                <a:cxn ang="0">
                  <a:pos x="9" y="3"/>
                </a:cxn>
                <a:cxn ang="0">
                  <a:pos x="9" y="0"/>
                </a:cxn>
                <a:cxn ang="0">
                  <a:pos x="8" y="7"/>
                </a:cxn>
                <a:cxn ang="0">
                  <a:pos x="21" y="22"/>
                </a:cxn>
                <a:cxn ang="0">
                  <a:pos x="26" y="20"/>
                </a:cxn>
                <a:cxn ang="0">
                  <a:pos x="21" y="13"/>
                </a:cxn>
                <a:cxn ang="0">
                  <a:pos x="11" y="7"/>
                </a:cxn>
                <a:cxn ang="0">
                  <a:pos x="9" y="5"/>
                </a:cxn>
                <a:cxn ang="0">
                  <a:pos x="0" y="11"/>
                </a:cxn>
                <a:cxn ang="0">
                  <a:pos x="2" y="11"/>
                </a:cxn>
              </a:cxnLst>
              <a:rect l="0" t="0" r="r" b="b"/>
              <a:pathLst>
                <a:path w="185" h="111">
                  <a:moveTo>
                    <a:pt x="177" y="92"/>
                  </a:moveTo>
                  <a:lnTo>
                    <a:pt x="179" y="92"/>
                  </a:lnTo>
                  <a:lnTo>
                    <a:pt x="183" y="92"/>
                  </a:lnTo>
                  <a:lnTo>
                    <a:pt x="185" y="92"/>
                  </a:lnTo>
                  <a:lnTo>
                    <a:pt x="181" y="98"/>
                  </a:lnTo>
                  <a:lnTo>
                    <a:pt x="177" y="94"/>
                  </a:lnTo>
                  <a:lnTo>
                    <a:pt x="177" y="92"/>
                  </a:lnTo>
                  <a:lnTo>
                    <a:pt x="177" y="92"/>
                  </a:lnTo>
                  <a:lnTo>
                    <a:pt x="177" y="92"/>
                  </a:lnTo>
                  <a:lnTo>
                    <a:pt x="177" y="92"/>
                  </a:lnTo>
                  <a:close/>
                  <a:moveTo>
                    <a:pt x="70" y="107"/>
                  </a:moveTo>
                  <a:lnTo>
                    <a:pt x="72" y="107"/>
                  </a:lnTo>
                  <a:lnTo>
                    <a:pt x="75" y="109"/>
                  </a:lnTo>
                  <a:lnTo>
                    <a:pt x="79" y="111"/>
                  </a:lnTo>
                  <a:lnTo>
                    <a:pt x="77" y="111"/>
                  </a:lnTo>
                  <a:lnTo>
                    <a:pt x="75" y="111"/>
                  </a:lnTo>
                  <a:lnTo>
                    <a:pt x="72" y="111"/>
                  </a:lnTo>
                  <a:lnTo>
                    <a:pt x="70" y="109"/>
                  </a:lnTo>
                  <a:lnTo>
                    <a:pt x="70" y="107"/>
                  </a:lnTo>
                  <a:lnTo>
                    <a:pt x="70" y="107"/>
                  </a:lnTo>
                  <a:lnTo>
                    <a:pt x="70" y="107"/>
                  </a:lnTo>
                  <a:lnTo>
                    <a:pt x="70" y="107"/>
                  </a:lnTo>
                  <a:close/>
                  <a:moveTo>
                    <a:pt x="96" y="83"/>
                  </a:moveTo>
                  <a:lnTo>
                    <a:pt x="100" y="83"/>
                  </a:lnTo>
                  <a:lnTo>
                    <a:pt x="102" y="86"/>
                  </a:lnTo>
                  <a:lnTo>
                    <a:pt x="111" y="88"/>
                  </a:lnTo>
                  <a:lnTo>
                    <a:pt x="111" y="92"/>
                  </a:lnTo>
                  <a:lnTo>
                    <a:pt x="111" y="92"/>
                  </a:lnTo>
                  <a:lnTo>
                    <a:pt x="115" y="94"/>
                  </a:lnTo>
                  <a:lnTo>
                    <a:pt x="109" y="94"/>
                  </a:lnTo>
                  <a:lnTo>
                    <a:pt x="102" y="92"/>
                  </a:lnTo>
                  <a:lnTo>
                    <a:pt x="98" y="88"/>
                  </a:lnTo>
                  <a:lnTo>
                    <a:pt x="98" y="86"/>
                  </a:lnTo>
                  <a:lnTo>
                    <a:pt x="96" y="83"/>
                  </a:lnTo>
                  <a:lnTo>
                    <a:pt x="96" y="83"/>
                  </a:lnTo>
                  <a:lnTo>
                    <a:pt x="96" y="83"/>
                  </a:lnTo>
                  <a:lnTo>
                    <a:pt x="96" y="83"/>
                  </a:lnTo>
                  <a:close/>
                  <a:moveTo>
                    <a:pt x="70" y="60"/>
                  </a:moveTo>
                  <a:lnTo>
                    <a:pt x="72" y="64"/>
                  </a:lnTo>
                  <a:lnTo>
                    <a:pt x="75" y="64"/>
                  </a:lnTo>
                  <a:lnTo>
                    <a:pt x="81" y="66"/>
                  </a:lnTo>
                  <a:lnTo>
                    <a:pt x="85" y="69"/>
                  </a:lnTo>
                  <a:lnTo>
                    <a:pt x="87" y="69"/>
                  </a:lnTo>
                  <a:lnTo>
                    <a:pt x="87" y="71"/>
                  </a:lnTo>
                  <a:lnTo>
                    <a:pt x="85" y="75"/>
                  </a:lnTo>
                  <a:lnTo>
                    <a:pt x="81" y="75"/>
                  </a:lnTo>
                  <a:lnTo>
                    <a:pt x="79" y="71"/>
                  </a:lnTo>
                  <a:lnTo>
                    <a:pt x="75" y="73"/>
                  </a:lnTo>
                  <a:lnTo>
                    <a:pt x="72" y="71"/>
                  </a:lnTo>
                  <a:lnTo>
                    <a:pt x="66" y="66"/>
                  </a:lnTo>
                  <a:lnTo>
                    <a:pt x="66" y="60"/>
                  </a:lnTo>
                  <a:lnTo>
                    <a:pt x="70" y="60"/>
                  </a:lnTo>
                  <a:lnTo>
                    <a:pt x="70" y="60"/>
                  </a:lnTo>
                  <a:lnTo>
                    <a:pt x="70" y="60"/>
                  </a:lnTo>
                  <a:lnTo>
                    <a:pt x="70" y="60"/>
                  </a:lnTo>
                  <a:close/>
                  <a:moveTo>
                    <a:pt x="81" y="56"/>
                  </a:moveTo>
                  <a:lnTo>
                    <a:pt x="75" y="54"/>
                  </a:lnTo>
                  <a:lnTo>
                    <a:pt x="77" y="58"/>
                  </a:lnTo>
                  <a:lnTo>
                    <a:pt x="81" y="58"/>
                  </a:lnTo>
                  <a:lnTo>
                    <a:pt x="81" y="56"/>
                  </a:lnTo>
                  <a:lnTo>
                    <a:pt x="81" y="56"/>
                  </a:lnTo>
                  <a:lnTo>
                    <a:pt x="81" y="56"/>
                  </a:lnTo>
                  <a:lnTo>
                    <a:pt x="81" y="56"/>
                  </a:lnTo>
                  <a:close/>
                  <a:moveTo>
                    <a:pt x="85" y="41"/>
                  </a:moveTo>
                  <a:lnTo>
                    <a:pt x="85" y="43"/>
                  </a:lnTo>
                  <a:lnTo>
                    <a:pt x="85" y="47"/>
                  </a:lnTo>
                  <a:lnTo>
                    <a:pt x="85" y="47"/>
                  </a:lnTo>
                  <a:lnTo>
                    <a:pt x="87" y="51"/>
                  </a:lnTo>
                  <a:lnTo>
                    <a:pt x="89" y="56"/>
                  </a:lnTo>
                  <a:lnTo>
                    <a:pt x="96" y="64"/>
                  </a:lnTo>
                  <a:lnTo>
                    <a:pt x="100" y="66"/>
                  </a:lnTo>
                  <a:lnTo>
                    <a:pt x="100" y="69"/>
                  </a:lnTo>
                  <a:lnTo>
                    <a:pt x="102" y="69"/>
                  </a:lnTo>
                  <a:lnTo>
                    <a:pt x="102" y="66"/>
                  </a:lnTo>
                  <a:lnTo>
                    <a:pt x="100" y="62"/>
                  </a:lnTo>
                  <a:lnTo>
                    <a:pt x="96" y="60"/>
                  </a:lnTo>
                  <a:lnTo>
                    <a:pt x="94" y="56"/>
                  </a:lnTo>
                  <a:lnTo>
                    <a:pt x="90" y="51"/>
                  </a:lnTo>
                  <a:lnTo>
                    <a:pt x="90" y="47"/>
                  </a:lnTo>
                  <a:lnTo>
                    <a:pt x="87" y="41"/>
                  </a:lnTo>
                  <a:lnTo>
                    <a:pt x="85" y="41"/>
                  </a:lnTo>
                  <a:lnTo>
                    <a:pt x="85" y="41"/>
                  </a:lnTo>
                  <a:lnTo>
                    <a:pt x="85" y="41"/>
                  </a:lnTo>
                  <a:lnTo>
                    <a:pt x="85" y="41"/>
                  </a:lnTo>
                  <a:close/>
                  <a:moveTo>
                    <a:pt x="45" y="26"/>
                  </a:moveTo>
                  <a:lnTo>
                    <a:pt x="51" y="26"/>
                  </a:lnTo>
                  <a:lnTo>
                    <a:pt x="57" y="32"/>
                  </a:lnTo>
                  <a:lnTo>
                    <a:pt x="62" y="34"/>
                  </a:lnTo>
                  <a:lnTo>
                    <a:pt x="70" y="41"/>
                  </a:lnTo>
                  <a:lnTo>
                    <a:pt x="66" y="41"/>
                  </a:lnTo>
                  <a:lnTo>
                    <a:pt x="70" y="47"/>
                  </a:lnTo>
                  <a:lnTo>
                    <a:pt x="66" y="43"/>
                  </a:lnTo>
                  <a:lnTo>
                    <a:pt x="64" y="47"/>
                  </a:lnTo>
                  <a:lnTo>
                    <a:pt x="64" y="43"/>
                  </a:lnTo>
                  <a:lnTo>
                    <a:pt x="62" y="41"/>
                  </a:lnTo>
                  <a:lnTo>
                    <a:pt x="58" y="37"/>
                  </a:lnTo>
                  <a:lnTo>
                    <a:pt x="49" y="28"/>
                  </a:lnTo>
                  <a:lnTo>
                    <a:pt x="49" y="28"/>
                  </a:lnTo>
                  <a:lnTo>
                    <a:pt x="45" y="26"/>
                  </a:lnTo>
                  <a:lnTo>
                    <a:pt x="45" y="26"/>
                  </a:lnTo>
                  <a:lnTo>
                    <a:pt x="45" y="26"/>
                  </a:lnTo>
                  <a:lnTo>
                    <a:pt x="45" y="26"/>
                  </a:lnTo>
                  <a:close/>
                  <a:moveTo>
                    <a:pt x="32" y="47"/>
                  </a:moveTo>
                  <a:lnTo>
                    <a:pt x="40" y="47"/>
                  </a:lnTo>
                  <a:lnTo>
                    <a:pt x="36" y="49"/>
                  </a:lnTo>
                  <a:lnTo>
                    <a:pt x="36" y="51"/>
                  </a:lnTo>
                  <a:lnTo>
                    <a:pt x="32" y="47"/>
                  </a:lnTo>
                  <a:lnTo>
                    <a:pt x="32" y="47"/>
                  </a:lnTo>
                  <a:lnTo>
                    <a:pt x="32" y="47"/>
                  </a:lnTo>
                  <a:lnTo>
                    <a:pt x="32" y="47"/>
                  </a:lnTo>
                  <a:lnTo>
                    <a:pt x="32" y="47"/>
                  </a:lnTo>
                  <a:close/>
                  <a:moveTo>
                    <a:pt x="21" y="47"/>
                  </a:moveTo>
                  <a:lnTo>
                    <a:pt x="25" y="43"/>
                  </a:lnTo>
                  <a:lnTo>
                    <a:pt x="26" y="47"/>
                  </a:lnTo>
                  <a:lnTo>
                    <a:pt x="25" y="47"/>
                  </a:lnTo>
                  <a:lnTo>
                    <a:pt x="21" y="47"/>
                  </a:lnTo>
                  <a:lnTo>
                    <a:pt x="21" y="47"/>
                  </a:lnTo>
                  <a:lnTo>
                    <a:pt x="21" y="47"/>
                  </a:lnTo>
                  <a:lnTo>
                    <a:pt x="21" y="47"/>
                  </a:lnTo>
                  <a:close/>
                  <a:moveTo>
                    <a:pt x="21" y="41"/>
                  </a:moveTo>
                  <a:lnTo>
                    <a:pt x="25" y="41"/>
                  </a:lnTo>
                  <a:lnTo>
                    <a:pt x="26" y="41"/>
                  </a:lnTo>
                  <a:lnTo>
                    <a:pt x="26" y="43"/>
                  </a:lnTo>
                  <a:lnTo>
                    <a:pt x="30" y="47"/>
                  </a:lnTo>
                  <a:lnTo>
                    <a:pt x="32" y="47"/>
                  </a:lnTo>
                  <a:lnTo>
                    <a:pt x="32" y="41"/>
                  </a:lnTo>
                  <a:lnTo>
                    <a:pt x="30" y="37"/>
                  </a:lnTo>
                  <a:lnTo>
                    <a:pt x="30" y="37"/>
                  </a:lnTo>
                  <a:lnTo>
                    <a:pt x="26" y="35"/>
                  </a:lnTo>
                  <a:lnTo>
                    <a:pt x="26" y="35"/>
                  </a:lnTo>
                  <a:lnTo>
                    <a:pt x="25" y="37"/>
                  </a:lnTo>
                  <a:lnTo>
                    <a:pt x="21" y="41"/>
                  </a:lnTo>
                  <a:lnTo>
                    <a:pt x="21" y="41"/>
                  </a:lnTo>
                  <a:lnTo>
                    <a:pt x="21" y="41"/>
                  </a:lnTo>
                  <a:lnTo>
                    <a:pt x="21" y="41"/>
                  </a:lnTo>
                  <a:close/>
                  <a:moveTo>
                    <a:pt x="17" y="34"/>
                  </a:moveTo>
                  <a:lnTo>
                    <a:pt x="19" y="32"/>
                  </a:lnTo>
                  <a:lnTo>
                    <a:pt x="21" y="35"/>
                  </a:lnTo>
                  <a:lnTo>
                    <a:pt x="21" y="37"/>
                  </a:lnTo>
                  <a:lnTo>
                    <a:pt x="19" y="37"/>
                  </a:lnTo>
                  <a:lnTo>
                    <a:pt x="17" y="35"/>
                  </a:lnTo>
                  <a:lnTo>
                    <a:pt x="17" y="35"/>
                  </a:lnTo>
                  <a:lnTo>
                    <a:pt x="17" y="34"/>
                  </a:lnTo>
                  <a:lnTo>
                    <a:pt x="17" y="34"/>
                  </a:lnTo>
                  <a:lnTo>
                    <a:pt x="17" y="34"/>
                  </a:lnTo>
                  <a:lnTo>
                    <a:pt x="17" y="34"/>
                  </a:lnTo>
                  <a:close/>
                  <a:moveTo>
                    <a:pt x="9" y="28"/>
                  </a:moveTo>
                  <a:lnTo>
                    <a:pt x="15" y="32"/>
                  </a:lnTo>
                  <a:lnTo>
                    <a:pt x="13" y="34"/>
                  </a:lnTo>
                  <a:lnTo>
                    <a:pt x="11" y="34"/>
                  </a:lnTo>
                  <a:lnTo>
                    <a:pt x="11" y="34"/>
                  </a:lnTo>
                  <a:lnTo>
                    <a:pt x="9" y="28"/>
                  </a:lnTo>
                  <a:lnTo>
                    <a:pt x="9" y="28"/>
                  </a:lnTo>
                  <a:lnTo>
                    <a:pt x="9" y="28"/>
                  </a:lnTo>
                  <a:lnTo>
                    <a:pt x="9" y="28"/>
                  </a:lnTo>
                  <a:lnTo>
                    <a:pt x="9" y="28"/>
                  </a:lnTo>
                  <a:close/>
                  <a:moveTo>
                    <a:pt x="9" y="0"/>
                  </a:moveTo>
                  <a:lnTo>
                    <a:pt x="6" y="5"/>
                  </a:lnTo>
                  <a:lnTo>
                    <a:pt x="9" y="3"/>
                  </a:lnTo>
                  <a:lnTo>
                    <a:pt x="9" y="0"/>
                  </a:lnTo>
                  <a:lnTo>
                    <a:pt x="9" y="0"/>
                  </a:lnTo>
                  <a:lnTo>
                    <a:pt x="9" y="0"/>
                  </a:lnTo>
                  <a:lnTo>
                    <a:pt x="9" y="0"/>
                  </a:lnTo>
                  <a:close/>
                  <a:moveTo>
                    <a:pt x="9" y="5"/>
                  </a:moveTo>
                  <a:lnTo>
                    <a:pt x="8" y="7"/>
                  </a:lnTo>
                  <a:lnTo>
                    <a:pt x="11" y="13"/>
                  </a:lnTo>
                  <a:lnTo>
                    <a:pt x="17" y="17"/>
                  </a:lnTo>
                  <a:lnTo>
                    <a:pt x="21" y="22"/>
                  </a:lnTo>
                  <a:lnTo>
                    <a:pt x="26" y="22"/>
                  </a:lnTo>
                  <a:lnTo>
                    <a:pt x="30" y="22"/>
                  </a:lnTo>
                  <a:lnTo>
                    <a:pt x="26" y="20"/>
                  </a:lnTo>
                  <a:lnTo>
                    <a:pt x="25" y="17"/>
                  </a:lnTo>
                  <a:lnTo>
                    <a:pt x="21" y="15"/>
                  </a:lnTo>
                  <a:lnTo>
                    <a:pt x="21" y="13"/>
                  </a:lnTo>
                  <a:lnTo>
                    <a:pt x="19" y="11"/>
                  </a:lnTo>
                  <a:lnTo>
                    <a:pt x="13" y="9"/>
                  </a:lnTo>
                  <a:lnTo>
                    <a:pt x="11" y="7"/>
                  </a:lnTo>
                  <a:lnTo>
                    <a:pt x="9" y="5"/>
                  </a:lnTo>
                  <a:lnTo>
                    <a:pt x="9" y="5"/>
                  </a:lnTo>
                  <a:lnTo>
                    <a:pt x="9" y="5"/>
                  </a:lnTo>
                  <a:lnTo>
                    <a:pt x="9" y="5"/>
                  </a:lnTo>
                  <a:close/>
                  <a:moveTo>
                    <a:pt x="2" y="11"/>
                  </a:moveTo>
                  <a:lnTo>
                    <a:pt x="0" y="11"/>
                  </a:lnTo>
                  <a:lnTo>
                    <a:pt x="2" y="13"/>
                  </a:lnTo>
                  <a:lnTo>
                    <a:pt x="2" y="11"/>
                  </a:lnTo>
                  <a:lnTo>
                    <a:pt x="2" y="11"/>
                  </a:lnTo>
                  <a:lnTo>
                    <a:pt x="2" y="11"/>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2" name="Freeform 193">
              <a:extLst>
                <a:ext uri="{FF2B5EF4-FFF2-40B4-BE49-F238E27FC236}">
                  <a16:creationId xmlns:a16="http://schemas.microsoft.com/office/drawing/2014/main" id="{6AFB396A-2A5E-8F45-AF0D-9C5FF35E386A}"/>
                </a:ext>
              </a:extLst>
            </p:cNvPr>
            <p:cNvSpPr>
              <a:spLocks noEditPoints="1"/>
            </p:cNvSpPr>
            <p:nvPr/>
          </p:nvSpPr>
          <p:spPr bwMode="auto">
            <a:xfrm>
              <a:off x="8357606" y="3009717"/>
              <a:ext cx="238081" cy="154936"/>
            </a:xfrm>
            <a:custGeom>
              <a:avLst/>
              <a:gdLst/>
              <a:ahLst/>
              <a:cxnLst>
                <a:cxn ang="0">
                  <a:pos x="238" y="196"/>
                </a:cxn>
                <a:cxn ang="0">
                  <a:pos x="223" y="196"/>
                </a:cxn>
                <a:cxn ang="0">
                  <a:pos x="117" y="19"/>
                </a:cxn>
                <a:cxn ang="0">
                  <a:pos x="262" y="81"/>
                </a:cxn>
                <a:cxn ang="0">
                  <a:pos x="270" y="108"/>
                </a:cxn>
                <a:cxn ang="0">
                  <a:pos x="256" y="81"/>
                </a:cxn>
                <a:cxn ang="0">
                  <a:pos x="253" y="72"/>
                </a:cxn>
                <a:cxn ang="0">
                  <a:pos x="247" y="65"/>
                </a:cxn>
                <a:cxn ang="0">
                  <a:pos x="224" y="51"/>
                </a:cxn>
                <a:cxn ang="0">
                  <a:pos x="211" y="44"/>
                </a:cxn>
                <a:cxn ang="0">
                  <a:pos x="162" y="0"/>
                </a:cxn>
                <a:cxn ang="0">
                  <a:pos x="177" y="27"/>
                </a:cxn>
                <a:cxn ang="0">
                  <a:pos x="176" y="72"/>
                </a:cxn>
                <a:cxn ang="0">
                  <a:pos x="144" y="89"/>
                </a:cxn>
                <a:cxn ang="0">
                  <a:pos x="183" y="97"/>
                </a:cxn>
                <a:cxn ang="0">
                  <a:pos x="211" y="80"/>
                </a:cxn>
                <a:cxn ang="0">
                  <a:pos x="206" y="59"/>
                </a:cxn>
                <a:cxn ang="0">
                  <a:pos x="183" y="83"/>
                </a:cxn>
                <a:cxn ang="0">
                  <a:pos x="166" y="80"/>
                </a:cxn>
                <a:cxn ang="0">
                  <a:pos x="140" y="81"/>
                </a:cxn>
                <a:cxn ang="0">
                  <a:pos x="125" y="83"/>
                </a:cxn>
                <a:cxn ang="0">
                  <a:pos x="115" y="78"/>
                </a:cxn>
                <a:cxn ang="0">
                  <a:pos x="213" y="151"/>
                </a:cxn>
                <a:cxn ang="0">
                  <a:pos x="187" y="138"/>
                </a:cxn>
                <a:cxn ang="0">
                  <a:pos x="187" y="138"/>
                </a:cxn>
                <a:cxn ang="0">
                  <a:pos x="189" y="168"/>
                </a:cxn>
                <a:cxn ang="0">
                  <a:pos x="179" y="164"/>
                </a:cxn>
                <a:cxn ang="0">
                  <a:pos x="181" y="161"/>
                </a:cxn>
                <a:cxn ang="0">
                  <a:pos x="170" y="157"/>
                </a:cxn>
                <a:cxn ang="0">
                  <a:pos x="168" y="157"/>
                </a:cxn>
                <a:cxn ang="0">
                  <a:pos x="68" y="125"/>
                </a:cxn>
                <a:cxn ang="0">
                  <a:pos x="63" y="125"/>
                </a:cxn>
                <a:cxn ang="0">
                  <a:pos x="68" y="127"/>
                </a:cxn>
                <a:cxn ang="0">
                  <a:pos x="55" y="127"/>
                </a:cxn>
                <a:cxn ang="0">
                  <a:pos x="46" y="142"/>
                </a:cxn>
                <a:cxn ang="0">
                  <a:pos x="44" y="140"/>
                </a:cxn>
                <a:cxn ang="0">
                  <a:pos x="42" y="142"/>
                </a:cxn>
                <a:cxn ang="0">
                  <a:pos x="51" y="132"/>
                </a:cxn>
                <a:cxn ang="0">
                  <a:pos x="51" y="132"/>
                </a:cxn>
                <a:cxn ang="0">
                  <a:pos x="21" y="153"/>
                </a:cxn>
                <a:cxn ang="0">
                  <a:pos x="44" y="146"/>
                </a:cxn>
                <a:cxn ang="0">
                  <a:pos x="14" y="125"/>
                </a:cxn>
                <a:cxn ang="0">
                  <a:pos x="27" y="136"/>
                </a:cxn>
                <a:cxn ang="0">
                  <a:pos x="42" y="130"/>
                </a:cxn>
                <a:cxn ang="0">
                  <a:pos x="51" y="123"/>
                </a:cxn>
                <a:cxn ang="0">
                  <a:pos x="61" y="127"/>
                </a:cxn>
                <a:cxn ang="0">
                  <a:pos x="76" y="125"/>
                </a:cxn>
                <a:cxn ang="0">
                  <a:pos x="104" y="149"/>
                </a:cxn>
                <a:cxn ang="0">
                  <a:pos x="132" y="172"/>
                </a:cxn>
                <a:cxn ang="0">
                  <a:pos x="166" y="179"/>
                </a:cxn>
                <a:cxn ang="0">
                  <a:pos x="177" y="176"/>
                </a:cxn>
                <a:cxn ang="0">
                  <a:pos x="159" y="162"/>
                </a:cxn>
                <a:cxn ang="0">
                  <a:pos x="144" y="151"/>
                </a:cxn>
                <a:cxn ang="0">
                  <a:pos x="117" y="119"/>
                </a:cxn>
                <a:cxn ang="0">
                  <a:pos x="119" y="91"/>
                </a:cxn>
                <a:cxn ang="0">
                  <a:pos x="89" y="68"/>
                </a:cxn>
                <a:cxn ang="0">
                  <a:pos x="63" y="51"/>
                </a:cxn>
                <a:cxn ang="0">
                  <a:pos x="19" y="34"/>
                </a:cxn>
              </a:cxnLst>
              <a:rect l="0" t="0" r="r" b="b"/>
              <a:pathLst>
                <a:path w="279" h="202">
                  <a:moveTo>
                    <a:pt x="238" y="196"/>
                  </a:moveTo>
                  <a:lnTo>
                    <a:pt x="241" y="194"/>
                  </a:lnTo>
                  <a:lnTo>
                    <a:pt x="245" y="194"/>
                  </a:lnTo>
                  <a:lnTo>
                    <a:pt x="245" y="198"/>
                  </a:lnTo>
                  <a:lnTo>
                    <a:pt x="241" y="198"/>
                  </a:lnTo>
                  <a:lnTo>
                    <a:pt x="238" y="198"/>
                  </a:lnTo>
                  <a:lnTo>
                    <a:pt x="238" y="196"/>
                  </a:lnTo>
                  <a:lnTo>
                    <a:pt x="238" y="196"/>
                  </a:lnTo>
                  <a:lnTo>
                    <a:pt x="238" y="196"/>
                  </a:lnTo>
                  <a:lnTo>
                    <a:pt x="238" y="196"/>
                  </a:lnTo>
                  <a:close/>
                  <a:moveTo>
                    <a:pt x="223" y="196"/>
                  </a:moveTo>
                  <a:lnTo>
                    <a:pt x="228" y="202"/>
                  </a:lnTo>
                  <a:lnTo>
                    <a:pt x="230" y="202"/>
                  </a:lnTo>
                  <a:lnTo>
                    <a:pt x="232" y="202"/>
                  </a:lnTo>
                  <a:lnTo>
                    <a:pt x="232" y="202"/>
                  </a:lnTo>
                  <a:lnTo>
                    <a:pt x="232" y="200"/>
                  </a:lnTo>
                  <a:lnTo>
                    <a:pt x="230" y="200"/>
                  </a:lnTo>
                  <a:lnTo>
                    <a:pt x="226" y="196"/>
                  </a:lnTo>
                  <a:lnTo>
                    <a:pt x="223" y="196"/>
                  </a:lnTo>
                  <a:lnTo>
                    <a:pt x="223" y="196"/>
                  </a:lnTo>
                  <a:lnTo>
                    <a:pt x="223" y="196"/>
                  </a:lnTo>
                  <a:lnTo>
                    <a:pt x="223" y="196"/>
                  </a:lnTo>
                  <a:close/>
                  <a:moveTo>
                    <a:pt x="108" y="16"/>
                  </a:moveTo>
                  <a:lnTo>
                    <a:pt x="108" y="14"/>
                  </a:lnTo>
                  <a:lnTo>
                    <a:pt x="113" y="14"/>
                  </a:lnTo>
                  <a:lnTo>
                    <a:pt x="115" y="14"/>
                  </a:lnTo>
                  <a:lnTo>
                    <a:pt x="117" y="16"/>
                  </a:lnTo>
                  <a:lnTo>
                    <a:pt x="119" y="14"/>
                  </a:lnTo>
                  <a:lnTo>
                    <a:pt x="123" y="16"/>
                  </a:lnTo>
                  <a:lnTo>
                    <a:pt x="117" y="19"/>
                  </a:lnTo>
                  <a:lnTo>
                    <a:pt x="113" y="19"/>
                  </a:lnTo>
                  <a:lnTo>
                    <a:pt x="113" y="19"/>
                  </a:lnTo>
                  <a:lnTo>
                    <a:pt x="108" y="19"/>
                  </a:lnTo>
                  <a:lnTo>
                    <a:pt x="108" y="19"/>
                  </a:lnTo>
                  <a:lnTo>
                    <a:pt x="108" y="16"/>
                  </a:lnTo>
                  <a:lnTo>
                    <a:pt x="108" y="16"/>
                  </a:lnTo>
                  <a:lnTo>
                    <a:pt x="108" y="16"/>
                  </a:lnTo>
                  <a:lnTo>
                    <a:pt x="108" y="16"/>
                  </a:lnTo>
                  <a:close/>
                  <a:moveTo>
                    <a:pt x="256" y="81"/>
                  </a:moveTo>
                  <a:lnTo>
                    <a:pt x="262" y="81"/>
                  </a:lnTo>
                  <a:lnTo>
                    <a:pt x="262" y="83"/>
                  </a:lnTo>
                  <a:lnTo>
                    <a:pt x="266" y="89"/>
                  </a:lnTo>
                  <a:lnTo>
                    <a:pt x="270" y="89"/>
                  </a:lnTo>
                  <a:lnTo>
                    <a:pt x="275" y="95"/>
                  </a:lnTo>
                  <a:lnTo>
                    <a:pt x="279" y="100"/>
                  </a:lnTo>
                  <a:lnTo>
                    <a:pt x="279" y="106"/>
                  </a:lnTo>
                  <a:lnTo>
                    <a:pt x="275" y="106"/>
                  </a:lnTo>
                  <a:lnTo>
                    <a:pt x="275" y="108"/>
                  </a:lnTo>
                  <a:lnTo>
                    <a:pt x="270" y="108"/>
                  </a:lnTo>
                  <a:lnTo>
                    <a:pt x="270" y="108"/>
                  </a:lnTo>
                  <a:lnTo>
                    <a:pt x="266" y="108"/>
                  </a:lnTo>
                  <a:lnTo>
                    <a:pt x="262" y="104"/>
                  </a:lnTo>
                  <a:lnTo>
                    <a:pt x="266" y="102"/>
                  </a:lnTo>
                  <a:lnTo>
                    <a:pt x="262" y="95"/>
                  </a:lnTo>
                  <a:lnTo>
                    <a:pt x="256" y="93"/>
                  </a:lnTo>
                  <a:lnTo>
                    <a:pt x="256" y="87"/>
                  </a:lnTo>
                  <a:lnTo>
                    <a:pt x="256" y="83"/>
                  </a:lnTo>
                  <a:lnTo>
                    <a:pt x="256" y="81"/>
                  </a:lnTo>
                  <a:lnTo>
                    <a:pt x="256" y="81"/>
                  </a:lnTo>
                  <a:lnTo>
                    <a:pt x="256" y="81"/>
                  </a:lnTo>
                  <a:lnTo>
                    <a:pt x="256" y="81"/>
                  </a:lnTo>
                  <a:close/>
                  <a:moveTo>
                    <a:pt x="253" y="72"/>
                  </a:moveTo>
                  <a:lnTo>
                    <a:pt x="253" y="74"/>
                  </a:lnTo>
                  <a:lnTo>
                    <a:pt x="255" y="78"/>
                  </a:lnTo>
                  <a:lnTo>
                    <a:pt x="255" y="81"/>
                  </a:lnTo>
                  <a:lnTo>
                    <a:pt x="256" y="78"/>
                  </a:lnTo>
                  <a:lnTo>
                    <a:pt x="256" y="74"/>
                  </a:lnTo>
                  <a:lnTo>
                    <a:pt x="253" y="72"/>
                  </a:lnTo>
                  <a:lnTo>
                    <a:pt x="253" y="72"/>
                  </a:lnTo>
                  <a:lnTo>
                    <a:pt x="253" y="72"/>
                  </a:lnTo>
                  <a:lnTo>
                    <a:pt x="253" y="72"/>
                  </a:lnTo>
                  <a:close/>
                  <a:moveTo>
                    <a:pt x="247" y="65"/>
                  </a:moveTo>
                  <a:lnTo>
                    <a:pt x="249" y="63"/>
                  </a:lnTo>
                  <a:lnTo>
                    <a:pt x="251" y="63"/>
                  </a:lnTo>
                  <a:lnTo>
                    <a:pt x="253" y="63"/>
                  </a:lnTo>
                  <a:lnTo>
                    <a:pt x="251" y="68"/>
                  </a:lnTo>
                  <a:lnTo>
                    <a:pt x="247" y="68"/>
                  </a:lnTo>
                  <a:lnTo>
                    <a:pt x="247" y="65"/>
                  </a:lnTo>
                  <a:lnTo>
                    <a:pt x="247" y="65"/>
                  </a:lnTo>
                  <a:lnTo>
                    <a:pt x="247" y="65"/>
                  </a:lnTo>
                  <a:lnTo>
                    <a:pt x="247" y="65"/>
                  </a:lnTo>
                  <a:close/>
                  <a:moveTo>
                    <a:pt x="187" y="27"/>
                  </a:moveTo>
                  <a:lnTo>
                    <a:pt x="192" y="31"/>
                  </a:lnTo>
                  <a:lnTo>
                    <a:pt x="200" y="34"/>
                  </a:lnTo>
                  <a:lnTo>
                    <a:pt x="208" y="38"/>
                  </a:lnTo>
                  <a:lnTo>
                    <a:pt x="211" y="40"/>
                  </a:lnTo>
                  <a:lnTo>
                    <a:pt x="213" y="44"/>
                  </a:lnTo>
                  <a:lnTo>
                    <a:pt x="219" y="46"/>
                  </a:lnTo>
                  <a:lnTo>
                    <a:pt x="221" y="51"/>
                  </a:lnTo>
                  <a:lnTo>
                    <a:pt x="224" y="51"/>
                  </a:lnTo>
                  <a:lnTo>
                    <a:pt x="226" y="59"/>
                  </a:lnTo>
                  <a:lnTo>
                    <a:pt x="228" y="59"/>
                  </a:lnTo>
                  <a:lnTo>
                    <a:pt x="228" y="63"/>
                  </a:lnTo>
                  <a:lnTo>
                    <a:pt x="226" y="65"/>
                  </a:lnTo>
                  <a:lnTo>
                    <a:pt x="224" y="70"/>
                  </a:lnTo>
                  <a:lnTo>
                    <a:pt x="221" y="68"/>
                  </a:lnTo>
                  <a:lnTo>
                    <a:pt x="219" y="63"/>
                  </a:lnTo>
                  <a:lnTo>
                    <a:pt x="221" y="59"/>
                  </a:lnTo>
                  <a:lnTo>
                    <a:pt x="219" y="49"/>
                  </a:lnTo>
                  <a:lnTo>
                    <a:pt x="211" y="44"/>
                  </a:lnTo>
                  <a:lnTo>
                    <a:pt x="208" y="44"/>
                  </a:lnTo>
                  <a:lnTo>
                    <a:pt x="202" y="38"/>
                  </a:lnTo>
                  <a:lnTo>
                    <a:pt x="187" y="31"/>
                  </a:lnTo>
                  <a:lnTo>
                    <a:pt x="187" y="31"/>
                  </a:lnTo>
                  <a:lnTo>
                    <a:pt x="187" y="27"/>
                  </a:lnTo>
                  <a:lnTo>
                    <a:pt x="187" y="27"/>
                  </a:lnTo>
                  <a:lnTo>
                    <a:pt x="187" y="27"/>
                  </a:lnTo>
                  <a:lnTo>
                    <a:pt x="187" y="27"/>
                  </a:lnTo>
                  <a:close/>
                  <a:moveTo>
                    <a:pt x="159" y="0"/>
                  </a:moveTo>
                  <a:lnTo>
                    <a:pt x="162" y="0"/>
                  </a:lnTo>
                  <a:lnTo>
                    <a:pt x="166" y="4"/>
                  </a:lnTo>
                  <a:lnTo>
                    <a:pt x="164" y="6"/>
                  </a:lnTo>
                  <a:lnTo>
                    <a:pt x="162" y="2"/>
                  </a:lnTo>
                  <a:lnTo>
                    <a:pt x="159" y="0"/>
                  </a:lnTo>
                  <a:lnTo>
                    <a:pt x="159" y="0"/>
                  </a:lnTo>
                  <a:lnTo>
                    <a:pt x="159" y="0"/>
                  </a:lnTo>
                  <a:lnTo>
                    <a:pt x="159" y="0"/>
                  </a:lnTo>
                  <a:close/>
                  <a:moveTo>
                    <a:pt x="172" y="27"/>
                  </a:moveTo>
                  <a:lnTo>
                    <a:pt x="176" y="25"/>
                  </a:lnTo>
                  <a:lnTo>
                    <a:pt x="177" y="27"/>
                  </a:lnTo>
                  <a:lnTo>
                    <a:pt x="177" y="31"/>
                  </a:lnTo>
                  <a:lnTo>
                    <a:pt x="174" y="31"/>
                  </a:lnTo>
                  <a:lnTo>
                    <a:pt x="172" y="31"/>
                  </a:lnTo>
                  <a:lnTo>
                    <a:pt x="172" y="27"/>
                  </a:lnTo>
                  <a:lnTo>
                    <a:pt x="172" y="27"/>
                  </a:lnTo>
                  <a:lnTo>
                    <a:pt x="172" y="27"/>
                  </a:lnTo>
                  <a:lnTo>
                    <a:pt x="172" y="27"/>
                  </a:lnTo>
                  <a:close/>
                  <a:moveTo>
                    <a:pt x="170" y="72"/>
                  </a:moveTo>
                  <a:lnTo>
                    <a:pt x="174" y="76"/>
                  </a:lnTo>
                  <a:lnTo>
                    <a:pt x="176" y="72"/>
                  </a:lnTo>
                  <a:lnTo>
                    <a:pt x="172" y="68"/>
                  </a:lnTo>
                  <a:lnTo>
                    <a:pt x="170" y="70"/>
                  </a:lnTo>
                  <a:lnTo>
                    <a:pt x="170" y="72"/>
                  </a:lnTo>
                  <a:lnTo>
                    <a:pt x="170" y="72"/>
                  </a:lnTo>
                  <a:lnTo>
                    <a:pt x="170" y="72"/>
                  </a:lnTo>
                  <a:lnTo>
                    <a:pt x="170" y="72"/>
                  </a:lnTo>
                  <a:close/>
                  <a:moveTo>
                    <a:pt x="140" y="81"/>
                  </a:moveTo>
                  <a:lnTo>
                    <a:pt x="138" y="83"/>
                  </a:lnTo>
                  <a:lnTo>
                    <a:pt x="140" y="89"/>
                  </a:lnTo>
                  <a:lnTo>
                    <a:pt x="144" y="89"/>
                  </a:lnTo>
                  <a:lnTo>
                    <a:pt x="151" y="95"/>
                  </a:lnTo>
                  <a:lnTo>
                    <a:pt x="151" y="97"/>
                  </a:lnTo>
                  <a:lnTo>
                    <a:pt x="153" y="95"/>
                  </a:lnTo>
                  <a:lnTo>
                    <a:pt x="159" y="95"/>
                  </a:lnTo>
                  <a:lnTo>
                    <a:pt x="162" y="98"/>
                  </a:lnTo>
                  <a:lnTo>
                    <a:pt x="164" y="98"/>
                  </a:lnTo>
                  <a:lnTo>
                    <a:pt x="168" y="98"/>
                  </a:lnTo>
                  <a:lnTo>
                    <a:pt x="176" y="97"/>
                  </a:lnTo>
                  <a:lnTo>
                    <a:pt x="179" y="98"/>
                  </a:lnTo>
                  <a:lnTo>
                    <a:pt x="183" y="97"/>
                  </a:lnTo>
                  <a:lnTo>
                    <a:pt x="187" y="98"/>
                  </a:lnTo>
                  <a:lnTo>
                    <a:pt x="187" y="97"/>
                  </a:lnTo>
                  <a:lnTo>
                    <a:pt x="187" y="93"/>
                  </a:lnTo>
                  <a:lnTo>
                    <a:pt x="192" y="93"/>
                  </a:lnTo>
                  <a:lnTo>
                    <a:pt x="198" y="87"/>
                  </a:lnTo>
                  <a:lnTo>
                    <a:pt x="198" y="83"/>
                  </a:lnTo>
                  <a:lnTo>
                    <a:pt x="202" y="83"/>
                  </a:lnTo>
                  <a:lnTo>
                    <a:pt x="204" y="83"/>
                  </a:lnTo>
                  <a:lnTo>
                    <a:pt x="208" y="83"/>
                  </a:lnTo>
                  <a:lnTo>
                    <a:pt x="211" y="80"/>
                  </a:lnTo>
                  <a:lnTo>
                    <a:pt x="208" y="76"/>
                  </a:lnTo>
                  <a:lnTo>
                    <a:pt x="208" y="74"/>
                  </a:lnTo>
                  <a:lnTo>
                    <a:pt x="208" y="72"/>
                  </a:lnTo>
                  <a:lnTo>
                    <a:pt x="211" y="72"/>
                  </a:lnTo>
                  <a:lnTo>
                    <a:pt x="215" y="68"/>
                  </a:lnTo>
                  <a:lnTo>
                    <a:pt x="215" y="59"/>
                  </a:lnTo>
                  <a:lnTo>
                    <a:pt x="211" y="55"/>
                  </a:lnTo>
                  <a:lnTo>
                    <a:pt x="208" y="59"/>
                  </a:lnTo>
                  <a:lnTo>
                    <a:pt x="208" y="59"/>
                  </a:lnTo>
                  <a:lnTo>
                    <a:pt x="206" y="59"/>
                  </a:lnTo>
                  <a:lnTo>
                    <a:pt x="200" y="59"/>
                  </a:lnTo>
                  <a:lnTo>
                    <a:pt x="198" y="63"/>
                  </a:lnTo>
                  <a:lnTo>
                    <a:pt x="200" y="68"/>
                  </a:lnTo>
                  <a:lnTo>
                    <a:pt x="202" y="70"/>
                  </a:lnTo>
                  <a:lnTo>
                    <a:pt x="200" y="72"/>
                  </a:lnTo>
                  <a:lnTo>
                    <a:pt x="196" y="72"/>
                  </a:lnTo>
                  <a:lnTo>
                    <a:pt x="189" y="78"/>
                  </a:lnTo>
                  <a:lnTo>
                    <a:pt x="187" y="81"/>
                  </a:lnTo>
                  <a:lnTo>
                    <a:pt x="187" y="83"/>
                  </a:lnTo>
                  <a:lnTo>
                    <a:pt x="183" y="83"/>
                  </a:lnTo>
                  <a:lnTo>
                    <a:pt x="181" y="83"/>
                  </a:lnTo>
                  <a:lnTo>
                    <a:pt x="179" y="81"/>
                  </a:lnTo>
                  <a:lnTo>
                    <a:pt x="177" y="81"/>
                  </a:lnTo>
                  <a:lnTo>
                    <a:pt x="174" y="83"/>
                  </a:lnTo>
                  <a:lnTo>
                    <a:pt x="172" y="83"/>
                  </a:lnTo>
                  <a:lnTo>
                    <a:pt x="170" y="80"/>
                  </a:lnTo>
                  <a:lnTo>
                    <a:pt x="172" y="78"/>
                  </a:lnTo>
                  <a:lnTo>
                    <a:pt x="168" y="76"/>
                  </a:lnTo>
                  <a:lnTo>
                    <a:pt x="166" y="78"/>
                  </a:lnTo>
                  <a:lnTo>
                    <a:pt x="166" y="80"/>
                  </a:lnTo>
                  <a:lnTo>
                    <a:pt x="164" y="81"/>
                  </a:lnTo>
                  <a:lnTo>
                    <a:pt x="162" y="81"/>
                  </a:lnTo>
                  <a:lnTo>
                    <a:pt x="157" y="83"/>
                  </a:lnTo>
                  <a:lnTo>
                    <a:pt x="153" y="83"/>
                  </a:lnTo>
                  <a:lnTo>
                    <a:pt x="151" y="81"/>
                  </a:lnTo>
                  <a:lnTo>
                    <a:pt x="147" y="81"/>
                  </a:lnTo>
                  <a:lnTo>
                    <a:pt x="144" y="83"/>
                  </a:lnTo>
                  <a:lnTo>
                    <a:pt x="140" y="81"/>
                  </a:lnTo>
                  <a:lnTo>
                    <a:pt x="140" y="81"/>
                  </a:lnTo>
                  <a:lnTo>
                    <a:pt x="140" y="81"/>
                  </a:lnTo>
                  <a:lnTo>
                    <a:pt x="140" y="81"/>
                  </a:lnTo>
                  <a:close/>
                  <a:moveTo>
                    <a:pt x="125" y="83"/>
                  </a:moveTo>
                  <a:lnTo>
                    <a:pt x="128" y="81"/>
                  </a:lnTo>
                  <a:lnTo>
                    <a:pt x="132" y="83"/>
                  </a:lnTo>
                  <a:lnTo>
                    <a:pt x="132" y="87"/>
                  </a:lnTo>
                  <a:lnTo>
                    <a:pt x="132" y="89"/>
                  </a:lnTo>
                  <a:lnTo>
                    <a:pt x="128" y="87"/>
                  </a:lnTo>
                  <a:lnTo>
                    <a:pt x="125" y="83"/>
                  </a:lnTo>
                  <a:lnTo>
                    <a:pt x="125" y="83"/>
                  </a:lnTo>
                  <a:lnTo>
                    <a:pt x="125" y="83"/>
                  </a:lnTo>
                  <a:lnTo>
                    <a:pt x="125" y="83"/>
                  </a:lnTo>
                  <a:close/>
                  <a:moveTo>
                    <a:pt x="115" y="78"/>
                  </a:moveTo>
                  <a:lnTo>
                    <a:pt x="113" y="80"/>
                  </a:lnTo>
                  <a:lnTo>
                    <a:pt x="115" y="83"/>
                  </a:lnTo>
                  <a:lnTo>
                    <a:pt x="119" y="81"/>
                  </a:lnTo>
                  <a:lnTo>
                    <a:pt x="119" y="80"/>
                  </a:lnTo>
                  <a:lnTo>
                    <a:pt x="115" y="78"/>
                  </a:lnTo>
                  <a:lnTo>
                    <a:pt x="115" y="78"/>
                  </a:lnTo>
                  <a:lnTo>
                    <a:pt x="115" y="78"/>
                  </a:lnTo>
                  <a:lnTo>
                    <a:pt x="115" y="78"/>
                  </a:lnTo>
                  <a:close/>
                  <a:moveTo>
                    <a:pt x="98" y="65"/>
                  </a:moveTo>
                  <a:lnTo>
                    <a:pt x="95" y="68"/>
                  </a:lnTo>
                  <a:lnTo>
                    <a:pt x="95" y="68"/>
                  </a:lnTo>
                  <a:lnTo>
                    <a:pt x="98" y="68"/>
                  </a:lnTo>
                  <a:lnTo>
                    <a:pt x="98" y="65"/>
                  </a:lnTo>
                  <a:lnTo>
                    <a:pt x="98" y="65"/>
                  </a:lnTo>
                  <a:lnTo>
                    <a:pt x="98" y="65"/>
                  </a:lnTo>
                  <a:lnTo>
                    <a:pt x="98" y="65"/>
                  </a:lnTo>
                  <a:close/>
                  <a:moveTo>
                    <a:pt x="213" y="149"/>
                  </a:moveTo>
                  <a:lnTo>
                    <a:pt x="213" y="151"/>
                  </a:lnTo>
                  <a:lnTo>
                    <a:pt x="213" y="155"/>
                  </a:lnTo>
                  <a:lnTo>
                    <a:pt x="215" y="153"/>
                  </a:lnTo>
                  <a:lnTo>
                    <a:pt x="221" y="157"/>
                  </a:lnTo>
                  <a:lnTo>
                    <a:pt x="219" y="155"/>
                  </a:lnTo>
                  <a:lnTo>
                    <a:pt x="213" y="149"/>
                  </a:lnTo>
                  <a:lnTo>
                    <a:pt x="213" y="149"/>
                  </a:lnTo>
                  <a:lnTo>
                    <a:pt x="213" y="149"/>
                  </a:lnTo>
                  <a:lnTo>
                    <a:pt x="213" y="149"/>
                  </a:lnTo>
                  <a:close/>
                  <a:moveTo>
                    <a:pt x="187" y="138"/>
                  </a:moveTo>
                  <a:lnTo>
                    <a:pt x="187" y="138"/>
                  </a:lnTo>
                  <a:lnTo>
                    <a:pt x="187" y="142"/>
                  </a:lnTo>
                  <a:lnTo>
                    <a:pt x="189" y="142"/>
                  </a:lnTo>
                  <a:lnTo>
                    <a:pt x="189" y="144"/>
                  </a:lnTo>
                  <a:lnTo>
                    <a:pt x="189" y="146"/>
                  </a:lnTo>
                  <a:lnTo>
                    <a:pt x="189" y="146"/>
                  </a:lnTo>
                  <a:lnTo>
                    <a:pt x="189" y="142"/>
                  </a:lnTo>
                  <a:lnTo>
                    <a:pt x="189" y="136"/>
                  </a:lnTo>
                  <a:lnTo>
                    <a:pt x="187" y="138"/>
                  </a:lnTo>
                  <a:lnTo>
                    <a:pt x="187" y="138"/>
                  </a:lnTo>
                  <a:lnTo>
                    <a:pt x="187" y="138"/>
                  </a:lnTo>
                  <a:lnTo>
                    <a:pt x="187" y="138"/>
                  </a:lnTo>
                  <a:close/>
                  <a:moveTo>
                    <a:pt x="179" y="164"/>
                  </a:moveTo>
                  <a:lnTo>
                    <a:pt x="183" y="164"/>
                  </a:lnTo>
                  <a:lnTo>
                    <a:pt x="183" y="166"/>
                  </a:lnTo>
                  <a:lnTo>
                    <a:pt x="183" y="166"/>
                  </a:lnTo>
                  <a:lnTo>
                    <a:pt x="187" y="168"/>
                  </a:lnTo>
                  <a:lnTo>
                    <a:pt x="187" y="168"/>
                  </a:lnTo>
                  <a:lnTo>
                    <a:pt x="187" y="166"/>
                  </a:lnTo>
                  <a:lnTo>
                    <a:pt x="189" y="166"/>
                  </a:lnTo>
                  <a:lnTo>
                    <a:pt x="189" y="168"/>
                  </a:lnTo>
                  <a:lnTo>
                    <a:pt x="187" y="170"/>
                  </a:lnTo>
                  <a:lnTo>
                    <a:pt x="187" y="172"/>
                  </a:lnTo>
                  <a:lnTo>
                    <a:pt x="187" y="172"/>
                  </a:lnTo>
                  <a:lnTo>
                    <a:pt x="183" y="172"/>
                  </a:lnTo>
                  <a:lnTo>
                    <a:pt x="183" y="170"/>
                  </a:lnTo>
                  <a:lnTo>
                    <a:pt x="183" y="168"/>
                  </a:lnTo>
                  <a:lnTo>
                    <a:pt x="181" y="166"/>
                  </a:lnTo>
                  <a:lnTo>
                    <a:pt x="179" y="164"/>
                  </a:lnTo>
                  <a:lnTo>
                    <a:pt x="179" y="164"/>
                  </a:lnTo>
                  <a:lnTo>
                    <a:pt x="179" y="164"/>
                  </a:lnTo>
                  <a:lnTo>
                    <a:pt x="179" y="164"/>
                  </a:lnTo>
                  <a:lnTo>
                    <a:pt x="179" y="164"/>
                  </a:lnTo>
                  <a:close/>
                  <a:moveTo>
                    <a:pt x="176" y="157"/>
                  </a:moveTo>
                  <a:lnTo>
                    <a:pt x="177" y="161"/>
                  </a:lnTo>
                  <a:lnTo>
                    <a:pt x="179" y="162"/>
                  </a:lnTo>
                  <a:lnTo>
                    <a:pt x="181" y="162"/>
                  </a:lnTo>
                  <a:lnTo>
                    <a:pt x="183" y="162"/>
                  </a:lnTo>
                  <a:lnTo>
                    <a:pt x="183" y="162"/>
                  </a:lnTo>
                  <a:lnTo>
                    <a:pt x="183" y="161"/>
                  </a:lnTo>
                  <a:lnTo>
                    <a:pt x="181" y="161"/>
                  </a:lnTo>
                  <a:lnTo>
                    <a:pt x="181" y="161"/>
                  </a:lnTo>
                  <a:lnTo>
                    <a:pt x="181" y="157"/>
                  </a:lnTo>
                  <a:lnTo>
                    <a:pt x="179" y="157"/>
                  </a:lnTo>
                  <a:lnTo>
                    <a:pt x="177" y="157"/>
                  </a:lnTo>
                  <a:lnTo>
                    <a:pt x="176" y="157"/>
                  </a:lnTo>
                  <a:lnTo>
                    <a:pt x="176" y="157"/>
                  </a:lnTo>
                  <a:lnTo>
                    <a:pt x="176" y="157"/>
                  </a:lnTo>
                  <a:lnTo>
                    <a:pt x="176" y="157"/>
                  </a:lnTo>
                  <a:close/>
                  <a:moveTo>
                    <a:pt x="168" y="157"/>
                  </a:moveTo>
                  <a:lnTo>
                    <a:pt x="170" y="157"/>
                  </a:lnTo>
                  <a:lnTo>
                    <a:pt x="172" y="157"/>
                  </a:lnTo>
                  <a:lnTo>
                    <a:pt x="174" y="161"/>
                  </a:lnTo>
                  <a:lnTo>
                    <a:pt x="174" y="161"/>
                  </a:lnTo>
                  <a:lnTo>
                    <a:pt x="174" y="157"/>
                  </a:lnTo>
                  <a:lnTo>
                    <a:pt x="172" y="157"/>
                  </a:lnTo>
                  <a:lnTo>
                    <a:pt x="170" y="155"/>
                  </a:lnTo>
                  <a:lnTo>
                    <a:pt x="168" y="157"/>
                  </a:lnTo>
                  <a:lnTo>
                    <a:pt x="168" y="157"/>
                  </a:lnTo>
                  <a:lnTo>
                    <a:pt x="168" y="157"/>
                  </a:lnTo>
                  <a:lnTo>
                    <a:pt x="168" y="157"/>
                  </a:lnTo>
                  <a:close/>
                  <a:moveTo>
                    <a:pt x="76" y="125"/>
                  </a:moveTo>
                  <a:lnTo>
                    <a:pt x="76" y="127"/>
                  </a:lnTo>
                  <a:lnTo>
                    <a:pt x="76" y="129"/>
                  </a:lnTo>
                  <a:lnTo>
                    <a:pt x="76" y="129"/>
                  </a:lnTo>
                  <a:lnTo>
                    <a:pt x="76" y="125"/>
                  </a:lnTo>
                  <a:lnTo>
                    <a:pt x="76" y="125"/>
                  </a:lnTo>
                  <a:lnTo>
                    <a:pt x="76" y="125"/>
                  </a:lnTo>
                  <a:lnTo>
                    <a:pt x="76" y="125"/>
                  </a:lnTo>
                  <a:close/>
                  <a:moveTo>
                    <a:pt x="68" y="127"/>
                  </a:moveTo>
                  <a:lnTo>
                    <a:pt x="68" y="125"/>
                  </a:lnTo>
                  <a:lnTo>
                    <a:pt x="70" y="125"/>
                  </a:lnTo>
                  <a:lnTo>
                    <a:pt x="68" y="127"/>
                  </a:lnTo>
                  <a:lnTo>
                    <a:pt x="68" y="127"/>
                  </a:lnTo>
                  <a:lnTo>
                    <a:pt x="68" y="127"/>
                  </a:lnTo>
                  <a:lnTo>
                    <a:pt x="68" y="127"/>
                  </a:lnTo>
                  <a:close/>
                  <a:moveTo>
                    <a:pt x="63" y="125"/>
                  </a:moveTo>
                  <a:lnTo>
                    <a:pt x="63" y="127"/>
                  </a:lnTo>
                  <a:lnTo>
                    <a:pt x="64" y="127"/>
                  </a:lnTo>
                  <a:lnTo>
                    <a:pt x="64" y="127"/>
                  </a:lnTo>
                  <a:lnTo>
                    <a:pt x="63" y="125"/>
                  </a:lnTo>
                  <a:lnTo>
                    <a:pt x="63" y="125"/>
                  </a:lnTo>
                  <a:lnTo>
                    <a:pt x="63" y="125"/>
                  </a:lnTo>
                  <a:lnTo>
                    <a:pt x="63" y="125"/>
                  </a:lnTo>
                  <a:close/>
                  <a:moveTo>
                    <a:pt x="68" y="127"/>
                  </a:moveTo>
                  <a:lnTo>
                    <a:pt x="64" y="123"/>
                  </a:lnTo>
                  <a:lnTo>
                    <a:pt x="66" y="121"/>
                  </a:lnTo>
                  <a:lnTo>
                    <a:pt x="68" y="121"/>
                  </a:lnTo>
                  <a:lnTo>
                    <a:pt x="68" y="125"/>
                  </a:lnTo>
                  <a:lnTo>
                    <a:pt x="68" y="127"/>
                  </a:lnTo>
                  <a:lnTo>
                    <a:pt x="68" y="127"/>
                  </a:lnTo>
                  <a:lnTo>
                    <a:pt x="68" y="127"/>
                  </a:lnTo>
                  <a:lnTo>
                    <a:pt x="68" y="127"/>
                  </a:lnTo>
                  <a:close/>
                  <a:moveTo>
                    <a:pt x="55" y="127"/>
                  </a:moveTo>
                  <a:lnTo>
                    <a:pt x="55" y="129"/>
                  </a:lnTo>
                  <a:lnTo>
                    <a:pt x="57" y="129"/>
                  </a:lnTo>
                  <a:lnTo>
                    <a:pt x="55" y="127"/>
                  </a:lnTo>
                  <a:lnTo>
                    <a:pt x="55" y="127"/>
                  </a:lnTo>
                  <a:lnTo>
                    <a:pt x="55" y="127"/>
                  </a:lnTo>
                  <a:lnTo>
                    <a:pt x="55" y="127"/>
                  </a:lnTo>
                  <a:lnTo>
                    <a:pt x="55" y="127"/>
                  </a:lnTo>
                  <a:close/>
                  <a:moveTo>
                    <a:pt x="49" y="140"/>
                  </a:moveTo>
                  <a:lnTo>
                    <a:pt x="51" y="138"/>
                  </a:lnTo>
                  <a:lnTo>
                    <a:pt x="51" y="138"/>
                  </a:lnTo>
                  <a:lnTo>
                    <a:pt x="51" y="140"/>
                  </a:lnTo>
                  <a:lnTo>
                    <a:pt x="51" y="140"/>
                  </a:lnTo>
                  <a:lnTo>
                    <a:pt x="49" y="140"/>
                  </a:lnTo>
                  <a:lnTo>
                    <a:pt x="49" y="140"/>
                  </a:lnTo>
                  <a:lnTo>
                    <a:pt x="49" y="140"/>
                  </a:lnTo>
                  <a:lnTo>
                    <a:pt x="49" y="140"/>
                  </a:lnTo>
                  <a:close/>
                  <a:moveTo>
                    <a:pt x="46" y="142"/>
                  </a:moveTo>
                  <a:lnTo>
                    <a:pt x="49" y="144"/>
                  </a:lnTo>
                  <a:lnTo>
                    <a:pt x="49" y="142"/>
                  </a:lnTo>
                  <a:lnTo>
                    <a:pt x="46" y="142"/>
                  </a:lnTo>
                  <a:lnTo>
                    <a:pt x="46" y="142"/>
                  </a:lnTo>
                  <a:lnTo>
                    <a:pt x="46" y="142"/>
                  </a:lnTo>
                  <a:lnTo>
                    <a:pt x="46" y="142"/>
                  </a:lnTo>
                  <a:close/>
                  <a:moveTo>
                    <a:pt x="44" y="140"/>
                  </a:moveTo>
                  <a:lnTo>
                    <a:pt x="46" y="142"/>
                  </a:lnTo>
                  <a:lnTo>
                    <a:pt x="46" y="140"/>
                  </a:lnTo>
                  <a:lnTo>
                    <a:pt x="44" y="140"/>
                  </a:lnTo>
                  <a:lnTo>
                    <a:pt x="44" y="140"/>
                  </a:lnTo>
                  <a:lnTo>
                    <a:pt x="44" y="140"/>
                  </a:lnTo>
                  <a:lnTo>
                    <a:pt x="44" y="140"/>
                  </a:lnTo>
                  <a:close/>
                  <a:moveTo>
                    <a:pt x="42" y="142"/>
                  </a:moveTo>
                  <a:lnTo>
                    <a:pt x="42" y="142"/>
                  </a:lnTo>
                  <a:lnTo>
                    <a:pt x="46" y="144"/>
                  </a:lnTo>
                  <a:lnTo>
                    <a:pt x="51" y="147"/>
                  </a:lnTo>
                  <a:lnTo>
                    <a:pt x="42" y="142"/>
                  </a:lnTo>
                  <a:lnTo>
                    <a:pt x="42" y="142"/>
                  </a:lnTo>
                  <a:lnTo>
                    <a:pt x="42" y="142"/>
                  </a:lnTo>
                  <a:lnTo>
                    <a:pt x="42" y="142"/>
                  </a:lnTo>
                  <a:close/>
                  <a:moveTo>
                    <a:pt x="46" y="132"/>
                  </a:moveTo>
                  <a:lnTo>
                    <a:pt x="51" y="132"/>
                  </a:lnTo>
                  <a:lnTo>
                    <a:pt x="51" y="136"/>
                  </a:lnTo>
                  <a:lnTo>
                    <a:pt x="49" y="132"/>
                  </a:lnTo>
                  <a:lnTo>
                    <a:pt x="46" y="132"/>
                  </a:lnTo>
                  <a:lnTo>
                    <a:pt x="46" y="132"/>
                  </a:lnTo>
                  <a:lnTo>
                    <a:pt x="46" y="132"/>
                  </a:lnTo>
                  <a:lnTo>
                    <a:pt x="46" y="132"/>
                  </a:lnTo>
                  <a:close/>
                  <a:moveTo>
                    <a:pt x="51" y="132"/>
                  </a:moveTo>
                  <a:lnTo>
                    <a:pt x="51" y="130"/>
                  </a:lnTo>
                  <a:lnTo>
                    <a:pt x="51" y="129"/>
                  </a:lnTo>
                  <a:lnTo>
                    <a:pt x="51" y="127"/>
                  </a:lnTo>
                  <a:lnTo>
                    <a:pt x="55" y="130"/>
                  </a:lnTo>
                  <a:lnTo>
                    <a:pt x="55" y="132"/>
                  </a:lnTo>
                  <a:lnTo>
                    <a:pt x="55" y="132"/>
                  </a:lnTo>
                  <a:lnTo>
                    <a:pt x="51" y="132"/>
                  </a:lnTo>
                  <a:lnTo>
                    <a:pt x="51" y="132"/>
                  </a:lnTo>
                  <a:lnTo>
                    <a:pt x="51" y="132"/>
                  </a:lnTo>
                  <a:lnTo>
                    <a:pt x="51" y="132"/>
                  </a:lnTo>
                  <a:close/>
                  <a:moveTo>
                    <a:pt x="2" y="29"/>
                  </a:moveTo>
                  <a:lnTo>
                    <a:pt x="0" y="98"/>
                  </a:lnTo>
                  <a:lnTo>
                    <a:pt x="0" y="104"/>
                  </a:lnTo>
                  <a:lnTo>
                    <a:pt x="0" y="106"/>
                  </a:lnTo>
                  <a:lnTo>
                    <a:pt x="0" y="108"/>
                  </a:lnTo>
                  <a:lnTo>
                    <a:pt x="0" y="153"/>
                  </a:lnTo>
                  <a:lnTo>
                    <a:pt x="6" y="153"/>
                  </a:lnTo>
                  <a:lnTo>
                    <a:pt x="8" y="153"/>
                  </a:lnTo>
                  <a:lnTo>
                    <a:pt x="12" y="153"/>
                  </a:lnTo>
                  <a:lnTo>
                    <a:pt x="21" y="153"/>
                  </a:lnTo>
                  <a:lnTo>
                    <a:pt x="25" y="153"/>
                  </a:lnTo>
                  <a:lnTo>
                    <a:pt x="25" y="155"/>
                  </a:lnTo>
                  <a:lnTo>
                    <a:pt x="25" y="157"/>
                  </a:lnTo>
                  <a:lnTo>
                    <a:pt x="31" y="157"/>
                  </a:lnTo>
                  <a:lnTo>
                    <a:pt x="32" y="155"/>
                  </a:lnTo>
                  <a:lnTo>
                    <a:pt x="40" y="153"/>
                  </a:lnTo>
                  <a:lnTo>
                    <a:pt x="40" y="151"/>
                  </a:lnTo>
                  <a:lnTo>
                    <a:pt x="42" y="153"/>
                  </a:lnTo>
                  <a:lnTo>
                    <a:pt x="44" y="151"/>
                  </a:lnTo>
                  <a:lnTo>
                    <a:pt x="44" y="146"/>
                  </a:lnTo>
                  <a:lnTo>
                    <a:pt x="38" y="142"/>
                  </a:lnTo>
                  <a:lnTo>
                    <a:pt x="32" y="140"/>
                  </a:lnTo>
                  <a:lnTo>
                    <a:pt x="31" y="138"/>
                  </a:lnTo>
                  <a:lnTo>
                    <a:pt x="27" y="136"/>
                  </a:lnTo>
                  <a:lnTo>
                    <a:pt x="25" y="136"/>
                  </a:lnTo>
                  <a:lnTo>
                    <a:pt x="21" y="136"/>
                  </a:lnTo>
                  <a:lnTo>
                    <a:pt x="21" y="136"/>
                  </a:lnTo>
                  <a:lnTo>
                    <a:pt x="21" y="130"/>
                  </a:lnTo>
                  <a:lnTo>
                    <a:pt x="17" y="127"/>
                  </a:lnTo>
                  <a:lnTo>
                    <a:pt x="14" y="125"/>
                  </a:lnTo>
                  <a:lnTo>
                    <a:pt x="14" y="123"/>
                  </a:lnTo>
                  <a:lnTo>
                    <a:pt x="10" y="121"/>
                  </a:lnTo>
                  <a:lnTo>
                    <a:pt x="14" y="123"/>
                  </a:lnTo>
                  <a:lnTo>
                    <a:pt x="14" y="125"/>
                  </a:lnTo>
                  <a:lnTo>
                    <a:pt x="17" y="125"/>
                  </a:lnTo>
                  <a:lnTo>
                    <a:pt x="21" y="129"/>
                  </a:lnTo>
                  <a:lnTo>
                    <a:pt x="21" y="132"/>
                  </a:lnTo>
                  <a:lnTo>
                    <a:pt x="21" y="136"/>
                  </a:lnTo>
                  <a:lnTo>
                    <a:pt x="21" y="136"/>
                  </a:lnTo>
                  <a:lnTo>
                    <a:pt x="27" y="136"/>
                  </a:lnTo>
                  <a:lnTo>
                    <a:pt x="31" y="138"/>
                  </a:lnTo>
                  <a:lnTo>
                    <a:pt x="32" y="138"/>
                  </a:lnTo>
                  <a:lnTo>
                    <a:pt x="36" y="138"/>
                  </a:lnTo>
                  <a:lnTo>
                    <a:pt x="42" y="136"/>
                  </a:lnTo>
                  <a:lnTo>
                    <a:pt x="46" y="136"/>
                  </a:lnTo>
                  <a:lnTo>
                    <a:pt x="49" y="136"/>
                  </a:lnTo>
                  <a:lnTo>
                    <a:pt x="46" y="136"/>
                  </a:lnTo>
                  <a:lnTo>
                    <a:pt x="46" y="132"/>
                  </a:lnTo>
                  <a:lnTo>
                    <a:pt x="44" y="130"/>
                  </a:lnTo>
                  <a:lnTo>
                    <a:pt x="42" y="130"/>
                  </a:lnTo>
                  <a:lnTo>
                    <a:pt x="40" y="129"/>
                  </a:lnTo>
                  <a:lnTo>
                    <a:pt x="42" y="130"/>
                  </a:lnTo>
                  <a:lnTo>
                    <a:pt x="46" y="130"/>
                  </a:lnTo>
                  <a:lnTo>
                    <a:pt x="49" y="132"/>
                  </a:lnTo>
                  <a:lnTo>
                    <a:pt x="51" y="132"/>
                  </a:lnTo>
                  <a:lnTo>
                    <a:pt x="51" y="132"/>
                  </a:lnTo>
                  <a:lnTo>
                    <a:pt x="51" y="129"/>
                  </a:lnTo>
                  <a:lnTo>
                    <a:pt x="51" y="127"/>
                  </a:lnTo>
                  <a:lnTo>
                    <a:pt x="51" y="125"/>
                  </a:lnTo>
                  <a:lnTo>
                    <a:pt x="51" y="123"/>
                  </a:lnTo>
                  <a:lnTo>
                    <a:pt x="49" y="119"/>
                  </a:lnTo>
                  <a:lnTo>
                    <a:pt x="49" y="117"/>
                  </a:lnTo>
                  <a:lnTo>
                    <a:pt x="51" y="119"/>
                  </a:lnTo>
                  <a:lnTo>
                    <a:pt x="55" y="123"/>
                  </a:lnTo>
                  <a:lnTo>
                    <a:pt x="57" y="125"/>
                  </a:lnTo>
                  <a:lnTo>
                    <a:pt x="59" y="127"/>
                  </a:lnTo>
                  <a:lnTo>
                    <a:pt x="59" y="125"/>
                  </a:lnTo>
                  <a:lnTo>
                    <a:pt x="59" y="121"/>
                  </a:lnTo>
                  <a:lnTo>
                    <a:pt x="59" y="123"/>
                  </a:lnTo>
                  <a:lnTo>
                    <a:pt x="61" y="127"/>
                  </a:lnTo>
                  <a:lnTo>
                    <a:pt x="63" y="127"/>
                  </a:lnTo>
                  <a:lnTo>
                    <a:pt x="63" y="123"/>
                  </a:lnTo>
                  <a:lnTo>
                    <a:pt x="61" y="121"/>
                  </a:lnTo>
                  <a:lnTo>
                    <a:pt x="63" y="117"/>
                  </a:lnTo>
                  <a:lnTo>
                    <a:pt x="64" y="119"/>
                  </a:lnTo>
                  <a:lnTo>
                    <a:pt x="68" y="121"/>
                  </a:lnTo>
                  <a:lnTo>
                    <a:pt x="70" y="123"/>
                  </a:lnTo>
                  <a:lnTo>
                    <a:pt x="72" y="125"/>
                  </a:lnTo>
                  <a:lnTo>
                    <a:pt x="76" y="123"/>
                  </a:lnTo>
                  <a:lnTo>
                    <a:pt x="76" y="125"/>
                  </a:lnTo>
                  <a:lnTo>
                    <a:pt x="76" y="123"/>
                  </a:lnTo>
                  <a:lnTo>
                    <a:pt x="76" y="125"/>
                  </a:lnTo>
                  <a:lnTo>
                    <a:pt x="76" y="127"/>
                  </a:lnTo>
                  <a:lnTo>
                    <a:pt x="80" y="129"/>
                  </a:lnTo>
                  <a:lnTo>
                    <a:pt x="83" y="130"/>
                  </a:lnTo>
                  <a:lnTo>
                    <a:pt x="91" y="132"/>
                  </a:lnTo>
                  <a:lnTo>
                    <a:pt x="95" y="132"/>
                  </a:lnTo>
                  <a:lnTo>
                    <a:pt x="98" y="136"/>
                  </a:lnTo>
                  <a:lnTo>
                    <a:pt x="98" y="142"/>
                  </a:lnTo>
                  <a:lnTo>
                    <a:pt x="104" y="149"/>
                  </a:lnTo>
                  <a:lnTo>
                    <a:pt x="104" y="151"/>
                  </a:lnTo>
                  <a:lnTo>
                    <a:pt x="108" y="153"/>
                  </a:lnTo>
                  <a:lnTo>
                    <a:pt x="110" y="155"/>
                  </a:lnTo>
                  <a:lnTo>
                    <a:pt x="110" y="157"/>
                  </a:lnTo>
                  <a:lnTo>
                    <a:pt x="119" y="166"/>
                  </a:lnTo>
                  <a:lnTo>
                    <a:pt x="119" y="168"/>
                  </a:lnTo>
                  <a:lnTo>
                    <a:pt x="123" y="170"/>
                  </a:lnTo>
                  <a:lnTo>
                    <a:pt x="128" y="172"/>
                  </a:lnTo>
                  <a:lnTo>
                    <a:pt x="128" y="172"/>
                  </a:lnTo>
                  <a:lnTo>
                    <a:pt x="132" y="172"/>
                  </a:lnTo>
                  <a:lnTo>
                    <a:pt x="134" y="174"/>
                  </a:lnTo>
                  <a:lnTo>
                    <a:pt x="140" y="172"/>
                  </a:lnTo>
                  <a:lnTo>
                    <a:pt x="144" y="174"/>
                  </a:lnTo>
                  <a:lnTo>
                    <a:pt x="147" y="174"/>
                  </a:lnTo>
                  <a:lnTo>
                    <a:pt x="153" y="174"/>
                  </a:lnTo>
                  <a:lnTo>
                    <a:pt x="157" y="176"/>
                  </a:lnTo>
                  <a:lnTo>
                    <a:pt x="159" y="176"/>
                  </a:lnTo>
                  <a:lnTo>
                    <a:pt x="162" y="178"/>
                  </a:lnTo>
                  <a:lnTo>
                    <a:pt x="164" y="178"/>
                  </a:lnTo>
                  <a:lnTo>
                    <a:pt x="166" y="179"/>
                  </a:lnTo>
                  <a:lnTo>
                    <a:pt x="162" y="181"/>
                  </a:lnTo>
                  <a:lnTo>
                    <a:pt x="166" y="181"/>
                  </a:lnTo>
                  <a:lnTo>
                    <a:pt x="172" y="185"/>
                  </a:lnTo>
                  <a:lnTo>
                    <a:pt x="176" y="181"/>
                  </a:lnTo>
                  <a:lnTo>
                    <a:pt x="177" y="181"/>
                  </a:lnTo>
                  <a:lnTo>
                    <a:pt x="172" y="178"/>
                  </a:lnTo>
                  <a:lnTo>
                    <a:pt x="170" y="178"/>
                  </a:lnTo>
                  <a:lnTo>
                    <a:pt x="170" y="176"/>
                  </a:lnTo>
                  <a:lnTo>
                    <a:pt x="174" y="176"/>
                  </a:lnTo>
                  <a:lnTo>
                    <a:pt x="177" y="176"/>
                  </a:lnTo>
                  <a:lnTo>
                    <a:pt x="181" y="174"/>
                  </a:lnTo>
                  <a:lnTo>
                    <a:pt x="174" y="172"/>
                  </a:lnTo>
                  <a:lnTo>
                    <a:pt x="164" y="172"/>
                  </a:lnTo>
                  <a:lnTo>
                    <a:pt x="162" y="168"/>
                  </a:lnTo>
                  <a:lnTo>
                    <a:pt x="159" y="166"/>
                  </a:lnTo>
                  <a:lnTo>
                    <a:pt x="162" y="164"/>
                  </a:lnTo>
                  <a:lnTo>
                    <a:pt x="166" y="164"/>
                  </a:lnTo>
                  <a:lnTo>
                    <a:pt x="168" y="162"/>
                  </a:lnTo>
                  <a:lnTo>
                    <a:pt x="164" y="162"/>
                  </a:lnTo>
                  <a:lnTo>
                    <a:pt x="159" y="162"/>
                  </a:lnTo>
                  <a:lnTo>
                    <a:pt x="153" y="161"/>
                  </a:lnTo>
                  <a:lnTo>
                    <a:pt x="151" y="161"/>
                  </a:lnTo>
                  <a:lnTo>
                    <a:pt x="151" y="157"/>
                  </a:lnTo>
                  <a:lnTo>
                    <a:pt x="153" y="155"/>
                  </a:lnTo>
                  <a:lnTo>
                    <a:pt x="153" y="153"/>
                  </a:lnTo>
                  <a:lnTo>
                    <a:pt x="151" y="149"/>
                  </a:lnTo>
                  <a:lnTo>
                    <a:pt x="149" y="149"/>
                  </a:lnTo>
                  <a:lnTo>
                    <a:pt x="147" y="151"/>
                  </a:lnTo>
                  <a:lnTo>
                    <a:pt x="145" y="151"/>
                  </a:lnTo>
                  <a:lnTo>
                    <a:pt x="144" y="151"/>
                  </a:lnTo>
                  <a:lnTo>
                    <a:pt x="140" y="147"/>
                  </a:lnTo>
                  <a:lnTo>
                    <a:pt x="138" y="142"/>
                  </a:lnTo>
                  <a:lnTo>
                    <a:pt x="138" y="140"/>
                  </a:lnTo>
                  <a:lnTo>
                    <a:pt x="132" y="132"/>
                  </a:lnTo>
                  <a:lnTo>
                    <a:pt x="132" y="132"/>
                  </a:lnTo>
                  <a:lnTo>
                    <a:pt x="128" y="129"/>
                  </a:lnTo>
                  <a:lnTo>
                    <a:pt x="125" y="129"/>
                  </a:lnTo>
                  <a:lnTo>
                    <a:pt x="123" y="129"/>
                  </a:lnTo>
                  <a:lnTo>
                    <a:pt x="121" y="123"/>
                  </a:lnTo>
                  <a:lnTo>
                    <a:pt x="117" y="119"/>
                  </a:lnTo>
                  <a:lnTo>
                    <a:pt x="117" y="115"/>
                  </a:lnTo>
                  <a:lnTo>
                    <a:pt x="113" y="112"/>
                  </a:lnTo>
                  <a:lnTo>
                    <a:pt x="113" y="108"/>
                  </a:lnTo>
                  <a:lnTo>
                    <a:pt x="113" y="108"/>
                  </a:lnTo>
                  <a:lnTo>
                    <a:pt x="119" y="108"/>
                  </a:lnTo>
                  <a:lnTo>
                    <a:pt x="125" y="106"/>
                  </a:lnTo>
                  <a:lnTo>
                    <a:pt x="128" y="102"/>
                  </a:lnTo>
                  <a:lnTo>
                    <a:pt x="128" y="98"/>
                  </a:lnTo>
                  <a:lnTo>
                    <a:pt x="123" y="93"/>
                  </a:lnTo>
                  <a:lnTo>
                    <a:pt x="119" y="91"/>
                  </a:lnTo>
                  <a:lnTo>
                    <a:pt x="117" y="93"/>
                  </a:lnTo>
                  <a:lnTo>
                    <a:pt x="113" y="91"/>
                  </a:lnTo>
                  <a:lnTo>
                    <a:pt x="108" y="87"/>
                  </a:lnTo>
                  <a:lnTo>
                    <a:pt x="104" y="83"/>
                  </a:lnTo>
                  <a:lnTo>
                    <a:pt x="100" y="83"/>
                  </a:lnTo>
                  <a:lnTo>
                    <a:pt x="91" y="83"/>
                  </a:lnTo>
                  <a:lnTo>
                    <a:pt x="89" y="80"/>
                  </a:lnTo>
                  <a:lnTo>
                    <a:pt x="93" y="76"/>
                  </a:lnTo>
                  <a:lnTo>
                    <a:pt x="93" y="72"/>
                  </a:lnTo>
                  <a:lnTo>
                    <a:pt x="89" y="68"/>
                  </a:lnTo>
                  <a:lnTo>
                    <a:pt x="83" y="63"/>
                  </a:lnTo>
                  <a:lnTo>
                    <a:pt x="83" y="63"/>
                  </a:lnTo>
                  <a:lnTo>
                    <a:pt x="80" y="63"/>
                  </a:lnTo>
                  <a:lnTo>
                    <a:pt x="80" y="59"/>
                  </a:lnTo>
                  <a:lnTo>
                    <a:pt x="76" y="59"/>
                  </a:lnTo>
                  <a:lnTo>
                    <a:pt x="74" y="55"/>
                  </a:lnTo>
                  <a:lnTo>
                    <a:pt x="70" y="55"/>
                  </a:lnTo>
                  <a:lnTo>
                    <a:pt x="68" y="51"/>
                  </a:lnTo>
                  <a:lnTo>
                    <a:pt x="66" y="53"/>
                  </a:lnTo>
                  <a:lnTo>
                    <a:pt x="63" y="51"/>
                  </a:lnTo>
                  <a:lnTo>
                    <a:pt x="59" y="49"/>
                  </a:lnTo>
                  <a:lnTo>
                    <a:pt x="55" y="48"/>
                  </a:lnTo>
                  <a:lnTo>
                    <a:pt x="51" y="46"/>
                  </a:lnTo>
                  <a:lnTo>
                    <a:pt x="44" y="44"/>
                  </a:lnTo>
                  <a:lnTo>
                    <a:pt x="34" y="40"/>
                  </a:lnTo>
                  <a:lnTo>
                    <a:pt x="31" y="38"/>
                  </a:lnTo>
                  <a:lnTo>
                    <a:pt x="27" y="38"/>
                  </a:lnTo>
                  <a:lnTo>
                    <a:pt x="25" y="38"/>
                  </a:lnTo>
                  <a:lnTo>
                    <a:pt x="25" y="38"/>
                  </a:lnTo>
                  <a:lnTo>
                    <a:pt x="19" y="34"/>
                  </a:lnTo>
                  <a:lnTo>
                    <a:pt x="17" y="34"/>
                  </a:lnTo>
                  <a:lnTo>
                    <a:pt x="14" y="31"/>
                  </a:lnTo>
                  <a:lnTo>
                    <a:pt x="6" y="31"/>
                  </a:lnTo>
                  <a:lnTo>
                    <a:pt x="2" y="29"/>
                  </a:lnTo>
                  <a:lnTo>
                    <a:pt x="2" y="29"/>
                  </a:lnTo>
                  <a:lnTo>
                    <a:pt x="2" y="29"/>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3" name="Freeform 194">
              <a:extLst>
                <a:ext uri="{FF2B5EF4-FFF2-40B4-BE49-F238E27FC236}">
                  <a16:creationId xmlns:a16="http://schemas.microsoft.com/office/drawing/2014/main" id="{7476AAFD-EE07-4741-9E6D-30013A994598}"/>
                </a:ext>
              </a:extLst>
            </p:cNvPr>
            <p:cNvSpPr>
              <a:spLocks noEditPoints="1"/>
            </p:cNvSpPr>
            <p:nvPr/>
          </p:nvSpPr>
          <p:spPr bwMode="auto">
            <a:xfrm>
              <a:off x="7633975" y="2896201"/>
              <a:ext cx="723630" cy="255415"/>
            </a:xfrm>
            <a:custGeom>
              <a:avLst/>
              <a:gdLst/>
              <a:ahLst/>
              <a:cxnLst>
                <a:cxn ang="0">
                  <a:pos x="803" y="256"/>
                </a:cxn>
                <a:cxn ang="0">
                  <a:pos x="728" y="199"/>
                </a:cxn>
                <a:cxn ang="0">
                  <a:pos x="704" y="173"/>
                </a:cxn>
                <a:cxn ang="0">
                  <a:pos x="715" y="137"/>
                </a:cxn>
                <a:cxn ang="0">
                  <a:pos x="777" y="158"/>
                </a:cxn>
                <a:cxn ang="0">
                  <a:pos x="655" y="132"/>
                </a:cxn>
                <a:cxn ang="0">
                  <a:pos x="564" y="60"/>
                </a:cxn>
                <a:cxn ang="0">
                  <a:pos x="609" y="133"/>
                </a:cxn>
                <a:cxn ang="0">
                  <a:pos x="615" y="98"/>
                </a:cxn>
                <a:cxn ang="0">
                  <a:pos x="594" y="137"/>
                </a:cxn>
                <a:cxn ang="0">
                  <a:pos x="619" y="194"/>
                </a:cxn>
                <a:cxn ang="0">
                  <a:pos x="606" y="182"/>
                </a:cxn>
                <a:cxn ang="0">
                  <a:pos x="589" y="186"/>
                </a:cxn>
                <a:cxn ang="0">
                  <a:pos x="568" y="173"/>
                </a:cxn>
                <a:cxn ang="0">
                  <a:pos x="506" y="229"/>
                </a:cxn>
                <a:cxn ang="0">
                  <a:pos x="498" y="226"/>
                </a:cxn>
                <a:cxn ang="0">
                  <a:pos x="519" y="150"/>
                </a:cxn>
                <a:cxn ang="0">
                  <a:pos x="498" y="118"/>
                </a:cxn>
                <a:cxn ang="0">
                  <a:pos x="483" y="103"/>
                </a:cxn>
                <a:cxn ang="0">
                  <a:pos x="444" y="194"/>
                </a:cxn>
                <a:cxn ang="0">
                  <a:pos x="485" y="203"/>
                </a:cxn>
                <a:cxn ang="0">
                  <a:pos x="498" y="182"/>
                </a:cxn>
                <a:cxn ang="0">
                  <a:pos x="461" y="143"/>
                </a:cxn>
                <a:cxn ang="0">
                  <a:pos x="461" y="24"/>
                </a:cxn>
                <a:cxn ang="0">
                  <a:pos x="389" y="197"/>
                </a:cxn>
                <a:cxn ang="0">
                  <a:pos x="261" y="141"/>
                </a:cxn>
                <a:cxn ang="0">
                  <a:pos x="374" y="69"/>
                </a:cxn>
                <a:cxn ang="0">
                  <a:pos x="438" y="107"/>
                </a:cxn>
                <a:cxn ang="0">
                  <a:pos x="389" y="175"/>
                </a:cxn>
                <a:cxn ang="0">
                  <a:pos x="310" y="186"/>
                </a:cxn>
                <a:cxn ang="0">
                  <a:pos x="261" y="130"/>
                </a:cxn>
                <a:cxn ang="0">
                  <a:pos x="745" y="156"/>
                </a:cxn>
                <a:cxn ang="0">
                  <a:pos x="730" y="252"/>
                </a:cxn>
                <a:cxn ang="0">
                  <a:pos x="719" y="241"/>
                </a:cxn>
                <a:cxn ang="0">
                  <a:pos x="728" y="229"/>
                </a:cxn>
                <a:cxn ang="0">
                  <a:pos x="658" y="267"/>
                </a:cxn>
                <a:cxn ang="0">
                  <a:pos x="641" y="243"/>
                </a:cxn>
                <a:cxn ang="0">
                  <a:pos x="623" y="284"/>
                </a:cxn>
                <a:cxn ang="0">
                  <a:pos x="515" y="324"/>
                </a:cxn>
                <a:cxn ang="0">
                  <a:pos x="510" y="327"/>
                </a:cxn>
                <a:cxn ang="0">
                  <a:pos x="432" y="309"/>
                </a:cxn>
                <a:cxn ang="0">
                  <a:pos x="562" y="275"/>
                </a:cxn>
                <a:cxn ang="0">
                  <a:pos x="519" y="284"/>
                </a:cxn>
                <a:cxn ang="0">
                  <a:pos x="498" y="288"/>
                </a:cxn>
                <a:cxn ang="0">
                  <a:pos x="444" y="288"/>
                </a:cxn>
                <a:cxn ang="0">
                  <a:pos x="410" y="282"/>
                </a:cxn>
                <a:cxn ang="0">
                  <a:pos x="368" y="292"/>
                </a:cxn>
                <a:cxn ang="0">
                  <a:pos x="807" y="275"/>
                </a:cxn>
                <a:cxn ang="0">
                  <a:pos x="188" y="254"/>
                </a:cxn>
                <a:cxn ang="0">
                  <a:pos x="331" y="273"/>
                </a:cxn>
                <a:cxn ang="0">
                  <a:pos x="222" y="267"/>
                </a:cxn>
                <a:cxn ang="0">
                  <a:pos x="207" y="60"/>
                </a:cxn>
                <a:cxn ang="0">
                  <a:pos x="171" y="103"/>
                </a:cxn>
                <a:cxn ang="0">
                  <a:pos x="218" y="182"/>
                </a:cxn>
                <a:cxn ang="0">
                  <a:pos x="173" y="137"/>
                </a:cxn>
                <a:cxn ang="0">
                  <a:pos x="118" y="88"/>
                </a:cxn>
                <a:cxn ang="0">
                  <a:pos x="71" y="160"/>
                </a:cxn>
                <a:cxn ang="0">
                  <a:pos x="35" y="100"/>
                </a:cxn>
                <a:cxn ang="0">
                  <a:pos x="64" y="94"/>
                </a:cxn>
                <a:cxn ang="0">
                  <a:pos x="184" y="235"/>
                </a:cxn>
                <a:cxn ang="0">
                  <a:pos x="148" y="133"/>
                </a:cxn>
                <a:cxn ang="0">
                  <a:pos x="54" y="49"/>
                </a:cxn>
              </a:cxnLst>
              <a:rect l="0" t="0" r="r" b="b"/>
              <a:pathLst>
                <a:path w="848" h="333">
                  <a:moveTo>
                    <a:pt x="848" y="175"/>
                  </a:moveTo>
                  <a:lnTo>
                    <a:pt x="847" y="245"/>
                  </a:lnTo>
                  <a:lnTo>
                    <a:pt x="845" y="250"/>
                  </a:lnTo>
                  <a:lnTo>
                    <a:pt x="845" y="252"/>
                  </a:lnTo>
                  <a:lnTo>
                    <a:pt x="847" y="254"/>
                  </a:lnTo>
                  <a:lnTo>
                    <a:pt x="845" y="299"/>
                  </a:lnTo>
                  <a:lnTo>
                    <a:pt x="843" y="299"/>
                  </a:lnTo>
                  <a:lnTo>
                    <a:pt x="841" y="297"/>
                  </a:lnTo>
                  <a:lnTo>
                    <a:pt x="835" y="292"/>
                  </a:lnTo>
                  <a:lnTo>
                    <a:pt x="832" y="288"/>
                  </a:lnTo>
                  <a:lnTo>
                    <a:pt x="832" y="288"/>
                  </a:lnTo>
                  <a:lnTo>
                    <a:pt x="828" y="284"/>
                  </a:lnTo>
                  <a:lnTo>
                    <a:pt x="828" y="284"/>
                  </a:lnTo>
                  <a:lnTo>
                    <a:pt x="828" y="280"/>
                  </a:lnTo>
                  <a:lnTo>
                    <a:pt x="828" y="278"/>
                  </a:lnTo>
                  <a:lnTo>
                    <a:pt x="828" y="273"/>
                  </a:lnTo>
                  <a:lnTo>
                    <a:pt x="828" y="278"/>
                  </a:lnTo>
                  <a:lnTo>
                    <a:pt x="826" y="280"/>
                  </a:lnTo>
                  <a:lnTo>
                    <a:pt x="820" y="278"/>
                  </a:lnTo>
                  <a:lnTo>
                    <a:pt x="816" y="280"/>
                  </a:lnTo>
                  <a:lnTo>
                    <a:pt x="813" y="280"/>
                  </a:lnTo>
                  <a:lnTo>
                    <a:pt x="813" y="278"/>
                  </a:lnTo>
                  <a:lnTo>
                    <a:pt x="807" y="282"/>
                  </a:lnTo>
                  <a:lnTo>
                    <a:pt x="807" y="278"/>
                  </a:lnTo>
                  <a:lnTo>
                    <a:pt x="807" y="278"/>
                  </a:lnTo>
                  <a:lnTo>
                    <a:pt x="807" y="275"/>
                  </a:lnTo>
                  <a:lnTo>
                    <a:pt x="807" y="273"/>
                  </a:lnTo>
                  <a:lnTo>
                    <a:pt x="809" y="271"/>
                  </a:lnTo>
                  <a:lnTo>
                    <a:pt x="809" y="265"/>
                  </a:lnTo>
                  <a:lnTo>
                    <a:pt x="807" y="265"/>
                  </a:lnTo>
                  <a:lnTo>
                    <a:pt x="807" y="263"/>
                  </a:lnTo>
                  <a:lnTo>
                    <a:pt x="807" y="263"/>
                  </a:lnTo>
                  <a:lnTo>
                    <a:pt x="809" y="263"/>
                  </a:lnTo>
                  <a:lnTo>
                    <a:pt x="813" y="263"/>
                  </a:lnTo>
                  <a:lnTo>
                    <a:pt x="815" y="260"/>
                  </a:lnTo>
                  <a:lnTo>
                    <a:pt x="813" y="260"/>
                  </a:lnTo>
                  <a:lnTo>
                    <a:pt x="807" y="260"/>
                  </a:lnTo>
                  <a:lnTo>
                    <a:pt x="807" y="260"/>
                  </a:lnTo>
                  <a:lnTo>
                    <a:pt x="803" y="258"/>
                  </a:lnTo>
                  <a:lnTo>
                    <a:pt x="803" y="256"/>
                  </a:lnTo>
                  <a:lnTo>
                    <a:pt x="803" y="256"/>
                  </a:lnTo>
                  <a:lnTo>
                    <a:pt x="807" y="256"/>
                  </a:lnTo>
                  <a:lnTo>
                    <a:pt x="807" y="254"/>
                  </a:lnTo>
                  <a:lnTo>
                    <a:pt x="801" y="250"/>
                  </a:lnTo>
                  <a:lnTo>
                    <a:pt x="800" y="248"/>
                  </a:lnTo>
                  <a:lnTo>
                    <a:pt x="798" y="245"/>
                  </a:lnTo>
                  <a:lnTo>
                    <a:pt x="798" y="241"/>
                  </a:lnTo>
                  <a:lnTo>
                    <a:pt x="794" y="239"/>
                  </a:lnTo>
                  <a:lnTo>
                    <a:pt x="794" y="235"/>
                  </a:lnTo>
                  <a:lnTo>
                    <a:pt x="798" y="233"/>
                  </a:lnTo>
                  <a:lnTo>
                    <a:pt x="794" y="233"/>
                  </a:lnTo>
                  <a:lnTo>
                    <a:pt x="792" y="231"/>
                  </a:lnTo>
                  <a:lnTo>
                    <a:pt x="794" y="231"/>
                  </a:lnTo>
                  <a:lnTo>
                    <a:pt x="792" y="229"/>
                  </a:lnTo>
                  <a:lnTo>
                    <a:pt x="794" y="226"/>
                  </a:lnTo>
                  <a:lnTo>
                    <a:pt x="790" y="228"/>
                  </a:lnTo>
                  <a:lnTo>
                    <a:pt x="788" y="226"/>
                  </a:lnTo>
                  <a:lnTo>
                    <a:pt x="786" y="226"/>
                  </a:lnTo>
                  <a:lnTo>
                    <a:pt x="784" y="226"/>
                  </a:lnTo>
                  <a:lnTo>
                    <a:pt x="788" y="222"/>
                  </a:lnTo>
                  <a:lnTo>
                    <a:pt x="784" y="224"/>
                  </a:lnTo>
                  <a:lnTo>
                    <a:pt x="783" y="224"/>
                  </a:lnTo>
                  <a:lnTo>
                    <a:pt x="777" y="222"/>
                  </a:lnTo>
                  <a:lnTo>
                    <a:pt x="777" y="218"/>
                  </a:lnTo>
                  <a:lnTo>
                    <a:pt x="771" y="216"/>
                  </a:lnTo>
                  <a:lnTo>
                    <a:pt x="768" y="216"/>
                  </a:lnTo>
                  <a:lnTo>
                    <a:pt x="756" y="214"/>
                  </a:lnTo>
                  <a:lnTo>
                    <a:pt x="747" y="211"/>
                  </a:lnTo>
                  <a:lnTo>
                    <a:pt x="741" y="211"/>
                  </a:lnTo>
                  <a:lnTo>
                    <a:pt x="736" y="209"/>
                  </a:lnTo>
                  <a:lnTo>
                    <a:pt x="736" y="207"/>
                  </a:lnTo>
                  <a:lnTo>
                    <a:pt x="734" y="205"/>
                  </a:lnTo>
                  <a:lnTo>
                    <a:pt x="730" y="205"/>
                  </a:lnTo>
                  <a:lnTo>
                    <a:pt x="730" y="201"/>
                  </a:lnTo>
                  <a:lnTo>
                    <a:pt x="734" y="201"/>
                  </a:lnTo>
                  <a:lnTo>
                    <a:pt x="736" y="201"/>
                  </a:lnTo>
                  <a:lnTo>
                    <a:pt x="734" y="201"/>
                  </a:lnTo>
                  <a:lnTo>
                    <a:pt x="732" y="199"/>
                  </a:lnTo>
                  <a:lnTo>
                    <a:pt x="728" y="201"/>
                  </a:lnTo>
                  <a:lnTo>
                    <a:pt x="728" y="199"/>
                  </a:lnTo>
                  <a:lnTo>
                    <a:pt x="724" y="199"/>
                  </a:lnTo>
                  <a:lnTo>
                    <a:pt x="724" y="197"/>
                  </a:lnTo>
                  <a:lnTo>
                    <a:pt x="722" y="199"/>
                  </a:lnTo>
                  <a:lnTo>
                    <a:pt x="722" y="196"/>
                  </a:lnTo>
                  <a:lnTo>
                    <a:pt x="719" y="196"/>
                  </a:lnTo>
                  <a:lnTo>
                    <a:pt x="719" y="196"/>
                  </a:lnTo>
                  <a:lnTo>
                    <a:pt x="719" y="197"/>
                  </a:lnTo>
                  <a:lnTo>
                    <a:pt x="715" y="196"/>
                  </a:lnTo>
                  <a:lnTo>
                    <a:pt x="715" y="190"/>
                  </a:lnTo>
                  <a:lnTo>
                    <a:pt x="713" y="186"/>
                  </a:lnTo>
                  <a:lnTo>
                    <a:pt x="715" y="184"/>
                  </a:lnTo>
                  <a:lnTo>
                    <a:pt x="715" y="181"/>
                  </a:lnTo>
                  <a:lnTo>
                    <a:pt x="713" y="184"/>
                  </a:lnTo>
                  <a:lnTo>
                    <a:pt x="713" y="186"/>
                  </a:lnTo>
                  <a:lnTo>
                    <a:pt x="711" y="190"/>
                  </a:lnTo>
                  <a:lnTo>
                    <a:pt x="709" y="190"/>
                  </a:lnTo>
                  <a:lnTo>
                    <a:pt x="707" y="196"/>
                  </a:lnTo>
                  <a:lnTo>
                    <a:pt x="707" y="199"/>
                  </a:lnTo>
                  <a:lnTo>
                    <a:pt x="704" y="203"/>
                  </a:lnTo>
                  <a:lnTo>
                    <a:pt x="700" y="205"/>
                  </a:lnTo>
                  <a:lnTo>
                    <a:pt x="698" y="203"/>
                  </a:lnTo>
                  <a:lnTo>
                    <a:pt x="694" y="197"/>
                  </a:lnTo>
                  <a:lnTo>
                    <a:pt x="694" y="194"/>
                  </a:lnTo>
                  <a:lnTo>
                    <a:pt x="694" y="194"/>
                  </a:lnTo>
                  <a:lnTo>
                    <a:pt x="698" y="192"/>
                  </a:lnTo>
                  <a:lnTo>
                    <a:pt x="694" y="190"/>
                  </a:lnTo>
                  <a:lnTo>
                    <a:pt x="694" y="190"/>
                  </a:lnTo>
                  <a:lnTo>
                    <a:pt x="690" y="190"/>
                  </a:lnTo>
                  <a:lnTo>
                    <a:pt x="690" y="184"/>
                  </a:lnTo>
                  <a:lnTo>
                    <a:pt x="687" y="182"/>
                  </a:lnTo>
                  <a:lnTo>
                    <a:pt x="683" y="182"/>
                  </a:lnTo>
                  <a:lnTo>
                    <a:pt x="681" y="181"/>
                  </a:lnTo>
                  <a:lnTo>
                    <a:pt x="683" y="177"/>
                  </a:lnTo>
                  <a:lnTo>
                    <a:pt x="688" y="177"/>
                  </a:lnTo>
                  <a:lnTo>
                    <a:pt x="690" y="179"/>
                  </a:lnTo>
                  <a:lnTo>
                    <a:pt x="694" y="179"/>
                  </a:lnTo>
                  <a:lnTo>
                    <a:pt x="694" y="181"/>
                  </a:lnTo>
                  <a:lnTo>
                    <a:pt x="700" y="179"/>
                  </a:lnTo>
                  <a:lnTo>
                    <a:pt x="700" y="173"/>
                  </a:lnTo>
                  <a:lnTo>
                    <a:pt x="704" y="173"/>
                  </a:lnTo>
                  <a:lnTo>
                    <a:pt x="709" y="175"/>
                  </a:lnTo>
                  <a:lnTo>
                    <a:pt x="711" y="179"/>
                  </a:lnTo>
                  <a:lnTo>
                    <a:pt x="713" y="175"/>
                  </a:lnTo>
                  <a:lnTo>
                    <a:pt x="715" y="173"/>
                  </a:lnTo>
                  <a:lnTo>
                    <a:pt x="715" y="173"/>
                  </a:lnTo>
                  <a:lnTo>
                    <a:pt x="719" y="169"/>
                  </a:lnTo>
                  <a:lnTo>
                    <a:pt x="715" y="165"/>
                  </a:lnTo>
                  <a:lnTo>
                    <a:pt x="707" y="165"/>
                  </a:lnTo>
                  <a:lnTo>
                    <a:pt x="709" y="167"/>
                  </a:lnTo>
                  <a:lnTo>
                    <a:pt x="705" y="167"/>
                  </a:lnTo>
                  <a:lnTo>
                    <a:pt x="704" y="167"/>
                  </a:lnTo>
                  <a:lnTo>
                    <a:pt x="698" y="169"/>
                  </a:lnTo>
                  <a:lnTo>
                    <a:pt x="698" y="167"/>
                  </a:lnTo>
                  <a:lnTo>
                    <a:pt x="694" y="169"/>
                  </a:lnTo>
                  <a:lnTo>
                    <a:pt x="690" y="167"/>
                  </a:lnTo>
                  <a:lnTo>
                    <a:pt x="688" y="167"/>
                  </a:lnTo>
                  <a:lnTo>
                    <a:pt x="685" y="167"/>
                  </a:lnTo>
                  <a:lnTo>
                    <a:pt x="681" y="165"/>
                  </a:lnTo>
                  <a:lnTo>
                    <a:pt x="681" y="162"/>
                  </a:lnTo>
                  <a:lnTo>
                    <a:pt x="681" y="160"/>
                  </a:lnTo>
                  <a:lnTo>
                    <a:pt x="679" y="156"/>
                  </a:lnTo>
                  <a:lnTo>
                    <a:pt x="673" y="154"/>
                  </a:lnTo>
                  <a:lnTo>
                    <a:pt x="673" y="150"/>
                  </a:lnTo>
                  <a:lnTo>
                    <a:pt x="670" y="152"/>
                  </a:lnTo>
                  <a:lnTo>
                    <a:pt x="670" y="154"/>
                  </a:lnTo>
                  <a:lnTo>
                    <a:pt x="664" y="154"/>
                  </a:lnTo>
                  <a:lnTo>
                    <a:pt x="664" y="152"/>
                  </a:lnTo>
                  <a:lnTo>
                    <a:pt x="670" y="148"/>
                  </a:lnTo>
                  <a:lnTo>
                    <a:pt x="670" y="145"/>
                  </a:lnTo>
                  <a:lnTo>
                    <a:pt x="670" y="143"/>
                  </a:lnTo>
                  <a:lnTo>
                    <a:pt x="670" y="141"/>
                  </a:lnTo>
                  <a:lnTo>
                    <a:pt x="675" y="141"/>
                  </a:lnTo>
                  <a:lnTo>
                    <a:pt x="677" y="137"/>
                  </a:lnTo>
                  <a:lnTo>
                    <a:pt x="681" y="137"/>
                  </a:lnTo>
                  <a:lnTo>
                    <a:pt x="687" y="133"/>
                  </a:lnTo>
                  <a:lnTo>
                    <a:pt x="688" y="133"/>
                  </a:lnTo>
                  <a:lnTo>
                    <a:pt x="694" y="132"/>
                  </a:lnTo>
                  <a:lnTo>
                    <a:pt x="702" y="133"/>
                  </a:lnTo>
                  <a:lnTo>
                    <a:pt x="709" y="141"/>
                  </a:lnTo>
                  <a:lnTo>
                    <a:pt x="715" y="137"/>
                  </a:lnTo>
                  <a:lnTo>
                    <a:pt x="719" y="141"/>
                  </a:lnTo>
                  <a:lnTo>
                    <a:pt x="722" y="141"/>
                  </a:lnTo>
                  <a:lnTo>
                    <a:pt x="722" y="143"/>
                  </a:lnTo>
                  <a:lnTo>
                    <a:pt x="722" y="147"/>
                  </a:lnTo>
                  <a:lnTo>
                    <a:pt x="724" y="150"/>
                  </a:lnTo>
                  <a:lnTo>
                    <a:pt x="724" y="154"/>
                  </a:lnTo>
                  <a:lnTo>
                    <a:pt x="724" y="158"/>
                  </a:lnTo>
                  <a:lnTo>
                    <a:pt x="722" y="162"/>
                  </a:lnTo>
                  <a:lnTo>
                    <a:pt x="722" y="165"/>
                  </a:lnTo>
                  <a:lnTo>
                    <a:pt x="724" y="173"/>
                  </a:lnTo>
                  <a:lnTo>
                    <a:pt x="724" y="179"/>
                  </a:lnTo>
                  <a:lnTo>
                    <a:pt x="728" y="181"/>
                  </a:lnTo>
                  <a:lnTo>
                    <a:pt x="728" y="181"/>
                  </a:lnTo>
                  <a:lnTo>
                    <a:pt x="728" y="175"/>
                  </a:lnTo>
                  <a:lnTo>
                    <a:pt x="730" y="173"/>
                  </a:lnTo>
                  <a:lnTo>
                    <a:pt x="732" y="175"/>
                  </a:lnTo>
                  <a:lnTo>
                    <a:pt x="732" y="179"/>
                  </a:lnTo>
                  <a:lnTo>
                    <a:pt x="734" y="182"/>
                  </a:lnTo>
                  <a:lnTo>
                    <a:pt x="734" y="182"/>
                  </a:lnTo>
                  <a:lnTo>
                    <a:pt x="736" y="186"/>
                  </a:lnTo>
                  <a:lnTo>
                    <a:pt x="739" y="190"/>
                  </a:lnTo>
                  <a:lnTo>
                    <a:pt x="741" y="190"/>
                  </a:lnTo>
                  <a:lnTo>
                    <a:pt x="745" y="190"/>
                  </a:lnTo>
                  <a:lnTo>
                    <a:pt x="749" y="190"/>
                  </a:lnTo>
                  <a:lnTo>
                    <a:pt x="749" y="186"/>
                  </a:lnTo>
                  <a:lnTo>
                    <a:pt x="752" y="184"/>
                  </a:lnTo>
                  <a:lnTo>
                    <a:pt x="752" y="184"/>
                  </a:lnTo>
                  <a:lnTo>
                    <a:pt x="752" y="179"/>
                  </a:lnTo>
                  <a:lnTo>
                    <a:pt x="754" y="175"/>
                  </a:lnTo>
                  <a:lnTo>
                    <a:pt x="758" y="175"/>
                  </a:lnTo>
                  <a:lnTo>
                    <a:pt x="762" y="173"/>
                  </a:lnTo>
                  <a:lnTo>
                    <a:pt x="764" y="169"/>
                  </a:lnTo>
                  <a:lnTo>
                    <a:pt x="764" y="167"/>
                  </a:lnTo>
                  <a:lnTo>
                    <a:pt x="766" y="167"/>
                  </a:lnTo>
                  <a:lnTo>
                    <a:pt x="769" y="167"/>
                  </a:lnTo>
                  <a:lnTo>
                    <a:pt x="773" y="165"/>
                  </a:lnTo>
                  <a:lnTo>
                    <a:pt x="777" y="165"/>
                  </a:lnTo>
                  <a:lnTo>
                    <a:pt x="777" y="162"/>
                  </a:lnTo>
                  <a:lnTo>
                    <a:pt x="777" y="160"/>
                  </a:lnTo>
                  <a:lnTo>
                    <a:pt x="777" y="158"/>
                  </a:lnTo>
                  <a:lnTo>
                    <a:pt x="786" y="152"/>
                  </a:lnTo>
                  <a:lnTo>
                    <a:pt x="790" y="154"/>
                  </a:lnTo>
                  <a:lnTo>
                    <a:pt x="794" y="156"/>
                  </a:lnTo>
                  <a:lnTo>
                    <a:pt x="800" y="160"/>
                  </a:lnTo>
                  <a:lnTo>
                    <a:pt x="807" y="160"/>
                  </a:lnTo>
                  <a:lnTo>
                    <a:pt x="809" y="162"/>
                  </a:lnTo>
                  <a:lnTo>
                    <a:pt x="813" y="162"/>
                  </a:lnTo>
                  <a:lnTo>
                    <a:pt x="816" y="165"/>
                  </a:lnTo>
                  <a:lnTo>
                    <a:pt x="828" y="169"/>
                  </a:lnTo>
                  <a:lnTo>
                    <a:pt x="832" y="169"/>
                  </a:lnTo>
                  <a:lnTo>
                    <a:pt x="832" y="169"/>
                  </a:lnTo>
                  <a:lnTo>
                    <a:pt x="837" y="169"/>
                  </a:lnTo>
                  <a:lnTo>
                    <a:pt x="841" y="169"/>
                  </a:lnTo>
                  <a:lnTo>
                    <a:pt x="843" y="171"/>
                  </a:lnTo>
                  <a:lnTo>
                    <a:pt x="843" y="173"/>
                  </a:lnTo>
                  <a:lnTo>
                    <a:pt x="843" y="175"/>
                  </a:lnTo>
                  <a:lnTo>
                    <a:pt x="847" y="177"/>
                  </a:lnTo>
                  <a:lnTo>
                    <a:pt x="848" y="175"/>
                  </a:lnTo>
                  <a:lnTo>
                    <a:pt x="848" y="175"/>
                  </a:lnTo>
                  <a:lnTo>
                    <a:pt x="848" y="175"/>
                  </a:lnTo>
                  <a:lnTo>
                    <a:pt x="848" y="175"/>
                  </a:lnTo>
                  <a:lnTo>
                    <a:pt x="848" y="175"/>
                  </a:lnTo>
                  <a:close/>
                  <a:moveTo>
                    <a:pt x="630" y="124"/>
                  </a:moveTo>
                  <a:lnTo>
                    <a:pt x="636" y="128"/>
                  </a:lnTo>
                  <a:lnTo>
                    <a:pt x="636" y="130"/>
                  </a:lnTo>
                  <a:lnTo>
                    <a:pt x="632" y="128"/>
                  </a:lnTo>
                  <a:lnTo>
                    <a:pt x="630" y="124"/>
                  </a:lnTo>
                  <a:lnTo>
                    <a:pt x="630" y="124"/>
                  </a:lnTo>
                  <a:lnTo>
                    <a:pt x="630" y="124"/>
                  </a:lnTo>
                  <a:lnTo>
                    <a:pt x="630" y="124"/>
                  </a:lnTo>
                  <a:close/>
                  <a:moveTo>
                    <a:pt x="666" y="133"/>
                  </a:moveTo>
                  <a:lnTo>
                    <a:pt x="670" y="133"/>
                  </a:lnTo>
                  <a:lnTo>
                    <a:pt x="673" y="132"/>
                  </a:lnTo>
                  <a:lnTo>
                    <a:pt x="670" y="130"/>
                  </a:lnTo>
                  <a:lnTo>
                    <a:pt x="666" y="126"/>
                  </a:lnTo>
                  <a:lnTo>
                    <a:pt x="660" y="126"/>
                  </a:lnTo>
                  <a:lnTo>
                    <a:pt x="658" y="130"/>
                  </a:lnTo>
                  <a:lnTo>
                    <a:pt x="655" y="130"/>
                  </a:lnTo>
                  <a:lnTo>
                    <a:pt x="653" y="130"/>
                  </a:lnTo>
                  <a:lnTo>
                    <a:pt x="655" y="132"/>
                  </a:lnTo>
                  <a:lnTo>
                    <a:pt x="651" y="132"/>
                  </a:lnTo>
                  <a:lnTo>
                    <a:pt x="656" y="133"/>
                  </a:lnTo>
                  <a:lnTo>
                    <a:pt x="660" y="133"/>
                  </a:lnTo>
                  <a:lnTo>
                    <a:pt x="664" y="133"/>
                  </a:lnTo>
                  <a:lnTo>
                    <a:pt x="664" y="132"/>
                  </a:lnTo>
                  <a:lnTo>
                    <a:pt x="660" y="132"/>
                  </a:lnTo>
                  <a:lnTo>
                    <a:pt x="660" y="130"/>
                  </a:lnTo>
                  <a:lnTo>
                    <a:pt x="660" y="130"/>
                  </a:lnTo>
                  <a:lnTo>
                    <a:pt x="666" y="133"/>
                  </a:lnTo>
                  <a:lnTo>
                    <a:pt x="666" y="133"/>
                  </a:lnTo>
                  <a:lnTo>
                    <a:pt x="666" y="133"/>
                  </a:lnTo>
                  <a:lnTo>
                    <a:pt x="666" y="133"/>
                  </a:lnTo>
                  <a:close/>
                  <a:moveTo>
                    <a:pt x="660" y="143"/>
                  </a:moveTo>
                  <a:lnTo>
                    <a:pt x="656" y="141"/>
                  </a:lnTo>
                  <a:lnTo>
                    <a:pt x="653" y="141"/>
                  </a:lnTo>
                  <a:lnTo>
                    <a:pt x="656" y="143"/>
                  </a:lnTo>
                  <a:lnTo>
                    <a:pt x="660" y="143"/>
                  </a:lnTo>
                  <a:lnTo>
                    <a:pt x="660" y="143"/>
                  </a:lnTo>
                  <a:lnTo>
                    <a:pt x="660" y="143"/>
                  </a:lnTo>
                  <a:lnTo>
                    <a:pt x="660" y="143"/>
                  </a:lnTo>
                  <a:close/>
                  <a:moveTo>
                    <a:pt x="664" y="141"/>
                  </a:moveTo>
                  <a:lnTo>
                    <a:pt x="660" y="143"/>
                  </a:lnTo>
                  <a:lnTo>
                    <a:pt x="660" y="141"/>
                  </a:lnTo>
                  <a:lnTo>
                    <a:pt x="664" y="141"/>
                  </a:lnTo>
                  <a:lnTo>
                    <a:pt x="664" y="141"/>
                  </a:lnTo>
                  <a:lnTo>
                    <a:pt x="664" y="141"/>
                  </a:lnTo>
                  <a:lnTo>
                    <a:pt x="664" y="141"/>
                  </a:lnTo>
                  <a:close/>
                  <a:moveTo>
                    <a:pt x="660" y="143"/>
                  </a:moveTo>
                  <a:lnTo>
                    <a:pt x="658" y="145"/>
                  </a:lnTo>
                  <a:lnTo>
                    <a:pt x="658" y="150"/>
                  </a:lnTo>
                  <a:lnTo>
                    <a:pt x="660" y="152"/>
                  </a:lnTo>
                  <a:lnTo>
                    <a:pt x="664" y="150"/>
                  </a:lnTo>
                  <a:lnTo>
                    <a:pt x="664" y="143"/>
                  </a:lnTo>
                  <a:lnTo>
                    <a:pt x="660" y="143"/>
                  </a:lnTo>
                  <a:lnTo>
                    <a:pt x="660" y="143"/>
                  </a:lnTo>
                  <a:lnTo>
                    <a:pt x="660" y="143"/>
                  </a:lnTo>
                  <a:lnTo>
                    <a:pt x="660" y="143"/>
                  </a:lnTo>
                  <a:close/>
                  <a:moveTo>
                    <a:pt x="560" y="54"/>
                  </a:moveTo>
                  <a:lnTo>
                    <a:pt x="562" y="58"/>
                  </a:lnTo>
                  <a:lnTo>
                    <a:pt x="564" y="60"/>
                  </a:lnTo>
                  <a:lnTo>
                    <a:pt x="562" y="64"/>
                  </a:lnTo>
                  <a:lnTo>
                    <a:pt x="560" y="60"/>
                  </a:lnTo>
                  <a:lnTo>
                    <a:pt x="560" y="56"/>
                  </a:lnTo>
                  <a:lnTo>
                    <a:pt x="560" y="54"/>
                  </a:lnTo>
                  <a:lnTo>
                    <a:pt x="560" y="54"/>
                  </a:lnTo>
                  <a:lnTo>
                    <a:pt x="560" y="54"/>
                  </a:lnTo>
                  <a:lnTo>
                    <a:pt x="560" y="54"/>
                  </a:lnTo>
                  <a:close/>
                  <a:moveTo>
                    <a:pt x="581" y="39"/>
                  </a:moveTo>
                  <a:lnTo>
                    <a:pt x="581" y="45"/>
                  </a:lnTo>
                  <a:lnTo>
                    <a:pt x="585" y="49"/>
                  </a:lnTo>
                  <a:lnTo>
                    <a:pt x="585" y="49"/>
                  </a:lnTo>
                  <a:lnTo>
                    <a:pt x="587" y="45"/>
                  </a:lnTo>
                  <a:lnTo>
                    <a:pt x="585" y="39"/>
                  </a:lnTo>
                  <a:lnTo>
                    <a:pt x="585" y="39"/>
                  </a:lnTo>
                  <a:lnTo>
                    <a:pt x="581" y="39"/>
                  </a:lnTo>
                  <a:lnTo>
                    <a:pt x="581" y="39"/>
                  </a:lnTo>
                  <a:lnTo>
                    <a:pt x="581" y="39"/>
                  </a:lnTo>
                  <a:lnTo>
                    <a:pt x="581" y="39"/>
                  </a:lnTo>
                  <a:close/>
                  <a:moveTo>
                    <a:pt x="581" y="49"/>
                  </a:moveTo>
                  <a:lnTo>
                    <a:pt x="585" y="51"/>
                  </a:lnTo>
                  <a:lnTo>
                    <a:pt x="585" y="54"/>
                  </a:lnTo>
                  <a:lnTo>
                    <a:pt x="585" y="54"/>
                  </a:lnTo>
                  <a:lnTo>
                    <a:pt x="585" y="54"/>
                  </a:lnTo>
                  <a:lnTo>
                    <a:pt x="581" y="49"/>
                  </a:lnTo>
                  <a:lnTo>
                    <a:pt x="581" y="49"/>
                  </a:lnTo>
                  <a:lnTo>
                    <a:pt x="581" y="49"/>
                  </a:lnTo>
                  <a:lnTo>
                    <a:pt x="581" y="49"/>
                  </a:lnTo>
                  <a:close/>
                  <a:moveTo>
                    <a:pt x="611" y="84"/>
                  </a:moveTo>
                  <a:lnTo>
                    <a:pt x="611" y="88"/>
                  </a:lnTo>
                  <a:lnTo>
                    <a:pt x="615" y="88"/>
                  </a:lnTo>
                  <a:lnTo>
                    <a:pt x="617" y="88"/>
                  </a:lnTo>
                  <a:lnTo>
                    <a:pt x="619" y="84"/>
                  </a:lnTo>
                  <a:lnTo>
                    <a:pt x="619" y="83"/>
                  </a:lnTo>
                  <a:lnTo>
                    <a:pt x="615" y="81"/>
                  </a:lnTo>
                  <a:lnTo>
                    <a:pt x="615" y="83"/>
                  </a:lnTo>
                  <a:lnTo>
                    <a:pt x="611" y="84"/>
                  </a:lnTo>
                  <a:lnTo>
                    <a:pt x="611" y="84"/>
                  </a:lnTo>
                  <a:lnTo>
                    <a:pt x="611" y="84"/>
                  </a:lnTo>
                  <a:lnTo>
                    <a:pt x="611" y="84"/>
                  </a:lnTo>
                  <a:close/>
                  <a:moveTo>
                    <a:pt x="609" y="133"/>
                  </a:moveTo>
                  <a:lnTo>
                    <a:pt x="609" y="137"/>
                  </a:lnTo>
                  <a:lnTo>
                    <a:pt x="615" y="141"/>
                  </a:lnTo>
                  <a:lnTo>
                    <a:pt x="615" y="143"/>
                  </a:lnTo>
                  <a:lnTo>
                    <a:pt x="615" y="143"/>
                  </a:lnTo>
                  <a:lnTo>
                    <a:pt x="615" y="147"/>
                  </a:lnTo>
                  <a:lnTo>
                    <a:pt x="611" y="143"/>
                  </a:lnTo>
                  <a:lnTo>
                    <a:pt x="609" y="141"/>
                  </a:lnTo>
                  <a:lnTo>
                    <a:pt x="606" y="137"/>
                  </a:lnTo>
                  <a:lnTo>
                    <a:pt x="604" y="133"/>
                  </a:lnTo>
                  <a:lnTo>
                    <a:pt x="600" y="130"/>
                  </a:lnTo>
                  <a:lnTo>
                    <a:pt x="602" y="126"/>
                  </a:lnTo>
                  <a:lnTo>
                    <a:pt x="602" y="124"/>
                  </a:lnTo>
                  <a:lnTo>
                    <a:pt x="602" y="122"/>
                  </a:lnTo>
                  <a:lnTo>
                    <a:pt x="598" y="118"/>
                  </a:lnTo>
                  <a:lnTo>
                    <a:pt x="598" y="116"/>
                  </a:lnTo>
                  <a:lnTo>
                    <a:pt x="600" y="113"/>
                  </a:lnTo>
                  <a:lnTo>
                    <a:pt x="598" y="109"/>
                  </a:lnTo>
                  <a:lnTo>
                    <a:pt x="596" y="107"/>
                  </a:lnTo>
                  <a:lnTo>
                    <a:pt x="598" y="101"/>
                  </a:lnTo>
                  <a:lnTo>
                    <a:pt x="600" y="100"/>
                  </a:lnTo>
                  <a:lnTo>
                    <a:pt x="600" y="98"/>
                  </a:lnTo>
                  <a:lnTo>
                    <a:pt x="600" y="92"/>
                  </a:lnTo>
                  <a:lnTo>
                    <a:pt x="606" y="84"/>
                  </a:lnTo>
                  <a:lnTo>
                    <a:pt x="609" y="84"/>
                  </a:lnTo>
                  <a:lnTo>
                    <a:pt x="606" y="88"/>
                  </a:lnTo>
                  <a:lnTo>
                    <a:pt x="606" y="92"/>
                  </a:lnTo>
                  <a:lnTo>
                    <a:pt x="606" y="92"/>
                  </a:lnTo>
                  <a:lnTo>
                    <a:pt x="609" y="92"/>
                  </a:lnTo>
                  <a:lnTo>
                    <a:pt x="609" y="100"/>
                  </a:lnTo>
                  <a:lnTo>
                    <a:pt x="606" y="103"/>
                  </a:lnTo>
                  <a:lnTo>
                    <a:pt x="604" y="103"/>
                  </a:lnTo>
                  <a:lnTo>
                    <a:pt x="602" y="107"/>
                  </a:lnTo>
                  <a:lnTo>
                    <a:pt x="604" y="109"/>
                  </a:lnTo>
                  <a:lnTo>
                    <a:pt x="606" y="109"/>
                  </a:lnTo>
                  <a:lnTo>
                    <a:pt x="606" y="107"/>
                  </a:lnTo>
                  <a:lnTo>
                    <a:pt x="611" y="105"/>
                  </a:lnTo>
                  <a:lnTo>
                    <a:pt x="611" y="103"/>
                  </a:lnTo>
                  <a:lnTo>
                    <a:pt x="609" y="103"/>
                  </a:lnTo>
                  <a:lnTo>
                    <a:pt x="611" y="100"/>
                  </a:lnTo>
                  <a:lnTo>
                    <a:pt x="615" y="98"/>
                  </a:lnTo>
                  <a:lnTo>
                    <a:pt x="621" y="98"/>
                  </a:lnTo>
                  <a:lnTo>
                    <a:pt x="623" y="98"/>
                  </a:lnTo>
                  <a:lnTo>
                    <a:pt x="623" y="100"/>
                  </a:lnTo>
                  <a:lnTo>
                    <a:pt x="621" y="107"/>
                  </a:lnTo>
                  <a:lnTo>
                    <a:pt x="615" y="109"/>
                  </a:lnTo>
                  <a:lnTo>
                    <a:pt x="611" y="113"/>
                  </a:lnTo>
                  <a:lnTo>
                    <a:pt x="615" y="113"/>
                  </a:lnTo>
                  <a:lnTo>
                    <a:pt x="615" y="113"/>
                  </a:lnTo>
                  <a:lnTo>
                    <a:pt x="621" y="116"/>
                  </a:lnTo>
                  <a:lnTo>
                    <a:pt x="621" y="122"/>
                  </a:lnTo>
                  <a:lnTo>
                    <a:pt x="623" y="122"/>
                  </a:lnTo>
                  <a:lnTo>
                    <a:pt x="619" y="122"/>
                  </a:lnTo>
                  <a:lnTo>
                    <a:pt x="615" y="122"/>
                  </a:lnTo>
                  <a:lnTo>
                    <a:pt x="611" y="122"/>
                  </a:lnTo>
                  <a:lnTo>
                    <a:pt x="606" y="118"/>
                  </a:lnTo>
                  <a:lnTo>
                    <a:pt x="606" y="118"/>
                  </a:lnTo>
                  <a:lnTo>
                    <a:pt x="606" y="126"/>
                  </a:lnTo>
                  <a:lnTo>
                    <a:pt x="609" y="133"/>
                  </a:lnTo>
                  <a:lnTo>
                    <a:pt x="609" y="133"/>
                  </a:lnTo>
                  <a:lnTo>
                    <a:pt x="609" y="133"/>
                  </a:lnTo>
                  <a:lnTo>
                    <a:pt x="609" y="133"/>
                  </a:lnTo>
                  <a:close/>
                  <a:moveTo>
                    <a:pt x="592" y="141"/>
                  </a:moveTo>
                  <a:lnTo>
                    <a:pt x="594" y="143"/>
                  </a:lnTo>
                  <a:lnTo>
                    <a:pt x="591" y="141"/>
                  </a:lnTo>
                  <a:lnTo>
                    <a:pt x="592" y="141"/>
                  </a:lnTo>
                  <a:lnTo>
                    <a:pt x="592" y="141"/>
                  </a:lnTo>
                  <a:lnTo>
                    <a:pt x="592" y="141"/>
                  </a:lnTo>
                  <a:lnTo>
                    <a:pt x="592" y="141"/>
                  </a:lnTo>
                  <a:lnTo>
                    <a:pt x="592" y="141"/>
                  </a:lnTo>
                  <a:close/>
                  <a:moveTo>
                    <a:pt x="592" y="133"/>
                  </a:moveTo>
                  <a:lnTo>
                    <a:pt x="591" y="133"/>
                  </a:lnTo>
                  <a:lnTo>
                    <a:pt x="589" y="137"/>
                  </a:lnTo>
                  <a:lnTo>
                    <a:pt x="592" y="137"/>
                  </a:lnTo>
                  <a:lnTo>
                    <a:pt x="592" y="133"/>
                  </a:lnTo>
                  <a:lnTo>
                    <a:pt x="592" y="133"/>
                  </a:lnTo>
                  <a:lnTo>
                    <a:pt x="592" y="133"/>
                  </a:lnTo>
                  <a:lnTo>
                    <a:pt x="592" y="133"/>
                  </a:lnTo>
                  <a:lnTo>
                    <a:pt x="592" y="133"/>
                  </a:lnTo>
                  <a:close/>
                  <a:moveTo>
                    <a:pt x="596" y="133"/>
                  </a:moveTo>
                  <a:lnTo>
                    <a:pt x="594" y="137"/>
                  </a:lnTo>
                  <a:lnTo>
                    <a:pt x="594" y="137"/>
                  </a:lnTo>
                  <a:lnTo>
                    <a:pt x="596" y="141"/>
                  </a:lnTo>
                  <a:lnTo>
                    <a:pt x="600" y="141"/>
                  </a:lnTo>
                  <a:lnTo>
                    <a:pt x="602" y="143"/>
                  </a:lnTo>
                  <a:lnTo>
                    <a:pt x="604" y="141"/>
                  </a:lnTo>
                  <a:lnTo>
                    <a:pt x="604" y="141"/>
                  </a:lnTo>
                  <a:lnTo>
                    <a:pt x="600" y="141"/>
                  </a:lnTo>
                  <a:lnTo>
                    <a:pt x="600" y="137"/>
                  </a:lnTo>
                  <a:lnTo>
                    <a:pt x="598" y="133"/>
                  </a:lnTo>
                  <a:lnTo>
                    <a:pt x="596" y="133"/>
                  </a:lnTo>
                  <a:lnTo>
                    <a:pt x="596" y="133"/>
                  </a:lnTo>
                  <a:lnTo>
                    <a:pt x="596" y="133"/>
                  </a:lnTo>
                  <a:lnTo>
                    <a:pt x="596" y="133"/>
                  </a:lnTo>
                  <a:close/>
                  <a:moveTo>
                    <a:pt x="594" y="158"/>
                  </a:moveTo>
                  <a:lnTo>
                    <a:pt x="600" y="152"/>
                  </a:lnTo>
                  <a:lnTo>
                    <a:pt x="606" y="152"/>
                  </a:lnTo>
                  <a:lnTo>
                    <a:pt x="611" y="158"/>
                  </a:lnTo>
                  <a:lnTo>
                    <a:pt x="609" y="160"/>
                  </a:lnTo>
                  <a:lnTo>
                    <a:pt x="606" y="160"/>
                  </a:lnTo>
                  <a:lnTo>
                    <a:pt x="604" y="160"/>
                  </a:lnTo>
                  <a:lnTo>
                    <a:pt x="600" y="162"/>
                  </a:lnTo>
                  <a:lnTo>
                    <a:pt x="598" y="160"/>
                  </a:lnTo>
                  <a:lnTo>
                    <a:pt x="594" y="158"/>
                  </a:lnTo>
                  <a:lnTo>
                    <a:pt x="594" y="158"/>
                  </a:lnTo>
                  <a:lnTo>
                    <a:pt x="594" y="158"/>
                  </a:lnTo>
                  <a:lnTo>
                    <a:pt x="594" y="158"/>
                  </a:lnTo>
                  <a:close/>
                  <a:moveTo>
                    <a:pt x="649" y="160"/>
                  </a:moveTo>
                  <a:lnTo>
                    <a:pt x="641" y="160"/>
                  </a:lnTo>
                  <a:lnTo>
                    <a:pt x="640" y="162"/>
                  </a:lnTo>
                  <a:lnTo>
                    <a:pt x="640" y="162"/>
                  </a:lnTo>
                  <a:lnTo>
                    <a:pt x="649" y="165"/>
                  </a:lnTo>
                  <a:lnTo>
                    <a:pt x="653" y="162"/>
                  </a:lnTo>
                  <a:lnTo>
                    <a:pt x="651" y="162"/>
                  </a:lnTo>
                  <a:lnTo>
                    <a:pt x="651" y="160"/>
                  </a:lnTo>
                  <a:lnTo>
                    <a:pt x="649" y="160"/>
                  </a:lnTo>
                  <a:lnTo>
                    <a:pt x="649" y="160"/>
                  </a:lnTo>
                  <a:lnTo>
                    <a:pt x="649" y="160"/>
                  </a:lnTo>
                  <a:lnTo>
                    <a:pt x="649" y="160"/>
                  </a:lnTo>
                  <a:close/>
                  <a:moveTo>
                    <a:pt x="617" y="194"/>
                  </a:moveTo>
                  <a:lnTo>
                    <a:pt x="619" y="194"/>
                  </a:lnTo>
                  <a:lnTo>
                    <a:pt x="619" y="196"/>
                  </a:lnTo>
                  <a:lnTo>
                    <a:pt x="617" y="196"/>
                  </a:lnTo>
                  <a:lnTo>
                    <a:pt x="617" y="194"/>
                  </a:lnTo>
                  <a:lnTo>
                    <a:pt x="617" y="194"/>
                  </a:lnTo>
                  <a:lnTo>
                    <a:pt x="617" y="194"/>
                  </a:lnTo>
                  <a:lnTo>
                    <a:pt x="617" y="194"/>
                  </a:lnTo>
                  <a:close/>
                  <a:moveTo>
                    <a:pt x="615" y="194"/>
                  </a:moveTo>
                  <a:lnTo>
                    <a:pt x="615" y="194"/>
                  </a:lnTo>
                  <a:lnTo>
                    <a:pt x="615" y="196"/>
                  </a:lnTo>
                  <a:lnTo>
                    <a:pt x="615" y="196"/>
                  </a:lnTo>
                  <a:lnTo>
                    <a:pt x="615" y="194"/>
                  </a:lnTo>
                  <a:lnTo>
                    <a:pt x="615" y="194"/>
                  </a:lnTo>
                  <a:lnTo>
                    <a:pt x="615" y="194"/>
                  </a:lnTo>
                  <a:lnTo>
                    <a:pt x="615" y="194"/>
                  </a:lnTo>
                  <a:close/>
                  <a:moveTo>
                    <a:pt x="604" y="196"/>
                  </a:moveTo>
                  <a:lnTo>
                    <a:pt x="609" y="194"/>
                  </a:lnTo>
                  <a:lnTo>
                    <a:pt x="611" y="194"/>
                  </a:lnTo>
                  <a:lnTo>
                    <a:pt x="611" y="194"/>
                  </a:lnTo>
                  <a:lnTo>
                    <a:pt x="611" y="197"/>
                  </a:lnTo>
                  <a:lnTo>
                    <a:pt x="609" y="196"/>
                  </a:lnTo>
                  <a:lnTo>
                    <a:pt x="606" y="197"/>
                  </a:lnTo>
                  <a:lnTo>
                    <a:pt x="604" y="196"/>
                  </a:lnTo>
                  <a:lnTo>
                    <a:pt x="604" y="196"/>
                  </a:lnTo>
                  <a:lnTo>
                    <a:pt x="604" y="196"/>
                  </a:lnTo>
                  <a:lnTo>
                    <a:pt x="604" y="196"/>
                  </a:lnTo>
                  <a:close/>
                  <a:moveTo>
                    <a:pt x="604" y="186"/>
                  </a:moveTo>
                  <a:lnTo>
                    <a:pt x="600" y="186"/>
                  </a:lnTo>
                  <a:lnTo>
                    <a:pt x="604" y="186"/>
                  </a:lnTo>
                  <a:lnTo>
                    <a:pt x="604" y="186"/>
                  </a:lnTo>
                  <a:lnTo>
                    <a:pt x="604" y="186"/>
                  </a:lnTo>
                  <a:lnTo>
                    <a:pt x="604" y="186"/>
                  </a:lnTo>
                  <a:lnTo>
                    <a:pt x="604" y="186"/>
                  </a:lnTo>
                  <a:close/>
                  <a:moveTo>
                    <a:pt x="606" y="182"/>
                  </a:moveTo>
                  <a:lnTo>
                    <a:pt x="604" y="182"/>
                  </a:lnTo>
                  <a:lnTo>
                    <a:pt x="604" y="184"/>
                  </a:lnTo>
                  <a:lnTo>
                    <a:pt x="606" y="184"/>
                  </a:lnTo>
                  <a:lnTo>
                    <a:pt x="606" y="182"/>
                  </a:lnTo>
                  <a:lnTo>
                    <a:pt x="606" y="182"/>
                  </a:lnTo>
                  <a:lnTo>
                    <a:pt x="606" y="182"/>
                  </a:lnTo>
                  <a:lnTo>
                    <a:pt x="606" y="182"/>
                  </a:lnTo>
                  <a:close/>
                  <a:moveTo>
                    <a:pt x="606" y="192"/>
                  </a:moveTo>
                  <a:lnTo>
                    <a:pt x="611" y="186"/>
                  </a:lnTo>
                  <a:lnTo>
                    <a:pt x="615" y="190"/>
                  </a:lnTo>
                  <a:lnTo>
                    <a:pt x="615" y="192"/>
                  </a:lnTo>
                  <a:lnTo>
                    <a:pt x="619" y="190"/>
                  </a:lnTo>
                  <a:lnTo>
                    <a:pt x="623" y="186"/>
                  </a:lnTo>
                  <a:lnTo>
                    <a:pt x="624" y="186"/>
                  </a:lnTo>
                  <a:lnTo>
                    <a:pt x="626" y="190"/>
                  </a:lnTo>
                  <a:lnTo>
                    <a:pt x="636" y="192"/>
                  </a:lnTo>
                  <a:lnTo>
                    <a:pt x="636" y="190"/>
                  </a:lnTo>
                  <a:lnTo>
                    <a:pt x="640" y="190"/>
                  </a:lnTo>
                  <a:lnTo>
                    <a:pt x="649" y="194"/>
                  </a:lnTo>
                  <a:lnTo>
                    <a:pt x="651" y="194"/>
                  </a:lnTo>
                  <a:lnTo>
                    <a:pt x="655" y="199"/>
                  </a:lnTo>
                  <a:lnTo>
                    <a:pt x="658" y="199"/>
                  </a:lnTo>
                  <a:lnTo>
                    <a:pt x="660" y="196"/>
                  </a:lnTo>
                  <a:lnTo>
                    <a:pt x="658" y="190"/>
                  </a:lnTo>
                  <a:lnTo>
                    <a:pt x="649" y="184"/>
                  </a:lnTo>
                  <a:lnTo>
                    <a:pt x="640" y="182"/>
                  </a:lnTo>
                  <a:lnTo>
                    <a:pt x="636" y="181"/>
                  </a:lnTo>
                  <a:lnTo>
                    <a:pt x="634" y="179"/>
                  </a:lnTo>
                  <a:lnTo>
                    <a:pt x="630" y="182"/>
                  </a:lnTo>
                  <a:lnTo>
                    <a:pt x="626" y="182"/>
                  </a:lnTo>
                  <a:lnTo>
                    <a:pt x="623" y="181"/>
                  </a:lnTo>
                  <a:lnTo>
                    <a:pt x="617" y="181"/>
                  </a:lnTo>
                  <a:lnTo>
                    <a:pt x="611" y="181"/>
                  </a:lnTo>
                  <a:lnTo>
                    <a:pt x="609" y="184"/>
                  </a:lnTo>
                  <a:lnTo>
                    <a:pt x="609" y="186"/>
                  </a:lnTo>
                  <a:lnTo>
                    <a:pt x="606" y="186"/>
                  </a:lnTo>
                  <a:lnTo>
                    <a:pt x="606" y="190"/>
                  </a:lnTo>
                  <a:lnTo>
                    <a:pt x="606" y="192"/>
                  </a:lnTo>
                  <a:lnTo>
                    <a:pt x="606" y="192"/>
                  </a:lnTo>
                  <a:lnTo>
                    <a:pt x="606" y="192"/>
                  </a:lnTo>
                  <a:lnTo>
                    <a:pt x="606" y="192"/>
                  </a:lnTo>
                  <a:lnTo>
                    <a:pt x="606" y="192"/>
                  </a:lnTo>
                  <a:close/>
                  <a:moveTo>
                    <a:pt x="572" y="186"/>
                  </a:moveTo>
                  <a:lnTo>
                    <a:pt x="576" y="186"/>
                  </a:lnTo>
                  <a:lnTo>
                    <a:pt x="577" y="186"/>
                  </a:lnTo>
                  <a:lnTo>
                    <a:pt x="585" y="186"/>
                  </a:lnTo>
                  <a:lnTo>
                    <a:pt x="589" y="186"/>
                  </a:lnTo>
                  <a:lnTo>
                    <a:pt x="589" y="190"/>
                  </a:lnTo>
                  <a:lnTo>
                    <a:pt x="592" y="192"/>
                  </a:lnTo>
                  <a:lnTo>
                    <a:pt x="592" y="196"/>
                  </a:lnTo>
                  <a:lnTo>
                    <a:pt x="589" y="196"/>
                  </a:lnTo>
                  <a:lnTo>
                    <a:pt x="585" y="199"/>
                  </a:lnTo>
                  <a:lnTo>
                    <a:pt x="581" y="199"/>
                  </a:lnTo>
                  <a:lnTo>
                    <a:pt x="577" y="199"/>
                  </a:lnTo>
                  <a:lnTo>
                    <a:pt x="576" y="197"/>
                  </a:lnTo>
                  <a:lnTo>
                    <a:pt x="570" y="196"/>
                  </a:lnTo>
                  <a:lnTo>
                    <a:pt x="568" y="192"/>
                  </a:lnTo>
                  <a:lnTo>
                    <a:pt x="568" y="186"/>
                  </a:lnTo>
                  <a:lnTo>
                    <a:pt x="572" y="186"/>
                  </a:lnTo>
                  <a:lnTo>
                    <a:pt x="572" y="186"/>
                  </a:lnTo>
                  <a:lnTo>
                    <a:pt x="572" y="186"/>
                  </a:lnTo>
                  <a:lnTo>
                    <a:pt x="572" y="186"/>
                  </a:lnTo>
                  <a:close/>
                  <a:moveTo>
                    <a:pt x="468" y="260"/>
                  </a:moveTo>
                  <a:lnTo>
                    <a:pt x="466" y="260"/>
                  </a:lnTo>
                  <a:lnTo>
                    <a:pt x="466" y="260"/>
                  </a:lnTo>
                  <a:lnTo>
                    <a:pt x="468" y="263"/>
                  </a:lnTo>
                  <a:lnTo>
                    <a:pt x="468" y="260"/>
                  </a:lnTo>
                  <a:lnTo>
                    <a:pt x="468" y="260"/>
                  </a:lnTo>
                  <a:lnTo>
                    <a:pt x="468" y="260"/>
                  </a:lnTo>
                  <a:lnTo>
                    <a:pt x="468" y="260"/>
                  </a:lnTo>
                  <a:close/>
                  <a:moveTo>
                    <a:pt x="466" y="235"/>
                  </a:moveTo>
                  <a:lnTo>
                    <a:pt x="468" y="241"/>
                  </a:lnTo>
                  <a:lnTo>
                    <a:pt x="466" y="245"/>
                  </a:lnTo>
                  <a:lnTo>
                    <a:pt x="466" y="248"/>
                  </a:lnTo>
                  <a:lnTo>
                    <a:pt x="464" y="245"/>
                  </a:lnTo>
                  <a:lnTo>
                    <a:pt x="463" y="243"/>
                  </a:lnTo>
                  <a:lnTo>
                    <a:pt x="464" y="241"/>
                  </a:lnTo>
                  <a:lnTo>
                    <a:pt x="464" y="239"/>
                  </a:lnTo>
                  <a:lnTo>
                    <a:pt x="466" y="235"/>
                  </a:lnTo>
                  <a:lnTo>
                    <a:pt x="466" y="235"/>
                  </a:lnTo>
                  <a:lnTo>
                    <a:pt x="466" y="235"/>
                  </a:lnTo>
                  <a:lnTo>
                    <a:pt x="466" y="235"/>
                  </a:lnTo>
                  <a:close/>
                  <a:moveTo>
                    <a:pt x="568" y="165"/>
                  </a:moveTo>
                  <a:lnTo>
                    <a:pt x="568" y="167"/>
                  </a:lnTo>
                  <a:lnTo>
                    <a:pt x="570" y="171"/>
                  </a:lnTo>
                  <a:lnTo>
                    <a:pt x="570" y="173"/>
                  </a:lnTo>
                  <a:lnTo>
                    <a:pt x="568" y="173"/>
                  </a:lnTo>
                  <a:lnTo>
                    <a:pt x="566" y="169"/>
                  </a:lnTo>
                  <a:lnTo>
                    <a:pt x="566" y="165"/>
                  </a:lnTo>
                  <a:lnTo>
                    <a:pt x="568" y="165"/>
                  </a:lnTo>
                  <a:lnTo>
                    <a:pt x="568" y="165"/>
                  </a:lnTo>
                  <a:lnTo>
                    <a:pt x="568" y="165"/>
                  </a:lnTo>
                  <a:lnTo>
                    <a:pt x="568" y="165"/>
                  </a:lnTo>
                  <a:close/>
                  <a:moveTo>
                    <a:pt x="557" y="162"/>
                  </a:moveTo>
                  <a:lnTo>
                    <a:pt x="560" y="160"/>
                  </a:lnTo>
                  <a:lnTo>
                    <a:pt x="562" y="162"/>
                  </a:lnTo>
                  <a:lnTo>
                    <a:pt x="564" y="160"/>
                  </a:lnTo>
                  <a:lnTo>
                    <a:pt x="572" y="162"/>
                  </a:lnTo>
                  <a:lnTo>
                    <a:pt x="576" y="162"/>
                  </a:lnTo>
                  <a:lnTo>
                    <a:pt x="572" y="162"/>
                  </a:lnTo>
                  <a:lnTo>
                    <a:pt x="562" y="165"/>
                  </a:lnTo>
                  <a:lnTo>
                    <a:pt x="560" y="162"/>
                  </a:lnTo>
                  <a:lnTo>
                    <a:pt x="560" y="162"/>
                  </a:lnTo>
                  <a:lnTo>
                    <a:pt x="557" y="162"/>
                  </a:lnTo>
                  <a:lnTo>
                    <a:pt x="557" y="162"/>
                  </a:lnTo>
                  <a:lnTo>
                    <a:pt x="557" y="162"/>
                  </a:lnTo>
                  <a:lnTo>
                    <a:pt x="557" y="162"/>
                  </a:lnTo>
                  <a:close/>
                  <a:moveTo>
                    <a:pt x="540" y="162"/>
                  </a:moveTo>
                  <a:lnTo>
                    <a:pt x="542" y="160"/>
                  </a:lnTo>
                  <a:lnTo>
                    <a:pt x="544" y="160"/>
                  </a:lnTo>
                  <a:lnTo>
                    <a:pt x="545" y="158"/>
                  </a:lnTo>
                  <a:lnTo>
                    <a:pt x="547" y="160"/>
                  </a:lnTo>
                  <a:lnTo>
                    <a:pt x="551" y="162"/>
                  </a:lnTo>
                  <a:lnTo>
                    <a:pt x="553" y="160"/>
                  </a:lnTo>
                  <a:lnTo>
                    <a:pt x="557" y="160"/>
                  </a:lnTo>
                  <a:lnTo>
                    <a:pt x="557" y="162"/>
                  </a:lnTo>
                  <a:lnTo>
                    <a:pt x="553" y="162"/>
                  </a:lnTo>
                  <a:lnTo>
                    <a:pt x="551" y="165"/>
                  </a:lnTo>
                  <a:lnTo>
                    <a:pt x="547" y="162"/>
                  </a:lnTo>
                  <a:lnTo>
                    <a:pt x="544" y="165"/>
                  </a:lnTo>
                  <a:lnTo>
                    <a:pt x="540" y="165"/>
                  </a:lnTo>
                  <a:lnTo>
                    <a:pt x="538" y="162"/>
                  </a:lnTo>
                  <a:lnTo>
                    <a:pt x="540" y="162"/>
                  </a:lnTo>
                  <a:lnTo>
                    <a:pt x="540" y="162"/>
                  </a:lnTo>
                  <a:lnTo>
                    <a:pt x="540" y="162"/>
                  </a:lnTo>
                  <a:lnTo>
                    <a:pt x="540" y="162"/>
                  </a:lnTo>
                  <a:close/>
                  <a:moveTo>
                    <a:pt x="506" y="229"/>
                  </a:moveTo>
                  <a:lnTo>
                    <a:pt x="510" y="224"/>
                  </a:lnTo>
                  <a:lnTo>
                    <a:pt x="512" y="216"/>
                  </a:lnTo>
                  <a:lnTo>
                    <a:pt x="512" y="211"/>
                  </a:lnTo>
                  <a:lnTo>
                    <a:pt x="513" y="211"/>
                  </a:lnTo>
                  <a:lnTo>
                    <a:pt x="515" y="211"/>
                  </a:lnTo>
                  <a:lnTo>
                    <a:pt x="515" y="214"/>
                  </a:lnTo>
                  <a:lnTo>
                    <a:pt x="517" y="214"/>
                  </a:lnTo>
                  <a:lnTo>
                    <a:pt x="517" y="216"/>
                  </a:lnTo>
                  <a:lnTo>
                    <a:pt x="515" y="214"/>
                  </a:lnTo>
                  <a:lnTo>
                    <a:pt x="515" y="216"/>
                  </a:lnTo>
                  <a:lnTo>
                    <a:pt x="513" y="218"/>
                  </a:lnTo>
                  <a:lnTo>
                    <a:pt x="512" y="220"/>
                  </a:lnTo>
                  <a:lnTo>
                    <a:pt x="513" y="224"/>
                  </a:lnTo>
                  <a:lnTo>
                    <a:pt x="515" y="224"/>
                  </a:lnTo>
                  <a:lnTo>
                    <a:pt x="517" y="226"/>
                  </a:lnTo>
                  <a:lnTo>
                    <a:pt x="515" y="228"/>
                  </a:lnTo>
                  <a:lnTo>
                    <a:pt x="513" y="228"/>
                  </a:lnTo>
                  <a:lnTo>
                    <a:pt x="512" y="231"/>
                  </a:lnTo>
                  <a:lnTo>
                    <a:pt x="508" y="233"/>
                  </a:lnTo>
                  <a:lnTo>
                    <a:pt x="506" y="231"/>
                  </a:lnTo>
                  <a:lnTo>
                    <a:pt x="506" y="229"/>
                  </a:lnTo>
                  <a:lnTo>
                    <a:pt x="506" y="229"/>
                  </a:lnTo>
                  <a:lnTo>
                    <a:pt x="506" y="229"/>
                  </a:lnTo>
                  <a:lnTo>
                    <a:pt x="506" y="229"/>
                  </a:lnTo>
                  <a:close/>
                  <a:moveTo>
                    <a:pt x="498" y="226"/>
                  </a:moveTo>
                  <a:lnTo>
                    <a:pt x="498" y="226"/>
                  </a:lnTo>
                  <a:lnTo>
                    <a:pt x="498" y="226"/>
                  </a:lnTo>
                  <a:lnTo>
                    <a:pt x="498" y="228"/>
                  </a:lnTo>
                  <a:lnTo>
                    <a:pt x="502" y="228"/>
                  </a:lnTo>
                  <a:lnTo>
                    <a:pt x="502" y="226"/>
                  </a:lnTo>
                  <a:lnTo>
                    <a:pt x="504" y="226"/>
                  </a:lnTo>
                  <a:lnTo>
                    <a:pt x="504" y="222"/>
                  </a:lnTo>
                  <a:lnTo>
                    <a:pt x="508" y="220"/>
                  </a:lnTo>
                  <a:lnTo>
                    <a:pt x="508" y="218"/>
                  </a:lnTo>
                  <a:lnTo>
                    <a:pt x="506" y="214"/>
                  </a:lnTo>
                  <a:lnTo>
                    <a:pt x="502" y="216"/>
                  </a:lnTo>
                  <a:lnTo>
                    <a:pt x="502" y="218"/>
                  </a:lnTo>
                  <a:lnTo>
                    <a:pt x="502" y="220"/>
                  </a:lnTo>
                  <a:lnTo>
                    <a:pt x="498" y="226"/>
                  </a:lnTo>
                  <a:lnTo>
                    <a:pt x="498" y="226"/>
                  </a:lnTo>
                  <a:lnTo>
                    <a:pt x="498" y="226"/>
                  </a:lnTo>
                  <a:lnTo>
                    <a:pt x="498" y="226"/>
                  </a:lnTo>
                  <a:close/>
                  <a:moveTo>
                    <a:pt x="491" y="222"/>
                  </a:moveTo>
                  <a:lnTo>
                    <a:pt x="491" y="224"/>
                  </a:lnTo>
                  <a:lnTo>
                    <a:pt x="489" y="226"/>
                  </a:lnTo>
                  <a:lnTo>
                    <a:pt x="491" y="229"/>
                  </a:lnTo>
                  <a:lnTo>
                    <a:pt x="493" y="231"/>
                  </a:lnTo>
                  <a:lnTo>
                    <a:pt x="493" y="229"/>
                  </a:lnTo>
                  <a:lnTo>
                    <a:pt x="493" y="226"/>
                  </a:lnTo>
                  <a:lnTo>
                    <a:pt x="493" y="222"/>
                  </a:lnTo>
                  <a:lnTo>
                    <a:pt x="493" y="222"/>
                  </a:lnTo>
                  <a:lnTo>
                    <a:pt x="491" y="222"/>
                  </a:lnTo>
                  <a:lnTo>
                    <a:pt x="491" y="222"/>
                  </a:lnTo>
                  <a:lnTo>
                    <a:pt x="491" y="222"/>
                  </a:lnTo>
                  <a:lnTo>
                    <a:pt x="491" y="222"/>
                  </a:lnTo>
                  <a:close/>
                  <a:moveTo>
                    <a:pt x="517" y="162"/>
                  </a:moveTo>
                  <a:lnTo>
                    <a:pt x="513" y="162"/>
                  </a:lnTo>
                  <a:lnTo>
                    <a:pt x="517" y="165"/>
                  </a:lnTo>
                  <a:lnTo>
                    <a:pt x="517" y="165"/>
                  </a:lnTo>
                  <a:lnTo>
                    <a:pt x="517" y="162"/>
                  </a:lnTo>
                  <a:lnTo>
                    <a:pt x="517" y="162"/>
                  </a:lnTo>
                  <a:lnTo>
                    <a:pt x="517" y="162"/>
                  </a:lnTo>
                  <a:lnTo>
                    <a:pt x="517" y="162"/>
                  </a:lnTo>
                  <a:close/>
                  <a:moveTo>
                    <a:pt x="521" y="160"/>
                  </a:moveTo>
                  <a:lnTo>
                    <a:pt x="519" y="162"/>
                  </a:lnTo>
                  <a:lnTo>
                    <a:pt x="523" y="162"/>
                  </a:lnTo>
                  <a:lnTo>
                    <a:pt x="521" y="160"/>
                  </a:lnTo>
                  <a:lnTo>
                    <a:pt x="521" y="160"/>
                  </a:lnTo>
                  <a:lnTo>
                    <a:pt x="521" y="160"/>
                  </a:lnTo>
                  <a:lnTo>
                    <a:pt x="521" y="160"/>
                  </a:lnTo>
                  <a:close/>
                  <a:moveTo>
                    <a:pt x="527" y="156"/>
                  </a:moveTo>
                  <a:lnTo>
                    <a:pt x="523" y="158"/>
                  </a:lnTo>
                  <a:lnTo>
                    <a:pt x="527" y="160"/>
                  </a:lnTo>
                  <a:lnTo>
                    <a:pt x="527" y="156"/>
                  </a:lnTo>
                  <a:lnTo>
                    <a:pt x="527" y="156"/>
                  </a:lnTo>
                  <a:lnTo>
                    <a:pt x="527" y="156"/>
                  </a:lnTo>
                  <a:lnTo>
                    <a:pt x="527" y="156"/>
                  </a:lnTo>
                  <a:close/>
                  <a:moveTo>
                    <a:pt x="510" y="152"/>
                  </a:moveTo>
                  <a:lnTo>
                    <a:pt x="515" y="150"/>
                  </a:lnTo>
                  <a:lnTo>
                    <a:pt x="519" y="150"/>
                  </a:lnTo>
                  <a:lnTo>
                    <a:pt x="521" y="152"/>
                  </a:lnTo>
                  <a:lnTo>
                    <a:pt x="519" y="154"/>
                  </a:lnTo>
                  <a:lnTo>
                    <a:pt x="523" y="152"/>
                  </a:lnTo>
                  <a:lnTo>
                    <a:pt x="523" y="150"/>
                  </a:lnTo>
                  <a:lnTo>
                    <a:pt x="527" y="152"/>
                  </a:lnTo>
                  <a:lnTo>
                    <a:pt x="523" y="156"/>
                  </a:lnTo>
                  <a:lnTo>
                    <a:pt x="523" y="156"/>
                  </a:lnTo>
                  <a:lnTo>
                    <a:pt x="521" y="156"/>
                  </a:lnTo>
                  <a:lnTo>
                    <a:pt x="519" y="158"/>
                  </a:lnTo>
                  <a:lnTo>
                    <a:pt x="515" y="156"/>
                  </a:lnTo>
                  <a:lnTo>
                    <a:pt x="513" y="158"/>
                  </a:lnTo>
                  <a:lnTo>
                    <a:pt x="510" y="156"/>
                  </a:lnTo>
                  <a:lnTo>
                    <a:pt x="510" y="152"/>
                  </a:lnTo>
                  <a:lnTo>
                    <a:pt x="510" y="152"/>
                  </a:lnTo>
                  <a:lnTo>
                    <a:pt x="510" y="152"/>
                  </a:lnTo>
                  <a:lnTo>
                    <a:pt x="510" y="152"/>
                  </a:lnTo>
                  <a:close/>
                  <a:moveTo>
                    <a:pt x="491" y="133"/>
                  </a:moveTo>
                  <a:lnTo>
                    <a:pt x="493" y="133"/>
                  </a:lnTo>
                  <a:lnTo>
                    <a:pt x="493" y="133"/>
                  </a:lnTo>
                  <a:lnTo>
                    <a:pt x="493" y="133"/>
                  </a:lnTo>
                  <a:lnTo>
                    <a:pt x="491" y="133"/>
                  </a:lnTo>
                  <a:lnTo>
                    <a:pt x="491" y="133"/>
                  </a:lnTo>
                  <a:lnTo>
                    <a:pt x="491" y="133"/>
                  </a:lnTo>
                  <a:lnTo>
                    <a:pt x="491" y="133"/>
                  </a:lnTo>
                  <a:close/>
                  <a:moveTo>
                    <a:pt x="489" y="133"/>
                  </a:moveTo>
                  <a:lnTo>
                    <a:pt x="491" y="133"/>
                  </a:lnTo>
                  <a:lnTo>
                    <a:pt x="493" y="137"/>
                  </a:lnTo>
                  <a:lnTo>
                    <a:pt x="491" y="137"/>
                  </a:lnTo>
                  <a:lnTo>
                    <a:pt x="489" y="133"/>
                  </a:lnTo>
                  <a:lnTo>
                    <a:pt x="489" y="133"/>
                  </a:lnTo>
                  <a:lnTo>
                    <a:pt x="489" y="133"/>
                  </a:lnTo>
                  <a:lnTo>
                    <a:pt x="489" y="133"/>
                  </a:lnTo>
                  <a:close/>
                  <a:moveTo>
                    <a:pt x="466" y="118"/>
                  </a:moveTo>
                  <a:lnTo>
                    <a:pt x="468" y="116"/>
                  </a:lnTo>
                  <a:lnTo>
                    <a:pt x="474" y="118"/>
                  </a:lnTo>
                  <a:lnTo>
                    <a:pt x="480" y="122"/>
                  </a:lnTo>
                  <a:lnTo>
                    <a:pt x="487" y="116"/>
                  </a:lnTo>
                  <a:lnTo>
                    <a:pt x="493" y="116"/>
                  </a:lnTo>
                  <a:lnTo>
                    <a:pt x="493" y="118"/>
                  </a:lnTo>
                  <a:lnTo>
                    <a:pt x="498" y="118"/>
                  </a:lnTo>
                  <a:lnTo>
                    <a:pt x="498" y="118"/>
                  </a:lnTo>
                  <a:lnTo>
                    <a:pt x="506" y="118"/>
                  </a:lnTo>
                  <a:lnTo>
                    <a:pt x="512" y="118"/>
                  </a:lnTo>
                  <a:lnTo>
                    <a:pt x="512" y="116"/>
                  </a:lnTo>
                  <a:lnTo>
                    <a:pt x="517" y="116"/>
                  </a:lnTo>
                  <a:lnTo>
                    <a:pt x="519" y="118"/>
                  </a:lnTo>
                  <a:lnTo>
                    <a:pt x="521" y="122"/>
                  </a:lnTo>
                  <a:lnTo>
                    <a:pt x="523" y="122"/>
                  </a:lnTo>
                  <a:lnTo>
                    <a:pt x="538" y="118"/>
                  </a:lnTo>
                  <a:lnTo>
                    <a:pt x="544" y="116"/>
                  </a:lnTo>
                  <a:lnTo>
                    <a:pt x="545" y="113"/>
                  </a:lnTo>
                  <a:lnTo>
                    <a:pt x="547" y="113"/>
                  </a:lnTo>
                  <a:lnTo>
                    <a:pt x="551" y="109"/>
                  </a:lnTo>
                  <a:lnTo>
                    <a:pt x="551" y="109"/>
                  </a:lnTo>
                  <a:lnTo>
                    <a:pt x="553" y="105"/>
                  </a:lnTo>
                  <a:lnTo>
                    <a:pt x="557" y="101"/>
                  </a:lnTo>
                  <a:lnTo>
                    <a:pt x="557" y="101"/>
                  </a:lnTo>
                  <a:lnTo>
                    <a:pt x="557" y="100"/>
                  </a:lnTo>
                  <a:lnTo>
                    <a:pt x="553" y="98"/>
                  </a:lnTo>
                  <a:lnTo>
                    <a:pt x="547" y="98"/>
                  </a:lnTo>
                  <a:lnTo>
                    <a:pt x="545" y="98"/>
                  </a:lnTo>
                  <a:lnTo>
                    <a:pt x="545" y="100"/>
                  </a:lnTo>
                  <a:lnTo>
                    <a:pt x="542" y="103"/>
                  </a:lnTo>
                  <a:lnTo>
                    <a:pt x="542" y="105"/>
                  </a:lnTo>
                  <a:lnTo>
                    <a:pt x="538" y="107"/>
                  </a:lnTo>
                  <a:lnTo>
                    <a:pt x="536" y="107"/>
                  </a:lnTo>
                  <a:lnTo>
                    <a:pt x="532" y="109"/>
                  </a:lnTo>
                  <a:lnTo>
                    <a:pt x="528" y="113"/>
                  </a:lnTo>
                  <a:lnTo>
                    <a:pt x="521" y="109"/>
                  </a:lnTo>
                  <a:lnTo>
                    <a:pt x="513" y="109"/>
                  </a:lnTo>
                  <a:lnTo>
                    <a:pt x="512" y="109"/>
                  </a:lnTo>
                  <a:lnTo>
                    <a:pt x="510" y="113"/>
                  </a:lnTo>
                  <a:lnTo>
                    <a:pt x="506" y="109"/>
                  </a:lnTo>
                  <a:lnTo>
                    <a:pt x="502" y="109"/>
                  </a:lnTo>
                  <a:lnTo>
                    <a:pt x="498" y="109"/>
                  </a:lnTo>
                  <a:lnTo>
                    <a:pt x="498" y="107"/>
                  </a:lnTo>
                  <a:lnTo>
                    <a:pt x="493" y="107"/>
                  </a:lnTo>
                  <a:lnTo>
                    <a:pt x="489" y="109"/>
                  </a:lnTo>
                  <a:lnTo>
                    <a:pt x="487" y="107"/>
                  </a:lnTo>
                  <a:lnTo>
                    <a:pt x="483" y="103"/>
                  </a:lnTo>
                  <a:lnTo>
                    <a:pt x="478" y="101"/>
                  </a:lnTo>
                  <a:lnTo>
                    <a:pt x="474" y="101"/>
                  </a:lnTo>
                  <a:lnTo>
                    <a:pt x="474" y="107"/>
                  </a:lnTo>
                  <a:lnTo>
                    <a:pt x="472" y="109"/>
                  </a:lnTo>
                  <a:lnTo>
                    <a:pt x="468" y="113"/>
                  </a:lnTo>
                  <a:lnTo>
                    <a:pt x="468" y="113"/>
                  </a:lnTo>
                  <a:lnTo>
                    <a:pt x="463" y="113"/>
                  </a:lnTo>
                  <a:lnTo>
                    <a:pt x="459" y="113"/>
                  </a:lnTo>
                  <a:lnTo>
                    <a:pt x="457" y="116"/>
                  </a:lnTo>
                  <a:lnTo>
                    <a:pt x="457" y="116"/>
                  </a:lnTo>
                  <a:lnTo>
                    <a:pt x="451" y="122"/>
                  </a:lnTo>
                  <a:lnTo>
                    <a:pt x="451" y="126"/>
                  </a:lnTo>
                  <a:lnTo>
                    <a:pt x="453" y="130"/>
                  </a:lnTo>
                  <a:lnTo>
                    <a:pt x="453" y="133"/>
                  </a:lnTo>
                  <a:lnTo>
                    <a:pt x="451" y="137"/>
                  </a:lnTo>
                  <a:lnTo>
                    <a:pt x="453" y="141"/>
                  </a:lnTo>
                  <a:lnTo>
                    <a:pt x="455" y="145"/>
                  </a:lnTo>
                  <a:lnTo>
                    <a:pt x="453" y="143"/>
                  </a:lnTo>
                  <a:lnTo>
                    <a:pt x="451" y="141"/>
                  </a:lnTo>
                  <a:lnTo>
                    <a:pt x="449" y="141"/>
                  </a:lnTo>
                  <a:lnTo>
                    <a:pt x="448" y="143"/>
                  </a:lnTo>
                  <a:lnTo>
                    <a:pt x="444" y="145"/>
                  </a:lnTo>
                  <a:lnTo>
                    <a:pt x="444" y="148"/>
                  </a:lnTo>
                  <a:lnTo>
                    <a:pt x="444" y="152"/>
                  </a:lnTo>
                  <a:lnTo>
                    <a:pt x="444" y="156"/>
                  </a:lnTo>
                  <a:lnTo>
                    <a:pt x="444" y="162"/>
                  </a:lnTo>
                  <a:lnTo>
                    <a:pt x="444" y="165"/>
                  </a:lnTo>
                  <a:lnTo>
                    <a:pt x="444" y="167"/>
                  </a:lnTo>
                  <a:lnTo>
                    <a:pt x="438" y="169"/>
                  </a:lnTo>
                  <a:lnTo>
                    <a:pt x="438" y="173"/>
                  </a:lnTo>
                  <a:lnTo>
                    <a:pt x="434" y="177"/>
                  </a:lnTo>
                  <a:lnTo>
                    <a:pt x="434" y="182"/>
                  </a:lnTo>
                  <a:lnTo>
                    <a:pt x="434" y="184"/>
                  </a:lnTo>
                  <a:lnTo>
                    <a:pt x="434" y="186"/>
                  </a:lnTo>
                  <a:lnTo>
                    <a:pt x="434" y="192"/>
                  </a:lnTo>
                  <a:lnTo>
                    <a:pt x="438" y="194"/>
                  </a:lnTo>
                  <a:lnTo>
                    <a:pt x="438" y="194"/>
                  </a:lnTo>
                  <a:lnTo>
                    <a:pt x="442" y="194"/>
                  </a:lnTo>
                  <a:lnTo>
                    <a:pt x="444" y="192"/>
                  </a:lnTo>
                  <a:lnTo>
                    <a:pt x="444" y="194"/>
                  </a:lnTo>
                  <a:lnTo>
                    <a:pt x="448" y="197"/>
                  </a:lnTo>
                  <a:lnTo>
                    <a:pt x="449" y="207"/>
                  </a:lnTo>
                  <a:lnTo>
                    <a:pt x="448" y="209"/>
                  </a:lnTo>
                  <a:lnTo>
                    <a:pt x="448" y="214"/>
                  </a:lnTo>
                  <a:lnTo>
                    <a:pt x="444" y="216"/>
                  </a:lnTo>
                  <a:lnTo>
                    <a:pt x="444" y="226"/>
                  </a:lnTo>
                  <a:lnTo>
                    <a:pt x="444" y="231"/>
                  </a:lnTo>
                  <a:lnTo>
                    <a:pt x="448" y="231"/>
                  </a:lnTo>
                  <a:lnTo>
                    <a:pt x="449" y="233"/>
                  </a:lnTo>
                  <a:lnTo>
                    <a:pt x="453" y="233"/>
                  </a:lnTo>
                  <a:lnTo>
                    <a:pt x="455" y="231"/>
                  </a:lnTo>
                  <a:lnTo>
                    <a:pt x="459" y="231"/>
                  </a:lnTo>
                  <a:lnTo>
                    <a:pt x="463" y="231"/>
                  </a:lnTo>
                  <a:lnTo>
                    <a:pt x="464" y="233"/>
                  </a:lnTo>
                  <a:lnTo>
                    <a:pt x="464" y="229"/>
                  </a:lnTo>
                  <a:lnTo>
                    <a:pt x="464" y="226"/>
                  </a:lnTo>
                  <a:lnTo>
                    <a:pt x="463" y="224"/>
                  </a:lnTo>
                  <a:lnTo>
                    <a:pt x="461" y="220"/>
                  </a:lnTo>
                  <a:lnTo>
                    <a:pt x="463" y="216"/>
                  </a:lnTo>
                  <a:lnTo>
                    <a:pt x="464" y="211"/>
                  </a:lnTo>
                  <a:lnTo>
                    <a:pt x="464" y="205"/>
                  </a:lnTo>
                  <a:lnTo>
                    <a:pt x="463" y="203"/>
                  </a:lnTo>
                  <a:lnTo>
                    <a:pt x="466" y="197"/>
                  </a:lnTo>
                  <a:lnTo>
                    <a:pt x="466" y="192"/>
                  </a:lnTo>
                  <a:lnTo>
                    <a:pt x="466" y="186"/>
                  </a:lnTo>
                  <a:lnTo>
                    <a:pt x="463" y="186"/>
                  </a:lnTo>
                  <a:lnTo>
                    <a:pt x="463" y="184"/>
                  </a:lnTo>
                  <a:lnTo>
                    <a:pt x="468" y="181"/>
                  </a:lnTo>
                  <a:lnTo>
                    <a:pt x="468" y="179"/>
                  </a:lnTo>
                  <a:lnTo>
                    <a:pt x="472" y="179"/>
                  </a:lnTo>
                  <a:lnTo>
                    <a:pt x="476" y="179"/>
                  </a:lnTo>
                  <a:lnTo>
                    <a:pt x="476" y="181"/>
                  </a:lnTo>
                  <a:lnTo>
                    <a:pt x="478" y="184"/>
                  </a:lnTo>
                  <a:lnTo>
                    <a:pt x="478" y="186"/>
                  </a:lnTo>
                  <a:lnTo>
                    <a:pt x="474" y="190"/>
                  </a:lnTo>
                  <a:lnTo>
                    <a:pt x="472" y="194"/>
                  </a:lnTo>
                  <a:lnTo>
                    <a:pt x="476" y="197"/>
                  </a:lnTo>
                  <a:lnTo>
                    <a:pt x="478" y="197"/>
                  </a:lnTo>
                  <a:lnTo>
                    <a:pt x="480" y="201"/>
                  </a:lnTo>
                  <a:lnTo>
                    <a:pt x="485" y="203"/>
                  </a:lnTo>
                  <a:lnTo>
                    <a:pt x="485" y="207"/>
                  </a:lnTo>
                  <a:lnTo>
                    <a:pt x="483" y="207"/>
                  </a:lnTo>
                  <a:lnTo>
                    <a:pt x="483" y="214"/>
                  </a:lnTo>
                  <a:lnTo>
                    <a:pt x="485" y="216"/>
                  </a:lnTo>
                  <a:lnTo>
                    <a:pt x="487" y="218"/>
                  </a:lnTo>
                  <a:lnTo>
                    <a:pt x="489" y="216"/>
                  </a:lnTo>
                  <a:lnTo>
                    <a:pt x="493" y="218"/>
                  </a:lnTo>
                  <a:lnTo>
                    <a:pt x="496" y="218"/>
                  </a:lnTo>
                  <a:lnTo>
                    <a:pt x="496" y="216"/>
                  </a:lnTo>
                  <a:lnTo>
                    <a:pt x="493" y="214"/>
                  </a:lnTo>
                  <a:lnTo>
                    <a:pt x="498" y="211"/>
                  </a:lnTo>
                  <a:lnTo>
                    <a:pt x="502" y="211"/>
                  </a:lnTo>
                  <a:lnTo>
                    <a:pt x="506" y="209"/>
                  </a:lnTo>
                  <a:lnTo>
                    <a:pt x="512" y="209"/>
                  </a:lnTo>
                  <a:lnTo>
                    <a:pt x="513" y="207"/>
                  </a:lnTo>
                  <a:lnTo>
                    <a:pt x="515" y="209"/>
                  </a:lnTo>
                  <a:lnTo>
                    <a:pt x="517" y="209"/>
                  </a:lnTo>
                  <a:lnTo>
                    <a:pt x="519" y="205"/>
                  </a:lnTo>
                  <a:lnTo>
                    <a:pt x="519" y="203"/>
                  </a:lnTo>
                  <a:lnTo>
                    <a:pt x="513" y="203"/>
                  </a:lnTo>
                  <a:lnTo>
                    <a:pt x="512" y="203"/>
                  </a:lnTo>
                  <a:lnTo>
                    <a:pt x="510" y="203"/>
                  </a:lnTo>
                  <a:lnTo>
                    <a:pt x="506" y="203"/>
                  </a:lnTo>
                  <a:lnTo>
                    <a:pt x="506" y="201"/>
                  </a:lnTo>
                  <a:lnTo>
                    <a:pt x="504" y="201"/>
                  </a:lnTo>
                  <a:lnTo>
                    <a:pt x="504" y="199"/>
                  </a:lnTo>
                  <a:lnTo>
                    <a:pt x="502" y="197"/>
                  </a:lnTo>
                  <a:lnTo>
                    <a:pt x="502" y="199"/>
                  </a:lnTo>
                  <a:lnTo>
                    <a:pt x="502" y="197"/>
                  </a:lnTo>
                  <a:lnTo>
                    <a:pt x="498" y="196"/>
                  </a:lnTo>
                  <a:lnTo>
                    <a:pt x="498" y="194"/>
                  </a:lnTo>
                  <a:lnTo>
                    <a:pt x="498" y="192"/>
                  </a:lnTo>
                  <a:lnTo>
                    <a:pt x="502" y="190"/>
                  </a:lnTo>
                  <a:lnTo>
                    <a:pt x="502" y="190"/>
                  </a:lnTo>
                  <a:lnTo>
                    <a:pt x="502" y="190"/>
                  </a:lnTo>
                  <a:lnTo>
                    <a:pt x="502" y="190"/>
                  </a:lnTo>
                  <a:lnTo>
                    <a:pt x="502" y="186"/>
                  </a:lnTo>
                  <a:lnTo>
                    <a:pt x="502" y="186"/>
                  </a:lnTo>
                  <a:lnTo>
                    <a:pt x="498" y="184"/>
                  </a:lnTo>
                  <a:lnTo>
                    <a:pt x="498" y="182"/>
                  </a:lnTo>
                  <a:lnTo>
                    <a:pt x="498" y="181"/>
                  </a:lnTo>
                  <a:lnTo>
                    <a:pt x="496" y="179"/>
                  </a:lnTo>
                  <a:lnTo>
                    <a:pt x="493" y="179"/>
                  </a:lnTo>
                  <a:lnTo>
                    <a:pt x="493" y="175"/>
                  </a:lnTo>
                  <a:lnTo>
                    <a:pt x="489" y="169"/>
                  </a:lnTo>
                  <a:lnTo>
                    <a:pt x="485" y="165"/>
                  </a:lnTo>
                  <a:lnTo>
                    <a:pt x="483" y="165"/>
                  </a:lnTo>
                  <a:lnTo>
                    <a:pt x="483" y="162"/>
                  </a:lnTo>
                  <a:lnTo>
                    <a:pt x="485" y="162"/>
                  </a:lnTo>
                  <a:lnTo>
                    <a:pt x="485" y="165"/>
                  </a:lnTo>
                  <a:lnTo>
                    <a:pt x="489" y="165"/>
                  </a:lnTo>
                  <a:lnTo>
                    <a:pt x="493" y="162"/>
                  </a:lnTo>
                  <a:lnTo>
                    <a:pt x="493" y="160"/>
                  </a:lnTo>
                  <a:lnTo>
                    <a:pt x="502" y="158"/>
                  </a:lnTo>
                  <a:lnTo>
                    <a:pt x="506" y="152"/>
                  </a:lnTo>
                  <a:lnTo>
                    <a:pt x="508" y="148"/>
                  </a:lnTo>
                  <a:lnTo>
                    <a:pt x="512" y="147"/>
                  </a:lnTo>
                  <a:lnTo>
                    <a:pt x="512" y="145"/>
                  </a:lnTo>
                  <a:lnTo>
                    <a:pt x="515" y="143"/>
                  </a:lnTo>
                  <a:lnTo>
                    <a:pt x="519" y="145"/>
                  </a:lnTo>
                  <a:lnTo>
                    <a:pt x="523" y="145"/>
                  </a:lnTo>
                  <a:lnTo>
                    <a:pt x="523" y="141"/>
                  </a:lnTo>
                  <a:lnTo>
                    <a:pt x="523" y="137"/>
                  </a:lnTo>
                  <a:lnTo>
                    <a:pt x="521" y="137"/>
                  </a:lnTo>
                  <a:lnTo>
                    <a:pt x="513" y="137"/>
                  </a:lnTo>
                  <a:lnTo>
                    <a:pt x="510" y="141"/>
                  </a:lnTo>
                  <a:lnTo>
                    <a:pt x="502" y="141"/>
                  </a:lnTo>
                  <a:lnTo>
                    <a:pt x="502" y="141"/>
                  </a:lnTo>
                  <a:lnTo>
                    <a:pt x="498" y="145"/>
                  </a:lnTo>
                  <a:lnTo>
                    <a:pt x="493" y="143"/>
                  </a:lnTo>
                  <a:lnTo>
                    <a:pt x="493" y="145"/>
                  </a:lnTo>
                  <a:lnTo>
                    <a:pt x="489" y="143"/>
                  </a:lnTo>
                  <a:lnTo>
                    <a:pt x="485" y="141"/>
                  </a:lnTo>
                  <a:lnTo>
                    <a:pt x="481" y="147"/>
                  </a:lnTo>
                  <a:lnTo>
                    <a:pt x="478" y="152"/>
                  </a:lnTo>
                  <a:lnTo>
                    <a:pt x="474" y="154"/>
                  </a:lnTo>
                  <a:lnTo>
                    <a:pt x="472" y="154"/>
                  </a:lnTo>
                  <a:lnTo>
                    <a:pt x="472" y="152"/>
                  </a:lnTo>
                  <a:lnTo>
                    <a:pt x="466" y="147"/>
                  </a:lnTo>
                  <a:lnTo>
                    <a:pt x="461" y="143"/>
                  </a:lnTo>
                  <a:lnTo>
                    <a:pt x="459" y="137"/>
                  </a:lnTo>
                  <a:lnTo>
                    <a:pt x="459" y="130"/>
                  </a:lnTo>
                  <a:lnTo>
                    <a:pt x="463" y="122"/>
                  </a:lnTo>
                  <a:lnTo>
                    <a:pt x="466" y="118"/>
                  </a:lnTo>
                  <a:lnTo>
                    <a:pt x="466" y="118"/>
                  </a:lnTo>
                  <a:lnTo>
                    <a:pt x="466" y="118"/>
                  </a:lnTo>
                  <a:lnTo>
                    <a:pt x="466" y="118"/>
                  </a:lnTo>
                  <a:close/>
                  <a:moveTo>
                    <a:pt x="468" y="0"/>
                  </a:moveTo>
                  <a:lnTo>
                    <a:pt x="466" y="3"/>
                  </a:lnTo>
                  <a:lnTo>
                    <a:pt x="468" y="3"/>
                  </a:lnTo>
                  <a:lnTo>
                    <a:pt x="468" y="2"/>
                  </a:lnTo>
                  <a:lnTo>
                    <a:pt x="468" y="0"/>
                  </a:lnTo>
                  <a:lnTo>
                    <a:pt x="468" y="0"/>
                  </a:lnTo>
                  <a:lnTo>
                    <a:pt x="468" y="0"/>
                  </a:lnTo>
                  <a:lnTo>
                    <a:pt x="468" y="0"/>
                  </a:lnTo>
                  <a:close/>
                  <a:moveTo>
                    <a:pt x="472" y="11"/>
                  </a:moveTo>
                  <a:lnTo>
                    <a:pt x="476" y="11"/>
                  </a:lnTo>
                  <a:lnTo>
                    <a:pt x="478" y="11"/>
                  </a:lnTo>
                  <a:lnTo>
                    <a:pt x="480" y="11"/>
                  </a:lnTo>
                  <a:lnTo>
                    <a:pt x="481" y="11"/>
                  </a:lnTo>
                  <a:lnTo>
                    <a:pt x="481" y="11"/>
                  </a:lnTo>
                  <a:lnTo>
                    <a:pt x="478" y="9"/>
                  </a:lnTo>
                  <a:lnTo>
                    <a:pt x="472" y="11"/>
                  </a:lnTo>
                  <a:lnTo>
                    <a:pt x="472" y="11"/>
                  </a:lnTo>
                  <a:lnTo>
                    <a:pt x="472" y="11"/>
                  </a:lnTo>
                  <a:lnTo>
                    <a:pt x="472" y="11"/>
                  </a:lnTo>
                  <a:lnTo>
                    <a:pt x="472" y="11"/>
                  </a:lnTo>
                  <a:lnTo>
                    <a:pt x="472" y="11"/>
                  </a:lnTo>
                  <a:close/>
                  <a:moveTo>
                    <a:pt x="444" y="32"/>
                  </a:moveTo>
                  <a:lnTo>
                    <a:pt x="444" y="34"/>
                  </a:lnTo>
                  <a:lnTo>
                    <a:pt x="448" y="35"/>
                  </a:lnTo>
                  <a:lnTo>
                    <a:pt x="448" y="35"/>
                  </a:lnTo>
                  <a:lnTo>
                    <a:pt x="444" y="32"/>
                  </a:lnTo>
                  <a:lnTo>
                    <a:pt x="444" y="32"/>
                  </a:lnTo>
                  <a:lnTo>
                    <a:pt x="444" y="32"/>
                  </a:lnTo>
                  <a:lnTo>
                    <a:pt x="444" y="32"/>
                  </a:lnTo>
                  <a:close/>
                  <a:moveTo>
                    <a:pt x="451" y="28"/>
                  </a:moveTo>
                  <a:lnTo>
                    <a:pt x="457" y="24"/>
                  </a:lnTo>
                  <a:lnTo>
                    <a:pt x="461" y="24"/>
                  </a:lnTo>
                  <a:lnTo>
                    <a:pt x="461" y="24"/>
                  </a:lnTo>
                  <a:lnTo>
                    <a:pt x="457" y="28"/>
                  </a:lnTo>
                  <a:lnTo>
                    <a:pt x="453" y="28"/>
                  </a:lnTo>
                  <a:lnTo>
                    <a:pt x="451" y="28"/>
                  </a:lnTo>
                  <a:lnTo>
                    <a:pt x="451" y="28"/>
                  </a:lnTo>
                  <a:lnTo>
                    <a:pt x="451" y="28"/>
                  </a:lnTo>
                  <a:lnTo>
                    <a:pt x="451" y="28"/>
                  </a:lnTo>
                  <a:close/>
                  <a:moveTo>
                    <a:pt x="414" y="49"/>
                  </a:moveTo>
                  <a:lnTo>
                    <a:pt x="414" y="49"/>
                  </a:lnTo>
                  <a:lnTo>
                    <a:pt x="414" y="49"/>
                  </a:lnTo>
                  <a:lnTo>
                    <a:pt x="414" y="49"/>
                  </a:lnTo>
                  <a:lnTo>
                    <a:pt x="414" y="49"/>
                  </a:lnTo>
                  <a:lnTo>
                    <a:pt x="414" y="49"/>
                  </a:lnTo>
                  <a:lnTo>
                    <a:pt x="414" y="49"/>
                  </a:lnTo>
                  <a:close/>
                  <a:moveTo>
                    <a:pt x="414" y="45"/>
                  </a:moveTo>
                  <a:lnTo>
                    <a:pt x="414" y="49"/>
                  </a:lnTo>
                  <a:lnTo>
                    <a:pt x="414" y="49"/>
                  </a:lnTo>
                  <a:lnTo>
                    <a:pt x="417" y="49"/>
                  </a:lnTo>
                  <a:lnTo>
                    <a:pt x="417" y="49"/>
                  </a:lnTo>
                  <a:lnTo>
                    <a:pt x="414" y="45"/>
                  </a:lnTo>
                  <a:lnTo>
                    <a:pt x="414" y="45"/>
                  </a:lnTo>
                  <a:lnTo>
                    <a:pt x="414" y="45"/>
                  </a:lnTo>
                  <a:lnTo>
                    <a:pt x="414" y="45"/>
                  </a:lnTo>
                  <a:close/>
                  <a:moveTo>
                    <a:pt x="417" y="56"/>
                  </a:moveTo>
                  <a:lnTo>
                    <a:pt x="414" y="56"/>
                  </a:lnTo>
                  <a:lnTo>
                    <a:pt x="414" y="58"/>
                  </a:lnTo>
                  <a:lnTo>
                    <a:pt x="417" y="56"/>
                  </a:lnTo>
                  <a:lnTo>
                    <a:pt x="417" y="56"/>
                  </a:lnTo>
                  <a:lnTo>
                    <a:pt x="417" y="56"/>
                  </a:lnTo>
                  <a:lnTo>
                    <a:pt x="417" y="56"/>
                  </a:lnTo>
                  <a:close/>
                  <a:moveTo>
                    <a:pt x="410" y="60"/>
                  </a:moveTo>
                  <a:lnTo>
                    <a:pt x="414" y="60"/>
                  </a:lnTo>
                  <a:lnTo>
                    <a:pt x="414" y="64"/>
                  </a:lnTo>
                  <a:lnTo>
                    <a:pt x="414" y="64"/>
                  </a:lnTo>
                  <a:lnTo>
                    <a:pt x="410" y="60"/>
                  </a:lnTo>
                  <a:lnTo>
                    <a:pt x="410" y="60"/>
                  </a:lnTo>
                  <a:lnTo>
                    <a:pt x="410" y="60"/>
                  </a:lnTo>
                  <a:lnTo>
                    <a:pt x="410" y="60"/>
                  </a:lnTo>
                  <a:close/>
                  <a:moveTo>
                    <a:pt x="389" y="192"/>
                  </a:moveTo>
                  <a:lnTo>
                    <a:pt x="389" y="192"/>
                  </a:lnTo>
                  <a:lnTo>
                    <a:pt x="389" y="197"/>
                  </a:lnTo>
                  <a:lnTo>
                    <a:pt x="389" y="197"/>
                  </a:lnTo>
                  <a:lnTo>
                    <a:pt x="389" y="192"/>
                  </a:lnTo>
                  <a:lnTo>
                    <a:pt x="389" y="192"/>
                  </a:lnTo>
                  <a:lnTo>
                    <a:pt x="389" y="192"/>
                  </a:lnTo>
                  <a:lnTo>
                    <a:pt x="389" y="192"/>
                  </a:lnTo>
                  <a:lnTo>
                    <a:pt x="389" y="192"/>
                  </a:lnTo>
                  <a:close/>
                  <a:moveTo>
                    <a:pt x="385" y="192"/>
                  </a:moveTo>
                  <a:lnTo>
                    <a:pt x="389" y="197"/>
                  </a:lnTo>
                  <a:lnTo>
                    <a:pt x="385" y="201"/>
                  </a:lnTo>
                  <a:lnTo>
                    <a:pt x="384" y="205"/>
                  </a:lnTo>
                  <a:lnTo>
                    <a:pt x="384" y="203"/>
                  </a:lnTo>
                  <a:lnTo>
                    <a:pt x="384" y="197"/>
                  </a:lnTo>
                  <a:lnTo>
                    <a:pt x="385" y="190"/>
                  </a:lnTo>
                  <a:lnTo>
                    <a:pt x="385" y="190"/>
                  </a:lnTo>
                  <a:lnTo>
                    <a:pt x="385" y="192"/>
                  </a:lnTo>
                  <a:lnTo>
                    <a:pt x="385" y="192"/>
                  </a:lnTo>
                  <a:lnTo>
                    <a:pt x="385" y="192"/>
                  </a:lnTo>
                  <a:lnTo>
                    <a:pt x="385" y="192"/>
                  </a:lnTo>
                  <a:close/>
                  <a:moveTo>
                    <a:pt x="259" y="133"/>
                  </a:moveTo>
                  <a:lnTo>
                    <a:pt x="265" y="133"/>
                  </a:lnTo>
                  <a:lnTo>
                    <a:pt x="265" y="137"/>
                  </a:lnTo>
                  <a:lnTo>
                    <a:pt x="263" y="137"/>
                  </a:lnTo>
                  <a:lnTo>
                    <a:pt x="259" y="137"/>
                  </a:lnTo>
                  <a:lnTo>
                    <a:pt x="259" y="133"/>
                  </a:lnTo>
                  <a:lnTo>
                    <a:pt x="259" y="133"/>
                  </a:lnTo>
                  <a:lnTo>
                    <a:pt x="259" y="133"/>
                  </a:lnTo>
                  <a:lnTo>
                    <a:pt x="259" y="133"/>
                  </a:lnTo>
                  <a:lnTo>
                    <a:pt x="259" y="133"/>
                  </a:lnTo>
                  <a:close/>
                  <a:moveTo>
                    <a:pt x="261" y="141"/>
                  </a:moveTo>
                  <a:lnTo>
                    <a:pt x="267" y="143"/>
                  </a:lnTo>
                  <a:lnTo>
                    <a:pt x="267" y="145"/>
                  </a:lnTo>
                  <a:lnTo>
                    <a:pt x="271" y="145"/>
                  </a:lnTo>
                  <a:lnTo>
                    <a:pt x="271" y="147"/>
                  </a:lnTo>
                  <a:lnTo>
                    <a:pt x="265" y="147"/>
                  </a:lnTo>
                  <a:lnTo>
                    <a:pt x="263" y="147"/>
                  </a:lnTo>
                  <a:lnTo>
                    <a:pt x="261" y="143"/>
                  </a:lnTo>
                  <a:lnTo>
                    <a:pt x="261" y="141"/>
                  </a:lnTo>
                  <a:lnTo>
                    <a:pt x="261" y="141"/>
                  </a:lnTo>
                  <a:lnTo>
                    <a:pt x="261" y="141"/>
                  </a:lnTo>
                  <a:lnTo>
                    <a:pt x="261" y="141"/>
                  </a:lnTo>
                  <a:close/>
                  <a:moveTo>
                    <a:pt x="265" y="147"/>
                  </a:moveTo>
                  <a:lnTo>
                    <a:pt x="271" y="148"/>
                  </a:lnTo>
                  <a:lnTo>
                    <a:pt x="272" y="150"/>
                  </a:lnTo>
                  <a:lnTo>
                    <a:pt x="267" y="154"/>
                  </a:lnTo>
                  <a:lnTo>
                    <a:pt x="267" y="154"/>
                  </a:lnTo>
                  <a:lnTo>
                    <a:pt x="265" y="152"/>
                  </a:lnTo>
                  <a:lnTo>
                    <a:pt x="265" y="150"/>
                  </a:lnTo>
                  <a:lnTo>
                    <a:pt x="265" y="150"/>
                  </a:lnTo>
                  <a:lnTo>
                    <a:pt x="265" y="147"/>
                  </a:lnTo>
                  <a:lnTo>
                    <a:pt x="265" y="147"/>
                  </a:lnTo>
                  <a:lnTo>
                    <a:pt x="265" y="147"/>
                  </a:lnTo>
                  <a:lnTo>
                    <a:pt x="265" y="147"/>
                  </a:lnTo>
                  <a:close/>
                  <a:moveTo>
                    <a:pt x="256" y="103"/>
                  </a:moveTo>
                  <a:lnTo>
                    <a:pt x="259" y="100"/>
                  </a:lnTo>
                  <a:lnTo>
                    <a:pt x="263" y="92"/>
                  </a:lnTo>
                  <a:lnTo>
                    <a:pt x="265" y="92"/>
                  </a:lnTo>
                  <a:lnTo>
                    <a:pt x="267" y="88"/>
                  </a:lnTo>
                  <a:lnTo>
                    <a:pt x="272" y="98"/>
                  </a:lnTo>
                  <a:lnTo>
                    <a:pt x="280" y="100"/>
                  </a:lnTo>
                  <a:lnTo>
                    <a:pt x="280" y="101"/>
                  </a:lnTo>
                  <a:lnTo>
                    <a:pt x="282" y="105"/>
                  </a:lnTo>
                  <a:lnTo>
                    <a:pt x="284" y="109"/>
                  </a:lnTo>
                  <a:lnTo>
                    <a:pt x="288" y="109"/>
                  </a:lnTo>
                  <a:lnTo>
                    <a:pt x="293" y="109"/>
                  </a:lnTo>
                  <a:lnTo>
                    <a:pt x="293" y="105"/>
                  </a:lnTo>
                  <a:lnTo>
                    <a:pt x="299" y="107"/>
                  </a:lnTo>
                  <a:lnTo>
                    <a:pt x="301" y="105"/>
                  </a:lnTo>
                  <a:lnTo>
                    <a:pt x="310" y="105"/>
                  </a:lnTo>
                  <a:lnTo>
                    <a:pt x="321" y="101"/>
                  </a:lnTo>
                  <a:lnTo>
                    <a:pt x="323" y="98"/>
                  </a:lnTo>
                  <a:lnTo>
                    <a:pt x="331" y="98"/>
                  </a:lnTo>
                  <a:lnTo>
                    <a:pt x="336" y="101"/>
                  </a:lnTo>
                  <a:lnTo>
                    <a:pt x="338" y="103"/>
                  </a:lnTo>
                  <a:lnTo>
                    <a:pt x="342" y="103"/>
                  </a:lnTo>
                  <a:lnTo>
                    <a:pt x="352" y="98"/>
                  </a:lnTo>
                  <a:lnTo>
                    <a:pt x="359" y="98"/>
                  </a:lnTo>
                  <a:lnTo>
                    <a:pt x="359" y="94"/>
                  </a:lnTo>
                  <a:lnTo>
                    <a:pt x="365" y="84"/>
                  </a:lnTo>
                  <a:lnTo>
                    <a:pt x="368" y="75"/>
                  </a:lnTo>
                  <a:lnTo>
                    <a:pt x="374" y="69"/>
                  </a:lnTo>
                  <a:lnTo>
                    <a:pt x="378" y="52"/>
                  </a:lnTo>
                  <a:lnTo>
                    <a:pt x="378" y="51"/>
                  </a:lnTo>
                  <a:lnTo>
                    <a:pt x="380" y="49"/>
                  </a:lnTo>
                  <a:lnTo>
                    <a:pt x="380" y="45"/>
                  </a:lnTo>
                  <a:lnTo>
                    <a:pt x="385" y="39"/>
                  </a:lnTo>
                  <a:lnTo>
                    <a:pt x="385" y="41"/>
                  </a:lnTo>
                  <a:lnTo>
                    <a:pt x="393" y="41"/>
                  </a:lnTo>
                  <a:lnTo>
                    <a:pt x="400" y="41"/>
                  </a:lnTo>
                  <a:lnTo>
                    <a:pt x="402" y="41"/>
                  </a:lnTo>
                  <a:lnTo>
                    <a:pt x="408" y="41"/>
                  </a:lnTo>
                  <a:lnTo>
                    <a:pt x="414" y="45"/>
                  </a:lnTo>
                  <a:lnTo>
                    <a:pt x="410" y="45"/>
                  </a:lnTo>
                  <a:lnTo>
                    <a:pt x="410" y="45"/>
                  </a:lnTo>
                  <a:lnTo>
                    <a:pt x="410" y="49"/>
                  </a:lnTo>
                  <a:lnTo>
                    <a:pt x="410" y="49"/>
                  </a:lnTo>
                  <a:lnTo>
                    <a:pt x="414" y="51"/>
                  </a:lnTo>
                  <a:lnTo>
                    <a:pt x="417" y="54"/>
                  </a:lnTo>
                  <a:lnTo>
                    <a:pt x="414" y="56"/>
                  </a:lnTo>
                  <a:lnTo>
                    <a:pt x="408" y="54"/>
                  </a:lnTo>
                  <a:lnTo>
                    <a:pt x="406" y="56"/>
                  </a:lnTo>
                  <a:lnTo>
                    <a:pt x="410" y="60"/>
                  </a:lnTo>
                  <a:lnTo>
                    <a:pt x="410" y="60"/>
                  </a:lnTo>
                  <a:lnTo>
                    <a:pt x="410" y="64"/>
                  </a:lnTo>
                  <a:lnTo>
                    <a:pt x="410" y="64"/>
                  </a:lnTo>
                  <a:lnTo>
                    <a:pt x="410" y="64"/>
                  </a:lnTo>
                  <a:lnTo>
                    <a:pt x="410" y="69"/>
                  </a:lnTo>
                  <a:lnTo>
                    <a:pt x="414" y="73"/>
                  </a:lnTo>
                  <a:lnTo>
                    <a:pt x="417" y="79"/>
                  </a:lnTo>
                  <a:lnTo>
                    <a:pt x="423" y="81"/>
                  </a:lnTo>
                  <a:lnTo>
                    <a:pt x="419" y="84"/>
                  </a:lnTo>
                  <a:lnTo>
                    <a:pt x="414" y="84"/>
                  </a:lnTo>
                  <a:lnTo>
                    <a:pt x="414" y="88"/>
                  </a:lnTo>
                  <a:lnTo>
                    <a:pt x="417" y="88"/>
                  </a:lnTo>
                  <a:lnTo>
                    <a:pt x="417" y="92"/>
                  </a:lnTo>
                  <a:lnTo>
                    <a:pt x="419" y="92"/>
                  </a:lnTo>
                  <a:lnTo>
                    <a:pt x="427" y="101"/>
                  </a:lnTo>
                  <a:lnTo>
                    <a:pt x="431" y="101"/>
                  </a:lnTo>
                  <a:lnTo>
                    <a:pt x="432" y="105"/>
                  </a:lnTo>
                  <a:lnTo>
                    <a:pt x="434" y="107"/>
                  </a:lnTo>
                  <a:lnTo>
                    <a:pt x="438" y="107"/>
                  </a:lnTo>
                  <a:lnTo>
                    <a:pt x="434" y="109"/>
                  </a:lnTo>
                  <a:lnTo>
                    <a:pt x="434" y="113"/>
                  </a:lnTo>
                  <a:lnTo>
                    <a:pt x="432" y="109"/>
                  </a:lnTo>
                  <a:lnTo>
                    <a:pt x="429" y="113"/>
                  </a:lnTo>
                  <a:lnTo>
                    <a:pt x="425" y="113"/>
                  </a:lnTo>
                  <a:lnTo>
                    <a:pt x="417" y="107"/>
                  </a:lnTo>
                  <a:lnTo>
                    <a:pt x="419" y="109"/>
                  </a:lnTo>
                  <a:lnTo>
                    <a:pt x="417" y="113"/>
                  </a:lnTo>
                  <a:lnTo>
                    <a:pt x="417" y="109"/>
                  </a:lnTo>
                  <a:lnTo>
                    <a:pt x="414" y="113"/>
                  </a:lnTo>
                  <a:lnTo>
                    <a:pt x="414" y="116"/>
                  </a:lnTo>
                  <a:lnTo>
                    <a:pt x="410" y="118"/>
                  </a:lnTo>
                  <a:lnTo>
                    <a:pt x="410" y="126"/>
                  </a:lnTo>
                  <a:lnTo>
                    <a:pt x="410" y="128"/>
                  </a:lnTo>
                  <a:lnTo>
                    <a:pt x="408" y="133"/>
                  </a:lnTo>
                  <a:lnTo>
                    <a:pt x="402" y="137"/>
                  </a:lnTo>
                  <a:lnTo>
                    <a:pt x="404" y="143"/>
                  </a:lnTo>
                  <a:lnTo>
                    <a:pt x="402" y="147"/>
                  </a:lnTo>
                  <a:lnTo>
                    <a:pt x="399" y="150"/>
                  </a:lnTo>
                  <a:lnTo>
                    <a:pt x="397" y="147"/>
                  </a:lnTo>
                  <a:lnTo>
                    <a:pt x="395" y="145"/>
                  </a:lnTo>
                  <a:lnTo>
                    <a:pt x="397" y="148"/>
                  </a:lnTo>
                  <a:lnTo>
                    <a:pt x="397" y="152"/>
                  </a:lnTo>
                  <a:lnTo>
                    <a:pt x="393" y="156"/>
                  </a:lnTo>
                  <a:lnTo>
                    <a:pt x="393" y="160"/>
                  </a:lnTo>
                  <a:lnTo>
                    <a:pt x="389" y="160"/>
                  </a:lnTo>
                  <a:lnTo>
                    <a:pt x="385" y="160"/>
                  </a:lnTo>
                  <a:lnTo>
                    <a:pt x="389" y="162"/>
                  </a:lnTo>
                  <a:lnTo>
                    <a:pt x="385" y="162"/>
                  </a:lnTo>
                  <a:lnTo>
                    <a:pt x="389" y="162"/>
                  </a:lnTo>
                  <a:lnTo>
                    <a:pt x="393" y="165"/>
                  </a:lnTo>
                  <a:lnTo>
                    <a:pt x="393" y="167"/>
                  </a:lnTo>
                  <a:lnTo>
                    <a:pt x="389" y="167"/>
                  </a:lnTo>
                  <a:lnTo>
                    <a:pt x="389" y="169"/>
                  </a:lnTo>
                  <a:lnTo>
                    <a:pt x="393" y="169"/>
                  </a:lnTo>
                  <a:lnTo>
                    <a:pt x="393" y="171"/>
                  </a:lnTo>
                  <a:lnTo>
                    <a:pt x="393" y="175"/>
                  </a:lnTo>
                  <a:lnTo>
                    <a:pt x="389" y="173"/>
                  </a:lnTo>
                  <a:lnTo>
                    <a:pt x="389" y="173"/>
                  </a:lnTo>
                  <a:lnTo>
                    <a:pt x="389" y="175"/>
                  </a:lnTo>
                  <a:lnTo>
                    <a:pt x="389" y="177"/>
                  </a:lnTo>
                  <a:lnTo>
                    <a:pt x="389" y="177"/>
                  </a:lnTo>
                  <a:lnTo>
                    <a:pt x="389" y="184"/>
                  </a:lnTo>
                  <a:lnTo>
                    <a:pt x="385" y="184"/>
                  </a:lnTo>
                  <a:lnTo>
                    <a:pt x="385" y="182"/>
                  </a:lnTo>
                  <a:lnTo>
                    <a:pt x="385" y="186"/>
                  </a:lnTo>
                  <a:lnTo>
                    <a:pt x="385" y="190"/>
                  </a:lnTo>
                  <a:lnTo>
                    <a:pt x="380" y="196"/>
                  </a:lnTo>
                  <a:lnTo>
                    <a:pt x="374" y="199"/>
                  </a:lnTo>
                  <a:lnTo>
                    <a:pt x="368" y="201"/>
                  </a:lnTo>
                  <a:lnTo>
                    <a:pt x="361" y="205"/>
                  </a:lnTo>
                  <a:lnTo>
                    <a:pt x="355" y="205"/>
                  </a:lnTo>
                  <a:lnTo>
                    <a:pt x="355" y="199"/>
                  </a:lnTo>
                  <a:lnTo>
                    <a:pt x="355" y="197"/>
                  </a:lnTo>
                  <a:lnTo>
                    <a:pt x="355" y="194"/>
                  </a:lnTo>
                  <a:lnTo>
                    <a:pt x="355" y="192"/>
                  </a:lnTo>
                  <a:lnTo>
                    <a:pt x="353" y="194"/>
                  </a:lnTo>
                  <a:lnTo>
                    <a:pt x="352" y="190"/>
                  </a:lnTo>
                  <a:lnTo>
                    <a:pt x="350" y="192"/>
                  </a:lnTo>
                  <a:lnTo>
                    <a:pt x="346" y="190"/>
                  </a:lnTo>
                  <a:lnTo>
                    <a:pt x="344" y="190"/>
                  </a:lnTo>
                  <a:lnTo>
                    <a:pt x="342" y="190"/>
                  </a:lnTo>
                  <a:lnTo>
                    <a:pt x="344" y="194"/>
                  </a:lnTo>
                  <a:lnTo>
                    <a:pt x="340" y="192"/>
                  </a:lnTo>
                  <a:lnTo>
                    <a:pt x="338" y="190"/>
                  </a:lnTo>
                  <a:lnTo>
                    <a:pt x="338" y="186"/>
                  </a:lnTo>
                  <a:lnTo>
                    <a:pt x="336" y="186"/>
                  </a:lnTo>
                  <a:lnTo>
                    <a:pt x="335" y="186"/>
                  </a:lnTo>
                  <a:lnTo>
                    <a:pt x="331" y="186"/>
                  </a:lnTo>
                  <a:lnTo>
                    <a:pt x="331" y="186"/>
                  </a:lnTo>
                  <a:lnTo>
                    <a:pt x="327" y="190"/>
                  </a:lnTo>
                  <a:lnTo>
                    <a:pt x="323" y="190"/>
                  </a:lnTo>
                  <a:lnTo>
                    <a:pt x="321" y="190"/>
                  </a:lnTo>
                  <a:lnTo>
                    <a:pt x="320" y="192"/>
                  </a:lnTo>
                  <a:lnTo>
                    <a:pt x="318" y="190"/>
                  </a:lnTo>
                  <a:lnTo>
                    <a:pt x="316" y="190"/>
                  </a:lnTo>
                  <a:lnTo>
                    <a:pt x="310" y="196"/>
                  </a:lnTo>
                  <a:lnTo>
                    <a:pt x="310" y="196"/>
                  </a:lnTo>
                  <a:lnTo>
                    <a:pt x="310" y="192"/>
                  </a:lnTo>
                  <a:lnTo>
                    <a:pt x="310" y="186"/>
                  </a:lnTo>
                  <a:lnTo>
                    <a:pt x="306" y="182"/>
                  </a:lnTo>
                  <a:lnTo>
                    <a:pt x="306" y="179"/>
                  </a:lnTo>
                  <a:lnTo>
                    <a:pt x="304" y="177"/>
                  </a:lnTo>
                  <a:lnTo>
                    <a:pt x="306" y="179"/>
                  </a:lnTo>
                  <a:lnTo>
                    <a:pt x="304" y="182"/>
                  </a:lnTo>
                  <a:lnTo>
                    <a:pt x="301" y="184"/>
                  </a:lnTo>
                  <a:lnTo>
                    <a:pt x="301" y="182"/>
                  </a:lnTo>
                  <a:lnTo>
                    <a:pt x="297" y="184"/>
                  </a:lnTo>
                  <a:lnTo>
                    <a:pt x="293" y="186"/>
                  </a:lnTo>
                  <a:lnTo>
                    <a:pt x="289" y="184"/>
                  </a:lnTo>
                  <a:lnTo>
                    <a:pt x="286" y="184"/>
                  </a:lnTo>
                  <a:lnTo>
                    <a:pt x="284" y="181"/>
                  </a:lnTo>
                  <a:lnTo>
                    <a:pt x="282" y="184"/>
                  </a:lnTo>
                  <a:lnTo>
                    <a:pt x="280" y="184"/>
                  </a:lnTo>
                  <a:lnTo>
                    <a:pt x="276" y="179"/>
                  </a:lnTo>
                  <a:lnTo>
                    <a:pt x="276" y="173"/>
                  </a:lnTo>
                  <a:lnTo>
                    <a:pt x="276" y="165"/>
                  </a:lnTo>
                  <a:lnTo>
                    <a:pt x="272" y="165"/>
                  </a:lnTo>
                  <a:lnTo>
                    <a:pt x="272" y="162"/>
                  </a:lnTo>
                  <a:lnTo>
                    <a:pt x="272" y="160"/>
                  </a:lnTo>
                  <a:lnTo>
                    <a:pt x="276" y="156"/>
                  </a:lnTo>
                  <a:lnTo>
                    <a:pt x="276" y="152"/>
                  </a:lnTo>
                  <a:lnTo>
                    <a:pt x="276" y="148"/>
                  </a:lnTo>
                  <a:lnTo>
                    <a:pt x="271" y="143"/>
                  </a:lnTo>
                  <a:lnTo>
                    <a:pt x="265" y="141"/>
                  </a:lnTo>
                  <a:lnTo>
                    <a:pt x="261" y="141"/>
                  </a:lnTo>
                  <a:lnTo>
                    <a:pt x="261" y="137"/>
                  </a:lnTo>
                  <a:lnTo>
                    <a:pt x="263" y="137"/>
                  </a:lnTo>
                  <a:lnTo>
                    <a:pt x="267" y="137"/>
                  </a:lnTo>
                  <a:lnTo>
                    <a:pt x="272" y="133"/>
                  </a:lnTo>
                  <a:lnTo>
                    <a:pt x="276" y="132"/>
                  </a:lnTo>
                  <a:lnTo>
                    <a:pt x="280" y="132"/>
                  </a:lnTo>
                  <a:lnTo>
                    <a:pt x="276" y="130"/>
                  </a:lnTo>
                  <a:lnTo>
                    <a:pt x="272" y="133"/>
                  </a:lnTo>
                  <a:lnTo>
                    <a:pt x="267" y="133"/>
                  </a:lnTo>
                  <a:lnTo>
                    <a:pt x="265" y="133"/>
                  </a:lnTo>
                  <a:lnTo>
                    <a:pt x="261" y="133"/>
                  </a:lnTo>
                  <a:lnTo>
                    <a:pt x="257" y="130"/>
                  </a:lnTo>
                  <a:lnTo>
                    <a:pt x="259" y="128"/>
                  </a:lnTo>
                  <a:lnTo>
                    <a:pt x="261" y="130"/>
                  </a:lnTo>
                  <a:lnTo>
                    <a:pt x="259" y="126"/>
                  </a:lnTo>
                  <a:lnTo>
                    <a:pt x="256" y="118"/>
                  </a:lnTo>
                  <a:lnTo>
                    <a:pt x="256" y="113"/>
                  </a:lnTo>
                  <a:lnTo>
                    <a:pt x="256" y="113"/>
                  </a:lnTo>
                  <a:lnTo>
                    <a:pt x="257" y="109"/>
                  </a:lnTo>
                  <a:lnTo>
                    <a:pt x="256" y="107"/>
                  </a:lnTo>
                  <a:lnTo>
                    <a:pt x="256" y="103"/>
                  </a:lnTo>
                  <a:lnTo>
                    <a:pt x="256" y="103"/>
                  </a:lnTo>
                  <a:lnTo>
                    <a:pt x="256" y="103"/>
                  </a:lnTo>
                  <a:lnTo>
                    <a:pt x="256" y="103"/>
                  </a:lnTo>
                  <a:close/>
                  <a:moveTo>
                    <a:pt x="734" y="143"/>
                  </a:moveTo>
                  <a:lnTo>
                    <a:pt x="732" y="143"/>
                  </a:lnTo>
                  <a:lnTo>
                    <a:pt x="734" y="147"/>
                  </a:lnTo>
                  <a:lnTo>
                    <a:pt x="737" y="145"/>
                  </a:lnTo>
                  <a:lnTo>
                    <a:pt x="734" y="143"/>
                  </a:lnTo>
                  <a:lnTo>
                    <a:pt x="734" y="143"/>
                  </a:lnTo>
                  <a:lnTo>
                    <a:pt x="734" y="143"/>
                  </a:lnTo>
                  <a:lnTo>
                    <a:pt x="734" y="143"/>
                  </a:lnTo>
                  <a:close/>
                  <a:moveTo>
                    <a:pt x="743" y="156"/>
                  </a:moveTo>
                  <a:lnTo>
                    <a:pt x="737" y="156"/>
                  </a:lnTo>
                  <a:lnTo>
                    <a:pt x="741" y="156"/>
                  </a:lnTo>
                  <a:lnTo>
                    <a:pt x="743" y="156"/>
                  </a:lnTo>
                  <a:lnTo>
                    <a:pt x="743" y="156"/>
                  </a:lnTo>
                  <a:lnTo>
                    <a:pt x="743" y="156"/>
                  </a:lnTo>
                  <a:lnTo>
                    <a:pt x="743" y="156"/>
                  </a:lnTo>
                  <a:close/>
                  <a:moveTo>
                    <a:pt x="745" y="156"/>
                  </a:moveTo>
                  <a:lnTo>
                    <a:pt x="745" y="156"/>
                  </a:lnTo>
                  <a:lnTo>
                    <a:pt x="747" y="158"/>
                  </a:lnTo>
                  <a:lnTo>
                    <a:pt x="752" y="160"/>
                  </a:lnTo>
                  <a:lnTo>
                    <a:pt x="760" y="162"/>
                  </a:lnTo>
                  <a:lnTo>
                    <a:pt x="769" y="160"/>
                  </a:lnTo>
                  <a:lnTo>
                    <a:pt x="771" y="160"/>
                  </a:lnTo>
                  <a:lnTo>
                    <a:pt x="764" y="158"/>
                  </a:lnTo>
                  <a:lnTo>
                    <a:pt x="762" y="158"/>
                  </a:lnTo>
                  <a:lnTo>
                    <a:pt x="754" y="158"/>
                  </a:lnTo>
                  <a:lnTo>
                    <a:pt x="752" y="160"/>
                  </a:lnTo>
                  <a:lnTo>
                    <a:pt x="745" y="156"/>
                  </a:lnTo>
                  <a:lnTo>
                    <a:pt x="745" y="156"/>
                  </a:lnTo>
                  <a:lnTo>
                    <a:pt x="745" y="156"/>
                  </a:lnTo>
                  <a:lnTo>
                    <a:pt x="745" y="156"/>
                  </a:lnTo>
                  <a:close/>
                  <a:moveTo>
                    <a:pt x="745" y="137"/>
                  </a:moveTo>
                  <a:lnTo>
                    <a:pt x="749" y="141"/>
                  </a:lnTo>
                  <a:lnTo>
                    <a:pt x="749" y="141"/>
                  </a:lnTo>
                  <a:lnTo>
                    <a:pt x="749" y="141"/>
                  </a:lnTo>
                  <a:lnTo>
                    <a:pt x="752" y="143"/>
                  </a:lnTo>
                  <a:lnTo>
                    <a:pt x="752" y="147"/>
                  </a:lnTo>
                  <a:lnTo>
                    <a:pt x="754" y="147"/>
                  </a:lnTo>
                  <a:lnTo>
                    <a:pt x="756" y="147"/>
                  </a:lnTo>
                  <a:lnTo>
                    <a:pt x="758" y="147"/>
                  </a:lnTo>
                  <a:lnTo>
                    <a:pt x="762" y="147"/>
                  </a:lnTo>
                  <a:lnTo>
                    <a:pt x="760" y="145"/>
                  </a:lnTo>
                  <a:lnTo>
                    <a:pt x="758" y="143"/>
                  </a:lnTo>
                  <a:lnTo>
                    <a:pt x="754" y="141"/>
                  </a:lnTo>
                  <a:lnTo>
                    <a:pt x="752" y="137"/>
                  </a:lnTo>
                  <a:lnTo>
                    <a:pt x="749" y="137"/>
                  </a:lnTo>
                  <a:lnTo>
                    <a:pt x="745" y="137"/>
                  </a:lnTo>
                  <a:lnTo>
                    <a:pt x="745" y="137"/>
                  </a:lnTo>
                  <a:lnTo>
                    <a:pt x="745" y="137"/>
                  </a:lnTo>
                  <a:lnTo>
                    <a:pt x="745" y="137"/>
                  </a:lnTo>
                  <a:lnTo>
                    <a:pt x="745" y="137"/>
                  </a:lnTo>
                  <a:close/>
                  <a:moveTo>
                    <a:pt x="690" y="231"/>
                  </a:moveTo>
                  <a:lnTo>
                    <a:pt x="694" y="235"/>
                  </a:lnTo>
                  <a:lnTo>
                    <a:pt x="694" y="235"/>
                  </a:lnTo>
                  <a:lnTo>
                    <a:pt x="694" y="239"/>
                  </a:lnTo>
                  <a:lnTo>
                    <a:pt x="694" y="235"/>
                  </a:lnTo>
                  <a:lnTo>
                    <a:pt x="690" y="231"/>
                  </a:lnTo>
                  <a:lnTo>
                    <a:pt x="690" y="231"/>
                  </a:lnTo>
                  <a:lnTo>
                    <a:pt x="690" y="231"/>
                  </a:lnTo>
                  <a:lnTo>
                    <a:pt x="690" y="231"/>
                  </a:lnTo>
                  <a:close/>
                  <a:moveTo>
                    <a:pt x="702" y="228"/>
                  </a:moveTo>
                  <a:lnTo>
                    <a:pt x="698" y="229"/>
                  </a:lnTo>
                  <a:lnTo>
                    <a:pt x="698" y="235"/>
                  </a:lnTo>
                  <a:lnTo>
                    <a:pt x="694" y="239"/>
                  </a:lnTo>
                  <a:lnTo>
                    <a:pt x="698" y="239"/>
                  </a:lnTo>
                  <a:lnTo>
                    <a:pt x="700" y="229"/>
                  </a:lnTo>
                  <a:lnTo>
                    <a:pt x="702" y="228"/>
                  </a:lnTo>
                  <a:lnTo>
                    <a:pt x="702" y="228"/>
                  </a:lnTo>
                  <a:lnTo>
                    <a:pt x="702" y="228"/>
                  </a:lnTo>
                  <a:lnTo>
                    <a:pt x="702" y="228"/>
                  </a:lnTo>
                  <a:close/>
                  <a:moveTo>
                    <a:pt x="730" y="252"/>
                  </a:moveTo>
                  <a:lnTo>
                    <a:pt x="728" y="254"/>
                  </a:lnTo>
                  <a:lnTo>
                    <a:pt x="730" y="254"/>
                  </a:lnTo>
                  <a:lnTo>
                    <a:pt x="730" y="252"/>
                  </a:lnTo>
                  <a:lnTo>
                    <a:pt x="730" y="252"/>
                  </a:lnTo>
                  <a:lnTo>
                    <a:pt x="730" y="252"/>
                  </a:lnTo>
                  <a:lnTo>
                    <a:pt x="730" y="252"/>
                  </a:lnTo>
                  <a:lnTo>
                    <a:pt x="730" y="252"/>
                  </a:lnTo>
                  <a:close/>
                  <a:moveTo>
                    <a:pt x="719" y="245"/>
                  </a:moveTo>
                  <a:lnTo>
                    <a:pt x="719" y="243"/>
                  </a:lnTo>
                  <a:lnTo>
                    <a:pt x="719" y="245"/>
                  </a:lnTo>
                  <a:lnTo>
                    <a:pt x="719" y="248"/>
                  </a:lnTo>
                  <a:lnTo>
                    <a:pt x="719" y="250"/>
                  </a:lnTo>
                  <a:lnTo>
                    <a:pt x="722" y="252"/>
                  </a:lnTo>
                  <a:lnTo>
                    <a:pt x="719" y="252"/>
                  </a:lnTo>
                  <a:lnTo>
                    <a:pt x="719" y="250"/>
                  </a:lnTo>
                  <a:lnTo>
                    <a:pt x="719" y="254"/>
                  </a:lnTo>
                  <a:lnTo>
                    <a:pt x="719" y="256"/>
                  </a:lnTo>
                  <a:lnTo>
                    <a:pt x="722" y="256"/>
                  </a:lnTo>
                  <a:lnTo>
                    <a:pt x="724" y="252"/>
                  </a:lnTo>
                  <a:lnTo>
                    <a:pt x="728" y="252"/>
                  </a:lnTo>
                  <a:lnTo>
                    <a:pt x="724" y="250"/>
                  </a:lnTo>
                  <a:lnTo>
                    <a:pt x="724" y="246"/>
                  </a:lnTo>
                  <a:lnTo>
                    <a:pt x="719" y="245"/>
                  </a:lnTo>
                  <a:lnTo>
                    <a:pt x="719" y="245"/>
                  </a:lnTo>
                  <a:lnTo>
                    <a:pt x="719" y="245"/>
                  </a:lnTo>
                  <a:lnTo>
                    <a:pt x="719" y="245"/>
                  </a:lnTo>
                  <a:close/>
                  <a:moveTo>
                    <a:pt x="728" y="246"/>
                  </a:moveTo>
                  <a:lnTo>
                    <a:pt x="728" y="246"/>
                  </a:lnTo>
                  <a:lnTo>
                    <a:pt x="724" y="246"/>
                  </a:lnTo>
                  <a:lnTo>
                    <a:pt x="724" y="248"/>
                  </a:lnTo>
                  <a:lnTo>
                    <a:pt x="728" y="250"/>
                  </a:lnTo>
                  <a:lnTo>
                    <a:pt x="728" y="250"/>
                  </a:lnTo>
                  <a:lnTo>
                    <a:pt x="728" y="246"/>
                  </a:lnTo>
                  <a:lnTo>
                    <a:pt x="728" y="246"/>
                  </a:lnTo>
                  <a:lnTo>
                    <a:pt x="728" y="246"/>
                  </a:lnTo>
                  <a:lnTo>
                    <a:pt x="728" y="246"/>
                  </a:lnTo>
                  <a:lnTo>
                    <a:pt x="728" y="246"/>
                  </a:lnTo>
                  <a:close/>
                  <a:moveTo>
                    <a:pt x="722" y="239"/>
                  </a:moveTo>
                  <a:lnTo>
                    <a:pt x="719" y="239"/>
                  </a:lnTo>
                  <a:lnTo>
                    <a:pt x="719" y="241"/>
                  </a:lnTo>
                  <a:lnTo>
                    <a:pt x="722" y="245"/>
                  </a:lnTo>
                  <a:lnTo>
                    <a:pt x="724" y="246"/>
                  </a:lnTo>
                  <a:lnTo>
                    <a:pt x="724" y="245"/>
                  </a:lnTo>
                  <a:lnTo>
                    <a:pt x="722" y="243"/>
                  </a:lnTo>
                  <a:lnTo>
                    <a:pt x="722" y="239"/>
                  </a:lnTo>
                  <a:lnTo>
                    <a:pt x="722" y="239"/>
                  </a:lnTo>
                  <a:lnTo>
                    <a:pt x="722" y="239"/>
                  </a:lnTo>
                  <a:lnTo>
                    <a:pt x="722" y="239"/>
                  </a:lnTo>
                  <a:close/>
                  <a:moveTo>
                    <a:pt x="728" y="239"/>
                  </a:moveTo>
                  <a:lnTo>
                    <a:pt x="724" y="239"/>
                  </a:lnTo>
                  <a:lnTo>
                    <a:pt x="724" y="241"/>
                  </a:lnTo>
                  <a:lnTo>
                    <a:pt x="724" y="241"/>
                  </a:lnTo>
                  <a:lnTo>
                    <a:pt x="728" y="245"/>
                  </a:lnTo>
                  <a:lnTo>
                    <a:pt x="728" y="245"/>
                  </a:lnTo>
                  <a:lnTo>
                    <a:pt x="730" y="243"/>
                  </a:lnTo>
                  <a:lnTo>
                    <a:pt x="730" y="241"/>
                  </a:lnTo>
                  <a:lnTo>
                    <a:pt x="730" y="241"/>
                  </a:lnTo>
                  <a:lnTo>
                    <a:pt x="730" y="239"/>
                  </a:lnTo>
                  <a:lnTo>
                    <a:pt x="728" y="239"/>
                  </a:lnTo>
                  <a:lnTo>
                    <a:pt x="728" y="239"/>
                  </a:lnTo>
                  <a:lnTo>
                    <a:pt x="728" y="239"/>
                  </a:lnTo>
                  <a:lnTo>
                    <a:pt x="728" y="239"/>
                  </a:lnTo>
                  <a:lnTo>
                    <a:pt x="728" y="239"/>
                  </a:lnTo>
                  <a:close/>
                  <a:moveTo>
                    <a:pt x="722" y="235"/>
                  </a:moveTo>
                  <a:lnTo>
                    <a:pt x="719" y="235"/>
                  </a:lnTo>
                  <a:lnTo>
                    <a:pt x="719" y="235"/>
                  </a:lnTo>
                  <a:lnTo>
                    <a:pt x="722" y="235"/>
                  </a:lnTo>
                  <a:lnTo>
                    <a:pt x="722" y="235"/>
                  </a:lnTo>
                  <a:lnTo>
                    <a:pt x="722" y="235"/>
                  </a:lnTo>
                  <a:lnTo>
                    <a:pt x="722" y="235"/>
                  </a:lnTo>
                  <a:lnTo>
                    <a:pt x="722" y="235"/>
                  </a:lnTo>
                  <a:close/>
                  <a:moveTo>
                    <a:pt x="728" y="229"/>
                  </a:moveTo>
                  <a:lnTo>
                    <a:pt x="728" y="231"/>
                  </a:lnTo>
                  <a:lnTo>
                    <a:pt x="730" y="231"/>
                  </a:lnTo>
                  <a:lnTo>
                    <a:pt x="728" y="229"/>
                  </a:lnTo>
                  <a:lnTo>
                    <a:pt x="728" y="229"/>
                  </a:lnTo>
                  <a:lnTo>
                    <a:pt x="728" y="229"/>
                  </a:lnTo>
                  <a:lnTo>
                    <a:pt x="728" y="229"/>
                  </a:lnTo>
                  <a:lnTo>
                    <a:pt x="728" y="229"/>
                  </a:lnTo>
                  <a:close/>
                  <a:moveTo>
                    <a:pt x="728" y="229"/>
                  </a:moveTo>
                  <a:lnTo>
                    <a:pt x="724" y="229"/>
                  </a:lnTo>
                  <a:lnTo>
                    <a:pt x="724" y="233"/>
                  </a:lnTo>
                  <a:lnTo>
                    <a:pt x="722" y="233"/>
                  </a:lnTo>
                  <a:lnTo>
                    <a:pt x="724" y="233"/>
                  </a:lnTo>
                  <a:lnTo>
                    <a:pt x="724" y="235"/>
                  </a:lnTo>
                  <a:lnTo>
                    <a:pt x="724" y="235"/>
                  </a:lnTo>
                  <a:lnTo>
                    <a:pt x="724" y="235"/>
                  </a:lnTo>
                  <a:lnTo>
                    <a:pt x="724" y="239"/>
                  </a:lnTo>
                  <a:lnTo>
                    <a:pt x="724" y="239"/>
                  </a:lnTo>
                  <a:lnTo>
                    <a:pt x="728" y="235"/>
                  </a:lnTo>
                  <a:lnTo>
                    <a:pt x="728" y="235"/>
                  </a:lnTo>
                  <a:lnTo>
                    <a:pt x="730" y="235"/>
                  </a:lnTo>
                  <a:lnTo>
                    <a:pt x="730" y="231"/>
                  </a:lnTo>
                  <a:lnTo>
                    <a:pt x="728" y="231"/>
                  </a:lnTo>
                  <a:lnTo>
                    <a:pt x="728" y="229"/>
                  </a:lnTo>
                  <a:lnTo>
                    <a:pt x="728" y="229"/>
                  </a:lnTo>
                  <a:lnTo>
                    <a:pt x="728" y="229"/>
                  </a:lnTo>
                  <a:lnTo>
                    <a:pt x="728" y="229"/>
                  </a:lnTo>
                  <a:close/>
                  <a:moveTo>
                    <a:pt x="677" y="260"/>
                  </a:moveTo>
                  <a:lnTo>
                    <a:pt x="681" y="258"/>
                  </a:lnTo>
                  <a:lnTo>
                    <a:pt x="679" y="258"/>
                  </a:lnTo>
                  <a:lnTo>
                    <a:pt x="677" y="260"/>
                  </a:lnTo>
                  <a:lnTo>
                    <a:pt x="677" y="260"/>
                  </a:lnTo>
                  <a:lnTo>
                    <a:pt x="677" y="260"/>
                  </a:lnTo>
                  <a:lnTo>
                    <a:pt x="677" y="260"/>
                  </a:lnTo>
                  <a:close/>
                  <a:moveTo>
                    <a:pt x="673" y="260"/>
                  </a:moveTo>
                  <a:lnTo>
                    <a:pt x="679" y="263"/>
                  </a:lnTo>
                  <a:lnTo>
                    <a:pt x="677" y="260"/>
                  </a:lnTo>
                  <a:lnTo>
                    <a:pt x="673" y="260"/>
                  </a:lnTo>
                  <a:lnTo>
                    <a:pt x="673" y="260"/>
                  </a:lnTo>
                  <a:lnTo>
                    <a:pt x="673" y="260"/>
                  </a:lnTo>
                  <a:lnTo>
                    <a:pt x="673" y="260"/>
                  </a:lnTo>
                  <a:close/>
                  <a:moveTo>
                    <a:pt x="658" y="267"/>
                  </a:moveTo>
                  <a:lnTo>
                    <a:pt x="656" y="269"/>
                  </a:lnTo>
                  <a:lnTo>
                    <a:pt x="658" y="269"/>
                  </a:lnTo>
                  <a:lnTo>
                    <a:pt x="658" y="269"/>
                  </a:lnTo>
                  <a:lnTo>
                    <a:pt x="658" y="267"/>
                  </a:lnTo>
                  <a:lnTo>
                    <a:pt x="658" y="267"/>
                  </a:lnTo>
                  <a:lnTo>
                    <a:pt x="658" y="267"/>
                  </a:lnTo>
                  <a:lnTo>
                    <a:pt x="658" y="267"/>
                  </a:lnTo>
                  <a:close/>
                  <a:moveTo>
                    <a:pt x="664" y="265"/>
                  </a:moveTo>
                  <a:lnTo>
                    <a:pt x="658" y="265"/>
                  </a:lnTo>
                  <a:lnTo>
                    <a:pt x="660" y="267"/>
                  </a:lnTo>
                  <a:lnTo>
                    <a:pt x="664" y="265"/>
                  </a:lnTo>
                  <a:lnTo>
                    <a:pt x="664" y="265"/>
                  </a:lnTo>
                  <a:lnTo>
                    <a:pt x="664" y="265"/>
                  </a:lnTo>
                  <a:lnTo>
                    <a:pt x="664" y="265"/>
                  </a:lnTo>
                  <a:lnTo>
                    <a:pt x="664" y="265"/>
                  </a:lnTo>
                  <a:close/>
                  <a:moveTo>
                    <a:pt x="664" y="278"/>
                  </a:moveTo>
                  <a:lnTo>
                    <a:pt x="660" y="278"/>
                  </a:lnTo>
                  <a:lnTo>
                    <a:pt x="658" y="282"/>
                  </a:lnTo>
                  <a:lnTo>
                    <a:pt x="658" y="282"/>
                  </a:lnTo>
                  <a:lnTo>
                    <a:pt x="660" y="282"/>
                  </a:lnTo>
                  <a:lnTo>
                    <a:pt x="664" y="280"/>
                  </a:lnTo>
                  <a:lnTo>
                    <a:pt x="664" y="278"/>
                  </a:lnTo>
                  <a:lnTo>
                    <a:pt x="664" y="278"/>
                  </a:lnTo>
                  <a:lnTo>
                    <a:pt x="664" y="278"/>
                  </a:lnTo>
                  <a:lnTo>
                    <a:pt x="664" y="278"/>
                  </a:lnTo>
                  <a:close/>
                  <a:moveTo>
                    <a:pt x="670" y="263"/>
                  </a:moveTo>
                  <a:lnTo>
                    <a:pt x="664" y="267"/>
                  </a:lnTo>
                  <a:lnTo>
                    <a:pt x="664" y="269"/>
                  </a:lnTo>
                  <a:lnTo>
                    <a:pt x="664" y="271"/>
                  </a:lnTo>
                  <a:lnTo>
                    <a:pt x="664" y="273"/>
                  </a:lnTo>
                  <a:lnTo>
                    <a:pt x="664" y="277"/>
                  </a:lnTo>
                  <a:lnTo>
                    <a:pt x="664" y="278"/>
                  </a:lnTo>
                  <a:lnTo>
                    <a:pt x="670" y="278"/>
                  </a:lnTo>
                  <a:lnTo>
                    <a:pt x="673" y="273"/>
                  </a:lnTo>
                  <a:lnTo>
                    <a:pt x="673" y="267"/>
                  </a:lnTo>
                  <a:lnTo>
                    <a:pt x="673" y="263"/>
                  </a:lnTo>
                  <a:lnTo>
                    <a:pt x="673" y="263"/>
                  </a:lnTo>
                  <a:lnTo>
                    <a:pt x="673" y="263"/>
                  </a:lnTo>
                  <a:lnTo>
                    <a:pt x="673" y="260"/>
                  </a:lnTo>
                  <a:lnTo>
                    <a:pt x="670" y="263"/>
                  </a:lnTo>
                  <a:lnTo>
                    <a:pt x="670" y="263"/>
                  </a:lnTo>
                  <a:lnTo>
                    <a:pt x="670" y="263"/>
                  </a:lnTo>
                  <a:lnTo>
                    <a:pt x="670" y="263"/>
                  </a:lnTo>
                  <a:lnTo>
                    <a:pt x="670" y="263"/>
                  </a:lnTo>
                  <a:close/>
                  <a:moveTo>
                    <a:pt x="641" y="246"/>
                  </a:moveTo>
                  <a:lnTo>
                    <a:pt x="643" y="245"/>
                  </a:lnTo>
                  <a:lnTo>
                    <a:pt x="641" y="243"/>
                  </a:lnTo>
                  <a:lnTo>
                    <a:pt x="641" y="246"/>
                  </a:lnTo>
                  <a:lnTo>
                    <a:pt x="641" y="246"/>
                  </a:lnTo>
                  <a:lnTo>
                    <a:pt x="641" y="246"/>
                  </a:lnTo>
                  <a:lnTo>
                    <a:pt x="641" y="246"/>
                  </a:lnTo>
                  <a:close/>
                  <a:moveTo>
                    <a:pt x="634" y="252"/>
                  </a:moveTo>
                  <a:lnTo>
                    <a:pt x="632" y="254"/>
                  </a:lnTo>
                  <a:lnTo>
                    <a:pt x="634" y="254"/>
                  </a:lnTo>
                  <a:lnTo>
                    <a:pt x="634" y="252"/>
                  </a:lnTo>
                  <a:lnTo>
                    <a:pt x="634" y="252"/>
                  </a:lnTo>
                  <a:lnTo>
                    <a:pt x="634" y="252"/>
                  </a:lnTo>
                  <a:lnTo>
                    <a:pt x="634" y="252"/>
                  </a:lnTo>
                  <a:close/>
                  <a:moveTo>
                    <a:pt x="640" y="280"/>
                  </a:moveTo>
                  <a:lnTo>
                    <a:pt x="636" y="282"/>
                  </a:lnTo>
                  <a:lnTo>
                    <a:pt x="640" y="282"/>
                  </a:lnTo>
                  <a:lnTo>
                    <a:pt x="640" y="280"/>
                  </a:lnTo>
                  <a:lnTo>
                    <a:pt x="640" y="280"/>
                  </a:lnTo>
                  <a:lnTo>
                    <a:pt x="640" y="280"/>
                  </a:lnTo>
                  <a:lnTo>
                    <a:pt x="640" y="280"/>
                  </a:lnTo>
                  <a:close/>
                  <a:moveTo>
                    <a:pt x="634" y="275"/>
                  </a:moveTo>
                  <a:lnTo>
                    <a:pt x="636" y="273"/>
                  </a:lnTo>
                  <a:lnTo>
                    <a:pt x="640" y="275"/>
                  </a:lnTo>
                  <a:lnTo>
                    <a:pt x="640" y="277"/>
                  </a:lnTo>
                  <a:lnTo>
                    <a:pt x="636" y="278"/>
                  </a:lnTo>
                  <a:lnTo>
                    <a:pt x="634" y="277"/>
                  </a:lnTo>
                  <a:lnTo>
                    <a:pt x="634" y="275"/>
                  </a:lnTo>
                  <a:lnTo>
                    <a:pt x="634" y="275"/>
                  </a:lnTo>
                  <a:lnTo>
                    <a:pt x="634" y="275"/>
                  </a:lnTo>
                  <a:lnTo>
                    <a:pt x="634" y="275"/>
                  </a:lnTo>
                  <a:close/>
                  <a:moveTo>
                    <a:pt x="615" y="260"/>
                  </a:moveTo>
                  <a:lnTo>
                    <a:pt x="615" y="260"/>
                  </a:lnTo>
                  <a:lnTo>
                    <a:pt x="617" y="260"/>
                  </a:lnTo>
                  <a:lnTo>
                    <a:pt x="615" y="263"/>
                  </a:lnTo>
                  <a:lnTo>
                    <a:pt x="615" y="263"/>
                  </a:lnTo>
                  <a:lnTo>
                    <a:pt x="615" y="260"/>
                  </a:lnTo>
                  <a:lnTo>
                    <a:pt x="615" y="260"/>
                  </a:lnTo>
                  <a:lnTo>
                    <a:pt x="615" y="260"/>
                  </a:lnTo>
                  <a:lnTo>
                    <a:pt x="615" y="260"/>
                  </a:lnTo>
                  <a:close/>
                  <a:moveTo>
                    <a:pt x="617" y="284"/>
                  </a:moveTo>
                  <a:lnTo>
                    <a:pt x="621" y="282"/>
                  </a:lnTo>
                  <a:lnTo>
                    <a:pt x="623" y="284"/>
                  </a:lnTo>
                  <a:lnTo>
                    <a:pt x="619" y="284"/>
                  </a:lnTo>
                  <a:lnTo>
                    <a:pt x="617" y="284"/>
                  </a:lnTo>
                  <a:lnTo>
                    <a:pt x="617" y="284"/>
                  </a:lnTo>
                  <a:lnTo>
                    <a:pt x="617" y="284"/>
                  </a:lnTo>
                  <a:lnTo>
                    <a:pt x="617" y="284"/>
                  </a:lnTo>
                  <a:close/>
                  <a:moveTo>
                    <a:pt x="589" y="269"/>
                  </a:moveTo>
                  <a:lnTo>
                    <a:pt x="592" y="267"/>
                  </a:lnTo>
                  <a:lnTo>
                    <a:pt x="591" y="265"/>
                  </a:lnTo>
                  <a:lnTo>
                    <a:pt x="589" y="267"/>
                  </a:lnTo>
                  <a:lnTo>
                    <a:pt x="589" y="269"/>
                  </a:lnTo>
                  <a:lnTo>
                    <a:pt x="589" y="269"/>
                  </a:lnTo>
                  <a:lnTo>
                    <a:pt x="589" y="269"/>
                  </a:lnTo>
                  <a:lnTo>
                    <a:pt x="589" y="269"/>
                  </a:lnTo>
                  <a:close/>
                  <a:moveTo>
                    <a:pt x="600" y="280"/>
                  </a:moveTo>
                  <a:lnTo>
                    <a:pt x="606" y="282"/>
                  </a:lnTo>
                  <a:lnTo>
                    <a:pt x="609" y="280"/>
                  </a:lnTo>
                  <a:lnTo>
                    <a:pt x="609" y="282"/>
                  </a:lnTo>
                  <a:lnTo>
                    <a:pt x="604" y="284"/>
                  </a:lnTo>
                  <a:lnTo>
                    <a:pt x="600" y="282"/>
                  </a:lnTo>
                  <a:lnTo>
                    <a:pt x="600" y="280"/>
                  </a:lnTo>
                  <a:lnTo>
                    <a:pt x="600" y="280"/>
                  </a:lnTo>
                  <a:lnTo>
                    <a:pt x="600" y="280"/>
                  </a:lnTo>
                  <a:lnTo>
                    <a:pt x="600" y="280"/>
                  </a:lnTo>
                  <a:close/>
                  <a:moveTo>
                    <a:pt x="594" y="282"/>
                  </a:moveTo>
                  <a:lnTo>
                    <a:pt x="596" y="282"/>
                  </a:lnTo>
                  <a:lnTo>
                    <a:pt x="596" y="284"/>
                  </a:lnTo>
                  <a:lnTo>
                    <a:pt x="594" y="282"/>
                  </a:lnTo>
                  <a:lnTo>
                    <a:pt x="594" y="282"/>
                  </a:lnTo>
                  <a:lnTo>
                    <a:pt x="594" y="282"/>
                  </a:lnTo>
                  <a:lnTo>
                    <a:pt x="594" y="282"/>
                  </a:lnTo>
                  <a:close/>
                  <a:moveTo>
                    <a:pt x="585" y="282"/>
                  </a:moveTo>
                  <a:lnTo>
                    <a:pt x="587" y="280"/>
                  </a:lnTo>
                  <a:lnTo>
                    <a:pt x="589" y="282"/>
                  </a:lnTo>
                  <a:lnTo>
                    <a:pt x="587" y="282"/>
                  </a:lnTo>
                  <a:lnTo>
                    <a:pt x="585" y="282"/>
                  </a:lnTo>
                  <a:lnTo>
                    <a:pt x="585" y="282"/>
                  </a:lnTo>
                  <a:lnTo>
                    <a:pt x="585" y="282"/>
                  </a:lnTo>
                  <a:lnTo>
                    <a:pt x="585" y="282"/>
                  </a:lnTo>
                  <a:close/>
                  <a:moveTo>
                    <a:pt x="517" y="320"/>
                  </a:moveTo>
                  <a:lnTo>
                    <a:pt x="515" y="324"/>
                  </a:lnTo>
                  <a:lnTo>
                    <a:pt x="517" y="326"/>
                  </a:lnTo>
                  <a:lnTo>
                    <a:pt x="523" y="324"/>
                  </a:lnTo>
                  <a:lnTo>
                    <a:pt x="528" y="320"/>
                  </a:lnTo>
                  <a:lnTo>
                    <a:pt x="532" y="320"/>
                  </a:lnTo>
                  <a:lnTo>
                    <a:pt x="536" y="320"/>
                  </a:lnTo>
                  <a:lnTo>
                    <a:pt x="538" y="318"/>
                  </a:lnTo>
                  <a:lnTo>
                    <a:pt x="542" y="314"/>
                  </a:lnTo>
                  <a:lnTo>
                    <a:pt x="547" y="309"/>
                  </a:lnTo>
                  <a:lnTo>
                    <a:pt x="551" y="307"/>
                  </a:lnTo>
                  <a:lnTo>
                    <a:pt x="551" y="307"/>
                  </a:lnTo>
                  <a:lnTo>
                    <a:pt x="547" y="303"/>
                  </a:lnTo>
                  <a:lnTo>
                    <a:pt x="544" y="297"/>
                  </a:lnTo>
                  <a:lnTo>
                    <a:pt x="542" y="299"/>
                  </a:lnTo>
                  <a:lnTo>
                    <a:pt x="538" y="299"/>
                  </a:lnTo>
                  <a:lnTo>
                    <a:pt x="538" y="305"/>
                  </a:lnTo>
                  <a:lnTo>
                    <a:pt x="536" y="305"/>
                  </a:lnTo>
                  <a:lnTo>
                    <a:pt x="530" y="307"/>
                  </a:lnTo>
                  <a:lnTo>
                    <a:pt x="527" y="303"/>
                  </a:lnTo>
                  <a:lnTo>
                    <a:pt x="527" y="305"/>
                  </a:lnTo>
                  <a:lnTo>
                    <a:pt x="523" y="307"/>
                  </a:lnTo>
                  <a:lnTo>
                    <a:pt x="523" y="309"/>
                  </a:lnTo>
                  <a:lnTo>
                    <a:pt x="519" y="316"/>
                  </a:lnTo>
                  <a:lnTo>
                    <a:pt x="519" y="316"/>
                  </a:lnTo>
                  <a:lnTo>
                    <a:pt x="521" y="318"/>
                  </a:lnTo>
                  <a:lnTo>
                    <a:pt x="521" y="320"/>
                  </a:lnTo>
                  <a:lnTo>
                    <a:pt x="519" y="320"/>
                  </a:lnTo>
                  <a:lnTo>
                    <a:pt x="517" y="320"/>
                  </a:lnTo>
                  <a:lnTo>
                    <a:pt x="517" y="320"/>
                  </a:lnTo>
                  <a:lnTo>
                    <a:pt x="517" y="320"/>
                  </a:lnTo>
                  <a:lnTo>
                    <a:pt x="517" y="320"/>
                  </a:lnTo>
                  <a:close/>
                  <a:moveTo>
                    <a:pt x="513" y="324"/>
                  </a:moveTo>
                  <a:lnTo>
                    <a:pt x="515" y="320"/>
                  </a:lnTo>
                  <a:lnTo>
                    <a:pt x="513" y="320"/>
                  </a:lnTo>
                  <a:lnTo>
                    <a:pt x="512" y="322"/>
                  </a:lnTo>
                  <a:lnTo>
                    <a:pt x="513" y="324"/>
                  </a:lnTo>
                  <a:lnTo>
                    <a:pt x="513" y="324"/>
                  </a:lnTo>
                  <a:lnTo>
                    <a:pt x="513" y="324"/>
                  </a:lnTo>
                  <a:lnTo>
                    <a:pt x="513" y="324"/>
                  </a:lnTo>
                  <a:close/>
                  <a:moveTo>
                    <a:pt x="513" y="326"/>
                  </a:moveTo>
                  <a:lnTo>
                    <a:pt x="510" y="327"/>
                  </a:lnTo>
                  <a:lnTo>
                    <a:pt x="512" y="327"/>
                  </a:lnTo>
                  <a:lnTo>
                    <a:pt x="504" y="331"/>
                  </a:lnTo>
                  <a:lnTo>
                    <a:pt x="502" y="333"/>
                  </a:lnTo>
                  <a:lnTo>
                    <a:pt x="504" y="333"/>
                  </a:lnTo>
                  <a:lnTo>
                    <a:pt x="513" y="331"/>
                  </a:lnTo>
                  <a:lnTo>
                    <a:pt x="515" y="327"/>
                  </a:lnTo>
                  <a:lnTo>
                    <a:pt x="513" y="326"/>
                  </a:lnTo>
                  <a:lnTo>
                    <a:pt x="513" y="326"/>
                  </a:lnTo>
                  <a:lnTo>
                    <a:pt x="513" y="326"/>
                  </a:lnTo>
                  <a:lnTo>
                    <a:pt x="513" y="326"/>
                  </a:lnTo>
                  <a:close/>
                  <a:moveTo>
                    <a:pt x="487" y="326"/>
                  </a:moveTo>
                  <a:lnTo>
                    <a:pt x="489" y="327"/>
                  </a:lnTo>
                  <a:lnTo>
                    <a:pt x="489" y="327"/>
                  </a:lnTo>
                  <a:lnTo>
                    <a:pt x="487" y="327"/>
                  </a:lnTo>
                  <a:lnTo>
                    <a:pt x="483" y="327"/>
                  </a:lnTo>
                  <a:lnTo>
                    <a:pt x="485" y="327"/>
                  </a:lnTo>
                  <a:lnTo>
                    <a:pt x="487" y="326"/>
                  </a:lnTo>
                  <a:lnTo>
                    <a:pt x="487" y="326"/>
                  </a:lnTo>
                  <a:lnTo>
                    <a:pt x="487" y="326"/>
                  </a:lnTo>
                  <a:lnTo>
                    <a:pt x="487" y="326"/>
                  </a:lnTo>
                  <a:close/>
                  <a:moveTo>
                    <a:pt x="432" y="307"/>
                  </a:moveTo>
                  <a:lnTo>
                    <a:pt x="442" y="301"/>
                  </a:lnTo>
                  <a:lnTo>
                    <a:pt x="448" y="307"/>
                  </a:lnTo>
                  <a:lnTo>
                    <a:pt x="449" y="307"/>
                  </a:lnTo>
                  <a:lnTo>
                    <a:pt x="451" y="305"/>
                  </a:lnTo>
                  <a:lnTo>
                    <a:pt x="457" y="307"/>
                  </a:lnTo>
                  <a:lnTo>
                    <a:pt x="459" y="309"/>
                  </a:lnTo>
                  <a:lnTo>
                    <a:pt x="463" y="309"/>
                  </a:lnTo>
                  <a:lnTo>
                    <a:pt x="464" y="312"/>
                  </a:lnTo>
                  <a:lnTo>
                    <a:pt x="468" y="316"/>
                  </a:lnTo>
                  <a:lnTo>
                    <a:pt x="468" y="318"/>
                  </a:lnTo>
                  <a:lnTo>
                    <a:pt x="464" y="322"/>
                  </a:lnTo>
                  <a:lnTo>
                    <a:pt x="459" y="322"/>
                  </a:lnTo>
                  <a:lnTo>
                    <a:pt x="453" y="320"/>
                  </a:lnTo>
                  <a:lnTo>
                    <a:pt x="449" y="314"/>
                  </a:lnTo>
                  <a:lnTo>
                    <a:pt x="448" y="314"/>
                  </a:lnTo>
                  <a:lnTo>
                    <a:pt x="444" y="312"/>
                  </a:lnTo>
                  <a:lnTo>
                    <a:pt x="442" y="312"/>
                  </a:lnTo>
                  <a:lnTo>
                    <a:pt x="434" y="312"/>
                  </a:lnTo>
                  <a:lnTo>
                    <a:pt x="432" y="309"/>
                  </a:lnTo>
                  <a:lnTo>
                    <a:pt x="432" y="307"/>
                  </a:lnTo>
                  <a:lnTo>
                    <a:pt x="432" y="307"/>
                  </a:lnTo>
                  <a:lnTo>
                    <a:pt x="432" y="307"/>
                  </a:lnTo>
                  <a:lnTo>
                    <a:pt x="432" y="307"/>
                  </a:lnTo>
                  <a:close/>
                  <a:moveTo>
                    <a:pt x="376" y="263"/>
                  </a:moveTo>
                  <a:lnTo>
                    <a:pt x="378" y="263"/>
                  </a:lnTo>
                  <a:lnTo>
                    <a:pt x="380" y="263"/>
                  </a:lnTo>
                  <a:lnTo>
                    <a:pt x="380" y="263"/>
                  </a:lnTo>
                  <a:lnTo>
                    <a:pt x="376" y="263"/>
                  </a:lnTo>
                  <a:lnTo>
                    <a:pt x="376" y="263"/>
                  </a:lnTo>
                  <a:lnTo>
                    <a:pt x="376" y="263"/>
                  </a:lnTo>
                  <a:lnTo>
                    <a:pt x="376" y="263"/>
                  </a:lnTo>
                  <a:lnTo>
                    <a:pt x="376" y="263"/>
                  </a:lnTo>
                  <a:close/>
                  <a:moveTo>
                    <a:pt x="365" y="260"/>
                  </a:moveTo>
                  <a:lnTo>
                    <a:pt x="367" y="260"/>
                  </a:lnTo>
                  <a:lnTo>
                    <a:pt x="370" y="258"/>
                  </a:lnTo>
                  <a:lnTo>
                    <a:pt x="372" y="260"/>
                  </a:lnTo>
                  <a:lnTo>
                    <a:pt x="372" y="260"/>
                  </a:lnTo>
                  <a:lnTo>
                    <a:pt x="372" y="258"/>
                  </a:lnTo>
                  <a:lnTo>
                    <a:pt x="370" y="256"/>
                  </a:lnTo>
                  <a:lnTo>
                    <a:pt x="367" y="256"/>
                  </a:lnTo>
                  <a:lnTo>
                    <a:pt x="365" y="258"/>
                  </a:lnTo>
                  <a:lnTo>
                    <a:pt x="365" y="260"/>
                  </a:lnTo>
                  <a:lnTo>
                    <a:pt x="365" y="260"/>
                  </a:lnTo>
                  <a:lnTo>
                    <a:pt x="365" y="260"/>
                  </a:lnTo>
                  <a:lnTo>
                    <a:pt x="365" y="260"/>
                  </a:lnTo>
                  <a:close/>
                  <a:moveTo>
                    <a:pt x="562" y="277"/>
                  </a:moveTo>
                  <a:lnTo>
                    <a:pt x="568" y="275"/>
                  </a:lnTo>
                  <a:lnTo>
                    <a:pt x="574" y="277"/>
                  </a:lnTo>
                  <a:lnTo>
                    <a:pt x="576" y="277"/>
                  </a:lnTo>
                  <a:lnTo>
                    <a:pt x="577" y="275"/>
                  </a:lnTo>
                  <a:lnTo>
                    <a:pt x="579" y="273"/>
                  </a:lnTo>
                  <a:lnTo>
                    <a:pt x="581" y="271"/>
                  </a:lnTo>
                  <a:lnTo>
                    <a:pt x="581" y="269"/>
                  </a:lnTo>
                  <a:lnTo>
                    <a:pt x="579" y="269"/>
                  </a:lnTo>
                  <a:lnTo>
                    <a:pt x="576" y="271"/>
                  </a:lnTo>
                  <a:lnTo>
                    <a:pt x="568" y="271"/>
                  </a:lnTo>
                  <a:lnTo>
                    <a:pt x="566" y="269"/>
                  </a:lnTo>
                  <a:lnTo>
                    <a:pt x="564" y="271"/>
                  </a:lnTo>
                  <a:lnTo>
                    <a:pt x="562" y="275"/>
                  </a:lnTo>
                  <a:lnTo>
                    <a:pt x="562" y="277"/>
                  </a:lnTo>
                  <a:lnTo>
                    <a:pt x="562" y="277"/>
                  </a:lnTo>
                  <a:lnTo>
                    <a:pt x="562" y="277"/>
                  </a:lnTo>
                  <a:lnTo>
                    <a:pt x="562" y="277"/>
                  </a:lnTo>
                  <a:close/>
                  <a:moveTo>
                    <a:pt x="557" y="282"/>
                  </a:moveTo>
                  <a:lnTo>
                    <a:pt x="557" y="284"/>
                  </a:lnTo>
                  <a:lnTo>
                    <a:pt x="557" y="284"/>
                  </a:lnTo>
                  <a:lnTo>
                    <a:pt x="560" y="284"/>
                  </a:lnTo>
                  <a:lnTo>
                    <a:pt x="557" y="282"/>
                  </a:lnTo>
                  <a:lnTo>
                    <a:pt x="557" y="282"/>
                  </a:lnTo>
                  <a:lnTo>
                    <a:pt x="557" y="282"/>
                  </a:lnTo>
                  <a:lnTo>
                    <a:pt x="557" y="282"/>
                  </a:lnTo>
                  <a:close/>
                  <a:moveTo>
                    <a:pt x="540" y="282"/>
                  </a:moveTo>
                  <a:lnTo>
                    <a:pt x="536" y="284"/>
                  </a:lnTo>
                  <a:lnTo>
                    <a:pt x="538" y="284"/>
                  </a:lnTo>
                  <a:lnTo>
                    <a:pt x="538" y="284"/>
                  </a:lnTo>
                  <a:lnTo>
                    <a:pt x="538" y="288"/>
                  </a:lnTo>
                  <a:lnTo>
                    <a:pt x="542" y="288"/>
                  </a:lnTo>
                  <a:lnTo>
                    <a:pt x="547" y="284"/>
                  </a:lnTo>
                  <a:lnTo>
                    <a:pt x="547" y="284"/>
                  </a:lnTo>
                  <a:lnTo>
                    <a:pt x="547" y="282"/>
                  </a:lnTo>
                  <a:lnTo>
                    <a:pt x="542" y="282"/>
                  </a:lnTo>
                  <a:lnTo>
                    <a:pt x="540" y="282"/>
                  </a:lnTo>
                  <a:lnTo>
                    <a:pt x="540" y="282"/>
                  </a:lnTo>
                  <a:lnTo>
                    <a:pt x="540" y="282"/>
                  </a:lnTo>
                  <a:lnTo>
                    <a:pt x="540" y="282"/>
                  </a:lnTo>
                  <a:close/>
                  <a:moveTo>
                    <a:pt x="527" y="288"/>
                  </a:moveTo>
                  <a:lnTo>
                    <a:pt x="528" y="288"/>
                  </a:lnTo>
                  <a:lnTo>
                    <a:pt x="530" y="290"/>
                  </a:lnTo>
                  <a:lnTo>
                    <a:pt x="536" y="288"/>
                  </a:lnTo>
                  <a:lnTo>
                    <a:pt x="536" y="284"/>
                  </a:lnTo>
                  <a:lnTo>
                    <a:pt x="532" y="288"/>
                  </a:lnTo>
                  <a:lnTo>
                    <a:pt x="528" y="288"/>
                  </a:lnTo>
                  <a:lnTo>
                    <a:pt x="527" y="288"/>
                  </a:lnTo>
                  <a:lnTo>
                    <a:pt x="527" y="288"/>
                  </a:lnTo>
                  <a:lnTo>
                    <a:pt x="527" y="288"/>
                  </a:lnTo>
                  <a:lnTo>
                    <a:pt x="527" y="288"/>
                  </a:lnTo>
                  <a:close/>
                  <a:moveTo>
                    <a:pt x="515" y="288"/>
                  </a:moveTo>
                  <a:lnTo>
                    <a:pt x="521" y="288"/>
                  </a:lnTo>
                  <a:lnTo>
                    <a:pt x="519" y="284"/>
                  </a:lnTo>
                  <a:lnTo>
                    <a:pt x="521" y="284"/>
                  </a:lnTo>
                  <a:lnTo>
                    <a:pt x="523" y="284"/>
                  </a:lnTo>
                  <a:lnTo>
                    <a:pt x="527" y="284"/>
                  </a:lnTo>
                  <a:lnTo>
                    <a:pt x="527" y="284"/>
                  </a:lnTo>
                  <a:lnTo>
                    <a:pt x="523" y="288"/>
                  </a:lnTo>
                  <a:lnTo>
                    <a:pt x="523" y="290"/>
                  </a:lnTo>
                  <a:lnTo>
                    <a:pt x="517" y="290"/>
                  </a:lnTo>
                  <a:lnTo>
                    <a:pt x="515" y="288"/>
                  </a:lnTo>
                  <a:lnTo>
                    <a:pt x="515" y="288"/>
                  </a:lnTo>
                  <a:lnTo>
                    <a:pt x="515" y="288"/>
                  </a:lnTo>
                  <a:lnTo>
                    <a:pt x="515" y="288"/>
                  </a:lnTo>
                  <a:close/>
                  <a:moveTo>
                    <a:pt x="513" y="288"/>
                  </a:moveTo>
                  <a:lnTo>
                    <a:pt x="510" y="288"/>
                  </a:lnTo>
                  <a:lnTo>
                    <a:pt x="508" y="292"/>
                  </a:lnTo>
                  <a:lnTo>
                    <a:pt x="510" y="288"/>
                  </a:lnTo>
                  <a:lnTo>
                    <a:pt x="513" y="288"/>
                  </a:lnTo>
                  <a:lnTo>
                    <a:pt x="513" y="288"/>
                  </a:lnTo>
                  <a:lnTo>
                    <a:pt x="513" y="288"/>
                  </a:lnTo>
                  <a:lnTo>
                    <a:pt x="513" y="288"/>
                  </a:lnTo>
                  <a:close/>
                  <a:moveTo>
                    <a:pt x="515" y="284"/>
                  </a:moveTo>
                  <a:lnTo>
                    <a:pt x="512" y="284"/>
                  </a:lnTo>
                  <a:lnTo>
                    <a:pt x="513" y="284"/>
                  </a:lnTo>
                  <a:lnTo>
                    <a:pt x="515" y="284"/>
                  </a:lnTo>
                  <a:lnTo>
                    <a:pt x="515" y="284"/>
                  </a:lnTo>
                  <a:lnTo>
                    <a:pt x="515" y="284"/>
                  </a:lnTo>
                  <a:lnTo>
                    <a:pt x="515" y="284"/>
                  </a:lnTo>
                  <a:lnTo>
                    <a:pt x="515" y="284"/>
                  </a:lnTo>
                  <a:close/>
                  <a:moveTo>
                    <a:pt x="449" y="290"/>
                  </a:moveTo>
                  <a:lnTo>
                    <a:pt x="449" y="290"/>
                  </a:lnTo>
                  <a:lnTo>
                    <a:pt x="449" y="288"/>
                  </a:lnTo>
                  <a:lnTo>
                    <a:pt x="455" y="284"/>
                  </a:lnTo>
                  <a:lnTo>
                    <a:pt x="464" y="282"/>
                  </a:lnTo>
                  <a:lnTo>
                    <a:pt x="468" y="284"/>
                  </a:lnTo>
                  <a:lnTo>
                    <a:pt x="472" y="284"/>
                  </a:lnTo>
                  <a:lnTo>
                    <a:pt x="476" y="284"/>
                  </a:lnTo>
                  <a:lnTo>
                    <a:pt x="481" y="288"/>
                  </a:lnTo>
                  <a:lnTo>
                    <a:pt x="485" y="288"/>
                  </a:lnTo>
                  <a:lnTo>
                    <a:pt x="491" y="288"/>
                  </a:lnTo>
                  <a:lnTo>
                    <a:pt x="493" y="288"/>
                  </a:lnTo>
                  <a:lnTo>
                    <a:pt x="498" y="288"/>
                  </a:lnTo>
                  <a:lnTo>
                    <a:pt x="498" y="284"/>
                  </a:lnTo>
                  <a:lnTo>
                    <a:pt x="502" y="284"/>
                  </a:lnTo>
                  <a:lnTo>
                    <a:pt x="504" y="282"/>
                  </a:lnTo>
                  <a:lnTo>
                    <a:pt x="502" y="280"/>
                  </a:lnTo>
                  <a:lnTo>
                    <a:pt x="506" y="278"/>
                  </a:lnTo>
                  <a:lnTo>
                    <a:pt x="510" y="280"/>
                  </a:lnTo>
                  <a:lnTo>
                    <a:pt x="512" y="284"/>
                  </a:lnTo>
                  <a:lnTo>
                    <a:pt x="510" y="288"/>
                  </a:lnTo>
                  <a:lnTo>
                    <a:pt x="506" y="288"/>
                  </a:lnTo>
                  <a:lnTo>
                    <a:pt x="504" y="290"/>
                  </a:lnTo>
                  <a:lnTo>
                    <a:pt x="498" y="292"/>
                  </a:lnTo>
                  <a:lnTo>
                    <a:pt x="498" y="294"/>
                  </a:lnTo>
                  <a:lnTo>
                    <a:pt x="496" y="292"/>
                  </a:lnTo>
                  <a:lnTo>
                    <a:pt x="491" y="292"/>
                  </a:lnTo>
                  <a:lnTo>
                    <a:pt x="485" y="294"/>
                  </a:lnTo>
                  <a:lnTo>
                    <a:pt x="480" y="294"/>
                  </a:lnTo>
                  <a:lnTo>
                    <a:pt x="474" y="295"/>
                  </a:lnTo>
                  <a:lnTo>
                    <a:pt x="474" y="295"/>
                  </a:lnTo>
                  <a:lnTo>
                    <a:pt x="472" y="295"/>
                  </a:lnTo>
                  <a:lnTo>
                    <a:pt x="468" y="295"/>
                  </a:lnTo>
                  <a:lnTo>
                    <a:pt x="466" y="295"/>
                  </a:lnTo>
                  <a:lnTo>
                    <a:pt x="464" y="294"/>
                  </a:lnTo>
                  <a:lnTo>
                    <a:pt x="461" y="294"/>
                  </a:lnTo>
                  <a:lnTo>
                    <a:pt x="459" y="294"/>
                  </a:lnTo>
                  <a:lnTo>
                    <a:pt x="455" y="294"/>
                  </a:lnTo>
                  <a:lnTo>
                    <a:pt x="453" y="294"/>
                  </a:lnTo>
                  <a:lnTo>
                    <a:pt x="449" y="294"/>
                  </a:lnTo>
                  <a:lnTo>
                    <a:pt x="449" y="290"/>
                  </a:lnTo>
                  <a:lnTo>
                    <a:pt x="449" y="290"/>
                  </a:lnTo>
                  <a:lnTo>
                    <a:pt x="449" y="290"/>
                  </a:lnTo>
                  <a:lnTo>
                    <a:pt x="449" y="290"/>
                  </a:lnTo>
                  <a:close/>
                  <a:moveTo>
                    <a:pt x="448" y="290"/>
                  </a:moveTo>
                  <a:lnTo>
                    <a:pt x="444" y="294"/>
                  </a:lnTo>
                  <a:lnTo>
                    <a:pt x="448" y="294"/>
                  </a:lnTo>
                  <a:lnTo>
                    <a:pt x="448" y="290"/>
                  </a:lnTo>
                  <a:lnTo>
                    <a:pt x="448" y="290"/>
                  </a:lnTo>
                  <a:lnTo>
                    <a:pt x="448" y="290"/>
                  </a:lnTo>
                  <a:lnTo>
                    <a:pt x="448" y="290"/>
                  </a:lnTo>
                  <a:lnTo>
                    <a:pt x="448" y="290"/>
                  </a:lnTo>
                  <a:close/>
                  <a:moveTo>
                    <a:pt x="444" y="288"/>
                  </a:moveTo>
                  <a:lnTo>
                    <a:pt x="442" y="288"/>
                  </a:lnTo>
                  <a:lnTo>
                    <a:pt x="442" y="290"/>
                  </a:lnTo>
                  <a:lnTo>
                    <a:pt x="444" y="294"/>
                  </a:lnTo>
                  <a:lnTo>
                    <a:pt x="444" y="288"/>
                  </a:lnTo>
                  <a:lnTo>
                    <a:pt x="444" y="288"/>
                  </a:lnTo>
                  <a:lnTo>
                    <a:pt x="444" y="288"/>
                  </a:lnTo>
                  <a:lnTo>
                    <a:pt x="444" y="288"/>
                  </a:lnTo>
                  <a:lnTo>
                    <a:pt x="444" y="288"/>
                  </a:lnTo>
                  <a:close/>
                  <a:moveTo>
                    <a:pt x="393" y="290"/>
                  </a:moveTo>
                  <a:lnTo>
                    <a:pt x="393" y="292"/>
                  </a:lnTo>
                  <a:lnTo>
                    <a:pt x="393" y="294"/>
                  </a:lnTo>
                  <a:lnTo>
                    <a:pt x="393" y="295"/>
                  </a:lnTo>
                  <a:lnTo>
                    <a:pt x="393" y="297"/>
                  </a:lnTo>
                  <a:lnTo>
                    <a:pt x="397" y="299"/>
                  </a:lnTo>
                  <a:lnTo>
                    <a:pt x="402" y="297"/>
                  </a:lnTo>
                  <a:lnTo>
                    <a:pt x="404" y="299"/>
                  </a:lnTo>
                  <a:lnTo>
                    <a:pt x="408" y="297"/>
                  </a:lnTo>
                  <a:lnTo>
                    <a:pt x="410" y="295"/>
                  </a:lnTo>
                  <a:lnTo>
                    <a:pt x="414" y="297"/>
                  </a:lnTo>
                  <a:lnTo>
                    <a:pt x="417" y="295"/>
                  </a:lnTo>
                  <a:lnTo>
                    <a:pt x="423" y="295"/>
                  </a:lnTo>
                  <a:lnTo>
                    <a:pt x="425" y="292"/>
                  </a:lnTo>
                  <a:lnTo>
                    <a:pt x="427" y="295"/>
                  </a:lnTo>
                  <a:lnTo>
                    <a:pt x="431" y="294"/>
                  </a:lnTo>
                  <a:lnTo>
                    <a:pt x="434" y="295"/>
                  </a:lnTo>
                  <a:lnTo>
                    <a:pt x="432" y="292"/>
                  </a:lnTo>
                  <a:lnTo>
                    <a:pt x="438" y="292"/>
                  </a:lnTo>
                  <a:lnTo>
                    <a:pt x="438" y="288"/>
                  </a:lnTo>
                  <a:lnTo>
                    <a:pt x="434" y="290"/>
                  </a:lnTo>
                  <a:lnTo>
                    <a:pt x="434" y="288"/>
                  </a:lnTo>
                  <a:lnTo>
                    <a:pt x="434" y="284"/>
                  </a:lnTo>
                  <a:lnTo>
                    <a:pt x="432" y="284"/>
                  </a:lnTo>
                  <a:lnTo>
                    <a:pt x="432" y="288"/>
                  </a:lnTo>
                  <a:lnTo>
                    <a:pt x="431" y="288"/>
                  </a:lnTo>
                  <a:lnTo>
                    <a:pt x="431" y="284"/>
                  </a:lnTo>
                  <a:lnTo>
                    <a:pt x="427" y="282"/>
                  </a:lnTo>
                  <a:lnTo>
                    <a:pt x="423" y="284"/>
                  </a:lnTo>
                  <a:lnTo>
                    <a:pt x="419" y="282"/>
                  </a:lnTo>
                  <a:lnTo>
                    <a:pt x="417" y="280"/>
                  </a:lnTo>
                  <a:lnTo>
                    <a:pt x="410" y="282"/>
                  </a:lnTo>
                  <a:lnTo>
                    <a:pt x="410" y="284"/>
                  </a:lnTo>
                  <a:lnTo>
                    <a:pt x="419" y="288"/>
                  </a:lnTo>
                  <a:lnTo>
                    <a:pt x="423" y="290"/>
                  </a:lnTo>
                  <a:lnTo>
                    <a:pt x="417" y="290"/>
                  </a:lnTo>
                  <a:lnTo>
                    <a:pt x="414" y="292"/>
                  </a:lnTo>
                  <a:lnTo>
                    <a:pt x="410" y="288"/>
                  </a:lnTo>
                  <a:lnTo>
                    <a:pt x="410" y="288"/>
                  </a:lnTo>
                  <a:lnTo>
                    <a:pt x="406" y="284"/>
                  </a:lnTo>
                  <a:lnTo>
                    <a:pt x="404" y="288"/>
                  </a:lnTo>
                  <a:lnTo>
                    <a:pt x="400" y="284"/>
                  </a:lnTo>
                  <a:lnTo>
                    <a:pt x="395" y="288"/>
                  </a:lnTo>
                  <a:lnTo>
                    <a:pt x="395" y="288"/>
                  </a:lnTo>
                  <a:lnTo>
                    <a:pt x="393" y="290"/>
                  </a:lnTo>
                  <a:lnTo>
                    <a:pt x="393" y="290"/>
                  </a:lnTo>
                  <a:lnTo>
                    <a:pt x="393" y="290"/>
                  </a:lnTo>
                  <a:lnTo>
                    <a:pt x="393" y="290"/>
                  </a:lnTo>
                  <a:close/>
                  <a:moveTo>
                    <a:pt x="380" y="284"/>
                  </a:moveTo>
                  <a:lnTo>
                    <a:pt x="385" y="284"/>
                  </a:lnTo>
                  <a:lnTo>
                    <a:pt x="393" y="284"/>
                  </a:lnTo>
                  <a:lnTo>
                    <a:pt x="389" y="288"/>
                  </a:lnTo>
                  <a:lnTo>
                    <a:pt x="389" y="292"/>
                  </a:lnTo>
                  <a:lnTo>
                    <a:pt x="389" y="295"/>
                  </a:lnTo>
                  <a:lnTo>
                    <a:pt x="385" y="294"/>
                  </a:lnTo>
                  <a:lnTo>
                    <a:pt x="384" y="295"/>
                  </a:lnTo>
                  <a:lnTo>
                    <a:pt x="378" y="294"/>
                  </a:lnTo>
                  <a:lnTo>
                    <a:pt x="376" y="292"/>
                  </a:lnTo>
                  <a:lnTo>
                    <a:pt x="378" y="290"/>
                  </a:lnTo>
                  <a:lnTo>
                    <a:pt x="380" y="290"/>
                  </a:lnTo>
                  <a:lnTo>
                    <a:pt x="380" y="284"/>
                  </a:lnTo>
                  <a:lnTo>
                    <a:pt x="380" y="284"/>
                  </a:lnTo>
                  <a:lnTo>
                    <a:pt x="380" y="284"/>
                  </a:lnTo>
                  <a:lnTo>
                    <a:pt x="380" y="284"/>
                  </a:lnTo>
                  <a:close/>
                  <a:moveTo>
                    <a:pt x="368" y="292"/>
                  </a:moveTo>
                  <a:lnTo>
                    <a:pt x="370" y="290"/>
                  </a:lnTo>
                  <a:lnTo>
                    <a:pt x="372" y="292"/>
                  </a:lnTo>
                  <a:lnTo>
                    <a:pt x="370" y="292"/>
                  </a:lnTo>
                  <a:lnTo>
                    <a:pt x="368" y="292"/>
                  </a:lnTo>
                  <a:lnTo>
                    <a:pt x="368" y="292"/>
                  </a:lnTo>
                  <a:lnTo>
                    <a:pt x="368" y="292"/>
                  </a:lnTo>
                  <a:lnTo>
                    <a:pt x="368" y="292"/>
                  </a:lnTo>
                  <a:close/>
                  <a:moveTo>
                    <a:pt x="352" y="280"/>
                  </a:moveTo>
                  <a:lnTo>
                    <a:pt x="352" y="284"/>
                  </a:lnTo>
                  <a:lnTo>
                    <a:pt x="353" y="284"/>
                  </a:lnTo>
                  <a:lnTo>
                    <a:pt x="359" y="288"/>
                  </a:lnTo>
                  <a:lnTo>
                    <a:pt x="365" y="290"/>
                  </a:lnTo>
                  <a:lnTo>
                    <a:pt x="365" y="292"/>
                  </a:lnTo>
                  <a:lnTo>
                    <a:pt x="365" y="290"/>
                  </a:lnTo>
                  <a:lnTo>
                    <a:pt x="368" y="288"/>
                  </a:lnTo>
                  <a:lnTo>
                    <a:pt x="370" y="288"/>
                  </a:lnTo>
                  <a:lnTo>
                    <a:pt x="374" y="288"/>
                  </a:lnTo>
                  <a:lnTo>
                    <a:pt x="374" y="284"/>
                  </a:lnTo>
                  <a:lnTo>
                    <a:pt x="370" y="280"/>
                  </a:lnTo>
                  <a:lnTo>
                    <a:pt x="365" y="278"/>
                  </a:lnTo>
                  <a:lnTo>
                    <a:pt x="359" y="280"/>
                  </a:lnTo>
                  <a:lnTo>
                    <a:pt x="355" y="280"/>
                  </a:lnTo>
                  <a:lnTo>
                    <a:pt x="352" y="280"/>
                  </a:lnTo>
                  <a:lnTo>
                    <a:pt x="352" y="280"/>
                  </a:lnTo>
                  <a:lnTo>
                    <a:pt x="352" y="280"/>
                  </a:lnTo>
                  <a:lnTo>
                    <a:pt x="352" y="280"/>
                  </a:lnTo>
                  <a:close/>
                  <a:moveTo>
                    <a:pt x="801" y="284"/>
                  </a:moveTo>
                  <a:lnTo>
                    <a:pt x="803" y="284"/>
                  </a:lnTo>
                  <a:lnTo>
                    <a:pt x="807" y="284"/>
                  </a:lnTo>
                  <a:lnTo>
                    <a:pt x="807" y="284"/>
                  </a:lnTo>
                  <a:lnTo>
                    <a:pt x="803" y="280"/>
                  </a:lnTo>
                  <a:lnTo>
                    <a:pt x="803" y="280"/>
                  </a:lnTo>
                  <a:lnTo>
                    <a:pt x="803" y="280"/>
                  </a:lnTo>
                  <a:lnTo>
                    <a:pt x="801" y="284"/>
                  </a:lnTo>
                  <a:lnTo>
                    <a:pt x="801" y="284"/>
                  </a:lnTo>
                  <a:lnTo>
                    <a:pt x="801" y="284"/>
                  </a:lnTo>
                  <a:lnTo>
                    <a:pt x="801" y="284"/>
                  </a:lnTo>
                  <a:close/>
                  <a:moveTo>
                    <a:pt x="783" y="284"/>
                  </a:moveTo>
                  <a:lnTo>
                    <a:pt x="783" y="284"/>
                  </a:lnTo>
                  <a:lnTo>
                    <a:pt x="788" y="284"/>
                  </a:lnTo>
                  <a:lnTo>
                    <a:pt x="790" y="284"/>
                  </a:lnTo>
                  <a:lnTo>
                    <a:pt x="796" y="284"/>
                  </a:lnTo>
                  <a:lnTo>
                    <a:pt x="800" y="282"/>
                  </a:lnTo>
                  <a:lnTo>
                    <a:pt x="801" y="278"/>
                  </a:lnTo>
                  <a:lnTo>
                    <a:pt x="803" y="278"/>
                  </a:lnTo>
                  <a:lnTo>
                    <a:pt x="807" y="277"/>
                  </a:lnTo>
                  <a:lnTo>
                    <a:pt x="807" y="275"/>
                  </a:lnTo>
                  <a:lnTo>
                    <a:pt x="807" y="273"/>
                  </a:lnTo>
                  <a:lnTo>
                    <a:pt x="807" y="271"/>
                  </a:lnTo>
                  <a:lnTo>
                    <a:pt x="807" y="269"/>
                  </a:lnTo>
                  <a:lnTo>
                    <a:pt x="807" y="267"/>
                  </a:lnTo>
                  <a:lnTo>
                    <a:pt x="803" y="265"/>
                  </a:lnTo>
                  <a:lnTo>
                    <a:pt x="798" y="265"/>
                  </a:lnTo>
                  <a:lnTo>
                    <a:pt x="794" y="267"/>
                  </a:lnTo>
                  <a:lnTo>
                    <a:pt x="792" y="273"/>
                  </a:lnTo>
                  <a:lnTo>
                    <a:pt x="790" y="277"/>
                  </a:lnTo>
                  <a:lnTo>
                    <a:pt x="783" y="284"/>
                  </a:lnTo>
                  <a:lnTo>
                    <a:pt x="783" y="284"/>
                  </a:lnTo>
                  <a:lnTo>
                    <a:pt x="783" y="284"/>
                  </a:lnTo>
                  <a:lnTo>
                    <a:pt x="783" y="284"/>
                  </a:lnTo>
                  <a:close/>
                  <a:moveTo>
                    <a:pt x="325" y="256"/>
                  </a:moveTo>
                  <a:lnTo>
                    <a:pt x="321" y="260"/>
                  </a:lnTo>
                  <a:lnTo>
                    <a:pt x="325" y="263"/>
                  </a:lnTo>
                  <a:lnTo>
                    <a:pt x="329" y="263"/>
                  </a:lnTo>
                  <a:lnTo>
                    <a:pt x="331" y="263"/>
                  </a:lnTo>
                  <a:lnTo>
                    <a:pt x="336" y="263"/>
                  </a:lnTo>
                  <a:lnTo>
                    <a:pt x="338" y="260"/>
                  </a:lnTo>
                  <a:lnTo>
                    <a:pt x="344" y="260"/>
                  </a:lnTo>
                  <a:lnTo>
                    <a:pt x="346" y="260"/>
                  </a:lnTo>
                  <a:lnTo>
                    <a:pt x="344" y="258"/>
                  </a:lnTo>
                  <a:lnTo>
                    <a:pt x="338" y="260"/>
                  </a:lnTo>
                  <a:lnTo>
                    <a:pt x="335" y="258"/>
                  </a:lnTo>
                  <a:lnTo>
                    <a:pt x="327" y="258"/>
                  </a:lnTo>
                  <a:lnTo>
                    <a:pt x="325" y="256"/>
                  </a:lnTo>
                  <a:lnTo>
                    <a:pt x="325" y="256"/>
                  </a:lnTo>
                  <a:lnTo>
                    <a:pt x="325" y="256"/>
                  </a:lnTo>
                  <a:lnTo>
                    <a:pt x="325" y="256"/>
                  </a:lnTo>
                  <a:close/>
                  <a:moveTo>
                    <a:pt x="186" y="250"/>
                  </a:moveTo>
                  <a:lnTo>
                    <a:pt x="186" y="252"/>
                  </a:lnTo>
                  <a:lnTo>
                    <a:pt x="188" y="252"/>
                  </a:lnTo>
                  <a:lnTo>
                    <a:pt x="188" y="250"/>
                  </a:lnTo>
                  <a:lnTo>
                    <a:pt x="186" y="250"/>
                  </a:lnTo>
                  <a:lnTo>
                    <a:pt x="186" y="250"/>
                  </a:lnTo>
                  <a:lnTo>
                    <a:pt x="186" y="250"/>
                  </a:lnTo>
                  <a:lnTo>
                    <a:pt x="186" y="250"/>
                  </a:lnTo>
                  <a:close/>
                  <a:moveTo>
                    <a:pt x="188" y="252"/>
                  </a:moveTo>
                  <a:lnTo>
                    <a:pt x="188" y="254"/>
                  </a:lnTo>
                  <a:lnTo>
                    <a:pt x="192" y="254"/>
                  </a:lnTo>
                  <a:lnTo>
                    <a:pt x="192" y="250"/>
                  </a:lnTo>
                  <a:lnTo>
                    <a:pt x="197" y="248"/>
                  </a:lnTo>
                  <a:lnTo>
                    <a:pt x="197" y="245"/>
                  </a:lnTo>
                  <a:lnTo>
                    <a:pt x="197" y="241"/>
                  </a:lnTo>
                  <a:lnTo>
                    <a:pt x="201" y="235"/>
                  </a:lnTo>
                  <a:lnTo>
                    <a:pt x="203" y="239"/>
                  </a:lnTo>
                  <a:lnTo>
                    <a:pt x="207" y="239"/>
                  </a:lnTo>
                  <a:lnTo>
                    <a:pt x="214" y="239"/>
                  </a:lnTo>
                  <a:lnTo>
                    <a:pt x="216" y="241"/>
                  </a:lnTo>
                  <a:lnTo>
                    <a:pt x="218" y="239"/>
                  </a:lnTo>
                  <a:lnTo>
                    <a:pt x="218" y="239"/>
                  </a:lnTo>
                  <a:lnTo>
                    <a:pt x="224" y="239"/>
                  </a:lnTo>
                  <a:lnTo>
                    <a:pt x="227" y="241"/>
                  </a:lnTo>
                  <a:lnTo>
                    <a:pt x="235" y="243"/>
                  </a:lnTo>
                  <a:lnTo>
                    <a:pt x="242" y="245"/>
                  </a:lnTo>
                  <a:lnTo>
                    <a:pt x="246" y="248"/>
                  </a:lnTo>
                  <a:lnTo>
                    <a:pt x="246" y="252"/>
                  </a:lnTo>
                  <a:lnTo>
                    <a:pt x="246" y="254"/>
                  </a:lnTo>
                  <a:lnTo>
                    <a:pt x="252" y="256"/>
                  </a:lnTo>
                  <a:lnTo>
                    <a:pt x="263" y="256"/>
                  </a:lnTo>
                  <a:lnTo>
                    <a:pt x="272" y="258"/>
                  </a:lnTo>
                  <a:lnTo>
                    <a:pt x="282" y="256"/>
                  </a:lnTo>
                  <a:lnTo>
                    <a:pt x="284" y="254"/>
                  </a:lnTo>
                  <a:lnTo>
                    <a:pt x="284" y="245"/>
                  </a:lnTo>
                  <a:lnTo>
                    <a:pt x="288" y="245"/>
                  </a:lnTo>
                  <a:lnTo>
                    <a:pt x="293" y="250"/>
                  </a:lnTo>
                  <a:lnTo>
                    <a:pt x="297" y="250"/>
                  </a:lnTo>
                  <a:lnTo>
                    <a:pt x="301" y="250"/>
                  </a:lnTo>
                  <a:lnTo>
                    <a:pt x="301" y="252"/>
                  </a:lnTo>
                  <a:lnTo>
                    <a:pt x="304" y="256"/>
                  </a:lnTo>
                  <a:lnTo>
                    <a:pt x="310" y="254"/>
                  </a:lnTo>
                  <a:lnTo>
                    <a:pt x="310" y="258"/>
                  </a:lnTo>
                  <a:lnTo>
                    <a:pt x="314" y="256"/>
                  </a:lnTo>
                  <a:lnTo>
                    <a:pt x="320" y="256"/>
                  </a:lnTo>
                  <a:lnTo>
                    <a:pt x="320" y="260"/>
                  </a:lnTo>
                  <a:lnTo>
                    <a:pt x="323" y="265"/>
                  </a:lnTo>
                  <a:lnTo>
                    <a:pt x="323" y="267"/>
                  </a:lnTo>
                  <a:lnTo>
                    <a:pt x="325" y="271"/>
                  </a:lnTo>
                  <a:lnTo>
                    <a:pt x="331" y="273"/>
                  </a:lnTo>
                  <a:lnTo>
                    <a:pt x="335" y="271"/>
                  </a:lnTo>
                  <a:lnTo>
                    <a:pt x="336" y="273"/>
                  </a:lnTo>
                  <a:lnTo>
                    <a:pt x="338" y="273"/>
                  </a:lnTo>
                  <a:lnTo>
                    <a:pt x="342" y="271"/>
                  </a:lnTo>
                  <a:lnTo>
                    <a:pt x="344" y="271"/>
                  </a:lnTo>
                  <a:lnTo>
                    <a:pt x="346" y="273"/>
                  </a:lnTo>
                  <a:lnTo>
                    <a:pt x="350" y="273"/>
                  </a:lnTo>
                  <a:lnTo>
                    <a:pt x="352" y="277"/>
                  </a:lnTo>
                  <a:lnTo>
                    <a:pt x="350" y="284"/>
                  </a:lnTo>
                  <a:lnTo>
                    <a:pt x="348" y="284"/>
                  </a:lnTo>
                  <a:lnTo>
                    <a:pt x="350" y="288"/>
                  </a:lnTo>
                  <a:lnTo>
                    <a:pt x="352" y="292"/>
                  </a:lnTo>
                  <a:lnTo>
                    <a:pt x="350" y="294"/>
                  </a:lnTo>
                  <a:lnTo>
                    <a:pt x="346" y="290"/>
                  </a:lnTo>
                  <a:lnTo>
                    <a:pt x="342" y="290"/>
                  </a:lnTo>
                  <a:lnTo>
                    <a:pt x="336" y="288"/>
                  </a:lnTo>
                  <a:lnTo>
                    <a:pt x="335" y="288"/>
                  </a:lnTo>
                  <a:lnTo>
                    <a:pt x="331" y="284"/>
                  </a:lnTo>
                  <a:lnTo>
                    <a:pt x="327" y="282"/>
                  </a:lnTo>
                  <a:lnTo>
                    <a:pt x="321" y="284"/>
                  </a:lnTo>
                  <a:lnTo>
                    <a:pt x="316" y="284"/>
                  </a:lnTo>
                  <a:lnTo>
                    <a:pt x="312" y="284"/>
                  </a:lnTo>
                  <a:lnTo>
                    <a:pt x="306" y="282"/>
                  </a:lnTo>
                  <a:lnTo>
                    <a:pt x="301" y="284"/>
                  </a:lnTo>
                  <a:lnTo>
                    <a:pt x="299" y="282"/>
                  </a:lnTo>
                  <a:lnTo>
                    <a:pt x="291" y="282"/>
                  </a:lnTo>
                  <a:lnTo>
                    <a:pt x="288" y="284"/>
                  </a:lnTo>
                  <a:lnTo>
                    <a:pt x="276" y="280"/>
                  </a:lnTo>
                  <a:lnTo>
                    <a:pt x="267" y="275"/>
                  </a:lnTo>
                  <a:lnTo>
                    <a:pt x="263" y="275"/>
                  </a:lnTo>
                  <a:lnTo>
                    <a:pt x="257" y="271"/>
                  </a:lnTo>
                  <a:lnTo>
                    <a:pt x="256" y="271"/>
                  </a:lnTo>
                  <a:lnTo>
                    <a:pt x="256" y="275"/>
                  </a:lnTo>
                  <a:lnTo>
                    <a:pt x="252" y="273"/>
                  </a:lnTo>
                  <a:lnTo>
                    <a:pt x="246" y="271"/>
                  </a:lnTo>
                  <a:lnTo>
                    <a:pt x="246" y="271"/>
                  </a:lnTo>
                  <a:lnTo>
                    <a:pt x="242" y="275"/>
                  </a:lnTo>
                  <a:lnTo>
                    <a:pt x="233" y="273"/>
                  </a:lnTo>
                  <a:lnTo>
                    <a:pt x="227" y="267"/>
                  </a:lnTo>
                  <a:lnTo>
                    <a:pt x="222" y="267"/>
                  </a:lnTo>
                  <a:lnTo>
                    <a:pt x="218" y="265"/>
                  </a:lnTo>
                  <a:lnTo>
                    <a:pt x="216" y="267"/>
                  </a:lnTo>
                  <a:lnTo>
                    <a:pt x="212" y="267"/>
                  </a:lnTo>
                  <a:lnTo>
                    <a:pt x="207" y="265"/>
                  </a:lnTo>
                  <a:lnTo>
                    <a:pt x="205" y="263"/>
                  </a:lnTo>
                  <a:lnTo>
                    <a:pt x="208" y="260"/>
                  </a:lnTo>
                  <a:lnTo>
                    <a:pt x="208" y="260"/>
                  </a:lnTo>
                  <a:lnTo>
                    <a:pt x="207" y="260"/>
                  </a:lnTo>
                  <a:lnTo>
                    <a:pt x="205" y="260"/>
                  </a:lnTo>
                  <a:lnTo>
                    <a:pt x="201" y="258"/>
                  </a:lnTo>
                  <a:lnTo>
                    <a:pt x="199" y="256"/>
                  </a:lnTo>
                  <a:lnTo>
                    <a:pt x="197" y="258"/>
                  </a:lnTo>
                  <a:lnTo>
                    <a:pt x="188" y="256"/>
                  </a:lnTo>
                  <a:lnTo>
                    <a:pt x="188" y="256"/>
                  </a:lnTo>
                  <a:lnTo>
                    <a:pt x="186" y="252"/>
                  </a:lnTo>
                  <a:lnTo>
                    <a:pt x="188" y="252"/>
                  </a:lnTo>
                  <a:lnTo>
                    <a:pt x="188" y="252"/>
                  </a:lnTo>
                  <a:lnTo>
                    <a:pt x="188" y="252"/>
                  </a:lnTo>
                  <a:lnTo>
                    <a:pt x="188" y="252"/>
                  </a:lnTo>
                  <a:close/>
                  <a:moveTo>
                    <a:pt x="235" y="49"/>
                  </a:moveTo>
                  <a:lnTo>
                    <a:pt x="239" y="51"/>
                  </a:lnTo>
                  <a:lnTo>
                    <a:pt x="242" y="51"/>
                  </a:lnTo>
                  <a:lnTo>
                    <a:pt x="240" y="52"/>
                  </a:lnTo>
                  <a:lnTo>
                    <a:pt x="242" y="52"/>
                  </a:lnTo>
                  <a:lnTo>
                    <a:pt x="246" y="49"/>
                  </a:lnTo>
                  <a:lnTo>
                    <a:pt x="240" y="41"/>
                  </a:lnTo>
                  <a:lnTo>
                    <a:pt x="237" y="45"/>
                  </a:lnTo>
                  <a:lnTo>
                    <a:pt x="235" y="49"/>
                  </a:lnTo>
                  <a:lnTo>
                    <a:pt x="235" y="49"/>
                  </a:lnTo>
                  <a:lnTo>
                    <a:pt x="235" y="49"/>
                  </a:lnTo>
                  <a:lnTo>
                    <a:pt x="235" y="49"/>
                  </a:lnTo>
                  <a:close/>
                  <a:moveTo>
                    <a:pt x="205" y="69"/>
                  </a:moveTo>
                  <a:lnTo>
                    <a:pt x="205" y="73"/>
                  </a:lnTo>
                  <a:lnTo>
                    <a:pt x="207" y="73"/>
                  </a:lnTo>
                  <a:lnTo>
                    <a:pt x="205" y="69"/>
                  </a:lnTo>
                  <a:lnTo>
                    <a:pt x="205" y="69"/>
                  </a:lnTo>
                  <a:lnTo>
                    <a:pt x="205" y="69"/>
                  </a:lnTo>
                  <a:lnTo>
                    <a:pt x="205" y="69"/>
                  </a:lnTo>
                  <a:close/>
                  <a:moveTo>
                    <a:pt x="205" y="60"/>
                  </a:moveTo>
                  <a:lnTo>
                    <a:pt x="207" y="60"/>
                  </a:lnTo>
                  <a:lnTo>
                    <a:pt x="205" y="58"/>
                  </a:lnTo>
                  <a:lnTo>
                    <a:pt x="205" y="60"/>
                  </a:lnTo>
                  <a:lnTo>
                    <a:pt x="205" y="60"/>
                  </a:lnTo>
                  <a:lnTo>
                    <a:pt x="205" y="60"/>
                  </a:lnTo>
                  <a:lnTo>
                    <a:pt x="205" y="60"/>
                  </a:lnTo>
                  <a:close/>
                  <a:moveTo>
                    <a:pt x="205" y="64"/>
                  </a:moveTo>
                  <a:lnTo>
                    <a:pt x="205" y="64"/>
                  </a:lnTo>
                  <a:lnTo>
                    <a:pt x="207" y="64"/>
                  </a:lnTo>
                  <a:lnTo>
                    <a:pt x="205" y="64"/>
                  </a:lnTo>
                  <a:lnTo>
                    <a:pt x="205" y="64"/>
                  </a:lnTo>
                  <a:lnTo>
                    <a:pt x="205" y="64"/>
                  </a:lnTo>
                  <a:lnTo>
                    <a:pt x="205" y="64"/>
                  </a:lnTo>
                  <a:close/>
                  <a:moveTo>
                    <a:pt x="193" y="67"/>
                  </a:moveTo>
                  <a:lnTo>
                    <a:pt x="192" y="69"/>
                  </a:lnTo>
                  <a:lnTo>
                    <a:pt x="197" y="73"/>
                  </a:lnTo>
                  <a:lnTo>
                    <a:pt x="199" y="67"/>
                  </a:lnTo>
                  <a:lnTo>
                    <a:pt x="197" y="67"/>
                  </a:lnTo>
                  <a:lnTo>
                    <a:pt x="193" y="67"/>
                  </a:lnTo>
                  <a:lnTo>
                    <a:pt x="193" y="67"/>
                  </a:lnTo>
                  <a:lnTo>
                    <a:pt x="193" y="67"/>
                  </a:lnTo>
                  <a:lnTo>
                    <a:pt x="193" y="67"/>
                  </a:lnTo>
                  <a:close/>
                  <a:moveTo>
                    <a:pt x="163" y="107"/>
                  </a:moveTo>
                  <a:lnTo>
                    <a:pt x="167" y="109"/>
                  </a:lnTo>
                  <a:lnTo>
                    <a:pt x="167" y="105"/>
                  </a:lnTo>
                  <a:lnTo>
                    <a:pt x="167" y="101"/>
                  </a:lnTo>
                  <a:lnTo>
                    <a:pt x="163" y="107"/>
                  </a:lnTo>
                  <a:lnTo>
                    <a:pt x="163" y="107"/>
                  </a:lnTo>
                  <a:lnTo>
                    <a:pt x="163" y="107"/>
                  </a:lnTo>
                  <a:lnTo>
                    <a:pt x="163" y="107"/>
                  </a:lnTo>
                  <a:close/>
                  <a:moveTo>
                    <a:pt x="171" y="103"/>
                  </a:moveTo>
                  <a:lnTo>
                    <a:pt x="169" y="107"/>
                  </a:lnTo>
                  <a:lnTo>
                    <a:pt x="173" y="109"/>
                  </a:lnTo>
                  <a:lnTo>
                    <a:pt x="175" y="113"/>
                  </a:lnTo>
                  <a:lnTo>
                    <a:pt x="176" y="113"/>
                  </a:lnTo>
                  <a:lnTo>
                    <a:pt x="178" y="107"/>
                  </a:lnTo>
                  <a:lnTo>
                    <a:pt x="176" y="105"/>
                  </a:lnTo>
                  <a:lnTo>
                    <a:pt x="178" y="101"/>
                  </a:lnTo>
                  <a:lnTo>
                    <a:pt x="175" y="101"/>
                  </a:lnTo>
                  <a:lnTo>
                    <a:pt x="173" y="103"/>
                  </a:lnTo>
                  <a:lnTo>
                    <a:pt x="171" y="103"/>
                  </a:lnTo>
                  <a:lnTo>
                    <a:pt x="171" y="103"/>
                  </a:lnTo>
                  <a:lnTo>
                    <a:pt x="171" y="103"/>
                  </a:lnTo>
                  <a:lnTo>
                    <a:pt x="171" y="103"/>
                  </a:lnTo>
                  <a:close/>
                  <a:moveTo>
                    <a:pt x="252" y="158"/>
                  </a:moveTo>
                  <a:lnTo>
                    <a:pt x="252" y="160"/>
                  </a:lnTo>
                  <a:lnTo>
                    <a:pt x="256" y="162"/>
                  </a:lnTo>
                  <a:lnTo>
                    <a:pt x="257" y="160"/>
                  </a:lnTo>
                  <a:lnTo>
                    <a:pt x="256" y="158"/>
                  </a:lnTo>
                  <a:lnTo>
                    <a:pt x="252" y="158"/>
                  </a:lnTo>
                  <a:lnTo>
                    <a:pt x="252" y="158"/>
                  </a:lnTo>
                  <a:lnTo>
                    <a:pt x="252" y="158"/>
                  </a:lnTo>
                  <a:lnTo>
                    <a:pt x="252" y="158"/>
                  </a:lnTo>
                  <a:close/>
                  <a:moveTo>
                    <a:pt x="227" y="175"/>
                  </a:moveTo>
                  <a:lnTo>
                    <a:pt x="229" y="179"/>
                  </a:lnTo>
                  <a:lnTo>
                    <a:pt x="229" y="181"/>
                  </a:lnTo>
                  <a:lnTo>
                    <a:pt x="225" y="182"/>
                  </a:lnTo>
                  <a:lnTo>
                    <a:pt x="224" y="184"/>
                  </a:lnTo>
                  <a:lnTo>
                    <a:pt x="227" y="184"/>
                  </a:lnTo>
                  <a:lnTo>
                    <a:pt x="227" y="182"/>
                  </a:lnTo>
                  <a:lnTo>
                    <a:pt x="229" y="181"/>
                  </a:lnTo>
                  <a:lnTo>
                    <a:pt x="229" y="186"/>
                  </a:lnTo>
                  <a:lnTo>
                    <a:pt x="233" y="190"/>
                  </a:lnTo>
                  <a:lnTo>
                    <a:pt x="237" y="184"/>
                  </a:lnTo>
                  <a:lnTo>
                    <a:pt x="239" y="186"/>
                  </a:lnTo>
                  <a:lnTo>
                    <a:pt x="240" y="186"/>
                  </a:lnTo>
                  <a:lnTo>
                    <a:pt x="242" y="186"/>
                  </a:lnTo>
                  <a:lnTo>
                    <a:pt x="246" y="184"/>
                  </a:lnTo>
                  <a:lnTo>
                    <a:pt x="242" y="181"/>
                  </a:lnTo>
                  <a:lnTo>
                    <a:pt x="237" y="177"/>
                  </a:lnTo>
                  <a:lnTo>
                    <a:pt x="231" y="175"/>
                  </a:lnTo>
                  <a:lnTo>
                    <a:pt x="227" y="175"/>
                  </a:lnTo>
                  <a:lnTo>
                    <a:pt x="227" y="175"/>
                  </a:lnTo>
                  <a:lnTo>
                    <a:pt x="227" y="175"/>
                  </a:lnTo>
                  <a:lnTo>
                    <a:pt x="227" y="175"/>
                  </a:lnTo>
                  <a:close/>
                  <a:moveTo>
                    <a:pt x="218" y="182"/>
                  </a:moveTo>
                  <a:lnTo>
                    <a:pt x="216" y="186"/>
                  </a:lnTo>
                  <a:lnTo>
                    <a:pt x="218" y="184"/>
                  </a:lnTo>
                  <a:lnTo>
                    <a:pt x="218" y="182"/>
                  </a:lnTo>
                  <a:lnTo>
                    <a:pt x="218" y="182"/>
                  </a:lnTo>
                  <a:lnTo>
                    <a:pt x="218" y="182"/>
                  </a:lnTo>
                  <a:lnTo>
                    <a:pt x="218" y="182"/>
                  </a:lnTo>
                  <a:close/>
                  <a:moveTo>
                    <a:pt x="192" y="160"/>
                  </a:moveTo>
                  <a:lnTo>
                    <a:pt x="192" y="162"/>
                  </a:lnTo>
                  <a:lnTo>
                    <a:pt x="188" y="165"/>
                  </a:lnTo>
                  <a:lnTo>
                    <a:pt x="188" y="167"/>
                  </a:lnTo>
                  <a:lnTo>
                    <a:pt x="197" y="167"/>
                  </a:lnTo>
                  <a:lnTo>
                    <a:pt x="197" y="169"/>
                  </a:lnTo>
                  <a:lnTo>
                    <a:pt x="197" y="173"/>
                  </a:lnTo>
                  <a:lnTo>
                    <a:pt x="199" y="175"/>
                  </a:lnTo>
                  <a:lnTo>
                    <a:pt x="201" y="181"/>
                  </a:lnTo>
                  <a:lnTo>
                    <a:pt x="205" y="182"/>
                  </a:lnTo>
                  <a:lnTo>
                    <a:pt x="208" y="182"/>
                  </a:lnTo>
                  <a:lnTo>
                    <a:pt x="210" y="186"/>
                  </a:lnTo>
                  <a:lnTo>
                    <a:pt x="212" y="186"/>
                  </a:lnTo>
                  <a:lnTo>
                    <a:pt x="214" y="184"/>
                  </a:lnTo>
                  <a:lnTo>
                    <a:pt x="212" y="181"/>
                  </a:lnTo>
                  <a:lnTo>
                    <a:pt x="214" y="175"/>
                  </a:lnTo>
                  <a:lnTo>
                    <a:pt x="208" y="175"/>
                  </a:lnTo>
                  <a:lnTo>
                    <a:pt x="205" y="169"/>
                  </a:lnTo>
                  <a:lnTo>
                    <a:pt x="203" y="162"/>
                  </a:lnTo>
                  <a:lnTo>
                    <a:pt x="201" y="162"/>
                  </a:lnTo>
                  <a:lnTo>
                    <a:pt x="201" y="158"/>
                  </a:lnTo>
                  <a:lnTo>
                    <a:pt x="197" y="156"/>
                  </a:lnTo>
                  <a:lnTo>
                    <a:pt x="197" y="156"/>
                  </a:lnTo>
                  <a:lnTo>
                    <a:pt x="197" y="160"/>
                  </a:lnTo>
                  <a:lnTo>
                    <a:pt x="197" y="162"/>
                  </a:lnTo>
                  <a:lnTo>
                    <a:pt x="193" y="162"/>
                  </a:lnTo>
                  <a:lnTo>
                    <a:pt x="192" y="158"/>
                  </a:lnTo>
                  <a:lnTo>
                    <a:pt x="192" y="160"/>
                  </a:lnTo>
                  <a:lnTo>
                    <a:pt x="192" y="160"/>
                  </a:lnTo>
                  <a:lnTo>
                    <a:pt x="192" y="160"/>
                  </a:lnTo>
                  <a:lnTo>
                    <a:pt x="192" y="160"/>
                  </a:lnTo>
                  <a:close/>
                  <a:moveTo>
                    <a:pt x="173" y="137"/>
                  </a:moveTo>
                  <a:lnTo>
                    <a:pt x="171" y="137"/>
                  </a:lnTo>
                  <a:lnTo>
                    <a:pt x="173" y="141"/>
                  </a:lnTo>
                  <a:lnTo>
                    <a:pt x="176" y="141"/>
                  </a:lnTo>
                  <a:lnTo>
                    <a:pt x="175" y="137"/>
                  </a:lnTo>
                  <a:lnTo>
                    <a:pt x="173" y="137"/>
                  </a:lnTo>
                  <a:lnTo>
                    <a:pt x="173" y="137"/>
                  </a:lnTo>
                  <a:lnTo>
                    <a:pt x="173" y="137"/>
                  </a:lnTo>
                  <a:lnTo>
                    <a:pt x="173" y="137"/>
                  </a:lnTo>
                  <a:close/>
                  <a:moveTo>
                    <a:pt x="175" y="128"/>
                  </a:moveTo>
                  <a:lnTo>
                    <a:pt x="173" y="132"/>
                  </a:lnTo>
                  <a:lnTo>
                    <a:pt x="175" y="133"/>
                  </a:lnTo>
                  <a:lnTo>
                    <a:pt x="178" y="133"/>
                  </a:lnTo>
                  <a:lnTo>
                    <a:pt x="182" y="133"/>
                  </a:lnTo>
                  <a:lnTo>
                    <a:pt x="184" y="133"/>
                  </a:lnTo>
                  <a:lnTo>
                    <a:pt x="178" y="130"/>
                  </a:lnTo>
                  <a:lnTo>
                    <a:pt x="175" y="128"/>
                  </a:lnTo>
                  <a:lnTo>
                    <a:pt x="175" y="128"/>
                  </a:lnTo>
                  <a:lnTo>
                    <a:pt x="175" y="128"/>
                  </a:lnTo>
                  <a:lnTo>
                    <a:pt x="175" y="128"/>
                  </a:lnTo>
                  <a:close/>
                  <a:moveTo>
                    <a:pt x="139" y="103"/>
                  </a:moveTo>
                  <a:lnTo>
                    <a:pt x="137" y="109"/>
                  </a:lnTo>
                  <a:lnTo>
                    <a:pt x="137" y="113"/>
                  </a:lnTo>
                  <a:lnTo>
                    <a:pt x="143" y="113"/>
                  </a:lnTo>
                  <a:lnTo>
                    <a:pt x="146" y="116"/>
                  </a:lnTo>
                  <a:lnTo>
                    <a:pt x="148" y="113"/>
                  </a:lnTo>
                  <a:lnTo>
                    <a:pt x="146" y="109"/>
                  </a:lnTo>
                  <a:lnTo>
                    <a:pt x="143" y="105"/>
                  </a:lnTo>
                  <a:lnTo>
                    <a:pt x="139" y="103"/>
                  </a:lnTo>
                  <a:lnTo>
                    <a:pt x="139" y="103"/>
                  </a:lnTo>
                  <a:lnTo>
                    <a:pt x="139" y="103"/>
                  </a:lnTo>
                  <a:lnTo>
                    <a:pt x="139" y="103"/>
                  </a:lnTo>
                  <a:close/>
                  <a:moveTo>
                    <a:pt x="128" y="98"/>
                  </a:moveTo>
                  <a:lnTo>
                    <a:pt x="129" y="98"/>
                  </a:lnTo>
                  <a:lnTo>
                    <a:pt x="133" y="100"/>
                  </a:lnTo>
                  <a:lnTo>
                    <a:pt x="137" y="103"/>
                  </a:lnTo>
                  <a:lnTo>
                    <a:pt x="133" y="107"/>
                  </a:lnTo>
                  <a:lnTo>
                    <a:pt x="133" y="105"/>
                  </a:lnTo>
                  <a:lnTo>
                    <a:pt x="128" y="98"/>
                  </a:lnTo>
                  <a:lnTo>
                    <a:pt x="128" y="98"/>
                  </a:lnTo>
                  <a:lnTo>
                    <a:pt x="128" y="98"/>
                  </a:lnTo>
                  <a:lnTo>
                    <a:pt x="128" y="98"/>
                  </a:lnTo>
                  <a:close/>
                  <a:moveTo>
                    <a:pt x="114" y="88"/>
                  </a:moveTo>
                  <a:lnTo>
                    <a:pt x="116" y="94"/>
                  </a:lnTo>
                  <a:lnTo>
                    <a:pt x="120" y="94"/>
                  </a:lnTo>
                  <a:lnTo>
                    <a:pt x="124" y="92"/>
                  </a:lnTo>
                  <a:lnTo>
                    <a:pt x="120" y="88"/>
                  </a:lnTo>
                  <a:lnTo>
                    <a:pt x="118" y="88"/>
                  </a:lnTo>
                  <a:lnTo>
                    <a:pt x="114" y="88"/>
                  </a:lnTo>
                  <a:lnTo>
                    <a:pt x="114" y="88"/>
                  </a:lnTo>
                  <a:lnTo>
                    <a:pt x="114" y="88"/>
                  </a:lnTo>
                  <a:lnTo>
                    <a:pt x="114" y="88"/>
                  </a:lnTo>
                  <a:close/>
                  <a:moveTo>
                    <a:pt x="128" y="226"/>
                  </a:moveTo>
                  <a:lnTo>
                    <a:pt x="133" y="229"/>
                  </a:lnTo>
                  <a:lnTo>
                    <a:pt x="133" y="228"/>
                  </a:lnTo>
                  <a:lnTo>
                    <a:pt x="129" y="226"/>
                  </a:lnTo>
                  <a:lnTo>
                    <a:pt x="128" y="226"/>
                  </a:lnTo>
                  <a:lnTo>
                    <a:pt x="128" y="226"/>
                  </a:lnTo>
                  <a:lnTo>
                    <a:pt x="128" y="226"/>
                  </a:lnTo>
                  <a:lnTo>
                    <a:pt x="128" y="226"/>
                  </a:lnTo>
                  <a:close/>
                  <a:moveTo>
                    <a:pt x="94" y="181"/>
                  </a:moveTo>
                  <a:lnTo>
                    <a:pt x="92" y="184"/>
                  </a:lnTo>
                  <a:lnTo>
                    <a:pt x="99" y="190"/>
                  </a:lnTo>
                  <a:lnTo>
                    <a:pt x="97" y="186"/>
                  </a:lnTo>
                  <a:lnTo>
                    <a:pt x="97" y="184"/>
                  </a:lnTo>
                  <a:lnTo>
                    <a:pt x="94" y="181"/>
                  </a:lnTo>
                  <a:lnTo>
                    <a:pt x="94" y="181"/>
                  </a:lnTo>
                  <a:lnTo>
                    <a:pt x="94" y="181"/>
                  </a:lnTo>
                  <a:lnTo>
                    <a:pt x="94" y="181"/>
                  </a:lnTo>
                  <a:close/>
                  <a:moveTo>
                    <a:pt x="88" y="177"/>
                  </a:moveTo>
                  <a:lnTo>
                    <a:pt x="92" y="179"/>
                  </a:lnTo>
                  <a:lnTo>
                    <a:pt x="88" y="181"/>
                  </a:lnTo>
                  <a:lnTo>
                    <a:pt x="88" y="177"/>
                  </a:lnTo>
                  <a:lnTo>
                    <a:pt x="88" y="177"/>
                  </a:lnTo>
                  <a:lnTo>
                    <a:pt x="88" y="177"/>
                  </a:lnTo>
                  <a:lnTo>
                    <a:pt x="88" y="177"/>
                  </a:lnTo>
                  <a:close/>
                  <a:moveTo>
                    <a:pt x="80" y="165"/>
                  </a:moveTo>
                  <a:lnTo>
                    <a:pt x="79" y="167"/>
                  </a:lnTo>
                  <a:lnTo>
                    <a:pt x="80" y="169"/>
                  </a:lnTo>
                  <a:lnTo>
                    <a:pt x="86" y="171"/>
                  </a:lnTo>
                  <a:lnTo>
                    <a:pt x="80" y="165"/>
                  </a:lnTo>
                  <a:lnTo>
                    <a:pt x="80" y="165"/>
                  </a:lnTo>
                  <a:lnTo>
                    <a:pt x="80" y="165"/>
                  </a:lnTo>
                  <a:lnTo>
                    <a:pt x="80" y="165"/>
                  </a:lnTo>
                  <a:close/>
                  <a:moveTo>
                    <a:pt x="62" y="148"/>
                  </a:moveTo>
                  <a:lnTo>
                    <a:pt x="62" y="152"/>
                  </a:lnTo>
                  <a:lnTo>
                    <a:pt x="65" y="152"/>
                  </a:lnTo>
                  <a:lnTo>
                    <a:pt x="71" y="160"/>
                  </a:lnTo>
                  <a:lnTo>
                    <a:pt x="75" y="162"/>
                  </a:lnTo>
                  <a:lnTo>
                    <a:pt x="75" y="154"/>
                  </a:lnTo>
                  <a:lnTo>
                    <a:pt x="69" y="147"/>
                  </a:lnTo>
                  <a:lnTo>
                    <a:pt x="65" y="145"/>
                  </a:lnTo>
                  <a:lnTo>
                    <a:pt x="62" y="148"/>
                  </a:lnTo>
                  <a:lnTo>
                    <a:pt x="62" y="148"/>
                  </a:lnTo>
                  <a:lnTo>
                    <a:pt x="62" y="148"/>
                  </a:lnTo>
                  <a:lnTo>
                    <a:pt x="62" y="148"/>
                  </a:lnTo>
                  <a:close/>
                  <a:moveTo>
                    <a:pt x="58" y="133"/>
                  </a:moveTo>
                  <a:lnTo>
                    <a:pt x="56" y="137"/>
                  </a:lnTo>
                  <a:lnTo>
                    <a:pt x="60" y="141"/>
                  </a:lnTo>
                  <a:lnTo>
                    <a:pt x="62" y="137"/>
                  </a:lnTo>
                  <a:lnTo>
                    <a:pt x="62" y="137"/>
                  </a:lnTo>
                  <a:lnTo>
                    <a:pt x="58" y="133"/>
                  </a:lnTo>
                  <a:lnTo>
                    <a:pt x="58" y="133"/>
                  </a:lnTo>
                  <a:lnTo>
                    <a:pt x="58" y="133"/>
                  </a:lnTo>
                  <a:lnTo>
                    <a:pt x="58" y="133"/>
                  </a:lnTo>
                  <a:close/>
                  <a:moveTo>
                    <a:pt x="62" y="124"/>
                  </a:moveTo>
                  <a:lnTo>
                    <a:pt x="65" y="124"/>
                  </a:lnTo>
                  <a:lnTo>
                    <a:pt x="67" y="126"/>
                  </a:lnTo>
                  <a:lnTo>
                    <a:pt x="67" y="124"/>
                  </a:lnTo>
                  <a:lnTo>
                    <a:pt x="64" y="122"/>
                  </a:lnTo>
                  <a:lnTo>
                    <a:pt x="62" y="124"/>
                  </a:lnTo>
                  <a:lnTo>
                    <a:pt x="62" y="124"/>
                  </a:lnTo>
                  <a:lnTo>
                    <a:pt x="62" y="124"/>
                  </a:lnTo>
                  <a:lnTo>
                    <a:pt x="62" y="124"/>
                  </a:lnTo>
                  <a:close/>
                  <a:moveTo>
                    <a:pt x="35" y="100"/>
                  </a:moveTo>
                  <a:lnTo>
                    <a:pt x="39" y="100"/>
                  </a:lnTo>
                  <a:lnTo>
                    <a:pt x="41" y="98"/>
                  </a:lnTo>
                  <a:lnTo>
                    <a:pt x="43" y="100"/>
                  </a:lnTo>
                  <a:lnTo>
                    <a:pt x="47" y="105"/>
                  </a:lnTo>
                  <a:lnTo>
                    <a:pt x="50" y="107"/>
                  </a:lnTo>
                  <a:lnTo>
                    <a:pt x="50" y="109"/>
                  </a:lnTo>
                  <a:lnTo>
                    <a:pt x="48" y="116"/>
                  </a:lnTo>
                  <a:lnTo>
                    <a:pt x="47" y="116"/>
                  </a:lnTo>
                  <a:lnTo>
                    <a:pt x="43" y="109"/>
                  </a:lnTo>
                  <a:lnTo>
                    <a:pt x="41" y="109"/>
                  </a:lnTo>
                  <a:lnTo>
                    <a:pt x="39" y="105"/>
                  </a:lnTo>
                  <a:lnTo>
                    <a:pt x="35" y="100"/>
                  </a:lnTo>
                  <a:lnTo>
                    <a:pt x="35" y="100"/>
                  </a:lnTo>
                  <a:lnTo>
                    <a:pt x="35" y="100"/>
                  </a:lnTo>
                  <a:lnTo>
                    <a:pt x="35" y="100"/>
                  </a:lnTo>
                  <a:close/>
                  <a:moveTo>
                    <a:pt x="35" y="84"/>
                  </a:moveTo>
                  <a:lnTo>
                    <a:pt x="39" y="88"/>
                  </a:lnTo>
                  <a:lnTo>
                    <a:pt x="37" y="84"/>
                  </a:lnTo>
                  <a:lnTo>
                    <a:pt x="35" y="84"/>
                  </a:lnTo>
                  <a:lnTo>
                    <a:pt x="35" y="84"/>
                  </a:lnTo>
                  <a:lnTo>
                    <a:pt x="35" y="84"/>
                  </a:lnTo>
                  <a:lnTo>
                    <a:pt x="35" y="84"/>
                  </a:lnTo>
                  <a:close/>
                  <a:moveTo>
                    <a:pt x="9" y="69"/>
                  </a:moveTo>
                  <a:lnTo>
                    <a:pt x="9" y="73"/>
                  </a:lnTo>
                  <a:lnTo>
                    <a:pt x="7" y="73"/>
                  </a:lnTo>
                  <a:lnTo>
                    <a:pt x="11" y="77"/>
                  </a:lnTo>
                  <a:lnTo>
                    <a:pt x="16" y="75"/>
                  </a:lnTo>
                  <a:lnTo>
                    <a:pt x="13" y="73"/>
                  </a:lnTo>
                  <a:lnTo>
                    <a:pt x="9" y="69"/>
                  </a:lnTo>
                  <a:lnTo>
                    <a:pt x="9" y="69"/>
                  </a:lnTo>
                  <a:lnTo>
                    <a:pt x="9" y="69"/>
                  </a:lnTo>
                  <a:lnTo>
                    <a:pt x="9" y="69"/>
                  </a:lnTo>
                  <a:close/>
                  <a:moveTo>
                    <a:pt x="0" y="20"/>
                  </a:moveTo>
                  <a:lnTo>
                    <a:pt x="0" y="20"/>
                  </a:lnTo>
                  <a:lnTo>
                    <a:pt x="0" y="26"/>
                  </a:lnTo>
                  <a:lnTo>
                    <a:pt x="3" y="35"/>
                  </a:lnTo>
                  <a:lnTo>
                    <a:pt x="7" y="35"/>
                  </a:lnTo>
                  <a:lnTo>
                    <a:pt x="15" y="45"/>
                  </a:lnTo>
                  <a:lnTo>
                    <a:pt x="16" y="45"/>
                  </a:lnTo>
                  <a:lnTo>
                    <a:pt x="24" y="52"/>
                  </a:lnTo>
                  <a:lnTo>
                    <a:pt x="26" y="52"/>
                  </a:lnTo>
                  <a:lnTo>
                    <a:pt x="26" y="52"/>
                  </a:lnTo>
                  <a:lnTo>
                    <a:pt x="33" y="58"/>
                  </a:lnTo>
                  <a:lnTo>
                    <a:pt x="41" y="69"/>
                  </a:lnTo>
                  <a:lnTo>
                    <a:pt x="47" y="73"/>
                  </a:lnTo>
                  <a:lnTo>
                    <a:pt x="48" y="73"/>
                  </a:lnTo>
                  <a:lnTo>
                    <a:pt x="48" y="79"/>
                  </a:lnTo>
                  <a:lnTo>
                    <a:pt x="50" y="81"/>
                  </a:lnTo>
                  <a:lnTo>
                    <a:pt x="50" y="84"/>
                  </a:lnTo>
                  <a:lnTo>
                    <a:pt x="54" y="88"/>
                  </a:lnTo>
                  <a:lnTo>
                    <a:pt x="56" y="88"/>
                  </a:lnTo>
                  <a:lnTo>
                    <a:pt x="62" y="92"/>
                  </a:lnTo>
                  <a:lnTo>
                    <a:pt x="64" y="94"/>
                  </a:lnTo>
                  <a:lnTo>
                    <a:pt x="67" y="94"/>
                  </a:lnTo>
                  <a:lnTo>
                    <a:pt x="67" y="98"/>
                  </a:lnTo>
                  <a:lnTo>
                    <a:pt x="65" y="98"/>
                  </a:lnTo>
                  <a:lnTo>
                    <a:pt x="69" y="101"/>
                  </a:lnTo>
                  <a:lnTo>
                    <a:pt x="71" y="105"/>
                  </a:lnTo>
                  <a:lnTo>
                    <a:pt x="69" y="107"/>
                  </a:lnTo>
                  <a:lnTo>
                    <a:pt x="75" y="116"/>
                  </a:lnTo>
                  <a:lnTo>
                    <a:pt x="75" y="122"/>
                  </a:lnTo>
                  <a:lnTo>
                    <a:pt x="79" y="124"/>
                  </a:lnTo>
                  <a:lnTo>
                    <a:pt x="84" y="128"/>
                  </a:lnTo>
                  <a:lnTo>
                    <a:pt x="84" y="130"/>
                  </a:lnTo>
                  <a:lnTo>
                    <a:pt x="90" y="137"/>
                  </a:lnTo>
                  <a:lnTo>
                    <a:pt x="94" y="141"/>
                  </a:lnTo>
                  <a:lnTo>
                    <a:pt x="96" y="150"/>
                  </a:lnTo>
                  <a:lnTo>
                    <a:pt x="103" y="162"/>
                  </a:lnTo>
                  <a:lnTo>
                    <a:pt x="101" y="167"/>
                  </a:lnTo>
                  <a:lnTo>
                    <a:pt x="103" y="173"/>
                  </a:lnTo>
                  <a:lnTo>
                    <a:pt x="109" y="179"/>
                  </a:lnTo>
                  <a:lnTo>
                    <a:pt x="116" y="186"/>
                  </a:lnTo>
                  <a:lnTo>
                    <a:pt x="118" y="190"/>
                  </a:lnTo>
                  <a:lnTo>
                    <a:pt x="124" y="192"/>
                  </a:lnTo>
                  <a:lnTo>
                    <a:pt x="126" y="194"/>
                  </a:lnTo>
                  <a:lnTo>
                    <a:pt x="129" y="196"/>
                  </a:lnTo>
                  <a:lnTo>
                    <a:pt x="129" y="201"/>
                  </a:lnTo>
                  <a:lnTo>
                    <a:pt x="133" y="205"/>
                  </a:lnTo>
                  <a:lnTo>
                    <a:pt x="139" y="211"/>
                  </a:lnTo>
                  <a:lnTo>
                    <a:pt x="148" y="214"/>
                  </a:lnTo>
                  <a:lnTo>
                    <a:pt x="150" y="218"/>
                  </a:lnTo>
                  <a:lnTo>
                    <a:pt x="154" y="220"/>
                  </a:lnTo>
                  <a:lnTo>
                    <a:pt x="167" y="229"/>
                  </a:lnTo>
                  <a:lnTo>
                    <a:pt x="167" y="235"/>
                  </a:lnTo>
                  <a:lnTo>
                    <a:pt x="169" y="235"/>
                  </a:lnTo>
                  <a:lnTo>
                    <a:pt x="171" y="239"/>
                  </a:lnTo>
                  <a:lnTo>
                    <a:pt x="173" y="239"/>
                  </a:lnTo>
                  <a:lnTo>
                    <a:pt x="173" y="235"/>
                  </a:lnTo>
                  <a:lnTo>
                    <a:pt x="171" y="233"/>
                  </a:lnTo>
                  <a:lnTo>
                    <a:pt x="171" y="229"/>
                  </a:lnTo>
                  <a:lnTo>
                    <a:pt x="175" y="231"/>
                  </a:lnTo>
                  <a:lnTo>
                    <a:pt x="182" y="239"/>
                  </a:lnTo>
                  <a:lnTo>
                    <a:pt x="184" y="235"/>
                  </a:lnTo>
                  <a:lnTo>
                    <a:pt x="184" y="231"/>
                  </a:lnTo>
                  <a:lnTo>
                    <a:pt x="186" y="229"/>
                  </a:lnTo>
                  <a:lnTo>
                    <a:pt x="188" y="229"/>
                  </a:lnTo>
                  <a:lnTo>
                    <a:pt x="192" y="235"/>
                  </a:lnTo>
                  <a:lnTo>
                    <a:pt x="193" y="235"/>
                  </a:lnTo>
                  <a:lnTo>
                    <a:pt x="197" y="233"/>
                  </a:lnTo>
                  <a:lnTo>
                    <a:pt x="197" y="224"/>
                  </a:lnTo>
                  <a:lnTo>
                    <a:pt x="197" y="214"/>
                  </a:lnTo>
                  <a:lnTo>
                    <a:pt x="197" y="209"/>
                  </a:lnTo>
                  <a:lnTo>
                    <a:pt x="199" y="201"/>
                  </a:lnTo>
                  <a:lnTo>
                    <a:pt x="197" y="197"/>
                  </a:lnTo>
                  <a:lnTo>
                    <a:pt x="197" y="192"/>
                  </a:lnTo>
                  <a:lnTo>
                    <a:pt x="201" y="190"/>
                  </a:lnTo>
                  <a:lnTo>
                    <a:pt x="203" y="190"/>
                  </a:lnTo>
                  <a:lnTo>
                    <a:pt x="203" y="186"/>
                  </a:lnTo>
                  <a:lnTo>
                    <a:pt x="199" y="184"/>
                  </a:lnTo>
                  <a:lnTo>
                    <a:pt x="197" y="181"/>
                  </a:lnTo>
                  <a:lnTo>
                    <a:pt x="193" y="177"/>
                  </a:lnTo>
                  <a:lnTo>
                    <a:pt x="192" y="175"/>
                  </a:lnTo>
                  <a:lnTo>
                    <a:pt x="192" y="173"/>
                  </a:lnTo>
                  <a:lnTo>
                    <a:pt x="188" y="171"/>
                  </a:lnTo>
                  <a:lnTo>
                    <a:pt x="182" y="171"/>
                  </a:lnTo>
                  <a:lnTo>
                    <a:pt x="178" y="171"/>
                  </a:lnTo>
                  <a:lnTo>
                    <a:pt x="178" y="165"/>
                  </a:lnTo>
                  <a:lnTo>
                    <a:pt x="175" y="162"/>
                  </a:lnTo>
                  <a:lnTo>
                    <a:pt x="173" y="162"/>
                  </a:lnTo>
                  <a:lnTo>
                    <a:pt x="175" y="160"/>
                  </a:lnTo>
                  <a:lnTo>
                    <a:pt x="173" y="156"/>
                  </a:lnTo>
                  <a:lnTo>
                    <a:pt x="173" y="147"/>
                  </a:lnTo>
                  <a:lnTo>
                    <a:pt x="167" y="148"/>
                  </a:lnTo>
                  <a:lnTo>
                    <a:pt x="167" y="147"/>
                  </a:lnTo>
                  <a:lnTo>
                    <a:pt x="160" y="147"/>
                  </a:lnTo>
                  <a:lnTo>
                    <a:pt x="154" y="143"/>
                  </a:lnTo>
                  <a:lnTo>
                    <a:pt x="154" y="141"/>
                  </a:lnTo>
                  <a:lnTo>
                    <a:pt x="158" y="137"/>
                  </a:lnTo>
                  <a:lnTo>
                    <a:pt x="161" y="133"/>
                  </a:lnTo>
                  <a:lnTo>
                    <a:pt x="160" y="133"/>
                  </a:lnTo>
                  <a:lnTo>
                    <a:pt x="154" y="133"/>
                  </a:lnTo>
                  <a:lnTo>
                    <a:pt x="152" y="133"/>
                  </a:lnTo>
                  <a:lnTo>
                    <a:pt x="148" y="133"/>
                  </a:lnTo>
                  <a:lnTo>
                    <a:pt x="152" y="133"/>
                  </a:lnTo>
                  <a:lnTo>
                    <a:pt x="154" y="130"/>
                  </a:lnTo>
                  <a:lnTo>
                    <a:pt x="161" y="130"/>
                  </a:lnTo>
                  <a:lnTo>
                    <a:pt x="161" y="124"/>
                  </a:lnTo>
                  <a:lnTo>
                    <a:pt x="154" y="118"/>
                  </a:lnTo>
                  <a:lnTo>
                    <a:pt x="150" y="118"/>
                  </a:lnTo>
                  <a:lnTo>
                    <a:pt x="146" y="122"/>
                  </a:lnTo>
                  <a:lnTo>
                    <a:pt x="143" y="124"/>
                  </a:lnTo>
                  <a:lnTo>
                    <a:pt x="139" y="124"/>
                  </a:lnTo>
                  <a:lnTo>
                    <a:pt x="143" y="122"/>
                  </a:lnTo>
                  <a:lnTo>
                    <a:pt x="143" y="122"/>
                  </a:lnTo>
                  <a:lnTo>
                    <a:pt x="144" y="122"/>
                  </a:lnTo>
                  <a:lnTo>
                    <a:pt x="146" y="118"/>
                  </a:lnTo>
                  <a:lnTo>
                    <a:pt x="144" y="116"/>
                  </a:lnTo>
                  <a:lnTo>
                    <a:pt x="143" y="113"/>
                  </a:lnTo>
                  <a:lnTo>
                    <a:pt x="133" y="113"/>
                  </a:lnTo>
                  <a:lnTo>
                    <a:pt x="129" y="109"/>
                  </a:lnTo>
                  <a:lnTo>
                    <a:pt x="129" y="109"/>
                  </a:lnTo>
                  <a:lnTo>
                    <a:pt x="129" y="103"/>
                  </a:lnTo>
                  <a:lnTo>
                    <a:pt x="122" y="98"/>
                  </a:lnTo>
                  <a:lnTo>
                    <a:pt x="118" y="98"/>
                  </a:lnTo>
                  <a:lnTo>
                    <a:pt x="116" y="98"/>
                  </a:lnTo>
                  <a:lnTo>
                    <a:pt x="112" y="94"/>
                  </a:lnTo>
                  <a:lnTo>
                    <a:pt x="112" y="88"/>
                  </a:lnTo>
                  <a:lnTo>
                    <a:pt x="109" y="83"/>
                  </a:lnTo>
                  <a:lnTo>
                    <a:pt x="101" y="79"/>
                  </a:lnTo>
                  <a:lnTo>
                    <a:pt x="96" y="77"/>
                  </a:lnTo>
                  <a:lnTo>
                    <a:pt x="96" y="79"/>
                  </a:lnTo>
                  <a:lnTo>
                    <a:pt x="94" y="79"/>
                  </a:lnTo>
                  <a:lnTo>
                    <a:pt x="92" y="73"/>
                  </a:lnTo>
                  <a:lnTo>
                    <a:pt x="90" y="75"/>
                  </a:lnTo>
                  <a:lnTo>
                    <a:pt x="88" y="73"/>
                  </a:lnTo>
                  <a:lnTo>
                    <a:pt x="88" y="69"/>
                  </a:lnTo>
                  <a:lnTo>
                    <a:pt x="84" y="64"/>
                  </a:lnTo>
                  <a:lnTo>
                    <a:pt x="79" y="64"/>
                  </a:lnTo>
                  <a:lnTo>
                    <a:pt x="79" y="60"/>
                  </a:lnTo>
                  <a:lnTo>
                    <a:pt x="67" y="52"/>
                  </a:lnTo>
                  <a:lnTo>
                    <a:pt x="64" y="52"/>
                  </a:lnTo>
                  <a:lnTo>
                    <a:pt x="60" y="49"/>
                  </a:lnTo>
                  <a:lnTo>
                    <a:pt x="54" y="49"/>
                  </a:lnTo>
                  <a:lnTo>
                    <a:pt x="54" y="45"/>
                  </a:lnTo>
                  <a:lnTo>
                    <a:pt x="54" y="39"/>
                  </a:lnTo>
                  <a:lnTo>
                    <a:pt x="50" y="35"/>
                  </a:lnTo>
                  <a:lnTo>
                    <a:pt x="48" y="32"/>
                  </a:lnTo>
                  <a:lnTo>
                    <a:pt x="47" y="32"/>
                  </a:lnTo>
                  <a:lnTo>
                    <a:pt x="45" y="26"/>
                  </a:lnTo>
                  <a:lnTo>
                    <a:pt x="39" y="24"/>
                  </a:lnTo>
                  <a:lnTo>
                    <a:pt x="35" y="24"/>
                  </a:lnTo>
                  <a:lnTo>
                    <a:pt x="33" y="26"/>
                  </a:lnTo>
                  <a:lnTo>
                    <a:pt x="30" y="24"/>
                  </a:lnTo>
                  <a:lnTo>
                    <a:pt x="26" y="24"/>
                  </a:lnTo>
                  <a:lnTo>
                    <a:pt x="20" y="26"/>
                  </a:lnTo>
                  <a:lnTo>
                    <a:pt x="16" y="24"/>
                  </a:lnTo>
                  <a:lnTo>
                    <a:pt x="9" y="20"/>
                  </a:lnTo>
                  <a:lnTo>
                    <a:pt x="1" y="17"/>
                  </a:lnTo>
                  <a:lnTo>
                    <a:pt x="0" y="20"/>
                  </a:lnTo>
                  <a:lnTo>
                    <a:pt x="0" y="20"/>
                  </a:lnTo>
                  <a:lnTo>
                    <a:pt x="0" y="20"/>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4" name="Freeform 195">
              <a:extLst>
                <a:ext uri="{FF2B5EF4-FFF2-40B4-BE49-F238E27FC236}">
                  <a16:creationId xmlns:a16="http://schemas.microsoft.com/office/drawing/2014/main" id="{2861B6E5-265A-2B4A-852E-94FD6CA63597}"/>
                </a:ext>
              </a:extLst>
            </p:cNvPr>
            <p:cNvSpPr>
              <a:spLocks noEditPoints="1"/>
            </p:cNvSpPr>
            <p:nvPr/>
          </p:nvSpPr>
          <p:spPr bwMode="auto">
            <a:xfrm>
              <a:off x="8703206" y="3306552"/>
              <a:ext cx="64000" cy="39885"/>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5" name="Freeform 196">
              <a:extLst>
                <a:ext uri="{FF2B5EF4-FFF2-40B4-BE49-F238E27FC236}">
                  <a16:creationId xmlns:a16="http://schemas.microsoft.com/office/drawing/2014/main" id="{1F71CCC4-B415-B940-8C6A-00805CD1B71E}"/>
                </a:ext>
              </a:extLst>
            </p:cNvPr>
            <p:cNvSpPr>
              <a:spLocks noEditPoints="1"/>
            </p:cNvSpPr>
            <p:nvPr/>
          </p:nvSpPr>
          <p:spPr bwMode="auto">
            <a:xfrm>
              <a:off x="8703206" y="3306552"/>
              <a:ext cx="64000" cy="39885"/>
            </a:xfrm>
            <a:custGeom>
              <a:avLst/>
              <a:gdLst/>
              <a:ahLst/>
              <a:cxnLst>
                <a:cxn ang="0">
                  <a:pos x="6" y="5"/>
                </a:cxn>
                <a:cxn ang="0">
                  <a:pos x="10" y="5"/>
                </a:cxn>
                <a:cxn ang="0">
                  <a:pos x="15" y="11"/>
                </a:cxn>
                <a:cxn ang="0">
                  <a:pos x="21" y="15"/>
                </a:cxn>
                <a:cxn ang="0">
                  <a:pos x="30" y="32"/>
                </a:cxn>
                <a:cxn ang="0">
                  <a:pos x="36" y="32"/>
                </a:cxn>
                <a:cxn ang="0">
                  <a:pos x="47" y="47"/>
                </a:cxn>
                <a:cxn ang="0">
                  <a:pos x="51" y="52"/>
                </a:cxn>
                <a:cxn ang="0">
                  <a:pos x="45" y="52"/>
                </a:cxn>
                <a:cxn ang="0">
                  <a:pos x="40" y="50"/>
                </a:cxn>
                <a:cxn ang="0">
                  <a:pos x="36" y="45"/>
                </a:cxn>
                <a:cxn ang="0">
                  <a:pos x="28" y="37"/>
                </a:cxn>
                <a:cxn ang="0">
                  <a:pos x="25" y="37"/>
                </a:cxn>
                <a:cxn ang="0">
                  <a:pos x="17" y="30"/>
                </a:cxn>
                <a:cxn ang="0">
                  <a:pos x="13" y="28"/>
                </a:cxn>
                <a:cxn ang="0">
                  <a:pos x="11" y="20"/>
                </a:cxn>
                <a:cxn ang="0">
                  <a:pos x="2" y="7"/>
                </a:cxn>
                <a:cxn ang="0">
                  <a:pos x="0" y="2"/>
                </a:cxn>
                <a:cxn ang="0">
                  <a:pos x="0" y="0"/>
                </a:cxn>
                <a:cxn ang="0">
                  <a:pos x="0" y="0"/>
                </a:cxn>
                <a:cxn ang="0">
                  <a:pos x="72" y="32"/>
                </a:cxn>
                <a:cxn ang="0">
                  <a:pos x="75" y="37"/>
                </a:cxn>
                <a:cxn ang="0">
                  <a:pos x="72" y="37"/>
                </a:cxn>
                <a:cxn ang="0">
                  <a:pos x="66" y="32"/>
                </a:cxn>
                <a:cxn ang="0">
                  <a:pos x="66" y="32"/>
                </a:cxn>
                <a:cxn ang="0">
                  <a:pos x="60" y="13"/>
                </a:cxn>
                <a:cxn ang="0">
                  <a:pos x="57" y="17"/>
                </a:cxn>
                <a:cxn ang="0">
                  <a:pos x="59" y="22"/>
                </a:cxn>
                <a:cxn ang="0">
                  <a:pos x="64" y="22"/>
                </a:cxn>
                <a:cxn ang="0">
                  <a:pos x="62" y="17"/>
                </a:cxn>
                <a:cxn ang="0">
                  <a:pos x="60" y="13"/>
                </a:cxn>
                <a:cxn ang="0">
                  <a:pos x="60" y="13"/>
                </a:cxn>
                <a:cxn ang="0">
                  <a:pos x="47" y="7"/>
                </a:cxn>
                <a:cxn ang="0">
                  <a:pos x="45" y="13"/>
                </a:cxn>
                <a:cxn ang="0">
                  <a:pos x="51" y="11"/>
                </a:cxn>
                <a:cxn ang="0">
                  <a:pos x="47" y="7"/>
                </a:cxn>
                <a:cxn ang="0">
                  <a:pos x="47" y="7"/>
                </a:cxn>
              </a:cxnLst>
              <a:rect l="0" t="0" r="r" b="b"/>
              <a:pathLst>
                <a:path w="75" h="52">
                  <a:moveTo>
                    <a:pt x="0" y="0"/>
                  </a:moveTo>
                  <a:lnTo>
                    <a:pt x="6" y="5"/>
                  </a:lnTo>
                  <a:lnTo>
                    <a:pt x="10" y="2"/>
                  </a:lnTo>
                  <a:lnTo>
                    <a:pt x="10" y="5"/>
                  </a:lnTo>
                  <a:lnTo>
                    <a:pt x="11" y="7"/>
                  </a:lnTo>
                  <a:lnTo>
                    <a:pt x="15" y="11"/>
                  </a:lnTo>
                  <a:lnTo>
                    <a:pt x="17" y="15"/>
                  </a:lnTo>
                  <a:lnTo>
                    <a:pt x="21" y="15"/>
                  </a:lnTo>
                  <a:lnTo>
                    <a:pt x="28" y="26"/>
                  </a:lnTo>
                  <a:lnTo>
                    <a:pt x="30" y="32"/>
                  </a:lnTo>
                  <a:lnTo>
                    <a:pt x="34" y="32"/>
                  </a:lnTo>
                  <a:lnTo>
                    <a:pt x="36" y="32"/>
                  </a:lnTo>
                  <a:lnTo>
                    <a:pt x="40" y="41"/>
                  </a:lnTo>
                  <a:lnTo>
                    <a:pt x="47" y="47"/>
                  </a:lnTo>
                  <a:lnTo>
                    <a:pt x="49" y="47"/>
                  </a:lnTo>
                  <a:lnTo>
                    <a:pt x="51" y="52"/>
                  </a:lnTo>
                  <a:lnTo>
                    <a:pt x="47" y="50"/>
                  </a:lnTo>
                  <a:lnTo>
                    <a:pt x="45" y="52"/>
                  </a:lnTo>
                  <a:lnTo>
                    <a:pt x="42" y="50"/>
                  </a:lnTo>
                  <a:lnTo>
                    <a:pt x="40" y="50"/>
                  </a:lnTo>
                  <a:lnTo>
                    <a:pt x="36" y="47"/>
                  </a:lnTo>
                  <a:lnTo>
                    <a:pt x="36" y="45"/>
                  </a:lnTo>
                  <a:lnTo>
                    <a:pt x="30" y="45"/>
                  </a:lnTo>
                  <a:lnTo>
                    <a:pt x="28" y="37"/>
                  </a:lnTo>
                  <a:lnTo>
                    <a:pt x="27" y="37"/>
                  </a:lnTo>
                  <a:lnTo>
                    <a:pt x="25" y="37"/>
                  </a:lnTo>
                  <a:lnTo>
                    <a:pt x="23" y="32"/>
                  </a:lnTo>
                  <a:lnTo>
                    <a:pt x="17" y="30"/>
                  </a:lnTo>
                  <a:lnTo>
                    <a:pt x="17" y="28"/>
                  </a:lnTo>
                  <a:lnTo>
                    <a:pt x="13" y="28"/>
                  </a:lnTo>
                  <a:lnTo>
                    <a:pt x="11" y="24"/>
                  </a:lnTo>
                  <a:lnTo>
                    <a:pt x="11" y="20"/>
                  </a:lnTo>
                  <a:lnTo>
                    <a:pt x="10" y="18"/>
                  </a:lnTo>
                  <a:lnTo>
                    <a:pt x="2" y="7"/>
                  </a:lnTo>
                  <a:lnTo>
                    <a:pt x="2" y="5"/>
                  </a:lnTo>
                  <a:lnTo>
                    <a:pt x="0" y="2"/>
                  </a:lnTo>
                  <a:lnTo>
                    <a:pt x="0" y="0"/>
                  </a:lnTo>
                  <a:lnTo>
                    <a:pt x="0" y="0"/>
                  </a:lnTo>
                  <a:lnTo>
                    <a:pt x="0" y="0"/>
                  </a:lnTo>
                  <a:lnTo>
                    <a:pt x="0" y="0"/>
                  </a:lnTo>
                  <a:close/>
                  <a:moveTo>
                    <a:pt x="66" y="32"/>
                  </a:moveTo>
                  <a:lnTo>
                    <a:pt x="72" y="32"/>
                  </a:lnTo>
                  <a:lnTo>
                    <a:pt x="75" y="32"/>
                  </a:lnTo>
                  <a:lnTo>
                    <a:pt x="75" y="37"/>
                  </a:lnTo>
                  <a:lnTo>
                    <a:pt x="72" y="37"/>
                  </a:lnTo>
                  <a:lnTo>
                    <a:pt x="72" y="37"/>
                  </a:lnTo>
                  <a:lnTo>
                    <a:pt x="66" y="35"/>
                  </a:lnTo>
                  <a:lnTo>
                    <a:pt x="66" y="32"/>
                  </a:lnTo>
                  <a:lnTo>
                    <a:pt x="66" y="32"/>
                  </a:lnTo>
                  <a:lnTo>
                    <a:pt x="66" y="32"/>
                  </a:lnTo>
                  <a:lnTo>
                    <a:pt x="66" y="32"/>
                  </a:lnTo>
                  <a:close/>
                  <a:moveTo>
                    <a:pt x="60" y="13"/>
                  </a:moveTo>
                  <a:lnTo>
                    <a:pt x="57" y="15"/>
                  </a:lnTo>
                  <a:lnTo>
                    <a:pt x="57" y="17"/>
                  </a:lnTo>
                  <a:lnTo>
                    <a:pt x="57" y="18"/>
                  </a:lnTo>
                  <a:lnTo>
                    <a:pt x="59" y="22"/>
                  </a:lnTo>
                  <a:lnTo>
                    <a:pt x="62" y="24"/>
                  </a:lnTo>
                  <a:lnTo>
                    <a:pt x="64" y="22"/>
                  </a:lnTo>
                  <a:lnTo>
                    <a:pt x="60" y="20"/>
                  </a:lnTo>
                  <a:lnTo>
                    <a:pt x="62" y="17"/>
                  </a:lnTo>
                  <a:lnTo>
                    <a:pt x="62" y="13"/>
                  </a:lnTo>
                  <a:lnTo>
                    <a:pt x="60" y="13"/>
                  </a:lnTo>
                  <a:lnTo>
                    <a:pt x="60" y="13"/>
                  </a:lnTo>
                  <a:lnTo>
                    <a:pt x="60" y="13"/>
                  </a:lnTo>
                  <a:lnTo>
                    <a:pt x="60" y="13"/>
                  </a:lnTo>
                  <a:close/>
                  <a:moveTo>
                    <a:pt x="47" y="7"/>
                  </a:moveTo>
                  <a:lnTo>
                    <a:pt x="47" y="11"/>
                  </a:lnTo>
                  <a:lnTo>
                    <a:pt x="45" y="13"/>
                  </a:lnTo>
                  <a:lnTo>
                    <a:pt x="49" y="13"/>
                  </a:lnTo>
                  <a:lnTo>
                    <a:pt x="51" y="11"/>
                  </a:lnTo>
                  <a:lnTo>
                    <a:pt x="49" y="7"/>
                  </a:lnTo>
                  <a:lnTo>
                    <a:pt x="47" y="7"/>
                  </a:lnTo>
                  <a:lnTo>
                    <a:pt x="47" y="7"/>
                  </a:lnTo>
                  <a:lnTo>
                    <a:pt x="47" y="7"/>
                  </a:lnTo>
                  <a:close/>
                </a:path>
              </a:pathLst>
            </a:custGeom>
            <a:solidFill>
              <a:srgbClr val="D9DADB"/>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6" name="Freeform 197">
              <a:extLst>
                <a:ext uri="{FF2B5EF4-FFF2-40B4-BE49-F238E27FC236}">
                  <a16:creationId xmlns:a16="http://schemas.microsoft.com/office/drawing/2014/main" id="{010DC8E8-D76E-944D-A816-41100DE7968D}"/>
                </a:ext>
              </a:extLst>
            </p:cNvPr>
            <p:cNvSpPr>
              <a:spLocks noEditPoints="1"/>
            </p:cNvSpPr>
            <p:nvPr/>
          </p:nvSpPr>
          <p:spPr bwMode="auto">
            <a:xfrm>
              <a:off x="8060644" y="2186715"/>
              <a:ext cx="247467" cy="433361"/>
            </a:xfrm>
            <a:custGeom>
              <a:avLst/>
              <a:gdLst/>
              <a:ahLst/>
              <a:cxnLst>
                <a:cxn ang="0">
                  <a:pos x="121" y="267"/>
                </a:cxn>
                <a:cxn ang="0">
                  <a:pos x="4" y="565"/>
                </a:cxn>
                <a:cxn ang="0">
                  <a:pos x="6" y="561"/>
                </a:cxn>
                <a:cxn ang="0">
                  <a:pos x="64" y="507"/>
                </a:cxn>
                <a:cxn ang="0">
                  <a:pos x="64" y="516"/>
                </a:cxn>
                <a:cxn ang="0">
                  <a:pos x="87" y="471"/>
                </a:cxn>
                <a:cxn ang="0">
                  <a:pos x="89" y="467"/>
                </a:cxn>
                <a:cxn ang="0">
                  <a:pos x="185" y="100"/>
                </a:cxn>
                <a:cxn ang="0">
                  <a:pos x="192" y="96"/>
                </a:cxn>
                <a:cxn ang="0">
                  <a:pos x="192" y="68"/>
                </a:cxn>
                <a:cxn ang="0">
                  <a:pos x="207" y="54"/>
                </a:cxn>
                <a:cxn ang="0">
                  <a:pos x="196" y="7"/>
                </a:cxn>
                <a:cxn ang="0">
                  <a:pos x="232" y="24"/>
                </a:cxn>
                <a:cxn ang="0">
                  <a:pos x="273" y="26"/>
                </a:cxn>
                <a:cxn ang="0">
                  <a:pos x="284" y="51"/>
                </a:cxn>
                <a:cxn ang="0">
                  <a:pos x="273" y="64"/>
                </a:cxn>
                <a:cxn ang="0">
                  <a:pos x="251" y="94"/>
                </a:cxn>
                <a:cxn ang="0">
                  <a:pos x="205" y="83"/>
                </a:cxn>
                <a:cxn ang="0">
                  <a:pos x="220" y="109"/>
                </a:cxn>
                <a:cxn ang="0">
                  <a:pos x="200" y="216"/>
                </a:cxn>
                <a:cxn ang="0">
                  <a:pos x="200" y="222"/>
                </a:cxn>
                <a:cxn ang="0">
                  <a:pos x="64" y="348"/>
                </a:cxn>
                <a:cxn ang="0">
                  <a:pos x="59" y="352"/>
                </a:cxn>
                <a:cxn ang="0">
                  <a:pos x="55" y="358"/>
                </a:cxn>
                <a:cxn ang="0">
                  <a:pos x="85" y="363"/>
                </a:cxn>
                <a:cxn ang="0">
                  <a:pos x="79" y="371"/>
                </a:cxn>
                <a:cxn ang="0">
                  <a:pos x="79" y="363"/>
                </a:cxn>
                <a:cxn ang="0">
                  <a:pos x="158" y="316"/>
                </a:cxn>
                <a:cxn ang="0">
                  <a:pos x="143" y="316"/>
                </a:cxn>
                <a:cxn ang="0">
                  <a:pos x="143" y="333"/>
                </a:cxn>
                <a:cxn ang="0">
                  <a:pos x="141" y="316"/>
                </a:cxn>
                <a:cxn ang="0">
                  <a:pos x="117" y="337"/>
                </a:cxn>
                <a:cxn ang="0">
                  <a:pos x="102" y="414"/>
                </a:cxn>
                <a:cxn ang="0">
                  <a:pos x="106" y="403"/>
                </a:cxn>
                <a:cxn ang="0">
                  <a:pos x="104" y="390"/>
                </a:cxn>
                <a:cxn ang="0">
                  <a:pos x="113" y="352"/>
                </a:cxn>
                <a:cxn ang="0">
                  <a:pos x="98" y="337"/>
                </a:cxn>
                <a:cxn ang="0">
                  <a:pos x="113" y="316"/>
                </a:cxn>
                <a:cxn ang="0">
                  <a:pos x="147" y="307"/>
                </a:cxn>
                <a:cxn ang="0">
                  <a:pos x="162" y="324"/>
                </a:cxn>
                <a:cxn ang="0">
                  <a:pos x="190" y="316"/>
                </a:cxn>
                <a:cxn ang="0">
                  <a:pos x="192" y="303"/>
                </a:cxn>
                <a:cxn ang="0">
                  <a:pos x="205" y="303"/>
                </a:cxn>
                <a:cxn ang="0">
                  <a:pos x="232" y="297"/>
                </a:cxn>
                <a:cxn ang="0">
                  <a:pos x="241" y="282"/>
                </a:cxn>
                <a:cxn ang="0">
                  <a:pos x="251" y="264"/>
                </a:cxn>
                <a:cxn ang="0">
                  <a:pos x="254" y="201"/>
                </a:cxn>
                <a:cxn ang="0">
                  <a:pos x="254" y="169"/>
                </a:cxn>
                <a:cxn ang="0">
                  <a:pos x="230" y="115"/>
                </a:cxn>
                <a:cxn ang="0">
                  <a:pos x="226" y="126"/>
                </a:cxn>
                <a:cxn ang="0">
                  <a:pos x="209" y="124"/>
                </a:cxn>
                <a:cxn ang="0">
                  <a:pos x="205" y="158"/>
                </a:cxn>
                <a:cxn ang="0">
                  <a:pos x="207" y="222"/>
                </a:cxn>
                <a:cxn ang="0">
                  <a:pos x="181" y="233"/>
                </a:cxn>
                <a:cxn ang="0">
                  <a:pos x="168" y="262"/>
                </a:cxn>
                <a:cxn ang="0">
                  <a:pos x="160" y="282"/>
                </a:cxn>
                <a:cxn ang="0">
                  <a:pos x="123" y="286"/>
                </a:cxn>
                <a:cxn ang="0">
                  <a:pos x="89" y="318"/>
                </a:cxn>
                <a:cxn ang="0">
                  <a:pos x="68" y="346"/>
                </a:cxn>
                <a:cxn ang="0">
                  <a:pos x="72" y="361"/>
                </a:cxn>
                <a:cxn ang="0">
                  <a:pos x="79" y="352"/>
                </a:cxn>
                <a:cxn ang="0">
                  <a:pos x="87" y="386"/>
                </a:cxn>
                <a:cxn ang="0">
                  <a:pos x="98" y="384"/>
                </a:cxn>
              </a:cxnLst>
              <a:rect l="0" t="0" r="r" b="b"/>
              <a:pathLst>
                <a:path w="290" h="565">
                  <a:moveTo>
                    <a:pt x="117" y="271"/>
                  </a:moveTo>
                  <a:lnTo>
                    <a:pt x="117" y="273"/>
                  </a:lnTo>
                  <a:lnTo>
                    <a:pt x="117" y="273"/>
                  </a:lnTo>
                  <a:lnTo>
                    <a:pt x="113" y="273"/>
                  </a:lnTo>
                  <a:lnTo>
                    <a:pt x="117" y="271"/>
                  </a:lnTo>
                  <a:lnTo>
                    <a:pt x="117" y="271"/>
                  </a:lnTo>
                  <a:lnTo>
                    <a:pt x="117" y="271"/>
                  </a:lnTo>
                  <a:lnTo>
                    <a:pt x="117" y="271"/>
                  </a:lnTo>
                  <a:close/>
                  <a:moveTo>
                    <a:pt x="117" y="271"/>
                  </a:moveTo>
                  <a:lnTo>
                    <a:pt x="117" y="269"/>
                  </a:lnTo>
                  <a:lnTo>
                    <a:pt x="119" y="267"/>
                  </a:lnTo>
                  <a:lnTo>
                    <a:pt x="121" y="267"/>
                  </a:lnTo>
                  <a:lnTo>
                    <a:pt x="121" y="271"/>
                  </a:lnTo>
                  <a:lnTo>
                    <a:pt x="119" y="271"/>
                  </a:lnTo>
                  <a:lnTo>
                    <a:pt x="117" y="271"/>
                  </a:lnTo>
                  <a:lnTo>
                    <a:pt x="117" y="271"/>
                  </a:lnTo>
                  <a:lnTo>
                    <a:pt x="117" y="271"/>
                  </a:lnTo>
                  <a:lnTo>
                    <a:pt x="117" y="271"/>
                  </a:lnTo>
                  <a:close/>
                  <a:moveTo>
                    <a:pt x="4" y="565"/>
                  </a:moveTo>
                  <a:lnTo>
                    <a:pt x="2" y="561"/>
                  </a:lnTo>
                  <a:lnTo>
                    <a:pt x="0" y="561"/>
                  </a:lnTo>
                  <a:lnTo>
                    <a:pt x="0" y="565"/>
                  </a:lnTo>
                  <a:lnTo>
                    <a:pt x="2" y="565"/>
                  </a:lnTo>
                  <a:lnTo>
                    <a:pt x="4" y="565"/>
                  </a:lnTo>
                  <a:lnTo>
                    <a:pt x="4" y="565"/>
                  </a:lnTo>
                  <a:lnTo>
                    <a:pt x="4" y="565"/>
                  </a:lnTo>
                  <a:lnTo>
                    <a:pt x="4" y="565"/>
                  </a:lnTo>
                  <a:close/>
                  <a:moveTo>
                    <a:pt x="6" y="561"/>
                  </a:moveTo>
                  <a:lnTo>
                    <a:pt x="6" y="559"/>
                  </a:lnTo>
                  <a:lnTo>
                    <a:pt x="10" y="561"/>
                  </a:lnTo>
                  <a:lnTo>
                    <a:pt x="10" y="565"/>
                  </a:lnTo>
                  <a:lnTo>
                    <a:pt x="6" y="561"/>
                  </a:lnTo>
                  <a:lnTo>
                    <a:pt x="6" y="561"/>
                  </a:lnTo>
                  <a:lnTo>
                    <a:pt x="6" y="561"/>
                  </a:lnTo>
                  <a:lnTo>
                    <a:pt x="6" y="561"/>
                  </a:lnTo>
                  <a:lnTo>
                    <a:pt x="6" y="561"/>
                  </a:lnTo>
                  <a:close/>
                  <a:moveTo>
                    <a:pt x="23" y="548"/>
                  </a:moveTo>
                  <a:lnTo>
                    <a:pt x="23" y="552"/>
                  </a:lnTo>
                  <a:lnTo>
                    <a:pt x="23" y="554"/>
                  </a:lnTo>
                  <a:lnTo>
                    <a:pt x="27" y="554"/>
                  </a:lnTo>
                  <a:lnTo>
                    <a:pt x="27" y="550"/>
                  </a:lnTo>
                  <a:lnTo>
                    <a:pt x="23" y="548"/>
                  </a:lnTo>
                  <a:lnTo>
                    <a:pt x="23" y="548"/>
                  </a:lnTo>
                  <a:lnTo>
                    <a:pt x="23" y="548"/>
                  </a:lnTo>
                  <a:lnTo>
                    <a:pt x="23" y="548"/>
                  </a:lnTo>
                  <a:close/>
                  <a:moveTo>
                    <a:pt x="64" y="516"/>
                  </a:moveTo>
                  <a:lnTo>
                    <a:pt x="62" y="510"/>
                  </a:lnTo>
                  <a:lnTo>
                    <a:pt x="64" y="507"/>
                  </a:lnTo>
                  <a:lnTo>
                    <a:pt x="64" y="505"/>
                  </a:lnTo>
                  <a:lnTo>
                    <a:pt x="64" y="505"/>
                  </a:lnTo>
                  <a:lnTo>
                    <a:pt x="68" y="505"/>
                  </a:lnTo>
                  <a:lnTo>
                    <a:pt x="68" y="501"/>
                  </a:lnTo>
                  <a:lnTo>
                    <a:pt x="70" y="505"/>
                  </a:lnTo>
                  <a:lnTo>
                    <a:pt x="68" y="505"/>
                  </a:lnTo>
                  <a:lnTo>
                    <a:pt x="68" y="508"/>
                  </a:lnTo>
                  <a:lnTo>
                    <a:pt x="64" y="510"/>
                  </a:lnTo>
                  <a:lnTo>
                    <a:pt x="64" y="514"/>
                  </a:lnTo>
                  <a:lnTo>
                    <a:pt x="64" y="516"/>
                  </a:lnTo>
                  <a:lnTo>
                    <a:pt x="64" y="516"/>
                  </a:lnTo>
                  <a:lnTo>
                    <a:pt x="64" y="516"/>
                  </a:lnTo>
                  <a:lnTo>
                    <a:pt x="64" y="516"/>
                  </a:lnTo>
                  <a:close/>
                  <a:moveTo>
                    <a:pt x="79" y="476"/>
                  </a:moveTo>
                  <a:lnTo>
                    <a:pt x="83" y="480"/>
                  </a:lnTo>
                  <a:lnTo>
                    <a:pt x="83" y="482"/>
                  </a:lnTo>
                  <a:lnTo>
                    <a:pt x="81" y="484"/>
                  </a:lnTo>
                  <a:lnTo>
                    <a:pt x="79" y="480"/>
                  </a:lnTo>
                  <a:lnTo>
                    <a:pt x="79" y="480"/>
                  </a:lnTo>
                  <a:lnTo>
                    <a:pt x="79" y="476"/>
                  </a:lnTo>
                  <a:lnTo>
                    <a:pt x="79" y="476"/>
                  </a:lnTo>
                  <a:lnTo>
                    <a:pt x="79" y="476"/>
                  </a:lnTo>
                  <a:lnTo>
                    <a:pt x="79" y="476"/>
                  </a:lnTo>
                  <a:close/>
                  <a:moveTo>
                    <a:pt x="87" y="471"/>
                  </a:moveTo>
                  <a:lnTo>
                    <a:pt x="87" y="471"/>
                  </a:lnTo>
                  <a:lnTo>
                    <a:pt x="83" y="471"/>
                  </a:lnTo>
                  <a:lnTo>
                    <a:pt x="81" y="467"/>
                  </a:lnTo>
                  <a:lnTo>
                    <a:pt x="83" y="467"/>
                  </a:lnTo>
                  <a:lnTo>
                    <a:pt x="87" y="465"/>
                  </a:lnTo>
                  <a:lnTo>
                    <a:pt x="87" y="465"/>
                  </a:lnTo>
                  <a:lnTo>
                    <a:pt x="89" y="461"/>
                  </a:lnTo>
                  <a:lnTo>
                    <a:pt x="89" y="461"/>
                  </a:lnTo>
                  <a:lnTo>
                    <a:pt x="92" y="461"/>
                  </a:lnTo>
                  <a:lnTo>
                    <a:pt x="92" y="461"/>
                  </a:lnTo>
                  <a:lnTo>
                    <a:pt x="92" y="465"/>
                  </a:lnTo>
                  <a:lnTo>
                    <a:pt x="89" y="467"/>
                  </a:lnTo>
                  <a:lnTo>
                    <a:pt x="89" y="471"/>
                  </a:lnTo>
                  <a:lnTo>
                    <a:pt x="87" y="471"/>
                  </a:lnTo>
                  <a:lnTo>
                    <a:pt x="87" y="471"/>
                  </a:lnTo>
                  <a:lnTo>
                    <a:pt x="87" y="471"/>
                  </a:lnTo>
                  <a:lnTo>
                    <a:pt x="87" y="471"/>
                  </a:lnTo>
                  <a:close/>
                  <a:moveTo>
                    <a:pt x="183" y="102"/>
                  </a:moveTo>
                  <a:lnTo>
                    <a:pt x="181" y="100"/>
                  </a:lnTo>
                  <a:lnTo>
                    <a:pt x="181" y="96"/>
                  </a:lnTo>
                  <a:lnTo>
                    <a:pt x="183" y="92"/>
                  </a:lnTo>
                  <a:lnTo>
                    <a:pt x="185" y="92"/>
                  </a:lnTo>
                  <a:lnTo>
                    <a:pt x="185" y="96"/>
                  </a:lnTo>
                  <a:lnTo>
                    <a:pt x="185" y="100"/>
                  </a:lnTo>
                  <a:lnTo>
                    <a:pt x="183" y="102"/>
                  </a:lnTo>
                  <a:lnTo>
                    <a:pt x="183" y="102"/>
                  </a:lnTo>
                  <a:lnTo>
                    <a:pt x="183" y="102"/>
                  </a:lnTo>
                  <a:lnTo>
                    <a:pt x="183" y="102"/>
                  </a:lnTo>
                  <a:close/>
                  <a:moveTo>
                    <a:pt x="205" y="118"/>
                  </a:moveTo>
                  <a:lnTo>
                    <a:pt x="202" y="118"/>
                  </a:lnTo>
                  <a:lnTo>
                    <a:pt x="200" y="113"/>
                  </a:lnTo>
                  <a:lnTo>
                    <a:pt x="200" y="113"/>
                  </a:lnTo>
                  <a:lnTo>
                    <a:pt x="200" y="107"/>
                  </a:lnTo>
                  <a:lnTo>
                    <a:pt x="196" y="100"/>
                  </a:lnTo>
                  <a:lnTo>
                    <a:pt x="196" y="98"/>
                  </a:lnTo>
                  <a:lnTo>
                    <a:pt x="192" y="96"/>
                  </a:lnTo>
                  <a:lnTo>
                    <a:pt x="190" y="96"/>
                  </a:lnTo>
                  <a:lnTo>
                    <a:pt x="190" y="92"/>
                  </a:lnTo>
                  <a:lnTo>
                    <a:pt x="190" y="88"/>
                  </a:lnTo>
                  <a:lnTo>
                    <a:pt x="188" y="83"/>
                  </a:lnTo>
                  <a:lnTo>
                    <a:pt x="190" y="83"/>
                  </a:lnTo>
                  <a:lnTo>
                    <a:pt x="192" y="79"/>
                  </a:lnTo>
                  <a:lnTo>
                    <a:pt x="192" y="79"/>
                  </a:lnTo>
                  <a:lnTo>
                    <a:pt x="196" y="79"/>
                  </a:lnTo>
                  <a:lnTo>
                    <a:pt x="196" y="75"/>
                  </a:lnTo>
                  <a:lnTo>
                    <a:pt x="200" y="73"/>
                  </a:lnTo>
                  <a:lnTo>
                    <a:pt x="196" y="71"/>
                  </a:lnTo>
                  <a:lnTo>
                    <a:pt x="192" y="68"/>
                  </a:lnTo>
                  <a:lnTo>
                    <a:pt x="192" y="68"/>
                  </a:lnTo>
                  <a:lnTo>
                    <a:pt x="192" y="66"/>
                  </a:lnTo>
                  <a:lnTo>
                    <a:pt x="192" y="64"/>
                  </a:lnTo>
                  <a:lnTo>
                    <a:pt x="196" y="62"/>
                  </a:lnTo>
                  <a:lnTo>
                    <a:pt x="200" y="66"/>
                  </a:lnTo>
                  <a:lnTo>
                    <a:pt x="207" y="68"/>
                  </a:lnTo>
                  <a:lnTo>
                    <a:pt x="209" y="66"/>
                  </a:lnTo>
                  <a:lnTo>
                    <a:pt x="209" y="62"/>
                  </a:lnTo>
                  <a:lnTo>
                    <a:pt x="211" y="60"/>
                  </a:lnTo>
                  <a:lnTo>
                    <a:pt x="209" y="58"/>
                  </a:lnTo>
                  <a:lnTo>
                    <a:pt x="207" y="58"/>
                  </a:lnTo>
                  <a:lnTo>
                    <a:pt x="207" y="54"/>
                  </a:lnTo>
                  <a:lnTo>
                    <a:pt x="205" y="53"/>
                  </a:lnTo>
                  <a:lnTo>
                    <a:pt x="205" y="49"/>
                  </a:lnTo>
                  <a:lnTo>
                    <a:pt x="207" y="45"/>
                  </a:lnTo>
                  <a:lnTo>
                    <a:pt x="209" y="45"/>
                  </a:lnTo>
                  <a:lnTo>
                    <a:pt x="209" y="45"/>
                  </a:lnTo>
                  <a:lnTo>
                    <a:pt x="207" y="41"/>
                  </a:lnTo>
                  <a:lnTo>
                    <a:pt x="205" y="36"/>
                  </a:lnTo>
                  <a:lnTo>
                    <a:pt x="205" y="32"/>
                  </a:lnTo>
                  <a:lnTo>
                    <a:pt x="205" y="24"/>
                  </a:lnTo>
                  <a:lnTo>
                    <a:pt x="205" y="21"/>
                  </a:lnTo>
                  <a:lnTo>
                    <a:pt x="200" y="11"/>
                  </a:lnTo>
                  <a:lnTo>
                    <a:pt x="196" y="7"/>
                  </a:lnTo>
                  <a:lnTo>
                    <a:pt x="196" y="4"/>
                  </a:lnTo>
                  <a:lnTo>
                    <a:pt x="196" y="4"/>
                  </a:lnTo>
                  <a:lnTo>
                    <a:pt x="200" y="4"/>
                  </a:lnTo>
                  <a:lnTo>
                    <a:pt x="200" y="0"/>
                  </a:lnTo>
                  <a:lnTo>
                    <a:pt x="200" y="0"/>
                  </a:lnTo>
                  <a:lnTo>
                    <a:pt x="205" y="0"/>
                  </a:lnTo>
                  <a:lnTo>
                    <a:pt x="205" y="2"/>
                  </a:lnTo>
                  <a:lnTo>
                    <a:pt x="211" y="7"/>
                  </a:lnTo>
                  <a:lnTo>
                    <a:pt x="217" y="9"/>
                  </a:lnTo>
                  <a:lnTo>
                    <a:pt x="217" y="13"/>
                  </a:lnTo>
                  <a:lnTo>
                    <a:pt x="226" y="21"/>
                  </a:lnTo>
                  <a:lnTo>
                    <a:pt x="232" y="24"/>
                  </a:lnTo>
                  <a:lnTo>
                    <a:pt x="234" y="26"/>
                  </a:lnTo>
                  <a:lnTo>
                    <a:pt x="237" y="28"/>
                  </a:lnTo>
                  <a:lnTo>
                    <a:pt x="239" y="32"/>
                  </a:lnTo>
                  <a:lnTo>
                    <a:pt x="247" y="34"/>
                  </a:lnTo>
                  <a:lnTo>
                    <a:pt x="251" y="36"/>
                  </a:lnTo>
                  <a:lnTo>
                    <a:pt x="254" y="39"/>
                  </a:lnTo>
                  <a:lnTo>
                    <a:pt x="256" y="37"/>
                  </a:lnTo>
                  <a:lnTo>
                    <a:pt x="256" y="39"/>
                  </a:lnTo>
                  <a:lnTo>
                    <a:pt x="262" y="37"/>
                  </a:lnTo>
                  <a:lnTo>
                    <a:pt x="268" y="34"/>
                  </a:lnTo>
                  <a:lnTo>
                    <a:pt x="271" y="30"/>
                  </a:lnTo>
                  <a:lnTo>
                    <a:pt x="273" y="26"/>
                  </a:lnTo>
                  <a:lnTo>
                    <a:pt x="273" y="24"/>
                  </a:lnTo>
                  <a:lnTo>
                    <a:pt x="275" y="26"/>
                  </a:lnTo>
                  <a:lnTo>
                    <a:pt x="275" y="30"/>
                  </a:lnTo>
                  <a:lnTo>
                    <a:pt x="273" y="36"/>
                  </a:lnTo>
                  <a:lnTo>
                    <a:pt x="273" y="41"/>
                  </a:lnTo>
                  <a:lnTo>
                    <a:pt x="273" y="43"/>
                  </a:lnTo>
                  <a:lnTo>
                    <a:pt x="279" y="45"/>
                  </a:lnTo>
                  <a:lnTo>
                    <a:pt x="281" y="49"/>
                  </a:lnTo>
                  <a:lnTo>
                    <a:pt x="281" y="51"/>
                  </a:lnTo>
                  <a:lnTo>
                    <a:pt x="279" y="53"/>
                  </a:lnTo>
                  <a:lnTo>
                    <a:pt x="283" y="53"/>
                  </a:lnTo>
                  <a:lnTo>
                    <a:pt x="284" y="51"/>
                  </a:lnTo>
                  <a:lnTo>
                    <a:pt x="288" y="49"/>
                  </a:lnTo>
                  <a:lnTo>
                    <a:pt x="290" y="49"/>
                  </a:lnTo>
                  <a:lnTo>
                    <a:pt x="288" y="51"/>
                  </a:lnTo>
                  <a:lnTo>
                    <a:pt x="286" y="51"/>
                  </a:lnTo>
                  <a:lnTo>
                    <a:pt x="286" y="54"/>
                  </a:lnTo>
                  <a:lnTo>
                    <a:pt x="284" y="58"/>
                  </a:lnTo>
                  <a:lnTo>
                    <a:pt x="281" y="58"/>
                  </a:lnTo>
                  <a:lnTo>
                    <a:pt x="281" y="62"/>
                  </a:lnTo>
                  <a:lnTo>
                    <a:pt x="279" y="64"/>
                  </a:lnTo>
                  <a:lnTo>
                    <a:pt x="275" y="64"/>
                  </a:lnTo>
                  <a:lnTo>
                    <a:pt x="275" y="62"/>
                  </a:lnTo>
                  <a:lnTo>
                    <a:pt x="273" y="64"/>
                  </a:lnTo>
                  <a:lnTo>
                    <a:pt x="273" y="66"/>
                  </a:lnTo>
                  <a:lnTo>
                    <a:pt x="269" y="66"/>
                  </a:lnTo>
                  <a:lnTo>
                    <a:pt x="266" y="66"/>
                  </a:lnTo>
                  <a:lnTo>
                    <a:pt x="262" y="66"/>
                  </a:lnTo>
                  <a:lnTo>
                    <a:pt x="256" y="73"/>
                  </a:lnTo>
                  <a:lnTo>
                    <a:pt x="254" y="83"/>
                  </a:lnTo>
                  <a:lnTo>
                    <a:pt x="254" y="88"/>
                  </a:lnTo>
                  <a:lnTo>
                    <a:pt x="254" y="90"/>
                  </a:lnTo>
                  <a:lnTo>
                    <a:pt x="254" y="94"/>
                  </a:lnTo>
                  <a:lnTo>
                    <a:pt x="254" y="98"/>
                  </a:lnTo>
                  <a:lnTo>
                    <a:pt x="251" y="96"/>
                  </a:lnTo>
                  <a:lnTo>
                    <a:pt x="251" y="94"/>
                  </a:lnTo>
                  <a:lnTo>
                    <a:pt x="245" y="92"/>
                  </a:lnTo>
                  <a:lnTo>
                    <a:pt x="239" y="88"/>
                  </a:lnTo>
                  <a:lnTo>
                    <a:pt x="234" y="85"/>
                  </a:lnTo>
                  <a:lnTo>
                    <a:pt x="230" y="83"/>
                  </a:lnTo>
                  <a:lnTo>
                    <a:pt x="226" y="83"/>
                  </a:lnTo>
                  <a:lnTo>
                    <a:pt x="226" y="79"/>
                  </a:lnTo>
                  <a:lnTo>
                    <a:pt x="224" y="79"/>
                  </a:lnTo>
                  <a:lnTo>
                    <a:pt x="220" y="79"/>
                  </a:lnTo>
                  <a:lnTo>
                    <a:pt x="215" y="83"/>
                  </a:lnTo>
                  <a:lnTo>
                    <a:pt x="211" y="88"/>
                  </a:lnTo>
                  <a:lnTo>
                    <a:pt x="209" y="88"/>
                  </a:lnTo>
                  <a:lnTo>
                    <a:pt x="205" y="83"/>
                  </a:lnTo>
                  <a:lnTo>
                    <a:pt x="202" y="83"/>
                  </a:lnTo>
                  <a:lnTo>
                    <a:pt x="200" y="88"/>
                  </a:lnTo>
                  <a:lnTo>
                    <a:pt x="200" y="90"/>
                  </a:lnTo>
                  <a:lnTo>
                    <a:pt x="200" y="92"/>
                  </a:lnTo>
                  <a:lnTo>
                    <a:pt x="205" y="96"/>
                  </a:lnTo>
                  <a:lnTo>
                    <a:pt x="209" y="94"/>
                  </a:lnTo>
                  <a:lnTo>
                    <a:pt x="213" y="100"/>
                  </a:lnTo>
                  <a:lnTo>
                    <a:pt x="217" y="102"/>
                  </a:lnTo>
                  <a:lnTo>
                    <a:pt x="220" y="102"/>
                  </a:lnTo>
                  <a:lnTo>
                    <a:pt x="224" y="103"/>
                  </a:lnTo>
                  <a:lnTo>
                    <a:pt x="220" y="107"/>
                  </a:lnTo>
                  <a:lnTo>
                    <a:pt x="220" y="109"/>
                  </a:lnTo>
                  <a:lnTo>
                    <a:pt x="217" y="107"/>
                  </a:lnTo>
                  <a:lnTo>
                    <a:pt x="211" y="107"/>
                  </a:lnTo>
                  <a:lnTo>
                    <a:pt x="209" y="109"/>
                  </a:lnTo>
                  <a:lnTo>
                    <a:pt x="211" y="109"/>
                  </a:lnTo>
                  <a:lnTo>
                    <a:pt x="209" y="113"/>
                  </a:lnTo>
                  <a:lnTo>
                    <a:pt x="205" y="118"/>
                  </a:lnTo>
                  <a:lnTo>
                    <a:pt x="205" y="118"/>
                  </a:lnTo>
                  <a:lnTo>
                    <a:pt x="205" y="118"/>
                  </a:lnTo>
                  <a:lnTo>
                    <a:pt x="205" y="118"/>
                  </a:lnTo>
                  <a:close/>
                  <a:moveTo>
                    <a:pt x="200" y="222"/>
                  </a:moveTo>
                  <a:lnTo>
                    <a:pt x="200" y="218"/>
                  </a:lnTo>
                  <a:lnTo>
                    <a:pt x="200" y="216"/>
                  </a:lnTo>
                  <a:lnTo>
                    <a:pt x="200" y="215"/>
                  </a:lnTo>
                  <a:lnTo>
                    <a:pt x="196" y="216"/>
                  </a:lnTo>
                  <a:lnTo>
                    <a:pt x="196" y="215"/>
                  </a:lnTo>
                  <a:lnTo>
                    <a:pt x="200" y="209"/>
                  </a:lnTo>
                  <a:lnTo>
                    <a:pt x="200" y="209"/>
                  </a:lnTo>
                  <a:lnTo>
                    <a:pt x="200" y="209"/>
                  </a:lnTo>
                  <a:lnTo>
                    <a:pt x="200" y="213"/>
                  </a:lnTo>
                  <a:lnTo>
                    <a:pt x="202" y="213"/>
                  </a:lnTo>
                  <a:lnTo>
                    <a:pt x="202" y="215"/>
                  </a:lnTo>
                  <a:lnTo>
                    <a:pt x="202" y="218"/>
                  </a:lnTo>
                  <a:lnTo>
                    <a:pt x="200" y="222"/>
                  </a:lnTo>
                  <a:lnTo>
                    <a:pt x="200" y="222"/>
                  </a:lnTo>
                  <a:lnTo>
                    <a:pt x="200" y="222"/>
                  </a:lnTo>
                  <a:lnTo>
                    <a:pt x="200" y="222"/>
                  </a:lnTo>
                  <a:lnTo>
                    <a:pt x="200" y="222"/>
                  </a:lnTo>
                  <a:close/>
                  <a:moveTo>
                    <a:pt x="64" y="348"/>
                  </a:moveTo>
                  <a:lnTo>
                    <a:pt x="64" y="350"/>
                  </a:lnTo>
                  <a:lnTo>
                    <a:pt x="68" y="348"/>
                  </a:lnTo>
                  <a:lnTo>
                    <a:pt x="64" y="346"/>
                  </a:lnTo>
                  <a:lnTo>
                    <a:pt x="64" y="346"/>
                  </a:lnTo>
                  <a:lnTo>
                    <a:pt x="64" y="348"/>
                  </a:lnTo>
                  <a:lnTo>
                    <a:pt x="64" y="348"/>
                  </a:lnTo>
                  <a:lnTo>
                    <a:pt x="64" y="348"/>
                  </a:lnTo>
                  <a:lnTo>
                    <a:pt x="64" y="348"/>
                  </a:lnTo>
                  <a:close/>
                  <a:moveTo>
                    <a:pt x="62" y="350"/>
                  </a:moveTo>
                  <a:lnTo>
                    <a:pt x="64" y="352"/>
                  </a:lnTo>
                  <a:lnTo>
                    <a:pt x="64" y="350"/>
                  </a:lnTo>
                  <a:lnTo>
                    <a:pt x="62" y="350"/>
                  </a:lnTo>
                  <a:lnTo>
                    <a:pt x="62" y="350"/>
                  </a:lnTo>
                  <a:lnTo>
                    <a:pt x="62" y="350"/>
                  </a:lnTo>
                  <a:lnTo>
                    <a:pt x="62" y="350"/>
                  </a:lnTo>
                  <a:close/>
                  <a:moveTo>
                    <a:pt x="59" y="352"/>
                  </a:moveTo>
                  <a:lnTo>
                    <a:pt x="62" y="354"/>
                  </a:lnTo>
                  <a:lnTo>
                    <a:pt x="62" y="352"/>
                  </a:lnTo>
                  <a:lnTo>
                    <a:pt x="59" y="352"/>
                  </a:lnTo>
                  <a:lnTo>
                    <a:pt x="59" y="352"/>
                  </a:lnTo>
                  <a:lnTo>
                    <a:pt x="59" y="352"/>
                  </a:lnTo>
                  <a:lnTo>
                    <a:pt x="59" y="352"/>
                  </a:lnTo>
                  <a:close/>
                  <a:moveTo>
                    <a:pt x="59" y="354"/>
                  </a:moveTo>
                  <a:lnTo>
                    <a:pt x="59" y="356"/>
                  </a:lnTo>
                  <a:lnTo>
                    <a:pt x="59" y="356"/>
                  </a:lnTo>
                  <a:lnTo>
                    <a:pt x="59" y="354"/>
                  </a:lnTo>
                  <a:lnTo>
                    <a:pt x="59" y="354"/>
                  </a:lnTo>
                  <a:lnTo>
                    <a:pt x="59" y="354"/>
                  </a:lnTo>
                  <a:lnTo>
                    <a:pt x="59" y="354"/>
                  </a:lnTo>
                  <a:close/>
                  <a:moveTo>
                    <a:pt x="55" y="365"/>
                  </a:moveTo>
                  <a:lnTo>
                    <a:pt x="53" y="360"/>
                  </a:lnTo>
                  <a:lnTo>
                    <a:pt x="55" y="358"/>
                  </a:lnTo>
                  <a:lnTo>
                    <a:pt x="55" y="356"/>
                  </a:lnTo>
                  <a:lnTo>
                    <a:pt x="55" y="360"/>
                  </a:lnTo>
                  <a:lnTo>
                    <a:pt x="59" y="360"/>
                  </a:lnTo>
                  <a:lnTo>
                    <a:pt x="59" y="363"/>
                  </a:lnTo>
                  <a:lnTo>
                    <a:pt x="59" y="365"/>
                  </a:lnTo>
                  <a:lnTo>
                    <a:pt x="55" y="365"/>
                  </a:lnTo>
                  <a:lnTo>
                    <a:pt x="55" y="365"/>
                  </a:lnTo>
                  <a:lnTo>
                    <a:pt x="55" y="365"/>
                  </a:lnTo>
                  <a:lnTo>
                    <a:pt x="55" y="365"/>
                  </a:lnTo>
                  <a:close/>
                  <a:moveTo>
                    <a:pt x="83" y="367"/>
                  </a:moveTo>
                  <a:lnTo>
                    <a:pt x="83" y="365"/>
                  </a:lnTo>
                  <a:lnTo>
                    <a:pt x="85" y="363"/>
                  </a:lnTo>
                  <a:lnTo>
                    <a:pt x="85" y="363"/>
                  </a:lnTo>
                  <a:lnTo>
                    <a:pt x="85" y="367"/>
                  </a:lnTo>
                  <a:lnTo>
                    <a:pt x="83" y="367"/>
                  </a:lnTo>
                  <a:lnTo>
                    <a:pt x="83" y="367"/>
                  </a:lnTo>
                  <a:lnTo>
                    <a:pt x="83" y="367"/>
                  </a:lnTo>
                  <a:lnTo>
                    <a:pt x="83" y="367"/>
                  </a:lnTo>
                  <a:close/>
                  <a:moveTo>
                    <a:pt x="79" y="371"/>
                  </a:moveTo>
                  <a:lnTo>
                    <a:pt x="81" y="371"/>
                  </a:lnTo>
                  <a:lnTo>
                    <a:pt x="83" y="371"/>
                  </a:lnTo>
                  <a:lnTo>
                    <a:pt x="81" y="373"/>
                  </a:lnTo>
                  <a:lnTo>
                    <a:pt x="79" y="371"/>
                  </a:lnTo>
                  <a:lnTo>
                    <a:pt x="79" y="371"/>
                  </a:lnTo>
                  <a:lnTo>
                    <a:pt x="79" y="371"/>
                  </a:lnTo>
                  <a:lnTo>
                    <a:pt x="79" y="371"/>
                  </a:lnTo>
                  <a:close/>
                  <a:moveTo>
                    <a:pt x="79" y="363"/>
                  </a:moveTo>
                  <a:lnTo>
                    <a:pt x="77" y="365"/>
                  </a:lnTo>
                  <a:lnTo>
                    <a:pt x="77" y="367"/>
                  </a:lnTo>
                  <a:lnTo>
                    <a:pt x="79" y="371"/>
                  </a:lnTo>
                  <a:lnTo>
                    <a:pt x="81" y="371"/>
                  </a:lnTo>
                  <a:lnTo>
                    <a:pt x="81" y="367"/>
                  </a:lnTo>
                  <a:lnTo>
                    <a:pt x="79" y="363"/>
                  </a:lnTo>
                  <a:lnTo>
                    <a:pt x="79" y="363"/>
                  </a:lnTo>
                  <a:lnTo>
                    <a:pt x="79" y="363"/>
                  </a:lnTo>
                  <a:lnTo>
                    <a:pt x="79" y="363"/>
                  </a:lnTo>
                  <a:lnTo>
                    <a:pt x="79" y="363"/>
                  </a:lnTo>
                  <a:lnTo>
                    <a:pt x="79" y="363"/>
                  </a:lnTo>
                  <a:close/>
                  <a:moveTo>
                    <a:pt x="158" y="316"/>
                  </a:moveTo>
                  <a:lnTo>
                    <a:pt x="156" y="312"/>
                  </a:lnTo>
                  <a:lnTo>
                    <a:pt x="156" y="311"/>
                  </a:lnTo>
                  <a:lnTo>
                    <a:pt x="156" y="309"/>
                  </a:lnTo>
                  <a:lnTo>
                    <a:pt x="158" y="307"/>
                  </a:lnTo>
                  <a:lnTo>
                    <a:pt x="160" y="311"/>
                  </a:lnTo>
                  <a:lnTo>
                    <a:pt x="160" y="312"/>
                  </a:lnTo>
                  <a:lnTo>
                    <a:pt x="160" y="316"/>
                  </a:lnTo>
                  <a:lnTo>
                    <a:pt x="160" y="316"/>
                  </a:lnTo>
                  <a:lnTo>
                    <a:pt x="158" y="316"/>
                  </a:lnTo>
                  <a:lnTo>
                    <a:pt x="158" y="316"/>
                  </a:lnTo>
                  <a:lnTo>
                    <a:pt x="158" y="316"/>
                  </a:lnTo>
                  <a:lnTo>
                    <a:pt x="158" y="316"/>
                  </a:lnTo>
                  <a:close/>
                  <a:moveTo>
                    <a:pt x="143" y="316"/>
                  </a:moveTo>
                  <a:lnTo>
                    <a:pt x="147" y="311"/>
                  </a:lnTo>
                  <a:lnTo>
                    <a:pt x="151" y="311"/>
                  </a:lnTo>
                  <a:lnTo>
                    <a:pt x="151" y="312"/>
                  </a:lnTo>
                  <a:lnTo>
                    <a:pt x="147" y="316"/>
                  </a:lnTo>
                  <a:lnTo>
                    <a:pt x="143" y="316"/>
                  </a:lnTo>
                  <a:lnTo>
                    <a:pt x="143" y="316"/>
                  </a:lnTo>
                  <a:lnTo>
                    <a:pt x="143" y="316"/>
                  </a:lnTo>
                  <a:lnTo>
                    <a:pt x="143" y="316"/>
                  </a:lnTo>
                  <a:close/>
                  <a:moveTo>
                    <a:pt x="128" y="354"/>
                  </a:moveTo>
                  <a:lnTo>
                    <a:pt x="128" y="354"/>
                  </a:lnTo>
                  <a:lnTo>
                    <a:pt x="130" y="352"/>
                  </a:lnTo>
                  <a:lnTo>
                    <a:pt x="132" y="354"/>
                  </a:lnTo>
                  <a:lnTo>
                    <a:pt x="134" y="352"/>
                  </a:lnTo>
                  <a:lnTo>
                    <a:pt x="134" y="350"/>
                  </a:lnTo>
                  <a:lnTo>
                    <a:pt x="130" y="346"/>
                  </a:lnTo>
                  <a:lnTo>
                    <a:pt x="132" y="343"/>
                  </a:lnTo>
                  <a:lnTo>
                    <a:pt x="134" y="337"/>
                  </a:lnTo>
                  <a:lnTo>
                    <a:pt x="138" y="337"/>
                  </a:lnTo>
                  <a:lnTo>
                    <a:pt x="138" y="333"/>
                  </a:lnTo>
                  <a:lnTo>
                    <a:pt x="143" y="333"/>
                  </a:lnTo>
                  <a:lnTo>
                    <a:pt x="151" y="337"/>
                  </a:lnTo>
                  <a:lnTo>
                    <a:pt x="151" y="341"/>
                  </a:lnTo>
                  <a:lnTo>
                    <a:pt x="153" y="341"/>
                  </a:lnTo>
                  <a:lnTo>
                    <a:pt x="155" y="333"/>
                  </a:lnTo>
                  <a:lnTo>
                    <a:pt x="158" y="329"/>
                  </a:lnTo>
                  <a:lnTo>
                    <a:pt x="158" y="326"/>
                  </a:lnTo>
                  <a:lnTo>
                    <a:pt x="158" y="326"/>
                  </a:lnTo>
                  <a:lnTo>
                    <a:pt x="156" y="322"/>
                  </a:lnTo>
                  <a:lnTo>
                    <a:pt x="153" y="318"/>
                  </a:lnTo>
                  <a:lnTo>
                    <a:pt x="151" y="318"/>
                  </a:lnTo>
                  <a:lnTo>
                    <a:pt x="147" y="316"/>
                  </a:lnTo>
                  <a:lnTo>
                    <a:pt x="141" y="316"/>
                  </a:lnTo>
                  <a:lnTo>
                    <a:pt x="138" y="320"/>
                  </a:lnTo>
                  <a:lnTo>
                    <a:pt x="138" y="322"/>
                  </a:lnTo>
                  <a:lnTo>
                    <a:pt x="136" y="326"/>
                  </a:lnTo>
                  <a:lnTo>
                    <a:pt x="134" y="328"/>
                  </a:lnTo>
                  <a:lnTo>
                    <a:pt x="130" y="329"/>
                  </a:lnTo>
                  <a:lnTo>
                    <a:pt x="128" y="328"/>
                  </a:lnTo>
                  <a:lnTo>
                    <a:pt x="126" y="324"/>
                  </a:lnTo>
                  <a:lnTo>
                    <a:pt x="124" y="324"/>
                  </a:lnTo>
                  <a:lnTo>
                    <a:pt x="119" y="329"/>
                  </a:lnTo>
                  <a:lnTo>
                    <a:pt x="119" y="333"/>
                  </a:lnTo>
                  <a:lnTo>
                    <a:pt x="117" y="333"/>
                  </a:lnTo>
                  <a:lnTo>
                    <a:pt x="117" y="337"/>
                  </a:lnTo>
                  <a:lnTo>
                    <a:pt x="121" y="341"/>
                  </a:lnTo>
                  <a:lnTo>
                    <a:pt x="121" y="343"/>
                  </a:lnTo>
                  <a:lnTo>
                    <a:pt x="121" y="343"/>
                  </a:lnTo>
                  <a:lnTo>
                    <a:pt x="121" y="346"/>
                  </a:lnTo>
                  <a:lnTo>
                    <a:pt x="123" y="350"/>
                  </a:lnTo>
                  <a:lnTo>
                    <a:pt x="128" y="350"/>
                  </a:lnTo>
                  <a:lnTo>
                    <a:pt x="128" y="354"/>
                  </a:lnTo>
                  <a:lnTo>
                    <a:pt x="128" y="354"/>
                  </a:lnTo>
                  <a:lnTo>
                    <a:pt x="128" y="354"/>
                  </a:lnTo>
                  <a:lnTo>
                    <a:pt x="128" y="354"/>
                  </a:lnTo>
                  <a:close/>
                  <a:moveTo>
                    <a:pt x="104" y="416"/>
                  </a:moveTo>
                  <a:lnTo>
                    <a:pt x="102" y="414"/>
                  </a:lnTo>
                  <a:lnTo>
                    <a:pt x="98" y="414"/>
                  </a:lnTo>
                  <a:lnTo>
                    <a:pt x="98" y="416"/>
                  </a:lnTo>
                  <a:lnTo>
                    <a:pt x="100" y="420"/>
                  </a:lnTo>
                  <a:lnTo>
                    <a:pt x="104" y="420"/>
                  </a:lnTo>
                  <a:lnTo>
                    <a:pt x="104" y="420"/>
                  </a:lnTo>
                  <a:lnTo>
                    <a:pt x="104" y="416"/>
                  </a:lnTo>
                  <a:lnTo>
                    <a:pt x="104" y="416"/>
                  </a:lnTo>
                  <a:lnTo>
                    <a:pt x="104" y="416"/>
                  </a:lnTo>
                  <a:lnTo>
                    <a:pt x="104" y="416"/>
                  </a:lnTo>
                  <a:close/>
                  <a:moveTo>
                    <a:pt x="108" y="412"/>
                  </a:moveTo>
                  <a:lnTo>
                    <a:pt x="106" y="407"/>
                  </a:lnTo>
                  <a:lnTo>
                    <a:pt x="106" y="403"/>
                  </a:lnTo>
                  <a:lnTo>
                    <a:pt x="109" y="407"/>
                  </a:lnTo>
                  <a:lnTo>
                    <a:pt x="109" y="410"/>
                  </a:lnTo>
                  <a:lnTo>
                    <a:pt x="108" y="410"/>
                  </a:lnTo>
                  <a:lnTo>
                    <a:pt x="108" y="412"/>
                  </a:lnTo>
                  <a:lnTo>
                    <a:pt x="108" y="412"/>
                  </a:lnTo>
                  <a:lnTo>
                    <a:pt x="108" y="412"/>
                  </a:lnTo>
                  <a:lnTo>
                    <a:pt x="108" y="412"/>
                  </a:lnTo>
                  <a:close/>
                  <a:moveTo>
                    <a:pt x="100" y="401"/>
                  </a:moveTo>
                  <a:lnTo>
                    <a:pt x="104" y="401"/>
                  </a:lnTo>
                  <a:lnTo>
                    <a:pt x="108" y="395"/>
                  </a:lnTo>
                  <a:lnTo>
                    <a:pt x="104" y="392"/>
                  </a:lnTo>
                  <a:lnTo>
                    <a:pt x="104" y="390"/>
                  </a:lnTo>
                  <a:lnTo>
                    <a:pt x="106" y="388"/>
                  </a:lnTo>
                  <a:lnTo>
                    <a:pt x="109" y="390"/>
                  </a:lnTo>
                  <a:lnTo>
                    <a:pt x="109" y="392"/>
                  </a:lnTo>
                  <a:lnTo>
                    <a:pt x="111" y="386"/>
                  </a:lnTo>
                  <a:lnTo>
                    <a:pt x="111" y="380"/>
                  </a:lnTo>
                  <a:lnTo>
                    <a:pt x="109" y="377"/>
                  </a:lnTo>
                  <a:lnTo>
                    <a:pt x="109" y="367"/>
                  </a:lnTo>
                  <a:lnTo>
                    <a:pt x="109" y="361"/>
                  </a:lnTo>
                  <a:lnTo>
                    <a:pt x="111" y="358"/>
                  </a:lnTo>
                  <a:lnTo>
                    <a:pt x="113" y="354"/>
                  </a:lnTo>
                  <a:lnTo>
                    <a:pt x="113" y="352"/>
                  </a:lnTo>
                  <a:lnTo>
                    <a:pt x="113" y="352"/>
                  </a:lnTo>
                  <a:lnTo>
                    <a:pt x="113" y="348"/>
                  </a:lnTo>
                  <a:lnTo>
                    <a:pt x="111" y="346"/>
                  </a:lnTo>
                  <a:lnTo>
                    <a:pt x="111" y="346"/>
                  </a:lnTo>
                  <a:lnTo>
                    <a:pt x="106" y="346"/>
                  </a:lnTo>
                  <a:lnTo>
                    <a:pt x="104" y="343"/>
                  </a:lnTo>
                  <a:lnTo>
                    <a:pt x="108" y="341"/>
                  </a:lnTo>
                  <a:lnTo>
                    <a:pt x="108" y="341"/>
                  </a:lnTo>
                  <a:lnTo>
                    <a:pt x="108" y="333"/>
                  </a:lnTo>
                  <a:lnTo>
                    <a:pt x="104" y="333"/>
                  </a:lnTo>
                  <a:lnTo>
                    <a:pt x="102" y="333"/>
                  </a:lnTo>
                  <a:lnTo>
                    <a:pt x="102" y="333"/>
                  </a:lnTo>
                  <a:lnTo>
                    <a:pt x="98" y="337"/>
                  </a:lnTo>
                  <a:lnTo>
                    <a:pt x="96" y="337"/>
                  </a:lnTo>
                  <a:lnTo>
                    <a:pt x="92" y="333"/>
                  </a:lnTo>
                  <a:lnTo>
                    <a:pt x="92" y="329"/>
                  </a:lnTo>
                  <a:lnTo>
                    <a:pt x="98" y="328"/>
                  </a:lnTo>
                  <a:lnTo>
                    <a:pt x="104" y="326"/>
                  </a:lnTo>
                  <a:lnTo>
                    <a:pt x="109" y="328"/>
                  </a:lnTo>
                  <a:lnTo>
                    <a:pt x="113" y="329"/>
                  </a:lnTo>
                  <a:lnTo>
                    <a:pt x="113" y="328"/>
                  </a:lnTo>
                  <a:lnTo>
                    <a:pt x="113" y="326"/>
                  </a:lnTo>
                  <a:lnTo>
                    <a:pt x="113" y="320"/>
                  </a:lnTo>
                  <a:lnTo>
                    <a:pt x="113" y="318"/>
                  </a:lnTo>
                  <a:lnTo>
                    <a:pt x="113" y="316"/>
                  </a:lnTo>
                  <a:lnTo>
                    <a:pt x="117" y="316"/>
                  </a:lnTo>
                  <a:lnTo>
                    <a:pt x="117" y="318"/>
                  </a:lnTo>
                  <a:lnTo>
                    <a:pt x="119" y="318"/>
                  </a:lnTo>
                  <a:lnTo>
                    <a:pt x="123" y="316"/>
                  </a:lnTo>
                  <a:lnTo>
                    <a:pt x="128" y="316"/>
                  </a:lnTo>
                  <a:lnTo>
                    <a:pt x="134" y="312"/>
                  </a:lnTo>
                  <a:lnTo>
                    <a:pt x="138" y="312"/>
                  </a:lnTo>
                  <a:lnTo>
                    <a:pt x="138" y="316"/>
                  </a:lnTo>
                  <a:lnTo>
                    <a:pt x="141" y="312"/>
                  </a:lnTo>
                  <a:lnTo>
                    <a:pt x="141" y="311"/>
                  </a:lnTo>
                  <a:lnTo>
                    <a:pt x="147" y="309"/>
                  </a:lnTo>
                  <a:lnTo>
                    <a:pt x="147" y="307"/>
                  </a:lnTo>
                  <a:lnTo>
                    <a:pt x="151" y="303"/>
                  </a:lnTo>
                  <a:lnTo>
                    <a:pt x="155" y="303"/>
                  </a:lnTo>
                  <a:lnTo>
                    <a:pt x="160" y="303"/>
                  </a:lnTo>
                  <a:lnTo>
                    <a:pt x="162" y="303"/>
                  </a:lnTo>
                  <a:lnTo>
                    <a:pt x="166" y="303"/>
                  </a:lnTo>
                  <a:lnTo>
                    <a:pt x="166" y="307"/>
                  </a:lnTo>
                  <a:lnTo>
                    <a:pt x="162" y="311"/>
                  </a:lnTo>
                  <a:lnTo>
                    <a:pt x="162" y="316"/>
                  </a:lnTo>
                  <a:lnTo>
                    <a:pt x="162" y="316"/>
                  </a:lnTo>
                  <a:lnTo>
                    <a:pt x="162" y="318"/>
                  </a:lnTo>
                  <a:lnTo>
                    <a:pt x="162" y="322"/>
                  </a:lnTo>
                  <a:lnTo>
                    <a:pt x="162" y="324"/>
                  </a:lnTo>
                  <a:lnTo>
                    <a:pt x="166" y="328"/>
                  </a:lnTo>
                  <a:lnTo>
                    <a:pt x="168" y="329"/>
                  </a:lnTo>
                  <a:lnTo>
                    <a:pt x="175" y="333"/>
                  </a:lnTo>
                  <a:lnTo>
                    <a:pt x="175" y="333"/>
                  </a:lnTo>
                  <a:lnTo>
                    <a:pt x="179" y="333"/>
                  </a:lnTo>
                  <a:lnTo>
                    <a:pt x="183" y="329"/>
                  </a:lnTo>
                  <a:lnTo>
                    <a:pt x="183" y="326"/>
                  </a:lnTo>
                  <a:lnTo>
                    <a:pt x="185" y="324"/>
                  </a:lnTo>
                  <a:lnTo>
                    <a:pt x="185" y="322"/>
                  </a:lnTo>
                  <a:lnTo>
                    <a:pt x="185" y="318"/>
                  </a:lnTo>
                  <a:lnTo>
                    <a:pt x="187" y="316"/>
                  </a:lnTo>
                  <a:lnTo>
                    <a:pt x="190" y="316"/>
                  </a:lnTo>
                  <a:lnTo>
                    <a:pt x="192" y="316"/>
                  </a:lnTo>
                  <a:lnTo>
                    <a:pt x="192" y="312"/>
                  </a:lnTo>
                  <a:lnTo>
                    <a:pt x="192" y="311"/>
                  </a:lnTo>
                  <a:lnTo>
                    <a:pt x="192" y="307"/>
                  </a:lnTo>
                  <a:lnTo>
                    <a:pt x="187" y="303"/>
                  </a:lnTo>
                  <a:lnTo>
                    <a:pt x="185" y="303"/>
                  </a:lnTo>
                  <a:lnTo>
                    <a:pt x="187" y="297"/>
                  </a:lnTo>
                  <a:lnTo>
                    <a:pt x="188" y="296"/>
                  </a:lnTo>
                  <a:lnTo>
                    <a:pt x="190" y="296"/>
                  </a:lnTo>
                  <a:lnTo>
                    <a:pt x="190" y="297"/>
                  </a:lnTo>
                  <a:lnTo>
                    <a:pt x="190" y="301"/>
                  </a:lnTo>
                  <a:lnTo>
                    <a:pt x="192" y="303"/>
                  </a:lnTo>
                  <a:lnTo>
                    <a:pt x="192" y="301"/>
                  </a:lnTo>
                  <a:lnTo>
                    <a:pt x="192" y="299"/>
                  </a:lnTo>
                  <a:lnTo>
                    <a:pt x="196" y="301"/>
                  </a:lnTo>
                  <a:lnTo>
                    <a:pt x="196" y="301"/>
                  </a:lnTo>
                  <a:lnTo>
                    <a:pt x="200" y="301"/>
                  </a:lnTo>
                  <a:lnTo>
                    <a:pt x="200" y="301"/>
                  </a:lnTo>
                  <a:lnTo>
                    <a:pt x="200" y="303"/>
                  </a:lnTo>
                  <a:lnTo>
                    <a:pt x="196" y="303"/>
                  </a:lnTo>
                  <a:lnTo>
                    <a:pt x="196" y="303"/>
                  </a:lnTo>
                  <a:lnTo>
                    <a:pt x="196" y="307"/>
                  </a:lnTo>
                  <a:lnTo>
                    <a:pt x="200" y="303"/>
                  </a:lnTo>
                  <a:lnTo>
                    <a:pt x="205" y="303"/>
                  </a:lnTo>
                  <a:lnTo>
                    <a:pt x="215" y="303"/>
                  </a:lnTo>
                  <a:lnTo>
                    <a:pt x="220" y="303"/>
                  </a:lnTo>
                  <a:lnTo>
                    <a:pt x="217" y="301"/>
                  </a:lnTo>
                  <a:lnTo>
                    <a:pt x="217" y="297"/>
                  </a:lnTo>
                  <a:lnTo>
                    <a:pt x="217" y="294"/>
                  </a:lnTo>
                  <a:lnTo>
                    <a:pt x="220" y="292"/>
                  </a:lnTo>
                  <a:lnTo>
                    <a:pt x="226" y="292"/>
                  </a:lnTo>
                  <a:lnTo>
                    <a:pt x="226" y="296"/>
                  </a:lnTo>
                  <a:lnTo>
                    <a:pt x="226" y="299"/>
                  </a:lnTo>
                  <a:lnTo>
                    <a:pt x="226" y="301"/>
                  </a:lnTo>
                  <a:lnTo>
                    <a:pt x="230" y="301"/>
                  </a:lnTo>
                  <a:lnTo>
                    <a:pt x="232" y="297"/>
                  </a:lnTo>
                  <a:lnTo>
                    <a:pt x="230" y="290"/>
                  </a:lnTo>
                  <a:lnTo>
                    <a:pt x="230" y="286"/>
                  </a:lnTo>
                  <a:lnTo>
                    <a:pt x="236" y="282"/>
                  </a:lnTo>
                  <a:lnTo>
                    <a:pt x="237" y="282"/>
                  </a:lnTo>
                  <a:lnTo>
                    <a:pt x="237" y="280"/>
                  </a:lnTo>
                  <a:lnTo>
                    <a:pt x="236" y="279"/>
                  </a:lnTo>
                  <a:lnTo>
                    <a:pt x="237" y="273"/>
                  </a:lnTo>
                  <a:lnTo>
                    <a:pt x="239" y="273"/>
                  </a:lnTo>
                  <a:lnTo>
                    <a:pt x="243" y="273"/>
                  </a:lnTo>
                  <a:lnTo>
                    <a:pt x="245" y="277"/>
                  </a:lnTo>
                  <a:lnTo>
                    <a:pt x="243" y="279"/>
                  </a:lnTo>
                  <a:lnTo>
                    <a:pt x="241" y="282"/>
                  </a:lnTo>
                  <a:lnTo>
                    <a:pt x="243" y="294"/>
                  </a:lnTo>
                  <a:lnTo>
                    <a:pt x="245" y="296"/>
                  </a:lnTo>
                  <a:lnTo>
                    <a:pt x="247" y="294"/>
                  </a:lnTo>
                  <a:lnTo>
                    <a:pt x="249" y="290"/>
                  </a:lnTo>
                  <a:lnTo>
                    <a:pt x="251" y="290"/>
                  </a:lnTo>
                  <a:lnTo>
                    <a:pt x="254" y="286"/>
                  </a:lnTo>
                  <a:lnTo>
                    <a:pt x="254" y="280"/>
                  </a:lnTo>
                  <a:lnTo>
                    <a:pt x="254" y="277"/>
                  </a:lnTo>
                  <a:lnTo>
                    <a:pt x="258" y="273"/>
                  </a:lnTo>
                  <a:lnTo>
                    <a:pt x="258" y="273"/>
                  </a:lnTo>
                  <a:lnTo>
                    <a:pt x="256" y="271"/>
                  </a:lnTo>
                  <a:lnTo>
                    <a:pt x="251" y="264"/>
                  </a:lnTo>
                  <a:lnTo>
                    <a:pt x="251" y="260"/>
                  </a:lnTo>
                  <a:lnTo>
                    <a:pt x="251" y="250"/>
                  </a:lnTo>
                  <a:lnTo>
                    <a:pt x="251" y="239"/>
                  </a:lnTo>
                  <a:lnTo>
                    <a:pt x="251" y="233"/>
                  </a:lnTo>
                  <a:lnTo>
                    <a:pt x="249" y="222"/>
                  </a:lnTo>
                  <a:lnTo>
                    <a:pt x="243" y="213"/>
                  </a:lnTo>
                  <a:lnTo>
                    <a:pt x="243" y="209"/>
                  </a:lnTo>
                  <a:lnTo>
                    <a:pt x="245" y="203"/>
                  </a:lnTo>
                  <a:lnTo>
                    <a:pt x="251" y="201"/>
                  </a:lnTo>
                  <a:lnTo>
                    <a:pt x="254" y="201"/>
                  </a:lnTo>
                  <a:lnTo>
                    <a:pt x="254" y="203"/>
                  </a:lnTo>
                  <a:lnTo>
                    <a:pt x="254" y="201"/>
                  </a:lnTo>
                  <a:lnTo>
                    <a:pt x="254" y="198"/>
                  </a:lnTo>
                  <a:lnTo>
                    <a:pt x="254" y="194"/>
                  </a:lnTo>
                  <a:lnTo>
                    <a:pt x="254" y="194"/>
                  </a:lnTo>
                  <a:lnTo>
                    <a:pt x="251" y="188"/>
                  </a:lnTo>
                  <a:lnTo>
                    <a:pt x="251" y="186"/>
                  </a:lnTo>
                  <a:lnTo>
                    <a:pt x="251" y="184"/>
                  </a:lnTo>
                  <a:lnTo>
                    <a:pt x="254" y="183"/>
                  </a:lnTo>
                  <a:lnTo>
                    <a:pt x="254" y="183"/>
                  </a:lnTo>
                  <a:lnTo>
                    <a:pt x="254" y="179"/>
                  </a:lnTo>
                  <a:lnTo>
                    <a:pt x="251" y="177"/>
                  </a:lnTo>
                  <a:lnTo>
                    <a:pt x="251" y="173"/>
                  </a:lnTo>
                  <a:lnTo>
                    <a:pt x="254" y="169"/>
                  </a:lnTo>
                  <a:lnTo>
                    <a:pt x="251" y="167"/>
                  </a:lnTo>
                  <a:lnTo>
                    <a:pt x="251" y="160"/>
                  </a:lnTo>
                  <a:lnTo>
                    <a:pt x="247" y="154"/>
                  </a:lnTo>
                  <a:lnTo>
                    <a:pt x="245" y="154"/>
                  </a:lnTo>
                  <a:lnTo>
                    <a:pt x="243" y="152"/>
                  </a:lnTo>
                  <a:lnTo>
                    <a:pt x="243" y="145"/>
                  </a:lnTo>
                  <a:lnTo>
                    <a:pt x="239" y="143"/>
                  </a:lnTo>
                  <a:lnTo>
                    <a:pt x="232" y="134"/>
                  </a:lnTo>
                  <a:lnTo>
                    <a:pt x="230" y="130"/>
                  </a:lnTo>
                  <a:lnTo>
                    <a:pt x="230" y="124"/>
                  </a:lnTo>
                  <a:lnTo>
                    <a:pt x="230" y="118"/>
                  </a:lnTo>
                  <a:lnTo>
                    <a:pt x="230" y="115"/>
                  </a:lnTo>
                  <a:lnTo>
                    <a:pt x="226" y="118"/>
                  </a:lnTo>
                  <a:lnTo>
                    <a:pt x="226" y="118"/>
                  </a:lnTo>
                  <a:lnTo>
                    <a:pt x="224" y="118"/>
                  </a:lnTo>
                  <a:lnTo>
                    <a:pt x="220" y="115"/>
                  </a:lnTo>
                  <a:lnTo>
                    <a:pt x="217" y="115"/>
                  </a:lnTo>
                  <a:lnTo>
                    <a:pt x="217" y="115"/>
                  </a:lnTo>
                  <a:lnTo>
                    <a:pt x="217" y="120"/>
                  </a:lnTo>
                  <a:lnTo>
                    <a:pt x="217" y="124"/>
                  </a:lnTo>
                  <a:lnTo>
                    <a:pt x="217" y="124"/>
                  </a:lnTo>
                  <a:lnTo>
                    <a:pt x="220" y="124"/>
                  </a:lnTo>
                  <a:lnTo>
                    <a:pt x="226" y="120"/>
                  </a:lnTo>
                  <a:lnTo>
                    <a:pt x="226" y="126"/>
                  </a:lnTo>
                  <a:lnTo>
                    <a:pt x="226" y="128"/>
                  </a:lnTo>
                  <a:lnTo>
                    <a:pt x="224" y="130"/>
                  </a:lnTo>
                  <a:lnTo>
                    <a:pt x="220" y="128"/>
                  </a:lnTo>
                  <a:lnTo>
                    <a:pt x="220" y="128"/>
                  </a:lnTo>
                  <a:lnTo>
                    <a:pt x="220" y="134"/>
                  </a:lnTo>
                  <a:lnTo>
                    <a:pt x="217" y="135"/>
                  </a:lnTo>
                  <a:lnTo>
                    <a:pt x="217" y="134"/>
                  </a:lnTo>
                  <a:lnTo>
                    <a:pt x="217" y="130"/>
                  </a:lnTo>
                  <a:lnTo>
                    <a:pt x="215" y="126"/>
                  </a:lnTo>
                  <a:lnTo>
                    <a:pt x="215" y="124"/>
                  </a:lnTo>
                  <a:lnTo>
                    <a:pt x="211" y="126"/>
                  </a:lnTo>
                  <a:lnTo>
                    <a:pt x="209" y="124"/>
                  </a:lnTo>
                  <a:lnTo>
                    <a:pt x="209" y="128"/>
                  </a:lnTo>
                  <a:lnTo>
                    <a:pt x="211" y="134"/>
                  </a:lnTo>
                  <a:lnTo>
                    <a:pt x="211" y="137"/>
                  </a:lnTo>
                  <a:lnTo>
                    <a:pt x="207" y="137"/>
                  </a:lnTo>
                  <a:lnTo>
                    <a:pt x="205" y="139"/>
                  </a:lnTo>
                  <a:lnTo>
                    <a:pt x="205" y="143"/>
                  </a:lnTo>
                  <a:lnTo>
                    <a:pt x="211" y="149"/>
                  </a:lnTo>
                  <a:lnTo>
                    <a:pt x="213" y="149"/>
                  </a:lnTo>
                  <a:lnTo>
                    <a:pt x="211" y="154"/>
                  </a:lnTo>
                  <a:lnTo>
                    <a:pt x="207" y="156"/>
                  </a:lnTo>
                  <a:lnTo>
                    <a:pt x="205" y="156"/>
                  </a:lnTo>
                  <a:lnTo>
                    <a:pt x="205" y="158"/>
                  </a:lnTo>
                  <a:lnTo>
                    <a:pt x="207" y="162"/>
                  </a:lnTo>
                  <a:lnTo>
                    <a:pt x="211" y="162"/>
                  </a:lnTo>
                  <a:lnTo>
                    <a:pt x="213" y="158"/>
                  </a:lnTo>
                  <a:lnTo>
                    <a:pt x="217" y="167"/>
                  </a:lnTo>
                  <a:lnTo>
                    <a:pt x="217" y="177"/>
                  </a:lnTo>
                  <a:lnTo>
                    <a:pt x="217" y="179"/>
                  </a:lnTo>
                  <a:lnTo>
                    <a:pt x="217" y="188"/>
                  </a:lnTo>
                  <a:lnTo>
                    <a:pt x="215" y="203"/>
                  </a:lnTo>
                  <a:lnTo>
                    <a:pt x="215" y="209"/>
                  </a:lnTo>
                  <a:lnTo>
                    <a:pt x="213" y="213"/>
                  </a:lnTo>
                  <a:lnTo>
                    <a:pt x="209" y="215"/>
                  </a:lnTo>
                  <a:lnTo>
                    <a:pt x="207" y="222"/>
                  </a:lnTo>
                  <a:lnTo>
                    <a:pt x="207" y="228"/>
                  </a:lnTo>
                  <a:lnTo>
                    <a:pt x="205" y="231"/>
                  </a:lnTo>
                  <a:lnTo>
                    <a:pt x="205" y="233"/>
                  </a:lnTo>
                  <a:lnTo>
                    <a:pt x="200" y="239"/>
                  </a:lnTo>
                  <a:lnTo>
                    <a:pt x="192" y="243"/>
                  </a:lnTo>
                  <a:lnTo>
                    <a:pt x="188" y="247"/>
                  </a:lnTo>
                  <a:lnTo>
                    <a:pt x="187" y="248"/>
                  </a:lnTo>
                  <a:lnTo>
                    <a:pt x="181" y="247"/>
                  </a:lnTo>
                  <a:lnTo>
                    <a:pt x="177" y="239"/>
                  </a:lnTo>
                  <a:lnTo>
                    <a:pt x="177" y="239"/>
                  </a:lnTo>
                  <a:lnTo>
                    <a:pt x="179" y="237"/>
                  </a:lnTo>
                  <a:lnTo>
                    <a:pt x="181" y="233"/>
                  </a:lnTo>
                  <a:lnTo>
                    <a:pt x="181" y="231"/>
                  </a:lnTo>
                  <a:lnTo>
                    <a:pt x="183" y="230"/>
                  </a:lnTo>
                  <a:lnTo>
                    <a:pt x="183" y="230"/>
                  </a:lnTo>
                  <a:lnTo>
                    <a:pt x="179" y="230"/>
                  </a:lnTo>
                  <a:lnTo>
                    <a:pt x="175" y="233"/>
                  </a:lnTo>
                  <a:lnTo>
                    <a:pt x="172" y="233"/>
                  </a:lnTo>
                  <a:lnTo>
                    <a:pt x="172" y="239"/>
                  </a:lnTo>
                  <a:lnTo>
                    <a:pt x="175" y="243"/>
                  </a:lnTo>
                  <a:lnTo>
                    <a:pt x="175" y="250"/>
                  </a:lnTo>
                  <a:lnTo>
                    <a:pt x="175" y="256"/>
                  </a:lnTo>
                  <a:lnTo>
                    <a:pt x="168" y="260"/>
                  </a:lnTo>
                  <a:lnTo>
                    <a:pt x="168" y="262"/>
                  </a:lnTo>
                  <a:lnTo>
                    <a:pt x="168" y="264"/>
                  </a:lnTo>
                  <a:lnTo>
                    <a:pt x="168" y="271"/>
                  </a:lnTo>
                  <a:lnTo>
                    <a:pt x="168" y="273"/>
                  </a:lnTo>
                  <a:lnTo>
                    <a:pt x="168" y="277"/>
                  </a:lnTo>
                  <a:lnTo>
                    <a:pt x="168" y="277"/>
                  </a:lnTo>
                  <a:lnTo>
                    <a:pt x="168" y="277"/>
                  </a:lnTo>
                  <a:lnTo>
                    <a:pt x="168" y="279"/>
                  </a:lnTo>
                  <a:lnTo>
                    <a:pt x="166" y="279"/>
                  </a:lnTo>
                  <a:lnTo>
                    <a:pt x="168" y="280"/>
                  </a:lnTo>
                  <a:lnTo>
                    <a:pt x="162" y="282"/>
                  </a:lnTo>
                  <a:lnTo>
                    <a:pt x="162" y="280"/>
                  </a:lnTo>
                  <a:lnTo>
                    <a:pt x="160" y="282"/>
                  </a:lnTo>
                  <a:lnTo>
                    <a:pt x="158" y="282"/>
                  </a:lnTo>
                  <a:lnTo>
                    <a:pt x="156" y="279"/>
                  </a:lnTo>
                  <a:lnTo>
                    <a:pt x="156" y="277"/>
                  </a:lnTo>
                  <a:lnTo>
                    <a:pt x="155" y="279"/>
                  </a:lnTo>
                  <a:lnTo>
                    <a:pt x="151" y="279"/>
                  </a:lnTo>
                  <a:lnTo>
                    <a:pt x="151" y="279"/>
                  </a:lnTo>
                  <a:lnTo>
                    <a:pt x="141" y="280"/>
                  </a:lnTo>
                  <a:lnTo>
                    <a:pt x="138" y="282"/>
                  </a:lnTo>
                  <a:lnTo>
                    <a:pt x="134" y="284"/>
                  </a:lnTo>
                  <a:lnTo>
                    <a:pt x="130" y="284"/>
                  </a:lnTo>
                  <a:lnTo>
                    <a:pt x="124" y="286"/>
                  </a:lnTo>
                  <a:lnTo>
                    <a:pt x="123" y="286"/>
                  </a:lnTo>
                  <a:lnTo>
                    <a:pt x="119" y="286"/>
                  </a:lnTo>
                  <a:lnTo>
                    <a:pt x="113" y="292"/>
                  </a:lnTo>
                  <a:lnTo>
                    <a:pt x="111" y="296"/>
                  </a:lnTo>
                  <a:lnTo>
                    <a:pt x="109" y="297"/>
                  </a:lnTo>
                  <a:lnTo>
                    <a:pt x="109" y="301"/>
                  </a:lnTo>
                  <a:lnTo>
                    <a:pt x="104" y="307"/>
                  </a:lnTo>
                  <a:lnTo>
                    <a:pt x="100" y="307"/>
                  </a:lnTo>
                  <a:lnTo>
                    <a:pt x="96" y="311"/>
                  </a:lnTo>
                  <a:lnTo>
                    <a:pt x="96" y="312"/>
                  </a:lnTo>
                  <a:lnTo>
                    <a:pt x="92" y="316"/>
                  </a:lnTo>
                  <a:lnTo>
                    <a:pt x="89" y="316"/>
                  </a:lnTo>
                  <a:lnTo>
                    <a:pt x="89" y="318"/>
                  </a:lnTo>
                  <a:lnTo>
                    <a:pt x="89" y="326"/>
                  </a:lnTo>
                  <a:lnTo>
                    <a:pt x="89" y="326"/>
                  </a:lnTo>
                  <a:lnTo>
                    <a:pt x="92" y="329"/>
                  </a:lnTo>
                  <a:lnTo>
                    <a:pt x="89" y="331"/>
                  </a:lnTo>
                  <a:lnTo>
                    <a:pt x="87" y="331"/>
                  </a:lnTo>
                  <a:lnTo>
                    <a:pt x="83" y="333"/>
                  </a:lnTo>
                  <a:lnTo>
                    <a:pt x="83" y="337"/>
                  </a:lnTo>
                  <a:lnTo>
                    <a:pt x="79" y="337"/>
                  </a:lnTo>
                  <a:lnTo>
                    <a:pt x="76" y="341"/>
                  </a:lnTo>
                  <a:lnTo>
                    <a:pt x="74" y="346"/>
                  </a:lnTo>
                  <a:lnTo>
                    <a:pt x="72" y="346"/>
                  </a:lnTo>
                  <a:lnTo>
                    <a:pt x="68" y="346"/>
                  </a:lnTo>
                  <a:lnTo>
                    <a:pt x="70" y="346"/>
                  </a:lnTo>
                  <a:lnTo>
                    <a:pt x="72" y="346"/>
                  </a:lnTo>
                  <a:lnTo>
                    <a:pt x="72" y="350"/>
                  </a:lnTo>
                  <a:lnTo>
                    <a:pt x="74" y="354"/>
                  </a:lnTo>
                  <a:lnTo>
                    <a:pt x="74" y="356"/>
                  </a:lnTo>
                  <a:lnTo>
                    <a:pt x="72" y="352"/>
                  </a:lnTo>
                  <a:lnTo>
                    <a:pt x="70" y="350"/>
                  </a:lnTo>
                  <a:lnTo>
                    <a:pt x="70" y="352"/>
                  </a:lnTo>
                  <a:lnTo>
                    <a:pt x="72" y="356"/>
                  </a:lnTo>
                  <a:lnTo>
                    <a:pt x="74" y="358"/>
                  </a:lnTo>
                  <a:lnTo>
                    <a:pt x="74" y="360"/>
                  </a:lnTo>
                  <a:lnTo>
                    <a:pt x="72" y="361"/>
                  </a:lnTo>
                  <a:lnTo>
                    <a:pt x="74" y="361"/>
                  </a:lnTo>
                  <a:lnTo>
                    <a:pt x="76" y="360"/>
                  </a:lnTo>
                  <a:lnTo>
                    <a:pt x="79" y="358"/>
                  </a:lnTo>
                  <a:lnTo>
                    <a:pt x="81" y="358"/>
                  </a:lnTo>
                  <a:lnTo>
                    <a:pt x="79" y="360"/>
                  </a:lnTo>
                  <a:lnTo>
                    <a:pt x="81" y="361"/>
                  </a:lnTo>
                  <a:lnTo>
                    <a:pt x="83" y="360"/>
                  </a:lnTo>
                  <a:lnTo>
                    <a:pt x="83" y="356"/>
                  </a:lnTo>
                  <a:lnTo>
                    <a:pt x="81" y="354"/>
                  </a:lnTo>
                  <a:lnTo>
                    <a:pt x="77" y="356"/>
                  </a:lnTo>
                  <a:lnTo>
                    <a:pt x="77" y="354"/>
                  </a:lnTo>
                  <a:lnTo>
                    <a:pt x="79" y="352"/>
                  </a:lnTo>
                  <a:lnTo>
                    <a:pt x="77" y="348"/>
                  </a:lnTo>
                  <a:lnTo>
                    <a:pt x="79" y="346"/>
                  </a:lnTo>
                  <a:lnTo>
                    <a:pt x="83" y="348"/>
                  </a:lnTo>
                  <a:lnTo>
                    <a:pt x="87" y="354"/>
                  </a:lnTo>
                  <a:lnTo>
                    <a:pt x="87" y="358"/>
                  </a:lnTo>
                  <a:lnTo>
                    <a:pt x="89" y="360"/>
                  </a:lnTo>
                  <a:lnTo>
                    <a:pt x="89" y="367"/>
                  </a:lnTo>
                  <a:lnTo>
                    <a:pt x="85" y="371"/>
                  </a:lnTo>
                  <a:lnTo>
                    <a:pt x="83" y="373"/>
                  </a:lnTo>
                  <a:lnTo>
                    <a:pt x="83" y="377"/>
                  </a:lnTo>
                  <a:lnTo>
                    <a:pt x="87" y="378"/>
                  </a:lnTo>
                  <a:lnTo>
                    <a:pt x="87" y="386"/>
                  </a:lnTo>
                  <a:lnTo>
                    <a:pt x="89" y="390"/>
                  </a:lnTo>
                  <a:lnTo>
                    <a:pt x="89" y="393"/>
                  </a:lnTo>
                  <a:lnTo>
                    <a:pt x="89" y="395"/>
                  </a:lnTo>
                  <a:lnTo>
                    <a:pt x="92" y="397"/>
                  </a:lnTo>
                  <a:lnTo>
                    <a:pt x="92" y="397"/>
                  </a:lnTo>
                  <a:lnTo>
                    <a:pt x="96" y="397"/>
                  </a:lnTo>
                  <a:lnTo>
                    <a:pt x="96" y="397"/>
                  </a:lnTo>
                  <a:lnTo>
                    <a:pt x="96" y="395"/>
                  </a:lnTo>
                  <a:lnTo>
                    <a:pt x="94" y="392"/>
                  </a:lnTo>
                  <a:lnTo>
                    <a:pt x="94" y="386"/>
                  </a:lnTo>
                  <a:lnTo>
                    <a:pt x="96" y="384"/>
                  </a:lnTo>
                  <a:lnTo>
                    <a:pt x="98" y="384"/>
                  </a:lnTo>
                  <a:lnTo>
                    <a:pt x="96" y="386"/>
                  </a:lnTo>
                  <a:lnTo>
                    <a:pt x="96" y="388"/>
                  </a:lnTo>
                  <a:lnTo>
                    <a:pt x="100" y="392"/>
                  </a:lnTo>
                  <a:lnTo>
                    <a:pt x="100" y="397"/>
                  </a:lnTo>
                  <a:lnTo>
                    <a:pt x="100" y="397"/>
                  </a:lnTo>
                  <a:lnTo>
                    <a:pt x="100" y="401"/>
                  </a:lnTo>
                  <a:lnTo>
                    <a:pt x="100" y="401"/>
                  </a:lnTo>
                  <a:lnTo>
                    <a:pt x="100" y="401"/>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7" name="Freeform 198">
              <a:extLst>
                <a:ext uri="{FF2B5EF4-FFF2-40B4-BE49-F238E27FC236}">
                  <a16:creationId xmlns:a16="http://schemas.microsoft.com/office/drawing/2014/main" id="{F782ED8F-68BE-8849-9C30-71B113F0B775}"/>
                </a:ext>
              </a:extLst>
            </p:cNvPr>
            <p:cNvSpPr>
              <a:spLocks noEditPoints="1"/>
            </p:cNvSpPr>
            <p:nvPr/>
          </p:nvSpPr>
          <p:spPr bwMode="auto">
            <a:xfrm>
              <a:off x="7975310" y="2693709"/>
              <a:ext cx="157867" cy="215530"/>
            </a:xfrm>
            <a:custGeom>
              <a:avLst/>
              <a:gdLst/>
              <a:ahLst/>
              <a:cxnLst>
                <a:cxn ang="0">
                  <a:pos x="63" y="6"/>
                </a:cxn>
                <a:cxn ang="0">
                  <a:pos x="81" y="11"/>
                </a:cxn>
                <a:cxn ang="0">
                  <a:pos x="108" y="107"/>
                </a:cxn>
                <a:cxn ang="0">
                  <a:pos x="119" y="121"/>
                </a:cxn>
                <a:cxn ang="0">
                  <a:pos x="127" y="137"/>
                </a:cxn>
                <a:cxn ang="0">
                  <a:pos x="98" y="115"/>
                </a:cxn>
                <a:cxn ang="0">
                  <a:pos x="72" y="119"/>
                </a:cxn>
                <a:cxn ang="0">
                  <a:pos x="61" y="98"/>
                </a:cxn>
                <a:cxn ang="0">
                  <a:pos x="46" y="75"/>
                </a:cxn>
                <a:cxn ang="0">
                  <a:pos x="51" y="32"/>
                </a:cxn>
                <a:cxn ang="0">
                  <a:pos x="87" y="24"/>
                </a:cxn>
                <a:cxn ang="0">
                  <a:pos x="85" y="70"/>
                </a:cxn>
                <a:cxn ang="0">
                  <a:pos x="81" y="105"/>
                </a:cxn>
                <a:cxn ang="0">
                  <a:pos x="89" y="98"/>
                </a:cxn>
                <a:cxn ang="0">
                  <a:pos x="51" y="115"/>
                </a:cxn>
                <a:cxn ang="0">
                  <a:pos x="74" y="151"/>
                </a:cxn>
                <a:cxn ang="0">
                  <a:pos x="57" y="124"/>
                </a:cxn>
                <a:cxn ang="0">
                  <a:pos x="130" y="111"/>
                </a:cxn>
                <a:cxn ang="0">
                  <a:pos x="87" y="128"/>
                </a:cxn>
                <a:cxn ang="0">
                  <a:pos x="95" y="139"/>
                </a:cxn>
                <a:cxn ang="0">
                  <a:pos x="110" y="134"/>
                </a:cxn>
                <a:cxn ang="0">
                  <a:pos x="121" y="141"/>
                </a:cxn>
                <a:cxn ang="0">
                  <a:pos x="119" y="143"/>
                </a:cxn>
                <a:cxn ang="0">
                  <a:pos x="95" y="185"/>
                </a:cxn>
                <a:cxn ang="0">
                  <a:pos x="98" y="160"/>
                </a:cxn>
                <a:cxn ang="0">
                  <a:pos x="104" y="179"/>
                </a:cxn>
                <a:cxn ang="0">
                  <a:pos x="106" y="179"/>
                </a:cxn>
                <a:cxn ang="0">
                  <a:pos x="125" y="192"/>
                </a:cxn>
                <a:cxn ang="0">
                  <a:pos x="121" y="203"/>
                </a:cxn>
                <a:cxn ang="0">
                  <a:pos x="113" y="181"/>
                </a:cxn>
                <a:cxn ang="0">
                  <a:pos x="121" y="205"/>
                </a:cxn>
                <a:cxn ang="0">
                  <a:pos x="127" y="207"/>
                </a:cxn>
                <a:cxn ang="0">
                  <a:pos x="138" y="190"/>
                </a:cxn>
                <a:cxn ang="0">
                  <a:pos x="145" y="211"/>
                </a:cxn>
                <a:cxn ang="0">
                  <a:pos x="142" y="160"/>
                </a:cxn>
                <a:cxn ang="0">
                  <a:pos x="159" y="158"/>
                </a:cxn>
                <a:cxn ang="0">
                  <a:pos x="134" y="141"/>
                </a:cxn>
                <a:cxn ang="0">
                  <a:pos x="151" y="168"/>
                </a:cxn>
                <a:cxn ang="0">
                  <a:pos x="145" y="190"/>
                </a:cxn>
                <a:cxn ang="0">
                  <a:pos x="145" y="168"/>
                </a:cxn>
                <a:cxn ang="0">
                  <a:pos x="164" y="179"/>
                </a:cxn>
                <a:cxn ang="0">
                  <a:pos x="164" y="198"/>
                </a:cxn>
                <a:cxn ang="0">
                  <a:pos x="168" y="198"/>
                </a:cxn>
                <a:cxn ang="0">
                  <a:pos x="96" y="247"/>
                </a:cxn>
                <a:cxn ang="0">
                  <a:pos x="130" y="224"/>
                </a:cxn>
                <a:cxn ang="0">
                  <a:pos x="151" y="215"/>
                </a:cxn>
                <a:cxn ang="0">
                  <a:pos x="172" y="209"/>
                </a:cxn>
                <a:cxn ang="0">
                  <a:pos x="179" y="237"/>
                </a:cxn>
                <a:cxn ang="0">
                  <a:pos x="176" y="267"/>
                </a:cxn>
                <a:cxn ang="0">
                  <a:pos x="164" y="279"/>
                </a:cxn>
                <a:cxn ang="0">
                  <a:pos x="138" y="267"/>
                </a:cxn>
                <a:cxn ang="0">
                  <a:pos x="127" y="239"/>
                </a:cxn>
                <a:cxn ang="0">
                  <a:pos x="115" y="245"/>
                </a:cxn>
                <a:cxn ang="0">
                  <a:pos x="95" y="262"/>
                </a:cxn>
                <a:cxn ang="0">
                  <a:pos x="51" y="154"/>
                </a:cxn>
                <a:cxn ang="0">
                  <a:pos x="51" y="154"/>
                </a:cxn>
                <a:cxn ang="0">
                  <a:pos x="51" y="183"/>
                </a:cxn>
                <a:cxn ang="0">
                  <a:pos x="12" y="222"/>
                </a:cxn>
                <a:cxn ang="0">
                  <a:pos x="48" y="185"/>
                </a:cxn>
                <a:cxn ang="0">
                  <a:pos x="34" y="185"/>
                </a:cxn>
                <a:cxn ang="0">
                  <a:pos x="4" y="224"/>
                </a:cxn>
                <a:cxn ang="0">
                  <a:pos x="8" y="228"/>
                </a:cxn>
              </a:cxnLst>
              <a:rect l="0" t="0" r="r" b="b"/>
              <a:pathLst>
                <a:path w="185" h="281">
                  <a:moveTo>
                    <a:pt x="64" y="15"/>
                  </a:moveTo>
                  <a:lnTo>
                    <a:pt x="70" y="15"/>
                  </a:lnTo>
                  <a:lnTo>
                    <a:pt x="66" y="15"/>
                  </a:lnTo>
                  <a:lnTo>
                    <a:pt x="64" y="15"/>
                  </a:lnTo>
                  <a:lnTo>
                    <a:pt x="64" y="15"/>
                  </a:lnTo>
                  <a:lnTo>
                    <a:pt x="64" y="15"/>
                  </a:lnTo>
                  <a:lnTo>
                    <a:pt x="64" y="15"/>
                  </a:lnTo>
                  <a:close/>
                  <a:moveTo>
                    <a:pt x="63" y="6"/>
                  </a:moveTo>
                  <a:lnTo>
                    <a:pt x="64" y="7"/>
                  </a:lnTo>
                  <a:lnTo>
                    <a:pt x="61" y="9"/>
                  </a:lnTo>
                  <a:lnTo>
                    <a:pt x="63" y="6"/>
                  </a:lnTo>
                  <a:lnTo>
                    <a:pt x="63" y="6"/>
                  </a:lnTo>
                  <a:lnTo>
                    <a:pt x="63" y="6"/>
                  </a:lnTo>
                  <a:lnTo>
                    <a:pt x="63" y="6"/>
                  </a:lnTo>
                  <a:close/>
                  <a:moveTo>
                    <a:pt x="70" y="0"/>
                  </a:moveTo>
                  <a:lnTo>
                    <a:pt x="68" y="2"/>
                  </a:lnTo>
                  <a:lnTo>
                    <a:pt x="70" y="4"/>
                  </a:lnTo>
                  <a:lnTo>
                    <a:pt x="70" y="0"/>
                  </a:lnTo>
                  <a:lnTo>
                    <a:pt x="70" y="0"/>
                  </a:lnTo>
                  <a:lnTo>
                    <a:pt x="70" y="0"/>
                  </a:lnTo>
                  <a:lnTo>
                    <a:pt x="70" y="0"/>
                  </a:lnTo>
                  <a:close/>
                  <a:moveTo>
                    <a:pt x="80" y="9"/>
                  </a:moveTo>
                  <a:lnTo>
                    <a:pt x="78" y="13"/>
                  </a:lnTo>
                  <a:lnTo>
                    <a:pt x="80" y="15"/>
                  </a:lnTo>
                  <a:lnTo>
                    <a:pt x="81" y="11"/>
                  </a:lnTo>
                  <a:lnTo>
                    <a:pt x="81" y="11"/>
                  </a:lnTo>
                  <a:lnTo>
                    <a:pt x="80" y="9"/>
                  </a:lnTo>
                  <a:lnTo>
                    <a:pt x="80" y="9"/>
                  </a:lnTo>
                  <a:lnTo>
                    <a:pt x="80" y="9"/>
                  </a:lnTo>
                  <a:lnTo>
                    <a:pt x="80" y="9"/>
                  </a:lnTo>
                  <a:close/>
                  <a:moveTo>
                    <a:pt x="81" y="105"/>
                  </a:moveTo>
                  <a:lnTo>
                    <a:pt x="81" y="107"/>
                  </a:lnTo>
                  <a:lnTo>
                    <a:pt x="85" y="111"/>
                  </a:lnTo>
                  <a:lnTo>
                    <a:pt x="91" y="113"/>
                  </a:lnTo>
                  <a:lnTo>
                    <a:pt x="91" y="111"/>
                  </a:lnTo>
                  <a:lnTo>
                    <a:pt x="95" y="109"/>
                  </a:lnTo>
                  <a:lnTo>
                    <a:pt x="98" y="104"/>
                  </a:lnTo>
                  <a:lnTo>
                    <a:pt x="102" y="104"/>
                  </a:lnTo>
                  <a:lnTo>
                    <a:pt x="108" y="107"/>
                  </a:lnTo>
                  <a:lnTo>
                    <a:pt x="110" y="113"/>
                  </a:lnTo>
                  <a:lnTo>
                    <a:pt x="110" y="115"/>
                  </a:lnTo>
                  <a:lnTo>
                    <a:pt x="112" y="119"/>
                  </a:lnTo>
                  <a:lnTo>
                    <a:pt x="113" y="115"/>
                  </a:lnTo>
                  <a:lnTo>
                    <a:pt x="113" y="113"/>
                  </a:lnTo>
                  <a:lnTo>
                    <a:pt x="115" y="111"/>
                  </a:lnTo>
                  <a:lnTo>
                    <a:pt x="115" y="115"/>
                  </a:lnTo>
                  <a:lnTo>
                    <a:pt x="121" y="115"/>
                  </a:lnTo>
                  <a:lnTo>
                    <a:pt x="125" y="119"/>
                  </a:lnTo>
                  <a:lnTo>
                    <a:pt x="125" y="119"/>
                  </a:lnTo>
                  <a:lnTo>
                    <a:pt x="125" y="121"/>
                  </a:lnTo>
                  <a:lnTo>
                    <a:pt x="121" y="119"/>
                  </a:lnTo>
                  <a:lnTo>
                    <a:pt x="119" y="121"/>
                  </a:lnTo>
                  <a:lnTo>
                    <a:pt x="121" y="124"/>
                  </a:lnTo>
                  <a:lnTo>
                    <a:pt x="121" y="128"/>
                  </a:lnTo>
                  <a:lnTo>
                    <a:pt x="121" y="134"/>
                  </a:lnTo>
                  <a:lnTo>
                    <a:pt x="125" y="134"/>
                  </a:lnTo>
                  <a:lnTo>
                    <a:pt x="128" y="134"/>
                  </a:lnTo>
                  <a:lnTo>
                    <a:pt x="132" y="134"/>
                  </a:lnTo>
                  <a:lnTo>
                    <a:pt x="132" y="134"/>
                  </a:lnTo>
                  <a:lnTo>
                    <a:pt x="132" y="136"/>
                  </a:lnTo>
                  <a:lnTo>
                    <a:pt x="132" y="139"/>
                  </a:lnTo>
                  <a:lnTo>
                    <a:pt x="130" y="145"/>
                  </a:lnTo>
                  <a:lnTo>
                    <a:pt x="127" y="143"/>
                  </a:lnTo>
                  <a:lnTo>
                    <a:pt x="125" y="139"/>
                  </a:lnTo>
                  <a:lnTo>
                    <a:pt x="127" y="137"/>
                  </a:lnTo>
                  <a:lnTo>
                    <a:pt x="127" y="136"/>
                  </a:lnTo>
                  <a:lnTo>
                    <a:pt x="125" y="136"/>
                  </a:lnTo>
                  <a:lnTo>
                    <a:pt x="125" y="136"/>
                  </a:lnTo>
                  <a:lnTo>
                    <a:pt x="121" y="137"/>
                  </a:lnTo>
                  <a:lnTo>
                    <a:pt x="115" y="134"/>
                  </a:lnTo>
                  <a:lnTo>
                    <a:pt x="115" y="134"/>
                  </a:lnTo>
                  <a:lnTo>
                    <a:pt x="115" y="128"/>
                  </a:lnTo>
                  <a:lnTo>
                    <a:pt x="113" y="124"/>
                  </a:lnTo>
                  <a:lnTo>
                    <a:pt x="108" y="122"/>
                  </a:lnTo>
                  <a:lnTo>
                    <a:pt x="106" y="119"/>
                  </a:lnTo>
                  <a:lnTo>
                    <a:pt x="102" y="115"/>
                  </a:lnTo>
                  <a:lnTo>
                    <a:pt x="100" y="115"/>
                  </a:lnTo>
                  <a:lnTo>
                    <a:pt x="98" y="115"/>
                  </a:lnTo>
                  <a:lnTo>
                    <a:pt x="98" y="115"/>
                  </a:lnTo>
                  <a:lnTo>
                    <a:pt x="102" y="124"/>
                  </a:lnTo>
                  <a:lnTo>
                    <a:pt x="104" y="128"/>
                  </a:lnTo>
                  <a:lnTo>
                    <a:pt x="102" y="128"/>
                  </a:lnTo>
                  <a:lnTo>
                    <a:pt x="98" y="124"/>
                  </a:lnTo>
                  <a:lnTo>
                    <a:pt x="95" y="121"/>
                  </a:lnTo>
                  <a:lnTo>
                    <a:pt x="95" y="115"/>
                  </a:lnTo>
                  <a:lnTo>
                    <a:pt x="85" y="115"/>
                  </a:lnTo>
                  <a:lnTo>
                    <a:pt x="81" y="115"/>
                  </a:lnTo>
                  <a:lnTo>
                    <a:pt x="80" y="115"/>
                  </a:lnTo>
                  <a:lnTo>
                    <a:pt x="80" y="121"/>
                  </a:lnTo>
                  <a:lnTo>
                    <a:pt x="76" y="122"/>
                  </a:lnTo>
                  <a:lnTo>
                    <a:pt x="72" y="119"/>
                  </a:lnTo>
                  <a:lnTo>
                    <a:pt x="70" y="121"/>
                  </a:lnTo>
                  <a:lnTo>
                    <a:pt x="66" y="121"/>
                  </a:lnTo>
                  <a:lnTo>
                    <a:pt x="68" y="115"/>
                  </a:lnTo>
                  <a:lnTo>
                    <a:pt x="66" y="115"/>
                  </a:lnTo>
                  <a:lnTo>
                    <a:pt x="64" y="115"/>
                  </a:lnTo>
                  <a:lnTo>
                    <a:pt x="63" y="119"/>
                  </a:lnTo>
                  <a:lnTo>
                    <a:pt x="61" y="115"/>
                  </a:lnTo>
                  <a:lnTo>
                    <a:pt x="61" y="109"/>
                  </a:lnTo>
                  <a:lnTo>
                    <a:pt x="61" y="107"/>
                  </a:lnTo>
                  <a:lnTo>
                    <a:pt x="63" y="105"/>
                  </a:lnTo>
                  <a:lnTo>
                    <a:pt x="66" y="100"/>
                  </a:lnTo>
                  <a:lnTo>
                    <a:pt x="63" y="98"/>
                  </a:lnTo>
                  <a:lnTo>
                    <a:pt x="61" y="98"/>
                  </a:lnTo>
                  <a:lnTo>
                    <a:pt x="61" y="100"/>
                  </a:lnTo>
                  <a:lnTo>
                    <a:pt x="61" y="102"/>
                  </a:lnTo>
                  <a:lnTo>
                    <a:pt x="61" y="104"/>
                  </a:lnTo>
                  <a:lnTo>
                    <a:pt x="57" y="104"/>
                  </a:lnTo>
                  <a:lnTo>
                    <a:pt x="55" y="100"/>
                  </a:lnTo>
                  <a:lnTo>
                    <a:pt x="55" y="98"/>
                  </a:lnTo>
                  <a:lnTo>
                    <a:pt x="51" y="94"/>
                  </a:lnTo>
                  <a:lnTo>
                    <a:pt x="51" y="98"/>
                  </a:lnTo>
                  <a:lnTo>
                    <a:pt x="49" y="94"/>
                  </a:lnTo>
                  <a:lnTo>
                    <a:pt x="49" y="88"/>
                  </a:lnTo>
                  <a:lnTo>
                    <a:pt x="46" y="85"/>
                  </a:lnTo>
                  <a:lnTo>
                    <a:pt x="46" y="79"/>
                  </a:lnTo>
                  <a:lnTo>
                    <a:pt x="46" y="75"/>
                  </a:lnTo>
                  <a:lnTo>
                    <a:pt x="46" y="73"/>
                  </a:lnTo>
                  <a:lnTo>
                    <a:pt x="44" y="73"/>
                  </a:lnTo>
                  <a:lnTo>
                    <a:pt x="42" y="70"/>
                  </a:lnTo>
                  <a:lnTo>
                    <a:pt x="44" y="64"/>
                  </a:lnTo>
                  <a:lnTo>
                    <a:pt x="46" y="68"/>
                  </a:lnTo>
                  <a:lnTo>
                    <a:pt x="49" y="68"/>
                  </a:lnTo>
                  <a:lnTo>
                    <a:pt x="51" y="68"/>
                  </a:lnTo>
                  <a:lnTo>
                    <a:pt x="51" y="64"/>
                  </a:lnTo>
                  <a:lnTo>
                    <a:pt x="49" y="58"/>
                  </a:lnTo>
                  <a:lnTo>
                    <a:pt x="51" y="55"/>
                  </a:lnTo>
                  <a:lnTo>
                    <a:pt x="51" y="45"/>
                  </a:lnTo>
                  <a:lnTo>
                    <a:pt x="51" y="38"/>
                  </a:lnTo>
                  <a:lnTo>
                    <a:pt x="51" y="32"/>
                  </a:lnTo>
                  <a:lnTo>
                    <a:pt x="55" y="24"/>
                  </a:lnTo>
                  <a:lnTo>
                    <a:pt x="57" y="21"/>
                  </a:lnTo>
                  <a:lnTo>
                    <a:pt x="61" y="19"/>
                  </a:lnTo>
                  <a:lnTo>
                    <a:pt x="68" y="19"/>
                  </a:lnTo>
                  <a:lnTo>
                    <a:pt x="70" y="24"/>
                  </a:lnTo>
                  <a:lnTo>
                    <a:pt x="74" y="24"/>
                  </a:lnTo>
                  <a:lnTo>
                    <a:pt x="74" y="24"/>
                  </a:lnTo>
                  <a:lnTo>
                    <a:pt x="80" y="24"/>
                  </a:lnTo>
                  <a:lnTo>
                    <a:pt x="81" y="21"/>
                  </a:lnTo>
                  <a:lnTo>
                    <a:pt x="81" y="19"/>
                  </a:lnTo>
                  <a:lnTo>
                    <a:pt x="85" y="19"/>
                  </a:lnTo>
                  <a:lnTo>
                    <a:pt x="87" y="24"/>
                  </a:lnTo>
                  <a:lnTo>
                    <a:pt x="87" y="24"/>
                  </a:lnTo>
                  <a:lnTo>
                    <a:pt x="85" y="28"/>
                  </a:lnTo>
                  <a:lnTo>
                    <a:pt x="85" y="36"/>
                  </a:lnTo>
                  <a:lnTo>
                    <a:pt x="87" y="41"/>
                  </a:lnTo>
                  <a:lnTo>
                    <a:pt x="91" y="41"/>
                  </a:lnTo>
                  <a:lnTo>
                    <a:pt x="91" y="47"/>
                  </a:lnTo>
                  <a:lnTo>
                    <a:pt x="91" y="49"/>
                  </a:lnTo>
                  <a:lnTo>
                    <a:pt x="91" y="58"/>
                  </a:lnTo>
                  <a:lnTo>
                    <a:pt x="89" y="62"/>
                  </a:lnTo>
                  <a:lnTo>
                    <a:pt x="91" y="68"/>
                  </a:lnTo>
                  <a:lnTo>
                    <a:pt x="87" y="72"/>
                  </a:lnTo>
                  <a:lnTo>
                    <a:pt x="87" y="70"/>
                  </a:lnTo>
                  <a:lnTo>
                    <a:pt x="89" y="68"/>
                  </a:lnTo>
                  <a:lnTo>
                    <a:pt x="85" y="70"/>
                  </a:lnTo>
                  <a:lnTo>
                    <a:pt x="80" y="75"/>
                  </a:lnTo>
                  <a:lnTo>
                    <a:pt x="78" y="79"/>
                  </a:lnTo>
                  <a:lnTo>
                    <a:pt x="78" y="83"/>
                  </a:lnTo>
                  <a:lnTo>
                    <a:pt x="76" y="85"/>
                  </a:lnTo>
                  <a:lnTo>
                    <a:pt x="76" y="88"/>
                  </a:lnTo>
                  <a:lnTo>
                    <a:pt x="78" y="90"/>
                  </a:lnTo>
                  <a:lnTo>
                    <a:pt x="80" y="98"/>
                  </a:lnTo>
                  <a:lnTo>
                    <a:pt x="81" y="98"/>
                  </a:lnTo>
                  <a:lnTo>
                    <a:pt x="81" y="100"/>
                  </a:lnTo>
                  <a:lnTo>
                    <a:pt x="81" y="105"/>
                  </a:lnTo>
                  <a:lnTo>
                    <a:pt x="81" y="105"/>
                  </a:lnTo>
                  <a:lnTo>
                    <a:pt x="81" y="105"/>
                  </a:lnTo>
                  <a:lnTo>
                    <a:pt x="81" y="105"/>
                  </a:lnTo>
                  <a:close/>
                  <a:moveTo>
                    <a:pt x="89" y="105"/>
                  </a:moveTo>
                  <a:lnTo>
                    <a:pt x="89" y="109"/>
                  </a:lnTo>
                  <a:lnTo>
                    <a:pt x="91" y="111"/>
                  </a:lnTo>
                  <a:lnTo>
                    <a:pt x="91" y="107"/>
                  </a:lnTo>
                  <a:lnTo>
                    <a:pt x="89" y="105"/>
                  </a:lnTo>
                  <a:lnTo>
                    <a:pt x="89" y="105"/>
                  </a:lnTo>
                  <a:lnTo>
                    <a:pt x="89" y="105"/>
                  </a:lnTo>
                  <a:lnTo>
                    <a:pt x="89" y="105"/>
                  </a:lnTo>
                  <a:close/>
                  <a:moveTo>
                    <a:pt x="85" y="90"/>
                  </a:moveTo>
                  <a:lnTo>
                    <a:pt x="87" y="98"/>
                  </a:lnTo>
                  <a:lnTo>
                    <a:pt x="87" y="98"/>
                  </a:lnTo>
                  <a:lnTo>
                    <a:pt x="87" y="102"/>
                  </a:lnTo>
                  <a:lnTo>
                    <a:pt x="89" y="98"/>
                  </a:lnTo>
                  <a:lnTo>
                    <a:pt x="91" y="94"/>
                  </a:lnTo>
                  <a:lnTo>
                    <a:pt x="91" y="90"/>
                  </a:lnTo>
                  <a:lnTo>
                    <a:pt x="89" y="88"/>
                  </a:lnTo>
                  <a:lnTo>
                    <a:pt x="85" y="90"/>
                  </a:lnTo>
                  <a:lnTo>
                    <a:pt x="85" y="90"/>
                  </a:lnTo>
                  <a:lnTo>
                    <a:pt x="85" y="90"/>
                  </a:lnTo>
                  <a:lnTo>
                    <a:pt x="85" y="90"/>
                  </a:lnTo>
                  <a:close/>
                  <a:moveTo>
                    <a:pt x="51" y="115"/>
                  </a:moveTo>
                  <a:lnTo>
                    <a:pt x="51" y="119"/>
                  </a:lnTo>
                  <a:lnTo>
                    <a:pt x="57" y="121"/>
                  </a:lnTo>
                  <a:lnTo>
                    <a:pt x="57" y="121"/>
                  </a:lnTo>
                  <a:lnTo>
                    <a:pt x="55" y="115"/>
                  </a:lnTo>
                  <a:lnTo>
                    <a:pt x="51" y="115"/>
                  </a:lnTo>
                  <a:lnTo>
                    <a:pt x="51" y="115"/>
                  </a:lnTo>
                  <a:lnTo>
                    <a:pt x="51" y="115"/>
                  </a:lnTo>
                  <a:lnTo>
                    <a:pt x="51" y="115"/>
                  </a:lnTo>
                  <a:close/>
                  <a:moveTo>
                    <a:pt x="57" y="124"/>
                  </a:moveTo>
                  <a:lnTo>
                    <a:pt x="57" y="124"/>
                  </a:lnTo>
                  <a:lnTo>
                    <a:pt x="61" y="124"/>
                  </a:lnTo>
                  <a:lnTo>
                    <a:pt x="61" y="130"/>
                  </a:lnTo>
                  <a:lnTo>
                    <a:pt x="64" y="130"/>
                  </a:lnTo>
                  <a:lnTo>
                    <a:pt x="66" y="134"/>
                  </a:lnTo>
                  <a:lnTo>
                    <a:pt x="66" y="139"/>
                  </a:lnTo>
                  <a:lnTo>
                    <a:pt x="70" y="141"/>
                  </a:lnTo>
                  <a:lnTo>
                    <a:pt x="70" y="145"/>
                  </a:lnTo>
                  <a:lnTo>
                    <a:pt x="74" y="151"/>
                  </a:lnTo>
                  <a:lnTo>
                    <a:pt x="78" y="151"/>
                  </a:lnTo>
                  <a:lnTo>
                    <a:pt x="80" y="147"/>
                  </a:lnTo>
                  <a:lnTo>
                    <a:pt x="80" y="145"/>
                  </a:lnTo>
                  <a:lnTo>
                    <a:pt x="81" y="143"/>
                  </a:lnTo>
                  <a:lnTo>
                    <a:pt x="81" y="139"/>
                  </a:lnTo>
                  <a:lnTo>
                    <a:pt x="80" y="137"/>
                  </a:lnTo>
                  <a:lnTo>
                    <a:pt x="81" y="134"/>
                  </a:lnTo>
                  <a:lnTo>
                    <a:pt x="81" y="130"/>
                  </a:lnTo>
                  <a:lnTo>
                    <a:pt x="78" y="128"/>
                  </a:lnTo>
                  <a:lnTo>
                    <a:pt x="70" y="124"/>
                  </a:lnTo>
                  <a:lnTo>
                    <a:pt x="64" y="124"/>
                  </a:lnTo>
                  <a:lnTo>
                    <a:pt x="61" y="122"/>
                  </a:lnTo>
                  <a:lnTo>
                    <a:pt x="57" y="124"/>
                  </a:lnTo>
                  <a:lnTo>
                    <a:pt x="57" y="124"/>
                  </a:lnTo>
                  <a:lnTo>
                    <a:pt x="57" y="124"/>
                  </a:lnTo>
                  <a:lnTo>
                    <a:pt x="57" y="124"/>
                  </a:lnTo>
                  <a:close/>
                  <a:moveTo>
                    <a:pt x="130" y="111"/>
                  </a:moveTo>
                  <a:lnTo>
                    <a:pt x="128" y="113"/>
                  </a:lnTo>
                  <a:lnTo>
                    <a:pt x="130" y="115"/>
                  </a:lnTo>
                  <a:lnTo>
                    <a:pt x="128" y="121"/>
                  </a:lnTo>
                  <a:lnTo>
                    <a:pt x="127" y="121"/>
                  </a:lnTo>
                  <a:lnTo>
                    <a:pt x="128" y="122"/>
                  </a:lnTo>
                  <a:lnTo>
                    <a:pt x="134" y="122"/>
                  </a:lnTo>
                  <a:lnTo>
                    <a:pt x="136" y="119"/>
                  </a:lnTo>
                  <a:lnTo>
                    <a:pt x="134" y="115"/>
                  </a:lnTo>
                  <a:lnTo>
                    <a:pt x="130" y="111"/>
                  </a:lnTo>
                  <a:lnTo>
                    <a:pt x="130" y="111"/>
                  </a:lnTo>
                  <a:lnTo>
                    <a:pt x="130" y="111"/>
                  </a:lnTo>
                  <a:lnTo>
                    <a:pt x="130" y="111"/>
                  </a:lnTo>
                  <a:close/>
                  <a:moveTo>
                    <a:pt x="87" y="128"/>
                  </a:moveTo>
                  <a:lnTo>
                    <a:pt x="91" y="128"/>
                  </a:lnTo>
                  <a:lnTo>
                    <a:pt x="91" y="128"/>
                  </a:lnTo>
                  <a:lnTo>
                    <a:pt x="95" y="124"/>
                  </a:lnTo>
                  <a:lnTo>
                    <a:pt x="91" y="122"/>
                  </a:lnTo>
                  <a:lnTo>
                    <a:pt x="89" y="121"/>
                  </a:lnTo>
                  <a:lnTo>
                    <a:pt x="87" y="124"/>
                  </a:lnTo>
                  <a:lnTo>
                    <a:pt x="87" y="128"/>
                  </a:lnTo>
                  <a:lnTo>
                    <a:pt x="87" y="128"/>
                  </a:lnTo>
                  <a:lnTo>
                    <a:pt x="87" y="128"/>
                  </a:lnTo>
                  <a:lnTo>
                    <a:pt x="87" y="128"/>
                  </a:lnTo>
                  <a:close/>
                  <a:moveTo>
                    <a:pt x="95" y="139"/>
                  </a:moveTo>
                  <a:lnTo>
                    <a:pt x="91" y="143"/>
                  </a:lnTo>
                  <a:lnTo>
                    <a:pt x="91" y="147"/>
                  </a:lnTo>
                  <a:lnTo>
                    <a:pt x="91" y="153"/>
                  </a:lnTo>
                  <a:lnTo>
                    <a:pt x="95" y="153"/>
                  </a:lnTo>
                  <a:lnTo>
                    <a:pt x="95" y="147"/>
                  </a:lnTo>
                  <a:lnTo>
                    <a:pt x="95" y="143"/>
                  </a:lnTo>
                  <a:lnTo>
                    <a:pt x="95" y="139"/>
                  </a:lnTo>
                  <a:lnTo>
                    <a:pt x="95" y="139"/>
                  </a:lnTo>
                  <a:lnTo>
                    <a:pt x="95" y="139"/>
                  </a:lnTo>
                  <a:lnTo>
                    <a:pt x="95" y="139"/>
                  </a:lnTo>
                  <a:lnTo>
                    <a:pt x="95" y="139"/>
                  </a:lnTo>
                  <a:close/>
                  <a:moveTo>
                    <a:pt x="102" y="143"/>
                  </a:moveTo>
                  <a:lnTo>
                    <a:pt x="100" y="145"/>
                  </a:lnTo>
                  <a:lnTo>
                    <a:pt x="100" y="147"/>
                  </a:lnTo>
                  <a:lnTo>
                    <a:pt x="104" y="147"/>
                  </a:lnTo>
                  <a:lnTo>
                    <a:pt x="104" y="145"/>
                  </a:lnTo>
                  <a:lnTo>
                    <a:pt x="102" y="143"/>
                  </a:lnTo>
                  <a:lnTo>
                    <a:pt x="102" y="143"/>
                  </a:lnTo>
                  <a:lnTo>
                    <a:pt x="102" y="143"/>
                  </a:lnTo>
                  <a:lnTo>
                    <a:pt x="102" y="143"/>
                  </a:lnTo>
                  <a:close/>
                  <a:moveTo>
                    <a:pt x="115" y="134"/>
                  </a:moveTo>
                  <a:lnTo>
                    <a:pt x="110" y="130"/>
                  </a:lnTo>
                  <a:lnTo>
                    <a:pt x="110" y="130"/>
                  </a:lnTo>
                  <a:lnTo>
                    <a:pt x="110" y="134"/>
                  </a:lnTo>
                  <a:lnTo>
                    <a:pt x="113" y="137"/>
                  </a:lnTo>
                  <a:lnTo>
                    <a:pt x="115" y="136"/>
                  </a:lnTo>
                  <a:lnTo>
                    <a:pt x="115" y="134"/>
                  </a:lnTo>
                  <a:lnTo>
                    <a:pt x="115" y="134"/>
                  </a:lnTo>
                  <a:lnTo>
                    <a:pt x="115" y="134"/>
                  </a:lnTo>
                  <a:lnTo>
                    <a:pt x="115" y="134"/>
                  </a:lnTo>
                  <a:close/>
                  <a:moveTo>
                    <a:pt x="121" y="141"/>
                  </a:moveTo>
                  <a:lnTo>
                    <a:pt x="121" y="143"/>
                  </a:lnTo>
                  <a:lnTo>
                    <a:pt x="125" y="147"/>
                  </a:lnTo>
                  <a:lnTo>
                    <a:pt x="127" y="147"/>
                  </a:lnTo>
                  <a:lnTo>
                    <a:pt x="125" y="141"/>
                  </a:lnTo>
                  <a:lnTo>
                    <a:pt x="121" y="141"/>
                  </a:lnTo>
                  <a:lnTo>
                    <a:pt x="121" y="141"/>
                  </a:lnTo>
                  <a:lnTo>
                    <a:pt x="121" y="141"/>
                  </a:lnTo>
                  <a:lnTo>
                    <a:pt x="121" y="141"/>
                  </a:lnTo>
                  <a:close/>
                  <a:moveTo>
                    <a:pt x="115" y="154"/>
                  </a:moveTo>
                  <a:lnTo>
                    <a:pt x="119" y="151"/>
                  </a:lnTo>
                  <a:lnTo>
                    <a:pt x="121" y="151"/>
                  </a:lnTo>
                  <a:lnTo>
                    <a:pt x="125" y="154"/>
                  </a:lnTo>
                  <a:lnTo>
                    <a:pt x="128" y="154"/>
                  </a:lnTo>
                  <a:lnTo>
                    <a:pt x="132" y="154"/>
                  </a:lnTo>
                  <a:lnTo>
                    <a:pt x="132" y="154"/>
                  </a:lnTo>
                  <a:lnTo>
                    <a:pt x="128" y="151"/>
                  </a:lnTo>
                  <a:lnTo>
                    <a:pt x="125" y="147"/>
                  </a:lnTo>
                  <a:lnTo>
                    <a:pt x="121" y="147"/>
                  </a:lnTo>
                  <a:lnTo>
                    <a:pt x="119" y="143"/>
                  </a:lnTo>
                  <a:lnTo>
                    <a:pt x="115" y="143"/>
                  </a:lnTo>
                  <a:lnTo>
                    <a:pt x="115" y="143"/>
                  </a:lnTo>
                  <a:lnTo>
                    <a:pt x="115" y="141"/>
                  </a:lnTo>
                  <a:lnTo>
                    <a:pt x="115" y="147"/>
                  </a:lnTo>
                  <a:lnTo>
                    <a:pt x="115" y="149"/>
                  </a:lnTo>
                  <a:lnTo>
                    <a:pt x="115" y="151"/>
                  </a:lnTo>
                  <a:lnTo>
                    <a:pt x="115" y="153"/>
                  </a:lnTo>
                  <a:lnTo>
                    <a:pt x="115" y="154"/>
                  </a:lnTo>
                  <a:lnTo>
                    <a:pt x="115" y="154"/>
                  </a:lnTo>
                  <a:lnTo>
                    <a:pt x="115" y="154"/>
                  </a:lnTo>
                  <a:lnTo>
                    <a:pt x="115" y="154"/>
                  </a:lnTo>
                  <a:close/>
                  <a:moveTo>
                    <a:pt x="96" y="183"/>
                  </a:moveTo>
                  <a:lnTo>
                    <a:pt x="95" y="185"/>
                  </a:lnTo>
                  <a:lnTo>
                    <a:pt x="95" y="185"/>
                  </a:lnTo>
                  <a:lnTo>
                    <a:pt x="91" y="177"/>
                  </a:lnTo>
                  <a:lnTo>
                    <a:pt x="95" y="173"/>
                  </a:lnTo>
                  <a:lnTo>
                    <a:pt x="95" y="168"/>
                  </a:lnTo>
                  <a:lnTo>
                    <a:pt x="95" y="164"/>
                  </a:lnTo>
                  <a:lnTo>
                    <a:pt x="95" y="158"/>
                  </a:lnTo>
                  <a:lnTo>
                    <a:pt x="91" y="158"/>
                  </a:lnTo>
                  <a:lnTo>
                    <a:pt x="89" y="158"/>
                  </a:lnTo>
                  <a:lnTo>
                    <a:pt x="91" y="154"/>
                  </a:lnTo>
                  <a:lnTo>
                    <a:pt x="95" y="154"/>
                  </a:lnTo>
                  <a:lnTo>
                    <a:pt x="96" y="158"/>
                  </a:lnTo>
                  <a:lnTo>
                    <a:pt x="98" y="158"/>
                  </a:lnTo>
                  <a:lnTo>
                    <a:pt x="98" y="160"/>
                  </a:lnTo>
                  <a:lnTo>
                    <a:pt x="100" y="160"/>
                  </a:lnTo>
                  <a:lnTo>
                    <a:pt x="104" y="160"/>
                  </a:lnTo>
                  <a:lnTo>
                    <a:pt x="108" y="160"/>
                  </a:lnTo>
                  <a:lnTo>
                    <a:pt x="110" y="164"/>
                  </a:lnTo>
                  <a:lnTo>
                    <a:pt x="112" y="164"/>
                  </a:lnTo>
                  <a:lnTo>
                    <a:pt x="115" y="160"/>
                  </a:lnTo>
                  <a:lnTo>
                    <a:pt x="115" y="164"/>
                  </a:lnTo>
                  <a:lnTo>
                    <a:pt x="115" y="168"/>
                  </a:lnTo>
                  <a:lnTo>
                    <a:pt x="113" y="168"/>
                  </a:lnTo>
                  <a:lnTo>
                    <a:pt x="112" y="171"/>
                  </a:lnTo>
                  <a:lnTo>
                    <a:pt x="108" y="175"/>
                  </a:lnTo>
                  <a:lnTo>
                    <a:pt x="106" y="179"/>
                  </a:lnTo>
                  <a:lnTo>
                    <a:pt x="104" y="179"/>
                  </a:lnTo>
                  <a:lnTo>
                    <a:pt x="102" y="179"/>
                  </a:lnTo>
                  <a:lnTo>
                    <a:pt x="100" y="179"/>
                  </a:lnTo>
                  <a:lnTo>
                    <a:pt x="96" y="183"/>
                  </a:lnTo>
                  <a:lnTo>
                    <a:pt x="96" y="183"/>
                  </a:lnTo>
                  <a:lnTo>
                    <a:pt x="96" y="183"/>
                  </a:lnTo>
                  <a:lnTo>
                    <a:pt x="96" y="183"/>
                  </a:lnTo>
                  <a:close/>
                  <a:moveTo>
                    <a:pt x="106" y="179"/>
                  </a:moveTo>
                  <a:lnTo>
                    <a:pt x="102" y="181"/>
                  </a:lnTo>
                  <a:lnTo>
                    <a:pt x="102" y="185"/>
                  </a:lnTo>
                  <a:lnTo>
                    <a:pt x="104" y="185"/>
                  </a:lnTo>
                  <a:lnTo>
                    <a:pt x="108" y="183"/>
                  </a:lnTo>
                  <a:lnTo>
                    <a:pt x="108" y="181"/>
                  </a:lnTo>
                  <a:lnTo>
                    <a:pt x="106" y="179"/>
                  </a:lnTo>
                  <a:lnTo>
                    <a:pt x="106" y="179"/>
                  </a:lnTo>
                  <a:lnTo>
                    <a:pt x="106" y="179"/>
                  </a:lnTo>
                  <a:lnTo>
                    <a:pt x="106" y="179"/>
                  </a:lnTo>
                  <a:close/>
                  <a:moveTo>
                    <a:pt x="138" y="179"/>
                  </a:moveTo>
                  <a:lnTo>
                    <a:pt x="138" y="183"/>
                  </a:lnTo>
                  <a:lnTo>
                    <a:pt x="136" y="181"/>
                  </a:lnTo>
                  <a:lnTo>
                    <a:pt x="138" y="179"/>
                  </a:lnTo>
                  <a:lnTo>
                    <a:pt x="138" y="179"/>
                  </a:lnTo>
                  <a:lnTo>
                    <a:pt x="138" y="179"/>
                  </a:lnTo>
                  <a:lnTo>
                    <a:pt x="138" y="179"/>
                  </a:lnTo>
                  <a:close/>
                  <a:moveTo>
                    <a:pt x="121" y="203"/>
                  </a:moveTo>
                  <a:lnTo>
                    <a:pt x="125" y="200"/>
                  </a:lnTo>
                  <a:lnTo>
                    <a:pt x="125" y="192"/>
                  </a:lnTo>
                  <a:lnTo>
                    <a:pt x="130" y="185"/>
                  </a:lnTo>
                  <a:lnTo>
                    <a:pt x="130" y="183"/>
                  </a:lnTo>
                  <a:lnTo>
                    <a:pt x="130" y="179"/>
                  </a:lnTo>
                  <a:lnTo>
                    <a:pt x="132" y="177"/>
                  </a:lnTo>
                  <a:lnTo>
                    <a:pt x="132" y="169"/>
                  </a:lnTo>
                  <a:lnTo>
                    <a:pt x="128" y="171"/>
                  </a:lnTo>
                  <a:lnTo>
                    <a:pt x="128" y="177"/>
                  </a:lnTo>
                  <a:lnTo>
                    <a:pt x="125" y="183"/>
                  </a:lnTo>
                  <a:lnTo>
                    <a:pt x="125" y="188"/>
                  </a:lnTo>
                  <a:lnTo>
                    <a:pt x="125" y="194"/>
                  </a:lnTo>
                  <a:lnTo>
                    <a:pt x="121" y="198"/>
                  </a:lnTo>
                  <a:lnTo>
                    <a:pt x="121" y="200"/>
                  </a:lnTo>
                  <a:lnTo>
                    <a:pt x="121" y="203"/>
                  </a:lnTo>
                  <a:lnTo>
                    <a:pt x="121" y="203"/>
                  </a:lnTo>
                  <a:lnTo>
                    <a:pt x="121" y="203"/>
                  </a:lnTo>
                  <a:lnTo>
                    <a:pt x="121" y="203"/>
                  </a:lnTo>
                  <a:close/>
                  <a:moveTo>
                    <a:pt x="115" y="203"/>
                  </a:moveTo>
                  <a:lnTo>
                    <a:pt x="115" y="194"/>
                  </a:lnTo>
                  <a:lnTo>
                    <a:pt x="119" y="185"/>
                  </a:lnTo>
                  <a:lnTo>
                    <a:pt x="121" y="181"/>
                  </a:lnTo>
                  <a:lnTo>
                    <a:pt x="121" y="177"/>
                  </a:lnTo>
                  <a:lnTo>
                    <a:pt x="121" y="175"/>
                  </a:lnTo>
                  <a:lnTo>
                    <a:pt x="119" y="175"/>
                  </a:lnTo>
                  <a:lnTo>
                    <a:pt x="115" y="175"/>
                  </a:lnTo>
                  <a:lnTo>
                    <a:pt x="113" y="177"/>
                  </a:lnTo>
                  <a:lnTo>
                    <a:pt x="113" y="181"/>
                  </a:lnTo>
                  <a:lnTo>
                    <a:pt x="110" y="185"/>
                  </a:lnTo>
                  <a:lnTo>
                    <a:pt x="112" y="190"/>
                  </a:lnTo>
                  <a:lnTo>
                    <a:pt x="110" y="194"/>
                  </a:lnTo>
                  <a:lnTo>
                    <a:pt x="102" y="194"/>
                  </a:lnTo>
                  <a:lnTo>
                    <a:pt x="102" y="198"/>
                  </a:lnTo>
                  <a:lnTo>
                    <a:pt x="102" y="203"/>
                  </a:lnTo>
                  <a:lnTo>
                    <a:pt x="106" y="203"/>
                  </a:lnTo>
                  <a:lnTo>
                    <a:pt x="110" y="205"/>
                  </a:lnTo>
                  <a:lnTo>
                    <a:pt x="113" y="205"/>
                  </a:lnTo>
                  <a:lnTo>
                    <a:pt x="113" y="211"/>
                  </a:lnTo>
                  <a:lnTo>
                    <a:pt x="115" y="211"/>
                  </a:lnTo>
                  <a:lnTo>
                    <a:pt x="121" y="209"/>
                  </a:lnTo>
                  <a:lnTo>
                    <a:pt x="121" y="205"/>
                  </a:lnTo>
                  <a:lnTo>
                    <a:pt x="115" y="203"/>
                  </a:lnTo>
                  <a:lnTo>
                    <a:pt x="115" y="203"/>
                  </a:lnTo>
                  <a:lnTo>
                    <a:pt x="115" y="203"/>
                  </a:lnTo>
                  <a:lnTo>
                    <a:pt x="115" y="203"/>
                  </a:lnTo>
                  <a:close/>
                  <a:moveTo>
                    <a:pt x="127" y="207"/>
                  </a:moveTo>
                  <a:lnTo>
                    <a:pt x="127" y="209"/>
                  </a:lnTo>
                  <a:lnTo>
                    <a:pt x="127" y="211"/>
                  </a:lnTo>
                  <a:lnTo>
                    <a:pt x="125" y="213"/>
                  </a:lnTo>
                  <a:lnTo>
                    <a:pt x="121" y="211"/>
                  </a:lnTo>
                  <a:lnTo>
                    <a:pt x="125" y="207"/>
                  </a:lnTo>
                  <a:lnTo>
                    <a:pt x="127" y="207"/>
                  </a:lnTo>
                  <a:lnTo>
                    <a:pt x="127" y="207"/>
                  </a:lnTo>
                  <a:lnTo>
                    <a:pt x="127" y="207"/>
                  </a:lnTo>
                  <a:lnTo>
                    <a:pt x="127" y="207"/>
                  </a:lnTo>
                  <a:close/>
                  <a:moveTo>
                    <a:pt x="138" y="190"/>
                  </a:moveTo>
                  <a:lnTo>
                    <a:pt x="140" y="190"/>
                  </a:lnTo>
                  <a:lnTo>
                    <a:pt x="142" y="194"/>
                  </a:lnTo>
                  <a:lnTo>
                    <a:pt x="144" y="198"/>
                  </a:lnTo>
                  <a:lnTo>
                    <a:pt x="142" y="198"/>
                  </a:lnTo>
                  <a:lnTo>
                    <a:pt x="136" y="203"/>
                  </a:lnTo>
                  <a:lnTo>
                    <a:pt x="130" y="203"/>
                  </a:lnTo>
                  <a:lnTo>
                    <a:pt x="130" y="200"/>
                  </a:lnTo>
                  <a:lnTo>
                    <a:pt x="128" y="198"/>
                  </a:lnTo>
                  <a:lnTo>
                    <a:pt x="130" y="194"/>
                  </a:lnTo>
                  <a:lnTo>
                    <a:pt x="138" y="190"/>
                  </a:lnTo>
                  <a:lnTo>
                    <a:pt x="138" y="190"/>
                  </a:lnTo>
                  <a:lnTo>
                    <a:pt x="138" y="190"/>
                  </a:lnTo>
                  <a:lnTo>
                    <a:pt x="138" y="190"/>
                  </a:lnTo>
                  <a:close/>
                  <a:moveTo>
                    <a:pt x="155" y="192"/>
                  </a:moveTo>
                  <a:lnTo>
                    <a:pt x="157" y="194"/>
                  </a:lnTo>
                  <a:lnTo>
                    <a:pt x="157" y="198"/>
                  </a:lnTo>
                  <a:lnTo>
                    <a:pt x="155" y="194"/>
                  </a:lnTo>
                  <a:lnTo>
                    <a:pt x="155" y="192"/>
                  </a:lnTo>
                  <a:lnTo>
                    <a:pt x="155" y="192"/>
                  </a:lnTo>
                  <a:lnTo>
                    <a:pt x="155" y="192"/>
                  </a:lnTo>
                  <a:lnTo>
                    <a:pt x="155" y="192"/>
                  </a:lnTo>
                  <a:close/>
                  <a:moveTo>
                    <a:pt x="145" y="205"/>
                  </a:moveTo>
                  <a:lnTo>
                    <a:pt x="149" y="209"/>
                  </a:lnTo>
                  <a:lnTo>
                    <a:pt x="145" y="211"/>
                  </a:lnTo>
                  <a:lnTo>
                    <a:pt x="145" y="209"/>
                  </a:lnTo>
                  <a:lnTo>
                    <a:pt x="144" y="207"/>
                  </a:lnTo>
                  <a:lnTo>
                    <a:pt x="145" y="205"/>
                  </a:lnTo>
                  <a:lnTo>
                    <a:pt x="145" y="205"/>
                  </a:lnTo>
                  <a:lnTo>
                    <a:pt x="145" y="205"/>
                  </a:lnTo>
                  <a:lnTo>
                    <a:pt x="145" y="205"/>
                  </a:lnTo>
                  <a:close/>
                  <a:moveTo>
                    <a:pt x="142" y="160"/>
                  </a:moveTo>
                  <a:lnTo>
                    <a:pt x="142" y="164"/>
                  </a:lnTo>
                  <a:lnTo>
                    <a:pt x="138" y="164"/>
                  </a:lnTo>
                  <a:lnTo>
                    <a:pt x="136" y="164"/>
                  </a:lnTo>
                  <a:lnTo>
                    <a:pt x="138" y="160"/>
                  </a:lnTo>
                  <a:lnTo>
                    <a:pt x="142" y="160"/>
                  </a:lnTo>
                  <a:lnTo>
                    <a:pt x="142" y="160"/>
                  </a:lnTo>
                  <a:lnTo>
                    <a:pt x="142" y="160"/>
                  </a:lnTo>
                  <a:lnTo>
                    <a:pt x="142" y="160"/>
                  </a:lnTo>
                  <a:close/>
                  <a:moveTo>
                    <a:pt x="151" y="168"/>
                  </a:moveTo>
                  <a:lnTo>
                    <a:pt x="151" y="168"/>
                  </a:lnTo>
                  <a:lnTo>
                    <a:pt x="155" y="171"/>
                  </a:lnTo>
                  <a:lnTo>
                    <a:pt x="159" y="171"/>
                  </a:lnTo>
                  <a:lnTo>
                    <a:pt x="160" y="171"/>
                  </a:lnTo>
                  <a:lnTo>
                    <a:pt x="160" y="169"/>
                  </a:lnTo>
                  <a:lnTo>
                    <a:pt x="164" y="171"/>
                  </a:lnTo>
                  <a:lnTo>
                    <a:pt x="160" y="169"/>
                  </a:lnTo>
                  <a:lnTo>
                    <a:pt x="160" y="168"/>
                  </a:lnTo>
                  <a:lnTo>
                    <a:pt x="157" y="164"/>
                  </a:lnTo>
                  <a:lnTo>
                    <a:pt x="159" y="158"/>
                  </a:lnTo>
                  <a:lnTo>
                    <a:pt x="157" y="153"/>
                  </a:lnTo>
                  <a:lnTo>
                    <a:pt x="157" y="151"/>
                  </a:lnTo>
                  <a:lnTo>
                    <a:pt x="157" y="149"/>
                  </a:lnTo>
                  <a:lnTo>
                    <a:pt x="155" y="145"/>
                  </a:lnTo>
                  <a:lnTo>
                    <a:pt x="151" y="141"/>
                  </a:lnTo>
                  <a:lnTo>
                    <a:pt x="151" y="141"/>
                  </a:lnTo>
                  <a:lnTo>
                    <a:pt x="149" y="141"/>
                  </a:lnTo>
                  <a:lnTo>
                    <a:pt x="145" y="141"/>
                  </a:lnTo>
                  <a:lnTo>
                    <a:pt x="145" y="141"/>
                  </a:lnTo>
                  <a:lnTo>
                    <a:pt x="144" y="143"/>
                  </a:lnTo>
                  <a:lnTo>
                    <a:pt x="140" y="143"/>
                  </a:lnTo>
                  <a:lnTo>
                    <a:pt x="136" y="143"/>
                  </a:lnTo>
                  <a:lnTo>
                    <a:pt x="134" y="141"/>
                  </a:lnTo>
                  <a:lnTo>
                    <a:pt x="134" y="145"/>
                  </a:lnTo>
                  <a:lnTo>
                    <a:pt x="138" y="151"/>
                  </a:lnTo>
                  <a:lnTo>
                    <a:pt x="144" y="154"/>
                  </a:lnTo>
                  <a:lnTo>
                    <a:pt x="145" y="158"/>
                  </a:lnTo>
                  <a:lnTo>
                    <a:pt x="149" y="160"/>
                  </a:lnTo>
                  <a:lnTo>
                    <a:pt x="149" y="164"/>
                  </a:lnTo>
                  <a:lnTo>
                    <a:pt x="145" y="164"/>
                  </a:lnTo>
                  <a:lnTo>
                    <a:pt x="145" y="164"/>
                  </a:lnTo>
                  <a:lnTo>
                    <a:pt x="149" y="164"/>
                  </a:lnTo>
                  <a:lnTo>
                    <a:pt x="149" y="164"/>
                  </a:lnTo>
                  <a:lnTo>
                    <a:pt x="151" y="168"/>
                  </a:lnTo>
                  <a:lnTo>
                    <a:pt x="151" y="168"/>
                  </a:lnTo>
                  <a:lnTo>
                    <a:pt x="151" y="168"/>
                  </a:lnTo>
                  <a:lnTo>
                    <a:pt x="151" y="168"/>
                  </a:lnTo>
                  <a:close/>
                  <a:moveTo>
                    <a:pt x="145" y="168"/>
                  </a:moveTo>
                  <a:lnTo>
                    <a:pt x="144" y="168"/>
                  </a:lnTo>
                  <a:lnTo>
                    <a:pt x="140" y="168"/>
                  </a:lnTo>
                  <a:lnTo>
                    <a:pt x="136" y="168"/>
                  </a:lnTo>
                  <a:lnTo>
                    <a:pt x="138" y="169"/>
                  </a:lnTo>
                  <a:lnTo>
                    <a:pt x="138" y="173"/>
                  </a:lnTo>
                  <a:lnTo>
                    <a:pt x="142" y="177"/>
                  </a:lnTo>
                  <a:lnTo>
                    <a:pt x="144" y="175"/>
                  </a:lnTo>
                  <a:lnTo>
                    <a:pt x="145" y="177"/>
                  </a:lnTo>
                  <a:lnTo>
                    <a:pt x="145" y="181"/>
                  </a:lnTo>
                  <a:lnTo>
                    <a:pt x="145" y="185"/>
                  </a:lnTo>
                  <a:lnTo>
                    <a:pt x="145" y="190"/>
                  </a:lnTo>
                  <a:lnTo>
                    <a:pt x="151" y="194"/>
                  </a:lnTo>
                  <a:lnTo>
                    <a:pt x="151" y="188"/>
                  </a:lnTo>
                  <a:lnTo>
                    <a:pt x="151" y="190"/>
                  </a:lnTo>
                  <a:lnTo>
                    <a:pt x="155" y="190"/>
                  </a:lnTo>
                  <a:lnTo>
                    <a:pt x="155" y="185"/>
                  </a:lnTo>
                  <a:lnTo>
                    <a:pt x="151" y="181"/>
                  </a:lnTo>
                  <a:lnTo>
                    <a:pt x="151" y="179"/>
                  </a:lnTo>
                  <a:lnTo>
                    <a:pt x="149" y="173"/>
                  </a:lnTo>
                  <a:lnTo>
                    <a:pt x="145" y="168"/>
                  </a:lnTo>
                  <a:lnTo>
                    <a:pt x="145" y="168"/>
                  </a:lnTo>
                  <a:lnTo>
                    <a:pt x="145" y="168"/>
                  </a:lnTo>
                  <a:lnTo>
                    <a:pt x="145" y="168"/>
                  </a:lnTo>
                  <a:lnTo>
                    <a:pt x="145" y="168"/>
                  </a:lnTo>
                  <a:close/>
                  <a:moveTo>
                    <a:pt x="164" y="177"/>
                  </a:moveTo>
                  <a:lnTo>
                    <a:pt x="166" y="175"/>
                  </a:lnTo>
                  <a:lnTo>
                    <a:pt x="164" y="175"/>
                  </a:lnTo>
                  <a:lnTo>
                    <a:pt x="164" y="175"/>
                  </a:lnTo>
                  <a:lnTo>
                    <a:pt x="164" y="177"/>
                  </a:lnTo>
                  <a:lnTo>
                    <a:pt x="164" y="177"/>
                  </a:lnTo>
                  <a:lnTo>
                    <a:pt x="164" y="177"/>
                  </a:lnTo>
                  <a:lnTo>
                    <a:pt x="164" y="177"/>
                  </a:lnTo>
                  <a:close/>
                  <a:moveTo>
                    <a:pt x="164" y="179"/>
                  </a:moveTo>
                  <a:lnTo>
                    <a:pt x="164" y="179"/>
                  </a:lnTo>
                  <a:lnTo>
                    <a:pt x="164" y="181"/>
                  </a:lnTo>
                  <a:lnTo>
                    <a:pt x="164" y="181"/>
                  </a:lnTo>
                  <a:lnTo>
                    <a:pt x="164" y="179"/>
                  </a:lnTo>
                  <a:lnTo>
                    <a:pt x="164" y="179"/>
                  </a:lnTo>
                  <a:lnTo>
                    <a:pt x="164" y="179"/>
                  </a:lnTo>
                  <a:lnTo>
                    <a:pt x="164" y="179"/>
                  </a:lnTo>
                  <a:close/>
                  <a:moveTo>
                    <a:pt x="164" y="198"/>
                  </a:moveTo>
                  <a:lnTo>
                    <a:pt x="166" y="194"/>
                  </a:lnTo>
                  <a:lnTo>
                    <a:pt x="164" y="192"/>
                  </a:lnTo>
                  <a:lnTo>
                    <a:pt x="164" y="188"/>
                  </a:lnTo>
                  <a:lnTo>
                    <a:pt x="164" y="185"/>
                  </a:lnTo>
                  <a:lnTo>
                    <a:pt x="164" y="185"/>
                  </a:lnTo>
                  <a:lnTo>
                    <a:pt x="160" y="185"/>
                  </a:lnTo>
                  <a:lnTo>
                    <a:pt x="160" y="190"/>
                  </a:lnTo>
                  <a:lnTo>
                    <a:pt x="164" y="194"/>
                  </a:lnTo>
                  <a:lnTo>
                    <a:pt x="164" y="198"/>
                  </a:lnTo>
                  <a:lnTo>
                    <a:pt x="164" y="198"/>
                  </a:lnTo>
                  <a:lnTo>
                    <a:pt x="164" y="198"/>
                  </a:lnTo>
                  <a:lnTo>
                    <a:pt x="164" y="198"/>
                  </a:lnTo>
                  <a:lnTo>
                    <a:pt x="164" y="198"/>
                  </a:lnTo>
                  <a:lnTo>
                    <a:pt x="164" y="198"/>
                  </a:lnTo>
                  <a:close/>
                  <a:moveTo>
                    <a:pt x="168" y="198"/>
                  </a:moveTo>
                  <a:lnTo>
                    <a:pt x="168" y="200"/>
                  </a:lnTo>
                  <a:lnTo>
                    <a:pt x="170" y="203"/>
                  </a:lnTo>
                  <a:lnTo>
                    <a:pt x="170" y="200"/>
                  </a:lnTo>
                  <a:lnTo>
                    <a:pt x="168" y="198"/>
                  </a:lnTo>
                  <a:lnTo>
                    <a:pt x="168" y="198"/>
                  </a:lnTo>
                  <a:lnTo>
                    <a:pt x="168" y="198"/>
                  </a:lnTo>
                  <a:lnTo>
                    <a:pt x="168" y="198"/>
                  </a:lnTo>
                  <a:close/>
                  <a:moveTo>
                    <a:pt x="172" y="192"/>
                  </a:moveTo>
                  <a:lnTo>
                    <a:pt x="170" y="194"/>
                  </a:lnTo>
                  <a:lnTo>
                    <a:pt x="170" y="198"/>
                  </a:lnTo>
                  <a:lnTo>
                    <a:pt x="172" y="198"/>
                  </a:lnTo>
                  <a:lnTo>
                    <a:pt x="176" y="198"/>
                  </a:lnTo>
                  <a:lnTo>
                    <a:pt x="174" y="194"/>
                  </a:lnTo>
                  <a:lnTo>
                    <a:pt x="172" y="192"/>
                  </a:lnTo>
                  <a:lnTo>
                    <a:pt x="172" y="192"/>
                  </a:lnTo>
                  <a:lnTo>
                    <a:pt x="172" y="192"/>
                  </a:lnTo>
                  <a:lnTo>
                    <a:pt x="172" y="192"/>
                  </a:lnTo>
                  <a:close/>
                  <a:moveTo>
                    <a:pt x="98" y="254"/>
                  </a:moveTo>
                  <a:lnTo>
                    <a:pt x="95" y="252"/>
                  </a:lnTo>
                  <a:lnTo>
                    <a:pt x="96" y="247"/>
                  </a:lnTo>
                  <a:lnTo>
                    <a:pt x="98" y="241"/>
                  </a:lnTo>
                  <a:lnTo>
                    <a:pt x="96" y="239"/>
                  </a:lnTo>
                  <a:lnTo>
                    <a:pt x="100" y="234"/>
                  </a:lnTo>
                  <a:lnTo>
                    <a:pt x="104" y="234"/>
                  </a:lnTo>
                  <a:lnTo>
                    <a:pt x="108" y="230"/>
                  </a:lnTo>
                  <a:lnTo>
                    <a:pt x="112" y="234"/>
                  </a:lnTo>
                  <a:lnTo>
                    <a:pt x="115" y="230"/>
                  </a:lnTo>
                  <a:lnTo>
                    <a:pt x="115" y="228"/>
                  </a:lnTo>
                  <a:lnTo>
                    <a:pt x="115" y="224"/>
                  </a:lnTo>
                  <a:lnTo>
                    <a:pt x="121" y="224"/>
                  </a:lnTo>
                  <a:lnTo>
                    <a:pt x="121" y="220"/>
                  </a:lnTo>
                  <a:lnTo>
                    <a:pt x="125" y="220"/>
                  </a:lnTo>
                  <a:lnTo>
                    <a:pt x="130" y="224"/>
                  </a:lnTo>
                  <a:lnTo>
                    <a:pt x="130" y="230"/>
                  </a:lnTo>
                  <a:lnTo>
                    <a:pt x="127" y="237"/>
                  </a:lnTo>
                  <a:lnTo>
                    <a:pt x="130" y="234"/>
                  </a:lnTo>
                  <a:lnTo>
                    <a:pt x="134" y="230"/>
                  </a:lnTo>
                  <a:lnTo>
                    <a:pt x="138" y="230"/>
                  </a:lnTo>
                  <a:lnTo>
                    <a:pt x="140" y="224"/>
                  </a:lnTo>
                  <a:lnTo>
                    <a:pt x="144" y="222"/>
                  </a:lnTo>
                  <a:lnTo>
                    <a:pt x="145" y="224"/>
                  </a:lnTo>
                  <a:lnTo>
                    <a:pt x="149" y="224"/>
                  </a:lnTo>
                  <a:lnTo>
                    <a:pt x="149" y="222"/>
                  </a:lnTo>
                  <a:lnTo>
                    <a:pt x="145" y="220"/>
                  </a:lnTo>
                  <a:lnTo>
                    <a:pt x="149" y="213"/>
                  </a:lnTo>
                  <a:lnTo>
                    <a:pt x="151" y="215"/>
                  </a:lnTo>
                  <a:lnTo>
                    <a:pt x="155" y="217"/>
                  </a:lnTo>
                  <a:lnTo>
                    <a:pt x="155" y="215"/>
                  </a:lnTo>
                  <a:lnTo>
                    <a:pt x="155" y="209"/>
                  </a:lnTo>
                  <a:lnTo>
                    <a:pt x="157" y="209"/>
                  </a:lnTo>
                  <a:lnTo>
                    <a:pt x="159" y="213"/>
                  </a:lnTo>
                  <a:lnTo>
                    <a:pt x="160" y="209"/>
                  </a:lnTo>
                  <a:lnTo>
                    <a:pt x="159" y="203"/>
                  </a:lnTo>
                  <a:lnTo>
                    <a:pt x="159" y="198"/>
                  </a:lnTo>
                  <a:lnTo>
                    <a:pt x="160" y="198"/>
                  </a:lnTo>
                  <a:lnTo>
                    <a:pt x="164" y="198"/>
                  </a:lnTo>
                  <a:lnTo>
                    <a:pt x="164" y="203"/>
                  </a:lnTo>
                  <a:lnTo>
                    <a:pt x="168" y="205"/>
                  </a:lnTo>
                  <a:lnTo>
                    <a:pt x="172" y="209"/>
                  </a:lnTo>
                  <a:lnTo>
                    <a:pt x="176" y="207"/>
                  </a:lnTo>
                  <a:lnTo>
                    <a:pt x="176" y="211"/>
                  </a:lnTo>
                  <a:lnTo>
                    <a:pt x="176" y="215"/>
                  </a:lnTo>
                  <a:lnTo>
                    <a:pt x="176" y="218"/>
                  </a:lnTo>
                  <a:lnTo>
                    <a:pt x="176" y="218"/>
                  </a:lnTo>
                  <a:lnTo>
                    <a:pt x="174" y="220"/>
                  </a:lnTo>
                  <a:lnTo>
                    <a:pt x="176" y="224"/>
                  </a:lnTo>
                  <a:lnTo>
                    <a:pt x="176" y="224"/>
                  </a:lnTo>
                  <a:lnTo>
                    <a:pt x="176" y="224"/>
                  </a:lnTo>
                  <a:lnTo>
                    <a:pt x="176" y="230"/>
                  </a:lnTo>
                  <a:lnTo>
                    <a:pt x="179" y="228"/>
                  </a:lnTo>
                  <a:lnTo>
                    <a:pt x="179" y="234"/>
                  </a:lnTo>
                  <a:lnTo>
                    <a:pt x="179" y="237"/>
                  </a:lnTo>
                  <a:lnTo>
                    <a:pt x="183" y="239"/>
                  </a:lnTo>
                  <a:lnTo>
                    <a:pt x="185" y="243"/>
                  </a:lnTo>
                  <a:lnTo>
                    <a:pt x="185" y="249"/>
                  </a:lnTo>
                  <a:lnTo>
                    <a:pt x="183" y="254"/>
                  </a:lnTo>
                  <a:lnTo>
                    <a:pt x="181" y="254"/>
                  </a:lnTo>
                  <a:lnTo>
                    <a:pt x="181" y="254"/>
                  </a:lnTo>
                  <a:lnTo>
                    <a:pt x="181" y="254"/>
                  </a:lnTo>
                  <a:lnTo>
                    <a:pt x="176" y="254"/>
                  </a:lnTo>
                  <a:lnTo>
                    <a:pt x="176" y="254"/>
                  </a:lnTo>
                  <a:lnTo>
                    <a:pt x="179" y="262"/>
                  </a:lnTo>
                  <a:lnTo>
                    <a:pt x="179" y="267"/>
                  </a:lnTo>
                  <a:lnTo>
                    <a:pt x="176" y="267"/>
                  </a:lnTo>
                  <a:lnTo>
                    <a:pt x="176" y="267"/>
                  </a:lnTo>
                  <a:lnTo>
                    <a:pt x="176" y="262"/>
                  </a:lnTo>
                  <a:lnTo>
                    <a:pt x="176" y="258"/>
                  </a:lnTo>
                  <a:lnTo>
                    <a:pt x="174" y="254"/>
                  </a:lnTo>
                  <a:lnTo>
                    <a:pt x="172" y="250"/>
                  </a:lnTo>
                  <a:lnTo>
                    <a:pt x="170" y="247"/>
                  </a:lnTo>
                  <a:lnTo>
                    <a:pt x="168" y="249"/>
                  </a:lnTo>
                  <a:lnTo>
                    <a:pt x="164" y="254"/>
                  </a:lnTo>
                  <a:lnTo>
                    <a:pt x="164" y="260"/>
                  </a:lnTo>
                  <a:lnTo>
                    <a:pt x="164" y="262"/>
                  </a:lnTo>
                  <a:lnTo>
                    <a:pt x="168" y="267"/>
                  </a:lnTo>
                  <a:lnTo>
                    <a:pt x="168" y="267"/>
                  </a:lnTo>
                  <a:lnTo>
                    <a:pt x="168" y="273"/>
                  </a:lnTo>
                  <a:lnTo>
                    <a:pt x="164" y="279"/>
                  </a:lnTo>
                  <a:lnTo>
                    <a:pt x="160" y="281"/>
                  </a:lnTo>
                  <a:lnTo>
                    <a:pt x="159" y="281"/>
                  </a:lnTo>
                  <a:lnTo>
                    <a:pt x="159" y="277"/>
                  </a:lnTo>
                  <a:lnTo>
                    <a:pt x="159" y="273"/>
                  </a:lnTo>
                  <a:lnTo>
                    <a:pt x="159" y="273"/>
                  </a:lnTo>
                  <a:lnTo>
                    <a:pt x="157" y="273"/>
                  </a:lnTo>
                  <a:lnTo>
                    <a:pt x="155" y="275"/>
                  </a:lnTo>
                  <a:lnTo>
                    <a:pt x="155" y="277"/>
                  </a:lnTo>
                  <a:lnTo>
                    <a:pt x="151" y="277"/>
                  </a:lnTo>
                  <a:lnTo>
                    <a:pt x="145" y="273"/>
                  </a:lnTo>
                  <a:lnTo>
                    <a:pt x="142" y="273"/>
                  </a:lnTo>
                  <a:lnTo>
                    <a:pt x="138" y="269"/>
                  </a:lnTo>
                  <a:lnTo>
                    <a:pt x="138" y="267"/>
                  </a:lnTo>
                  <a:lnTo>
                    <a:pt x="136" y="264"/>
                  </a:lnTo>
                  <a:lnTo>
                    <a:pt x="136" y="262"/>
                  </a:lnTo>
                  <a:lnTo>
                    <a:pt x="136" y="258"/>
                  </a:lnTo>
                  <a:lnTo>
                    <a:pt x="134" y="254"/>
                  </a:lnTo>
                  <a:lnTo>
                    <a:pt x="136" y="254"/>
                  </a:lnTo>
                  <a:lnTo>
                    <a:pt x="136" y="250"/>
                  </a:lnTo>
                  <a:lnTo>
                    <a:pt x="138" y="250"/>
                  </a:lnTo>
                  <a:lnTo>
                    <a:pt x="140" y="252"/>
                  </a:lnTo>
                  <a:lnTo>
                    <a:pt x="138" y="249"/>
                  </a:lnTo>
                  <a:lnTo>
                    <a:pt x="136" y="245"/>
                  </a:lnTo>
                  <a:lnTo>
                    <a:pt x="132" y="243"/>
                  </a:lnTo>
                  <a:lnTo>
                    <a:pt x="130" y="241"/>
                  </a:lnTo>
                  <a:lnTo>
                    <a:pt x="127" y="239"/>
                  </a:lnTo>
                  <a:lnTo>
                    <a:pt x="125" y="239"/>
                  </a:lnTo>
                  <a:lnTo>
                    <a:pt x="125" y="239"/>
                  </a:lnTo>
                  <a:lnTo>
                    <a:pt x="125" y="241"/>
                  </a:lnTo>
                  <a:lnTo>
                    <a:pt x="125" y="243"/>
                  </a:lnTo>
                  <a:lnTo>
                    <a:pt x="125" y="247"/>
                  </a:lnTo>
                  <a:lnTo>
                    <a:pt x="125" y="247"/>
                  </a:lnTo>
                  <a:lnTo>
                    <a:pt x="121" y="245"/>
                  </a:lnTo>
                  <a:lnTo>
                    <a:pt x="119" y="245"/>
                  </a:lnTo>
                  <a:lnTo>
                    <a:pt x="121" y="241"/>
                  </a:lnTo>
                  <a:lnTo>
                    <a:pt x="115" y="241"/>
                  </a:lnTo>
                  <a:lnTo>
                    <a:pt x="115" y="243"/>
                  </a:lnTo>
                  <a:lnTo>
                    <a:pt x="115" y="247"/>
                  </a:lnTo>
                  <a:lnTo>
                    <a:pt x="115" y="245"/>
                  </a:lnTo>
                  <a:lnTo>
                    <a:pt x="113" y="245"/>
                  </a:lnTo>
                  <a:lnTo>
                    <a:pt x="112" y="245"/>
                  </a:lnTo>
                  <a:lnTo>
                    <a:pt x="112" y="241"/>
                  </a:lnTo>
                  <a:lnTo>
                    <a:pt x="110" y="237"/>
                  </a:lnTo>
                  <a:lnTo>
                    <a:pt x="108" y="239"/>
                  </a:lnTo>
                  <a:lnTo>
                    <a:pt x="106" y="243"/>
                  </a:lnTo>
                  <a:lnTo>
                    <a:pt x="102" y="247"/>
                  </a:lnTo>
                  <a:lnTo>
                    <a:pt x="100" y="254"/>
                  </a:lnTo>
                  <a:lnTo>
                    <a:pt x="98" y="254"/>
                  </a:lnTo>
                  <a:lnTo>
                    <a:pt x="98" y="254"/>
                  </a:lnTo>
                  <a:lnTo>
                    <a:pt x="98" y="254"/>
                  </a:lnTo>
                  <a:lnTo>
                    <a:pt x="98" y="254"/>
                  </a:lnTo>
                  <a:close/>
                  <a:moveTo>
                    <a:pt x="95" y="262"/>
                  </a:moveTo>
                  <a:lnTo>
                    <a:pt x="95" y="264"/>
                  </a:lnTo>
                  <a:lnTo>
                    <a:pt x="95" y="267"/>
                  </a:lnTo>
                  <a:lnTo>
                    <a:pt x="96" y="267"/>
                  </a:lnTo>
                  <a:lnTo>
                    <a:pt x="102" y="264"/>
                  </a:lnTo>
                  <a:lnTo>
                    <a:pt x="102" y="262"/>
                  </a:lnTo>
                  <a:lnTo>
                    <a:pt x="100" y="262"/>
                  </a:lnTo>
                  <a:lnTo>
                    <a:pt x="98" y="260"/>
                  </a:lnTo>
                  <a:lnTo>
                    <a:pt x="96" y="262"/>
                  </a:lnTo>
                  <a:lnTo>
                    <a:pt x="95" y="262"/>
                  </a:lnTo>
                  <a:lnTo>
                    <a:pt x="95" y="262"/>
                  </a:lnTo>
                  <a:lnTo>
                    <a:pt x="95" y="262"/>
                  </a:lnTo>
                  <a:lnTo>
                    <a:pt x="95" y="262"/>
                  </a:lnTo>
                  <a:close/>
                  <a:moveTo>
                    <a:pt x="51" y="154"/>
                  </a:moveTo>
                  <a:lnTo>
                    <a:pt x="49" y="151"/>
                  </a:lnTo>
                  <a:lnTo>
                    <a:pt x="48" y="149"/>
                  </a:lnTo>
                  <a:lnTo>
                    <a:pt x="49" y="147"/>
                  </a:lnTo>
                  <a:lnTo>
                    <a:pt x="51" y="147"/>
                  </a:lnTo>
                  <a:lnTo>
                    <a:pt x="55" y="151"/>
                  </a:lnTo>
                  <a:lnTo>
                    <a:pt x="57" y="151"/>
                  </a:lnTo>
                  <a:lnTo>
                    <a:pt x="57" y="153"/>
                  </a:lnTo>
                  <a:lnTo>
                    <a:pt x="57" y="154"/>
                  </a:lnTo>
                  <a:lnTo>
                    <a:pt x="55" y="154"/>
                  </a:lnTo>
                  <a:lnTo>
                    <a:pt x="51" y="154"/>
                  </a:lnTo>
                  <a:lnTo>
                    <a:pt x="51" y="154"/>
                  </a:lnTo>
                  <a:lnTo>
                    <a:pt x="51" y="154"/>
                  </a:lnTo>
                  <a:lnTo>
                    <a:pt x="51" y="154"/>
                  </a:lnTo>
                  <a:close/>
                  <a:moveTo>
                    <a:pt x="49" y="154"/>
                  </a:moveTo>
                  <a:lnTo>
                    <a:pt x="51" y="154"/>
                  </a:lnTo>
                  <a:lnTo>
                    <a:pt x="51" y="158"/>
                  </a:lnTo>
                  <a:lnTo>
                    <a:pt x="51" y="158"/>
                  </a:lnTo>
                  <a:lnTo>
                    <a:pt x="51" y="160"/>
                  </a:lnTo>
                  <a:lnTo>
                    <a:pt x="49" y="160"/>
                  </a:lnTo>
                  <a:lnTo>
                    <a:pt x="48" y="158"/>
                  </a:lnTo>
                  <a:lnTo>
                    <a:pt x="49" y="154"/>
                  </a:lnTo>
                  <a:lnTo>
                    <a:pt x="49" y="154"/>
                  </a:lnTo>
                  <a:lnTo>
                    <a:pt x="49" y="154"/>
                  </a:lnTo>
                  <a:lnTo>
                    <a:pt x="49" y="154"/>
                  </a:lnTo>
                  <a:close/>
                  <a:moveTo>
                    <a:pt x="51" y="183"/>
                  </a:moveTo>
                  <a:lnTo>
                    <a:pt x="51" y="183"/>
                  </a:lnTo>
                  <a:lnTo>
                    <a:pt x="51" y="181"/>
                  </a:lnTo>
                  <a:lnTo>
                    <a:pt x="55" y="183"/>
                  </a:lnTo>
                  <a:lnTo>
                    <a:pt x="57" y="185"/>
                  </a:lnTo>
                  <a:lnTo>
                    <a:pt x="55" y="185"/>
                  </a:lnTo>
                  <a:lnTo>
                    <a:pt x="51" y="185"/>
                  </a:lnTo>
                  <a:lnTo>
                    <a:pt x="49" y="185"/>
                  </a:lnTo>
                  <a:lnTo>
                    <a:pt x="51" y="183"/>
                  </a:lnTo>
                  <a:lnTo>
                    <a:pt x="51" y="183"/>
                  </a:lnTo>
                  <a:lnTo>
                    <a:pt x="51" y="183"/>
                  </a:lnTo>
                  <a:lnTo>
                    <a:pt x="51" y="183"/>
                  </a:lnTo>
                  <a:close/>
                  <a:moveTo>
                    <a:pt x="4" y="224"/>
                  </a:moveTo>
                  <a:lnTo>
                    <a:pt x="8" y="222"/>
                  </a:lnTo>
                  <a:lnTo>
                    <a:pt x="12" y="222"/>
                  </a:lnTo>
                  <a:lnTo>
                    <a:pt x="14" y="218"/>
                  </a:lnTo>
                  <a:lnTo>
                    <a:pt x="17" y="218"/>
                  </a:lnTo>
                  <a:lnTo>
                    <a:pt x="21" y="211"/>
                  </a:lnTo>
                  <a:lnTo>
                    <a:pt x="27" y="209"/>
                  </a:lnTo>
                  <a:lnTo>
                    <a:pt x="31" y="207"/>
                  </a:lnTo>
                  <a:lnTo>
                    <a:pt x="31" y="205"/>
                  </a:lnTo>
                  <a:lnTo>
                    <a:pt x="31" y="203"/>
                  </a:lnTo>
                  <a:lnTo>
                    <a:pt x="31" y="198"/>
                  </a:lnTo>
                  <a:lnTo>
                    <a:pt x="34" y="194"/>
                  </a:lnTo>
                  <a:lnTo>
                    <a:pt x="40" y="194"/>
                  </a:lnTo>
                  <a:lnTo>
                    <a:pt x="42" y="190"/>
                  </a:lnTo>
                  <a:lnTo>
                    <a:pt x="44" y="185"/>
                  </a:lnTo>
                  <a:lnTo>
                    <a:pt x="48" y="185"/>
                  </a:lnTo>
                  <a:lnTo>
                    <a:pt x="49" y="183"/>
                  </a:lnTo>
                  <a:lnTo>
                    <a:pt x="48" y="179"/>
                  </a:lnTo>
                  <a:lnTo>
                    <a:pt x="44" y="175"/>
                  </a:lnTo>
                  <a:lnTo>
                    <a:pt x="44" y="171"/>
                  </a:lnTo>
                  <a:lnTo>
                    <a:pt x="44" y="168"/>
                  </a:lnTo>
                  <a:lnTo>
                    <a:pt x="42" y="168"/>
                  </a:lnTo>
                  <a:lnTo>
                    <a:pt x="42" y="173"/>
                  </a:lnTo>
                  <a:lnTo>
                    <a:pt x="42" y="179"/>
                  </a:lnTo>
                  <a:lnTo>
                    <a:pt x="38" y="177"/>
                  </a:lnTo>
                  <a:lnTo>
                    <a:pt x="42" y="181"/>
                  </a:lnTo>
                  <a:lnTo>
                    <a:pt x="40" y="183"/>
                  </a:lnTo>
                  <a:lnTo>
                    <a:pt x="38" y="185"/>
                  </a:lnTo>
                  <a:lnTo>
                    <a:pt x="34" y="185"/>
                  </a:lnTo>
                  <a:lnTo>
                    <a:pt x="32" y="190"/>
                  </a:lnTo>
                  <a:lnTo>
                    <a:pt x="31" y="194"/>
                  </a:lnTo>
                  <a:lnTo>
                    <a:pt x="27" y="194"/>
                  </a:lnTo>
                  <a:lnTo>
                    <a:pt x="25" y="203"/>
                  </a:lnTo>
                  <a:lnTo>
                    <a:pt x="19" y="207"/>
                  </a:lnTo>
                  <a:lnTo>
                    <a:pt x="16" y="209"/>
                  </a:lnTo>
                  <a:lnTo>
                    <a:pt x="14" y="215"/>
                  </a:lnTo>
                  <a:lnTo>
                    <a:pt x="12" y="215"/>
                  </a:lnTo>
                  <a:lnTo>
                    <a:pt x="6" y="222"/>
                  </a:lnTo>
                  <a:lnTo>
                    <a:pt x="4" y="224"/>
                  </a:lnTo>
                  <a:lnTo>
                    <a:pt x="4" y="224"/>
                  </a:lnTo>
                  <a:lnTo>
                    <a:pt x="4" y="224"/>
                  </a:lnTo>
                  <a:lnTo>
                    <a:pt x="4" y="224"/>
                  </a:lnTo>
                  <a:lnTo>
                    <a:pt x="4" y="224"/>
                  </a:lnTo>
                  <a:close/>
                  <a:moveTo>
                    <a:pt x="6" y="228"/>
                  </a:moveTo>
                  <a:lnTo>
                    <a:pt x="4" y="230"/>
                  </a:lnTo>
                  <a:lnTo>
                    <a:pt x="6" y="230"/>
                  </a:lnTo>
                  <a:lnTo>
                    <a:pt x="6" y="228"/>
                  </a:lnTo>
                  <a:lnTo>
                    <a:pt x="6" y="228"/>
                  </a:lnTo>
                  <a:lnTo>
                    <a:pt x="6" y="228"/>
                  </a:lnTo>
                  <a:lnTo>
                    <a:pt x="6" y="228"/>
                  </a:lnTo>
                  <a:close/>
                  <a:moveTo>
                    <a:pt x="8" y="228"/>
                  </a:moveTo>
                  <a:lnTo>
                    <a:pt x="6" y="230"/>
                  </a:lnTo>
                  <a:lnTo>
                    <a:pt x="8" y="230"/>
                  </a:lnTo>
                  <a:lnTo>
                    <a:pt x="8" y="228"/>
                  </a:lnTo>
                  <a:lnTo>
                    <a:pt x="8" y="228"/>
                  </a:lnTo>
                  <a:lnTo>
                    <a:pt x="8" y="228"/>
                  </a:lnTo>
                  <a:lnTo>
                    <a:pt x="8" y="228"/>
                  </a:lnTo>
                  <a:close/>
                  <a:moveTo>
                    <a:pt x="2" y="234"/>
                  </a:moveTo>
                  <a:lnTo>
                    <a:pt x="0" y="234"/>
                  </a:lnTo>
                  <a:lnTo>
                    <a:pt x="0" y="237"/>
                  </a:lnTo>
                  <a:lnTo>
                    <a:pt x="0" y="239"/>
                  </a:lnTo>
                  <a:lnTo>
                    <a:pt x="2" y="239"/>
                  </a:lnTo>
                  <a:lnTo>
                    <a:pt x="2" y="234"/>
                  </a:lnTo>
                  <a:lnTo>
                    <a:pt x="4" y="234"/>
                  </a:lnTo>
                  <a:lnTo>
                    <a:pt x="2" y="234"/>
                  </a:lnTo>
                  <a:lnTo>
                    <a:pt x="2" y="234"/>
                  </a:lnTo>
                  <a:lnTo>
                    <a:pt x="2" y="234"/>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8" name="Freeform 199">
              <a:extLst>
                <a:ext uri="{FF2B5EF4-FFF2-40B4-BE49-F238E27FC236}">
                  <a16:creationId xmlns:a16="http://schemas.microsoft.com/office/drawing/2014/main" id="{56917DCA-53E3-7B4B-971B-C48DEE3A903E}"/>
                </a:ext>
              </a:extLst>
            </p:cNvPr>
            <p:cNvSpPr>
              <a:spLocks noEditPoints="1"/>
            </p:cNvSpPr>
            <p:nvPr/>
          </p:nvSpPr>
          <p:spPr bwMode="auto">
            <a:xfrm>
              <a:off x="7709070" y="2884695"/>
              <a:ext cx="307201" cy="92041"/>
            </a:xfrm>
            <a:custGeom>
              <a:avLst/>
              <a:gdLst/>
              <a:ahLst/>
              <a:cxnLst>
                <a:cxn ang="0">
                  <a:pos x="216" y="88"/>
                </a:cxn>
                <a:cxn ang="0">
                  <a:pos x="0" y="32"/>
                </a:cxn>
                <a:cxn ang="0">
                  <a:pos x="2" y="34"/>
                </a:cxn>
                <a:cxn ang="0">
                  <a:pos x="183" y="101"/>
                </a:cxn>
                <a:cxn ang="0">
                  <a:pos x="200" y="120"/>
                </a:cxn>
                <a:cxn ang="0">
                  <a:pos x="215" y="116"/>
                </a:cxn>
                <a:cxn ang="0">
                  <a:pos x="252" y="115"/>
                </a:cxn>
                <a:cxn ang="0">
                  <a:pos x="273" y="107"/>
                </a:cxn>
                <a:cxn ang="0">
                  <a:pos x="294" y="64"/>
                </a:cxn>
                <a:cxn ang="0">
                  <a:pos x="309" y="54"/>
                </a:cxn>
                <a:cxn ang="0">
                  <a:pos x="329" y="54"/>
                </a:cxn>
                <a:cxn ang="0">
                  <a:pos x="344" y="54"/>
                </a:cxn>
                <a:cxn ang="0">
                  <a:pos x="356" y="43"/>
                </a:cxn>
                <a:cxn ang="0">
                  <a:pos x="348" y="35"/>
                </a:cxn>
                <a:cxn ang="0">
                  <a:pos x="333" y="32"/>
                </a:cxn>
                <a:cxn ang="0">
                  <a:pos x="329" y="28"/>
                </a:cxn>
                <a:cxn ang="0">
                  <a:pos x="326" y="17"/>
                </a:cxn>
                <a:cxn ang="0">
                  <a:pos x="316" y="7"/>
                </a:cxn>
                <a:cxn ang="0">
                  <a:pos x="312" y="7"/>
                </a:cxn>
                <a:cxn ang="0">
                  <a:pos x="299" y="30"/>
                </a:cxn>
                <a:cxn ang="0">
                  <a:pos x="284" y="39"/>
                </a:cxn>
                <a:cxn ang="0">
                  <a:pos x="284" y="45"/>
                </a:cxn>
                <a:cxn ang="0">
                  <a:pos x="282" y="54"/>
                </a:cxn>
                <a:cxn ang="0">
                  <a:pos x="279" y="47"/>
                </a:cxn>
                <a:cxn ang="0">
                  <a:pos x="269" y="52"/>
                </a:cxn>
                <a:cxn ang="0">
                  <a:pos x="256" y="62"/>
                </a:cxn>
                <a:cxn ang="0">
                  <a:pos x="239" y="82"/>
                </a:cxn>
                <a:cxn ang="0">
                  <a:pos x="224" y="94"/>
                </a:cxn>
                <a:cxn ang="0">
                  <a:pos x="213" y="105"/>
                </a:cxn>
                <a:cxn ang="0">
                  <a:pos x="190" y="109"/>
                </a:cxn>
                <a:cxn ang="0">
                  <a:pos x="183" y="101"/>
                </a:cxn>
                <a:cxn ang="0">
                  <a:pos x="316" y="1"/>
                </a:cxn>
                <a:cxn ang="0">
                  <a:pos x="320" y="0"/>
                </a:cxn>
                <a:cxn ang="0">
                  <a:pos x="320" y="0"/>
                </a:cxn>
                <a:cxn ang="0">
                  <a:pos x="215" y="96"/>
                </a:cxn>
                <a:cxn ang="0">
                  <a:pos x="216" y="94"/>
                </a:cxn>
                <a:cxn ang="0">
                  <a:pos x="220" y="94"/>
                </a:cxn>
                <a:cxn ang="0">
                  <a:pos x="224" y="92"/>
                </a:cxn>
                <a:cxn ang="0">
                  <a:pos x="220" y="88"/>
                </a:cxn>
                <a:cxn ang="0">
                  <a:pos x="0" y="17"/>
                </a:cxn>
                <a:cxn ang="0">
                  <a:pos x="15" y="17"/>
                </a:cxn>
                <a:cxn ang="0">
                  <a:pos x="17" y="28"/>
                </a:cxn>
                <a:cxn ang="0">
                  <a:pos x="36" y="26"/>
                </a:cxn>
                <a:cxn ang="0">
                  <a:pos x="41" y="20"/>
                </a:cxn>
                <a:cxn ang="0">
                  <a:pos x="66" y="52"/>
                </a:cxn>
                <a:cxn ang="0">
                  <a:pos x="66" y="69"/>
                </a:cxn>
                <a:cxn ang="0">
                  <a:pos x="75" y="88"/>
                </a:cxn>
                <a:cxn ang="0">
                  <a:pos x="77" y="98"/>
                </a:cxn>
                <a:cxn ang="0">
                  <a:pos x="79" y="109"/>
                </a:cxn>
                <a:cxn ang="0">
                  <a:pos x="75" y="111"/>
                </a:cxn>
                <a:cxn ang="0">
                  <a:pos x="72" y="113"/>
                </a:cxn>
                <a:cxn ang="0">
                  <a:pos x="51" y="101"/>
                </a:cxn>
                <a:cxn ang="0">
                  <a:pos x="40" y="92"/>
                </a:cxn>
                <a:cxn ang="0">
                  <a:pos x="26" y="79"/>
                </a:cxn>
                <a:cxn ang="0">
                  <a:pos x="11" y="64"/>
                </a:cxn>
                <a:cxn ang="0">
                  <a:pos x="11" y="47"/>
                </a:cxn>
                <a:cxn ang="0">
                  <a:pos x="0" y="17"/>
                </a:cxn>
              </a:cxnLst>
              <a:rect l="0" t="0" r="r" b="b"/>
              <a:pathLst>
                <a:path w="360" h="120">
                  <a:moveTo>
                    <a:pt x="216" y="88"/>
                  </a:moveTo>
                  <a:lnTo>
                    <a:pt x="216" y="90"/>
                  </a:lnTo>
                  <a:lnTo>
                    <a:pt x="216" y="92"/>
                  </a:lnTo>
                  <a:lnTo>
                    <a:pt x="216" y="90"/>
                  </a:lnTo>
                  <a:lnTo>
                    <a:pt x="216" y="88"/>
                  </a:lnTo>
                  <a:lnTo>
                    <a:pt x="216" y="88"/>
                  </a:lnTo>
                  <a:lnTo>
                    <a:pt x="216" y="88"/>
                  </a:lnTo>
                  <a:lnTo>
                    <a:pt x="216" y="88"/>
                  </a:lnTo>
                  <a:lnTo>
                    <a:pt x="216" y="88"/>
                  </a:lnTo>
                  <a:close/>
                  <a:moveTo>
                    <a:pt x="0" y="32"/>
                  </a:moveTo>
                  <a:lnTo>
                    <a:pt x="0" y="37"/>
                  </a:lnTo>
                  <a:lnTo>
                    <a:pt x="4" y="39"/>
                  </a:lnTo>
                  <a:lnTo>
                    <a:pt x="4" y="39"/>
                  </a:lnTo>
                  <a:lnTo>
                    <a:pt x="4" y="35"/>
                  </a:lnTo>
                  <a:lnTo>
                    <a:pt x="2" y="34"/>
                  </a:lnTo>
                  <a:lnTo>
                    <a:pt x="0" y="32"/>
                  </a:lnTo>
                  <a:lnTo>
                    <a:pt x="0" y="32"/>
                  </a:lnTo>
                  <a:lnTo>
                    <a:pt x="0" y="32"/>
                  </a:lnTo>
                  <a:lnTo>
                    <a:pt x="0" y="32"/>
                  </a:lnTo>
                  <a:close/>
                  <a:moveTo>
                    <a:pt x="183" y="101"/>
                  </a:moveTo>
                  <a:lnTo>
                    <a:pt x="186" y="109"/>
                  </a:lnTo>
                  <a:lnTo>
                    <a:pt x="194" y="113"/>
                  </a:lnTo>
                  <a:lnTo>
                    <a:pt x="194" y="115"/>
                  </a:lnTo>
                  <a:lnTo>
                    <a:pt x="196" y="116"/>
                  </a:lnTo>
                  <a:lnTo>
                    <a:pt x="200" y="120"/>
                  </a:lnTo>
                  <a:lnTo>
                    <a:pt x="201" y="120"/>
                  </a:lnTo>
                  <a:lnTo>
                    <a:pt x="207" y="120"/>
                  </a:lnTo>
                  <a:lnTo>
                    <a:pt x="207" y="116"/>
                  </a:lnTo>
                  <a:lnTo>
                    <a:pt x="213" y="120"/>
                  </a:lnTo>
                  <a:lnTo>
                    <a:pt x="215" y="116"/>
                  </a:lnTo>
                  <a:lnTo>
                    <a:pt x="226" y="116"/>
                  </a:lnTo>
                  <a:lnTo>
                    <a:pt x="235" y="115"/>
                  </a:lnTo>
                  <a:lnTo>
                    <a:pt x="239" y="111"/>
                  </a:lnTo>
                  <a:lnTo>
                    <a:pt x="247" y="111"/>
                  </a:lnTo>
                  <a:lnTo>
                    <a:pt x="252" y="115"/>
                  </a:lnTo>
                  <a:lnTo>
                    <a:pt x="254" y="116"/>
                  </a:lnTo>
                  <a:lnTo>
                    <a:pt x="256" y="116"/>
                  </a:lnTo>
                  <a:lnTo>
                    <a:pt x="265" y="111"/>
                  </a:lnTo>
                  <a:lnTo>
                    <a:pt x="275" y="111"/>
                  </a:lnTo>
                  <a:lnTo>
                    <a:pt x="273" y="107"/>
                  </a:lnTo>
                  <a:lnTo>
                    <a:pt x="280" y="98"/>
                  </a:lnTo>
                  <a:lnTo>
                    <a:pt x="284" y="88"/>
                  </a:lnTo>
                  <a:lnTo>
                    <a:pt x="290" y="82"/>
                  </a:lnTo>
                  <a:lnTo>
                    <a:pt x="294" y="67"/>
                  </a:lnTo>
                  <a:lnTo>
                    <a:pt x="294" y="64"/>
                  </a:lnTo>
                  <a:lnTo>
                    <a:pt x="296" y="62"/>
                  </a:lnTo>
                  <a:lnTo>
                    <a:pt x="296" y="60"/>
                  </a:lnTo>
                  <a:lnTo>
                    <a:pt x="299" y="54"/>
                  </a:lnTo>
                  <a:lnTo>
                    <a:pt x="301" y="54"/>
                  </a:lnTo>
                  <a:lnTo>
                    <a:pt x="309" y="54"/>
                  </a:lnTo>
                  <a:lnTo>
                    <a:pt x="316" y="54"/>
                  </a:lnTo>
                  <a:lnTo>
                    <a:pt x="318" y="54"/>
                  </a:lnTo>
                  <a:lnTo>
                    <a:pt x="324" y="54"/>
                  </a:lnTo>
                  <a:lnTo>
                    <a:pt x="329" y="58"/>
                  </a:lnTo>
                  <a:lnTo>
                    <a:pt x="329" y="54"/>
                  </a:lnTo>
                  <a:lnTo>
                    <a:pt x="333" y="60"/>
                  </a:lnTo>
                  <a:lnTo>
                    <a:pt x="335" y="60"/>
                  </a:lnTo>
                  <a:lnTo>
                    <a:pt x="339" y="58"/>
                  </a:lnTo>
                  <a:lnTo>
                    <a:pt x="344" y="58"/>
                  </a:lnTo>
                  <a:lnTo>
                    <a:pt x="344" y="54"/>
                  </a:lnTo>
                  <a:lnTo>
                    <a:pt x="339" y="50"/>
                  </a:lnTo>
                  <a:lnTo>
                    <a:pt x="339" y="45"/>
                  </a:lnTo>
                  <a:lnTo>
                    <a:pt x="341" y="43"/>
                  </a:lnTo>
                  <a:lnTo>
                    <a:pt x="350" y="45"/>
                  </a:lnTo>
                  <a:lnTo>
                    <a:pt x="356" y="43"/>
                  </a:lnTo>
                  <a:lnTo>
                    <a:pt x="360" y="39"/>
                  </a:lnTo>
                  <a:lnTo>
                    <a:pt x="360" y="39"/>
                  </a:lnTo>
                  <a:lnTo>
                    <a:pt x="356" y="39"/>
                  </a:lnTo>
                  <a:lnTo>
                    <a:pt x="352" y="37"/>
                  </a:lnTo>
                  <a:lnTo>
                    <a:pt x="348" y="35"/>
                  </a:lnTo>
                  <a:lnTo>
                    <a:pt x="344" y="35"/>
                  </a:lnTo>
                  <a:lnTo>
                    <a:pt x="339" y="30"/>
                  </a:lnTo>
                  <a:lnTo>
                    <a:pt x="339" y="30"/>
                  </a:lnTo>
                  <a:lnTo>
                    <a:pt x="335" y="34"/>
                  </a:lnTo>
                  <a:lnTo>
                    <a:pt x="333" y="32"/>
                  </a:lnTo>
                  <a:lnTo>
                    <a:pt x="339" y="28"/>
                  </a:lnTo>
                  <a:lnTo>
                    <a:pt x="335" y="26"/>
                  </a:lnTo>
                  <a:lnTo>
                    <a:pt x="335" y="26"/>
                  </a:lnTo>
                  <a:lnTo>
                    <a:pt x="329" y="30"/>
                  </a:lnTo>
                  <a:lnTo>
                    <a:pt x="329" y="28"/>
                  </a:lnTo>
                  <a:lnTo>
                    <a:pt x="326" y="26"/>
                  </a:lnTo>
                  <a:lnTo>
                    <a:pt x="329" y="20"/>
                  </a:lnTo>
                  <a:lnTo>
                    <a:pt x="329" y="20"/>
                  </a:lnTo>
                  <a:lnTo>
                    <a:pt x="329" y="18"/>
                  </a:lnTo>
                  <a:lnTo>
                    <a:pt x="326" y="17"/>
                  </a:lnTo>
                  <a:lnTo>
                    <a:pt x="326" y="17"/>
                  </a:lnTo>
                  <a:lnTo>
                    <a:pt x="322" y="13"/>
                  </a:lnTo>
                  <a:lnTo>
                    <a:pt x="322" y="7"/>
                  </a:lnTo>
                  <a:lnTo>
                    <a:pt x="318" y="5"/>
                  </a:lnTo>
                  <a:lnTo>
                    <a:pt x="316" y="7"/>
                  </a:lnTo>
                  <a:lnTo>
                    <a:pt x="316" y="11"/>
                  </a:lnTo>
                  <a:lnTo>
                    <a:pt x="312" y="15"/>
                  </a:lnTo>
                  <a:lnTo>
                    <a:pt x="311" y="15"/>
                  </a:lnTo>
                  <a:lnTo>
                    <a:pt x="312" y="11"/>
                  </a:lnTo>
                  <a:lnTo>
                    <a:pt x="312" y="7"/>
                  </a:lnTo>
                  <a:lnTo>
                    <a:pt x="309" y="7"/>
                  </a:lnTo>
                  <a:lnTo>
                    <a:pt x="309" y="17"/>
                  </a:lnTo>
                  <a:lnTo>
                    <a:pt x="305" y="17"/>
                  </a:lnTo>
                  <a:lnTo>
                    <a:pt x="299" y="24"/>
                  </a:lnTo>
                  <a:lnTo>
                    <a:pt x="299" y="30"/>
                  </a:lnTo>
                  <a:lnTo>
                    <a:pt x="294" y="37"/>
                  </a:lnTo>
                  <a:lnTo>
                    <a:pt x="290" y="37"/>
                  </a:lnTo>
                  <a:lnTo>
                    <a:pt x="284" y="39"/>
                  </a:lnTo>
                  <a:lnTo>
                    <a:pt x="282" y="39"/>
                  </a:lnTo>
                  <a:lnTo>
                    <a:pt x="284" y="39"/>
                  </a:lnTo>
                  <a:lnTo>
                    <a:pt x="282" y="43"/>
                  </a:lnTo>
                  <a:lnTo>
                    <a:pt x="284" y="43"/>
                  </a:lnTo>
                  <a:lnTo>
                    <a:pt x="290" y="43"/>
                  </a:lnTo>
                  <a:lnTo>
                    <a:pt x="288" y="45"/>
                  </a:lnTo>
                  <a:lnTo>
                    <a:pt x="284" y="45"/>
                  </a:lnTo>
                  <a:lnTo>
                    <a:pt x="284" y="47"/>
                  </a:lnTo>
                  <a:lnTo>
                    <a:pt x="284" y="49"/>
                  </a:lnTo>
                  <a:lnTo>
                    <a:pt x="286" y="54"/>
                  </a:lnTo>
                  <a:lnTo>
                    <a:pt x="284" y="58"/>
                  </a:lnTo>
                  <a:lnTo>
                    <a:pt x="282" y="54"/>
                  </a:lnTo>
                  <a:lnTo>
                    <a:pt x="282" y="52"/>
                  </a:lnTo>
                  <a:lnTo>
                    <a:pt x="280" y="49"/>
                  </a:lnTo>
                  <a:lnTo>
                    <a:pt x="280" y="49"/>
                  </a:lnTo>
                  <a:lnTo>
                    <a:pt x="280" y="47"/>
                  </a:lnTo>
                  <a:lnTo>
                    <a:pt x="279" y="47"/>
                  </a:lnTo>
                  <a:lnTo>
                    <a:pt x="277" y="50"/>
                  </a:lnTo>
                  <a:lnTo>
                    <a:pt x="279" y="60"/>
                  </a:lnTo>
                  <a:lnTo>
                    <a:pt x="277" y="60"/>
                  </a:lnTo>
                  <a:lnTo>
                    <a:pt x="273" y="58"/>
                  </a:lnTo>
                  <a:lnTo>
                    <a:pt x="269" y="52"/>
                  </a:lnTo>
                  <a:lnTo>
                    <a:pt x="269" y="52"/>
                  </a:lnTo>
                  <a:lnTo>
                    <a:pt x="265" y="50"/>
                  </a:lnTo>
                  <a:lnTo>
                    <a:pt x="264" y="54"/>
                  </a:lnTo>
                  <a:lnTo>
                    <a:pt x="264" y="58"/>
                  </a:lnTo>
                  <a:lnTo>
                    <a:pt x="256" y="62"/>
                  </a:lnTo>
                  <a:lnTo>
                    <a:pt x="256" y="67"/>
                  </a:lnTo>
                  <a:lnTo>
                    <a:pt x="250" y="69"/>
                  </a:lnTo>
                  <a:lnTo>
                    <a:pt x="248" y="73"/>
                  </a:lnTo>
                  <a:lnTo>
                    <a:pt x="245" y="79"/>
                  </a:lnTo>
                  <a:lnTo>
                    <a:pt x="239" y="82"/>
                  </a:lnTo>
                  <a:lnTo>
                    <a:pt x="224" y="86"/>
                  </a:lnTo>
                  <a:lnTo>
                    <a:pt x="222" y="86"/>
                  </a:lnTo>
                  <a:lnTo>
                    <a:pt x="224" y="92"/>
                  </a:lnTo>
                  <a:lnTo>
                    <a:pt x="226" y="94"/>
                  </a:lnTo>
                  <a:lnTo>
                    <a:pt x="224" y="94"/>
                  </a:lnTo>
                  <a:lnTo>
                    <a:pt x="220" y="94"/>
                  </a:lnTo>
                  <a:lnTo>
                    <a:pt x="216" y="96"/>
                  </a:lnTo>
                  <a:lnTo>
                    <a:pt x="215" y="98"/>
                  </a:lnTo>
                  <a:lnTo>
                    <a:pt x="213" y="101"/>
                  </a:lnTo>
                  <a:lnTo>
                    <a:pt x="213" y="105"/>
                  </a:lnTo>
                  <a:lnTo>
                    <a:pt x="209" y="111"/>
                  </a:lnTo>
                  <a:lnTo>
                    <a:pt x="209" y="113"/>
                  </a:lnTo>
                  <a:lnTo>
                    <a:pt x="201" y="111"/>
                  </a:lnTo>
                  <a:lnTo>
                    <a:pt x="196" y="109"/>
                  </a:lnTo>
                  <a:lnTo>
                    <a:pt x="190" y="109"/>
                  </a:lnTo>
                  <a:lnTo>
                    <a:pt x="186" y="105"/>
                  </a:lnTo>
                  <a:lnTo>
                    <a:pt x="184" y="101"/>
                  </a:lnTo>
                  <a:lnTo>
                    <a:pt x="183" y="101"/>
                  </a:lnTo>
                  <a:lnTo>
                    <a:pt x="183" y="101"/>
                  </a:lnTo>
                  <a:lnTo>
                    <a:pt x="183" y="101"/>
                  </a:lnTo>
                  <a:lnTo>
                    <a:pt x="183" y="101"/>
                  </a:lnTo>
                  <a:close/>
                  <a:moveTo>
                    <a:pt x="316" y="0"/>
                  </a:moveTo>
                  <a:lnTo>
                    <a:pt x="311" y="1"/>
                  </a:lnTo>
                  <a:lnTo>
                    <a:pt x="312" y="1"/>
                  </a:lnTo>
                  <a:lnTo>
                    <a:pt x="316" y="1"/>
                  </a:lnTo>
                  <a:lnTo>
                    <a:pt x="316" y="0"/>
                  </a:lnTo>
                  <a:lnTo>
                    <a:pt x="316" y="0"/>
                  </a:lnTo>
                  <a:lnTo>
                    <a:pt x="316" y="0"/>
                  </a:lnTo>
                  <a:lnTo>
                    <a:pt x="316" y="0"/>
                  </a:lnTo>
                  <a:close/>
                  <a:moveTo>
                    <a:pt x="320" y="0"/>
                  </a:moveTo>
                  <a:lnTo>
                    <a:pt x="316" y="1"/>
                  </a:lnTo>
                  <a:lnTo>
                    <a:pt x="318" y="5"/>
                  </a:lnTo>
                  <a:lnTo>
                    <a:pt x="322" y="1"/>
                  </a:lnTo>
                  <a:lnTo>
                    <a:pt x="322" y="1"/>
                  </a:lnTo>
                  <a:lnTo>
                    <a:pt x="320" y="0"/>
                  </a:lnTo>
                  <a:lnTo>
                    <a:pt x="320" y="0"/>
                  </a:lnTo>
                  <a:lnTo>
                    <a:pt x="320" y="0"/>
                  </a:lnTo>
                  <a:lnTo>
                    <a:pt x="320" y="0"/>
                  </a:lnTo>
                  <a:close/>
                  <a:moveTo>
                    <a:pt x="216" y="94"/>
                  </a:moveTo>
                  <a:lnTo>
                    <a:pt x="215" y="96"/>
                  </a:lnTo>
                  <a:lnTo>
                    <a:pt x="216" y="92"/>
                  </a:lnTo>
                  <a:lnTo>
                    <a:pt x="216" y="94"/>
                  </a:lnTo>
                  <a:lnTo>
                    <a:pt x="216" y="94"/>
                  </a:lnTo>
                  <a:lnTo>
                    <a:pt x="216" y="94"/>
                  </a:lnTo>
                  <a:lnTo>
                    <a:pt x="216" y="94"/>
                  </a:lnTo>
                  <a:close/>
                  <a:moveTo>
                    <a:pt x="220" y="94"/>
                  </a:moveTo>
                  <a:lnTo>
                    <a:pt x="218" y="94"/>
                  </a:lnTo>
                  <a:lnTo>
                    <a:pt x="216" y="92"/>
                  </a:lnTo>
                  <a:lnTo>
                    <a:pt x="218" y="92"/>
                  </a:lnTo>
                  <a:lnTo>
                    <a:pt x="220" y="94"/>
                  </a:lnTo>
                  <a:lnTo>
                    <a:pt x="220" y="94"/>
                  </a:lnTo>
                  <a:lnTo>
                    <a:pt x="220" y="94"/>
                  </a:lnTo>
                  <a:lnTo>
                    <a:pt x="220" y="94"/>
                  </a:lnTo>
                  <a:close/>
                  <a:moveTo>
                    <a:pt x="222" y="86"/>
                  </a:moveTo>
                  <a:lnTo>
                    <a:pt x="224" y="92"/>
                  </a:lnTo>
                  <a:lnTo>
                    <a:pt x="220" y="94"/>
                  </a:lnTo>
                  <a:lnTo>
                    <a:pt x="218" y="90"/>
                  </a:lnTo>
                  <a:lnTo>
                    <a:pt x="218" y="88"/>
                  </a:lnTo>
                  <a:lnTo>
                    <a:pt x="218" y="88"/>
                  </a:lnTo>
                  <a:lnTo>
                    <a:pt x="220" y="88"/>
                  </a:lnTo>
                  <a:lnTo>
                    <a:pt x="222" y="86"/>
                  </a:lnTo>
                  <a:lnTo>
                    <a:pt x="222" y="86"/>
                  </a:lnTo>
                  <a:lnTo>
                    <a:pt x="222" y="86"/>
                  </a:lnTo>
                  <a:lnTo>
                    <a:pt x="222" y="86"/>
                  </a:lnTo>
                  <a:close/>
                  <a:moveTo>
                    <a:pt x="0" y="17"/>
                  </a:moveTo>
                  <a:lnTo>
                    <a:pt x="2" y="13"/>
                  </a:lnTo>
                  <a:lnTo>
                    <a:pt x="4" y="9"/>
                  </a:lnTo>
                  <a:lnTo>
                    <a:pt x="8" y="13"/>
                  </a:lnTo>
                  <a:lnTo>
                    <a:pt x="13" y="15"/>
                  </a:lnTo>
                  <a:lnTo>
                    <a:pt x="15" y="17"/>
                  </a:lnTo>
                  <a:lnTo>
                    <a:pt x="17" y="17"/>
                  </a:lnTo>
                  <a:lnTo>
                    <a:pt x="21" y="18"/>
                  </a:lnTo>
                  <a:lnTo>
                    <a:pt x="21" y="24"/>
                  </a:lnTo>
                  <a:lnTo>
                    <a:pt x="17" y="26"/>
                  </a:lnTo>
                  <a:lnTo>
                    <a:pt x="17" y="28"/>
                  </a:lnTo>
                  <a:lnTo>
                    <a:pt x="23" y="30"/>
                  </a:lnTo>
                  <a:lnTo>
                    <a:pt x="26" y="26"/>
                  </a:lnTo>
                  <a:lnTo>
                    <a:pt x="30" y="26"/>
                  </a:lnTo>
                  <a:lnTo>
                    <a:pt x="32" y="28"/>
                  </a:lnTo>
                  <a:lnTo>
                    <a:pt x="36" y="26"/>
                  </a:lnTo>
                  <a:lnTo>
                    <a:pt x="36" y="24"/>
                  </a:lnTo>
                  <a:lnTo>
                    <a:pt x="36" y="24"/>
                  </a:lnTo>
                  <a:lnTo>
                    <a:pt x="36" y="24"/>
                  </a:lnTo>
                  <a:lnTo>
                    <a:pt x="40" y="24"/>
                  </a:lnTo>
                  <a:lnTo>
                    <a:pt x="41" y="20"/>
                  </a:lnTo>
                  <a:lnTo>
                    <a:pt x="41" y="20"/>
                  </a:lnTo>
                  <a:lnTo>
                    <a:pt x="45" y="24"/>
                  </a:lnTo>
                  <a:lnTo>
                    <a:pt x="60" y="39"/>
                  </a:lnTo>
                  <a:lnTo>
                    <a:pt x="62" y="45"/>
                  </a:lnTo>
                  <a:lnTo>
                    <a:pt x="66" y="52"/>
                  </a:lnTo>
                  <a:lnTo>
                    <a:pt x="62" y="54"/>
                  </a:lnTo>
                  <a:lnTo>
                    <a:pt x="62" y="64"/>
                  </a:lnTo>
                  <a:lnTo>
                    <a:pt x="62" y="64"/>
                  </a:lnTo>
                  <a:lnTo>
                    <a:pt x="62" y="67"/>
                  </a:lnTo>
                  <a:lnTo>
                    <a:pt x="66" y="69"/>
                  </a:lnTo>
                  <a:lnTo>
                    <a:pt x="66" y="79"/>
                  </a:lnTo>
                  <a:lnTo>
                    <a:pt x="66" y="82"/>
                  </a:lnTo>
                  <a:lnTo>
                    <a:pt x="70" y="86"/>
                  </a:lnTo>
                  <a:lnTo>
                    <a:pt x="73" y="86"/>
                  </a:lnTo>
                  <a:lnTo>
                    <a:pt x="75" y="88"/>
                  </a:lnTo>
                  <a:lnTo>
                    <a:pt x="73" y="90"/>
                  </a:lnTo>
                  <a:lnTo>
                    <a:pt x="75" y="96"/>
                  </a:lnTo>
                  <a:lnTo>
                    <a:pt x="75" y="98"/>
                  </a:lnTo>
                  <a:lnTo>
                    <a:pt x="77" y="98"/>
                  </a:lnTo>
                  <a:lnTo>
                    <a:pt x="77" y="98"/>
                  </a:lnTo>
                  <a:lnTo>
                    <a:pt x="77" y="101"/>
                  </a:lnTo>
                  <a:lnTo>
                    <a:pt x="83" y="107"/>
                  </a:lnTo>
                  <a:lnTo>
                    <a:pt x="83" y="111"/>
                  </a:lnTo>
                  <a:lnTo>
                    <a:pt x="79" y="111"/>
                  </a:lnTo>
                  <a:lnTo>
                    <a:pt x="79" y="109"/>
                  </a:lnTo>
                  <a:lnTo>
                    <a:pt x="79" y="107"/>
                  </a:lnTo>
                  <a:lnTo>
                    <a:pt x="77" y="105"/>
                  </a:lnTo>
                  <a:lnTo>
                    <a:pt x="77" y="107"/>
                  </a:lnTo>
                  <a:lnTo>
                    <a:pt x="77" y="109"/>
                  </a:lnTo>
                  <a:lnTo>
                    <a:pt x="75" y="111"/>
                  </a:lnTo>
                  <a:lnTo>
                    <a:pt x="77" y="111"/>
                  </a:lnTo>
                  <a:lnTo>
                    <a:pt x="77" y="111"/>
                  </a:lnTo>
                  <a:lnTo>
                    <a:pt x="73" y="115"/>
                  </a:lnTo>
                  <a:lnTo>
                    <a:pt x="73" y="111"/>
                  </a:lnTo>
                  <a:lnTo>
                    <a:pt x="72" y="113"/>
                  </a:lnTo>
                  <a:lnTo>
                    <a:pt x="68" y="111"/>
                  </a:lnTo>
                  <a:lnTo>
                    <a:pt x="66" y="109"/>
                  </a:lnTo>
                  <a:lnTo>
                    <a:pt x="60" y="107"/>
                  </a:lnTo>
                  <a:lnTo>
                    <a:pt x="55" y="105"/>
                  </a:lnTo>
                  <a:lnTo>
                    <a:pt x="51" y="101"/>
                  </a:lnTo>
                  <a:lnTo>
                    <a:pt x="49" y="101"/>
                  </a:lnTo>
                  <a:lnTo>
                    <a:pt x="47" y="101"/>
                  </a:lnTo>
                  <a:lnTo>
                    <a:pt x="43" y="101"/>
                  </a:lnTo>
                  <a:lnTo>
                    <a:pt x="40" y="96"/>
                  </a:lnTo>
                  <a:lnTo>
                    <a:pt x="40" y="92"/>
                  </a:lnTo>
                  <a:lnTo>
                    <a:pt x="34" y="88"/>
                  </a:lnTo>
                  <a:lnTo>
                    <a:pt x="26" y="86"/>
                  </a:lnTo>
                  <a:lnTo>
                    <a:pt x="26" y="82"/>
                  </a:lnTo>
                  <a:lnTo>
                    <a:pt x="26" y="82"/>
                  </a:lnTo>
                  <a:lnTo>
                    <a:pt x="26" y="79"/>
                  </a:lnTo>
                  <a:lnTo>
                    <a:pt x="26" y="75"/>
                  </a:lnTo>
                  <a:lnTo>
                    <a:pt x="23" y="73"/>
                  </a:lnTo>
                  <a:lnTo>
                    <a:pt x="17" y="67"/>
                  </a:lnTo>
                  <a:lnTo>
                    <a:pt x="15" y="67"/>
                  </a:lnTo>
                  <a:lnTo>
                    <a:pt x="11" y="64"/>
                  </a:lnTo>
                  <a:lnTo>
                    <a:pt x="13" y="62"/>
                  </a:lnTo>
                  <a:lnTo>
                    <a:pt x="9" y="58"/>
                  </a:lnTo>
                  <a:lnTo>
                    <a:pt x="9" y="54"/>
                  </a:lnTo>
                  <a:lnTo>
                    <a:pt x="11" y="52"/>
                  </a:lnTo>
                  <a:lnTo>
                    <a:pt x="11" y="47"/>
                  </a:lnTo>
                  <a:lnTo>
                    <a:pt x="9" y="43"/>
                  </a:lnTo>
                  <a:lnTo>
                    <a:pt x="8" y="39"/>
                  </a:lnTo>
                  <a:lnTo>
                    <a:pt x="6" y="24"/>
                  </a:lnTo>
                  <a:lnTo>
                    <a:pt x="0" y="17"/>
                  </a:lnTo>
                  <a:lnTo>
                    <a:pt x="0" y="17"/>
                  </a:lnTo>
                  <a:lnTo>
                    <a:pt x="0" y="17"/>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9" name="Freeform 200">
              <a:extLst>
                <a:ext uri="{FF2B5EF4-FFF2-40B4-BE49-F238E27FC236}">
                  <a16:creationId xmlns:a16="http://schemas.microsoft.com/office/drawing/2014/main" id="{185CBDD4-C78A-4141-920F-095832AA847E}"/>
                </a:ext>
              </a:extLst>
            </p:cNvPr>
            <p:cNvSpPr>
              <a:spLocks noEditPoints="1"/>
            </p:cNvSpPr>
            <p:nvPr/>
          </p:nvSpPr>
          <p:spPr bwMode="auto">
            <a:xfrm>
              <a:off x="7723576" y="2637717"/>
              <a:ext cx="129707" cy="226268"/>
            </a:xfrm>
            <a:custGeom>
              <a:avLst/>
              <a:gdLst/>
              <a:ahLst/>
              <a:cxnLst>
                <a:cxn ang="0">
                  <a:pos x="9" y="13"/>
                </a:cxn>
                <a:cxn ang="0">
                  <a:pos x="19" y="11"/>
                </a:cxn>
                <a:cxn ang="0">
                  <a:pos x="34" y="9"/>
                </a:cxn>
                <a:cxn ang="0">
                  <a:pos x="55" y="0"/>
                </a:cxn>
                <a:cxn ang="0">
                  <a:pos x="75" y="7"/>
                </a:cxn>
                <a:cxn ang="0">
                  <a:pos x="79" y="20"/>
                </a:cxn>
                <a:cxn ang="0">
                  <a:pos x="100" y="33"/>
                </a:cxn>
                <a:cxn ang="0">
                  <a:pos x="111" y="35"/>
                </a:cxn>
                <a:cxn ang="0">
                  <a:pos x="94" y="41"/>
                </a:cxn>
                <a:cxn ang="0">
                  <a:pos x="88" y="48"/>
                </a:cxn>
                <a:cxn ang="0">
                  <a:pos x="81" y="52"/>
                </a:cxn>
                <a:cxn ang="0">
                  <a:pos x="81" y="64"/>
                </a:cxn>
                <a:cxn ang="0">
                  <a:pos x="73" y="69"/>
                </a:cxn>
                <a:cxn ang="0">
                  <a:pos x="70" y="88"/>
                </a:cxn>
                <a:cxn ang="0">
                  <a:pos x="77" y="99"/>
                </a:cxn>
                <a:cxn ang="0">
                  <a:pos x="88" y="114"/>
                </a:cxn>
                <a:cxn ang="0">
                  <a:pos x="120" y="139"/>
                </a:cxn>
                <a:cxn ang="0">
                  <a:pos x="134" y="158"/>
                </a:cxn>
                <a:cxn ang="0">
                  <a:pos x="141" y="178"/>
                </a:cxn>
                <a:cxn ang="0">
                  <a:pos x="147" y="195"/>
                </a:cxn>
                <a:cxn ang="0">
                  <a:pos x="152" y="212"/>
                </a:cxn>
                <a:cxn ang="0">
                  <a:pos x="149" y="216"/>
                </a:cxn>
                <a:cxn ang="0">
                  <a:pos x="147" y="227"/>
                </a:cxn>
                <a:cxn ang="0">
                  <a:pos x="139" y="242"/>
                </a:cxn>
                <a:cxn ang="0">
                  <a:pos x="124" y="254"/>
                </a:cxn>
                <a:cxn ang="0">
                  <a:pos x="103" y="258"/>
                </a:cxn>
                <a:cxn ang="0">
                  <a:pos x="103" y="259"/>
                </a:cxn>
                <a:cxn ang="0">
                  <a:pos x="100" y="269"/>
                </a:cxn>
                <a:cxn ang="0">
                  <a:pos x="94" y="271"/>
                </a:cxn>
                <a:cxn ang="0">
                  <a:pos x="92" y="276"/>
                </a:cxn>
                <a:cxn ang="0">
                  <a:pos x="81" y="288"/>
                </a:cxn>
                <a:cxn ang="0">
                  <a:pos x="70" y="291"/>
                </a:cxn>
                <a:cxn ang="0">
                  <a:pos x="70" y="282"/>
                </a:cxn>
                <a:cxn ang="0">
                  <a:pos x="79" y="263"/>
                </a:cxn>
                <a:cxn ang="0">
                  <a:pos x="64" y="263"/>
                </a:cxn>
                <a:cxn ang="0">
                  <a:pos x="73" y="246"/>
                </a:cxn>
                <a:cxn ang="0">
                  <a:pos x="98" y="250"/>
                </a:cxn>
                <a:cxn ang="0">
                  <a:pos x="92" y="231"/>
                </a:cxn>
                <a:cxn ang="0">
                  <a:pos x="115" y="220"/>
                </a:cxn>
                <a:cxn ang="0">
                  <a:pos x="113" y="188"/>
                </a:cxn>
                <a:cxn ang="0">
                  <a:pos x="109" y="171"/>
                </a:cxn>
                <a:cxn ang="0">
                  <a:pos x="111" y="150"/>
                </a:cxn>
                <a:cxn ang="0">
                  <a:pos x="100" y="141"/>
                </a:cxn>
                <a:cxn ang="0">
                  <a:pos x="92" y="131"/>
                </a:cxn>
                <a:cxn ang="0">
                  <a:pos x="75" y="113"/>
                </a:cxn>
                <a:cxn ang="0">
                  <a:pos x="47" y="94"/>
                </a:cxn>
                <a:cxn ang="0">
                  <a:pos x="39" y="77"/>
                </a:cxn>
                <a:cxn ang="0">
                  <a:pos x="58" y="64"/>
                </a:cxn>
                <a:cxn ang="0">
                  <a:pos x="43" y="50"/>
                </a:cxn>
                <a:cxn ang="0">
                  <a:pos x="13" y="37"/>
                </a:cxn>
                <a:cxn ang="0">
                  <a:pos x="0" y="18"/>
                </a:cxn>
                <a:cxn ang="0">
                  <a:pos x="53" y="265"/>
                </a:cxn>
                <a:cxn ang="0">
                  <a:pos x="51" y="259"/>
                </a:cxn>
              </a:cxnLst>
              <a:rect l="0" t="0" r="r" b="b"/>
              <a:pathLst>
                <a:path w="152" h="295">
                  <a:moveTo>
                    <a:pt x="0" y="18"/>
                  </a:moveTo>
                  <a:lnTo>
                    <a:pt x="0" y="18"/>
                  </a:lnTo>
                  <a:lnTo>
                    <a:pt x="0" y="18"/>
                  </a:lnTo>
                  <a:lnTo>
                    <a:pt x="4" y="15"/>
                  </a:lnTo>
                  <a:lnTo>
                    <a:pt x="6" y="15"/>
                  </a:lnTo>
                  <a:lnTo>
                    <a:pt x="9" y="13"/>
                  </a:lnTo>
                  <a:lnTo>
                    <a:pt x="13" y="13"/>
                  </a:lnTo>
                  <a:lnTo>
                    <a:pt x="13" y="15"/>
                  </a:lnTo>
                  <a:lnTo>
                    <a:pt x="13" y="16"/>
                  </a:lnTo>
                  <a:lnTo>
                    <a:pt x="15" y="16"/>
                  </a:lnTo>
                  <a:lnTo>
                    <a:pt x="15" y="13"/>
                  </a:lnTo>
                  <a:lnTo>
                    <a:pt x="19" y="11"/>
                  </a:lnTo>
                  <a:lnTo>
                    <a:pt x="23" y="15"/>
                  </a:lnTo>
                  <a:lnTo>
                    <a:pt x="24" y="13"/>
                  </a:lnTo>
                  <a:lnTo>
                    <a:pt x="26" y="13"/>
                  </a:lnTo>
                  <a:lnTo>
                    <a:pt x="28" y="15"/>
                  </a:lnTo>
                  <a:lnTo>
                    <a:pt x="32" y="13"/>
                  </a:lnTo>
                  <a:lnTo>
                    <a:pt x="34" y="9"/>
                  </a:lnTo>
                  <a:lnTo>
                    <a:pt x="38" y="9"/>
                  </a:lnTo>
                  <a:lnTo>
                    <a:pt x="39" y="11"/>
                  </a:lnTo>
                  <a:lnTo>
                    <a:pt x="47" y="9"/>
                  </a:lnTo>
                  <a:lnTo>
                    <a:pt x="45" y="1"/>
                  </a:lnTo>
                  <a:lnTo>
                    <a:pt x="51" y="0"/>
                  </a:lnTo>
                  <a:lnTo>
                    <a:pt x="55" y="0"/>
                  </a:lnTo>
                  <a:lnTo>
                    <a:pt x="58" y="0"/>
                  </a:lnTo>
                  <a:lnTo>
                    <a:pt x="62" y="1"/>
                  </a:lnTo>
                  <a:lnTo>
                    <a:pt x="62" y="3"/>
                  </a:lnTo>
                  <a:lnTo>
                    <a:pt x="64" y="3"/>
                  </a:lnTo>
                  <a:lnTo>
                    <a:pt x="68" y="7"/>
                  </a:lnTo>
                  <a:lnTo>
                    <a:pt x="75" y="7"/>
                  </a:lnTo>
                  <a:lnTo>
                    <a:pt x="77" y="9"/>
                  </a:lnTo>
                  <a:lnTo>
                    <a:pt x="83" y="7"/>
                  </a:lnTo>
                  <a:lnTo>
                    <a:pt x="85" y="9"/>
                  </a:lnTo>
                  <a:lnTo>
                    <a:pt x="85" y="13"/>
                  </a:lnTo>
                  <a:lnTo>
                    <a:pt x="83" y="13"/>
                  </a:lnTo>
                  <a:lnTo>
                    <a:pt x="79" y="20"/>
                  </a:lnTo>
                  <a:lnTo>
                    <a:pt x="83" y="20"/>
                  </a:lnTo>
                  <a:lnTo>
                    <a:pt x="83" y="24"/>
                  </a:lnTo>
                  <a:lnTo>
                    <a:pt x="92" y="26"/>
                  </a:lnTo>
                  <a:lnTo>
                    <a:pt x="92" y="30"/>
                  </a:lnTo>
                  <a:lnTo>
                    <a:pt x="94" y="33"/>
                  </a:lnTo>
                  <a:lnTo>
                    <a:pt x="100" y="33"/>
                  </a:lnTo>
                  <a:lnTo>
                    <a:pt x="103" y="33"/>
                  </a:lnTo>
                  <a:lnTo>
                    <a:pt x="103" y="33"/>
                  </a:lnTo>
                  <a:lnTo>
                    <a:pt x="107" y="33"/>
                  </a:lnTo>
                  <a:lnTo>
                    <a:pt x="109" y="33"/>
                  </a:lnTo>
                  <a:lnTo>
                    <a:pt x="109" y="33"/>
                  </a:lnTo>
                  <a:lnTo>
                    <a:pt x="111" y="35"/>
                  </a:lnTo>
                  <a:lnTo>
                    <a:pt x="109" y="37"/>
                  </a:lnTo>
                  <a:lnTo>
                    <a:pt x="107" y="39"/>
                  </a:lnTo>
                  <a:lnTo>
                    <a:pt x="107" y="39"/>
                  </a:lnTo>
                  <a:lnTo>
                    <a:pt x="103" y="41"/>
                  </a:lnTo>
                  <a:lnTo>
                    <a:pt x="100" y="41"/>
                  </a:lnTo>
                  <a:lnTo>
                    <a:pt x="94" y="41"/>
                  </a:lnTo>
                  <a:lnTo>
                    <a:pt x="94" y="43"/>
                  </a:lnTo>
                  <a:lnTo>
                    <a:pt x="94" y="45"/>
                  </a:lnTo>
                  <a:lnTo>
                    <a:pt x="94" y="45"/>
                  </a:lnTo>
                  <a:lnTo>
                    <a:pt x="94" y="48"/>
                  </a:lnTo>
                  <a:lnTo>
                    <a:pt x="92" y="48"/>
                  </a:lnTo>
                  <a:lnTo>
                    <a:pt x="88" y="48"/>
                  </a:lnTo>
                  <a:lnTo>
                    <a:pt x="87" y="50"/>
                  </a:lnTo>
                  <a:lnTo>
                    <a:pt x="87" y="50"/>
                  </a:lnTo>
                  <a:lnTo>
                    <a:pt x="85" y="48"/>
                  </a:lnTo>
                  <a:lnTo>
                    <a:pt x="83" y="48"/>
                  </a:lnTo>
                  <a:lnTo>
                    <a:pt x="83" y="50"/>
                  </a:lnTo>
                  <a:lnTo>
                    <a:pt x="81" y="52"/>
                  </a:lnTo>
                  <a:lnTo>
                    <a:pt x="83" y="54"/>
                  </a:lnTo>
                  <a:lnTo>
                    <a:pt x="83" y="58"/>
                  </a:lnTo>
                  <a:lnTo>
                    <a:pt x="83" y="58"/>
                  </a:lnTo>
                  <a:lnTo>
                    <a:pt x="81" y="60"/>
                  </a:lnTo>
                  <a:lnTo>
                    <a:pt x="83" y="62"/>
                  </a:lnTo>
                  <a:lnTo>
                    <a:pt x="81" y="64"/>
                  </a:lnTo>
                  <a:lnTo>
                    <a:pt x="81" y="64"/>
                  </a:lnTo>
                  <a:lnTo>
                    <a:pt x="77" y="69"/>
                  </a:lnTo>
                  <a:lnTo>
                    <a:pt x="75" y="69"/>
                  </a:lnTo>
                  <a:lnTo>
                    <a:pt x="73" y="67"/>
                  </a:lnTo>
                  <a:lnTo>
                    <a:pt x="73" y="69"/>
                  </a:lnTo>
                  <a:lnTo>
                    <a:pt x="73" y="69"/>
                  </a:lnTo>
                  <a:lnTo>
                    <a:pt x="73" y="73"/>
                  </a:lnTo>
                  <a:lnTo>
                    <a:pt x="70" y="75"/>
                  </a:lnTo>
                  <a:lnTo>
                    <a:pt x="70" y="79"/>
                  </a:lnTo>
                  <a:lnTo>
                    <a:pt x="73" y="79"/>
                  </a:lnTo>
                  <a:lnTo>
                    <a:pt x="73" y="79"/>
                  </a:lnTo>
                  <a:lnTo>
                    <a:pt x="70" y="88"/>
                  </a:lnTo>
                  <a:lnTo>
                    <a:pt x="70" y="88"/>
                  </a:lnTo>
                  <a:lnTo>
                    <a:pt x="73" y="92"/>
                  </a:lnTo>
                  <a:lnTo>
                    <a:pt x="73" y="94"/>
                  </a:lnTo>
                  <a:lnTo>
                    <a:pt x="70" y="96"/>
                  </a:lnTo>
                  <a:lnTo>
                    <a:pt x="73" y="96"/>
                  </a:lnTo>
                  <a:lnTo>
                    <a:pt x="77" y="99"/>
                  </a:lnTo>
                  <a:lnTo>
                    <a:pt x="83" y="103"/>
                  </a:lnTo>
                  <a:lnTo>
                    <a:pt x="85" y="103"/>
                  </a:lnTo>
                  <a:lnTo>
                    <a:pt x="87" y="109"/>
                  </a:lnTo>
                  <a:lnTo>
                    <a:pt x="87" y="109"/>
                  </a:lnTo>
                  <a:lnTo>
                    <a:pt x="87" y="113"/>
                  </a:lnTo>
                  <a:lnTo>
                    <a:pt x="88" y="114"/>
                  </a:lnTo>
                  <a:lnTo>
                    <a:pt x="88" y="118"/>
                  </a:lnTo>
                  <a:lnTo>
                    <a:pt x="94" y="124"/>
                  </a:lnTo>
                  <a:lnTo>
                    <a:pt x="100" y="126"/>
                  </a:lnTo>
                  <a:lnTo>
                    <a:pt x="100" y="128"/>
                  </a:lnTo>
                  <a:lnTo>
                    <a:pt x="111" y="133"/>
                  </a:lnTo>
                  <a:lnTo>
                    <a:pt x="120" y="139"/>
                  </a:lnTo>
                  <a:lnTo>
                    <a:pt x="122" y="143"/>
                  </a:lnTo>
                  <a:lnTo>
                    <a:pt x="128" y="148"/>
                  </a:lnTo>
                  <a:lnTo>
                    <a:pt x="134" y="154"/>
                  </a:lnTo>
                  <a:lnTo>
                    <a:pt x="134" y="158"/>
                  </a:lnTo>
                  <a:lnTo>
                    <a:pt x="134" y="158"/>
                  </a:lnTo>
                  <a:lnTo>
                    <a:pt x="134" y="158"/>
                  </a:lnTo>
                  <a:lnTo>
                    <a:pt x="137" y="163"/>
                  </a:lnTo>
                  <a:lnTo>
                    <a:pt x="137" y="167"/>
                  </a:lnTo>
                  <a:lnTo>
                    <a:pt x="139" y="167"/>
                  </a:lnTo>
                  <a:lnTo>
                    <a:pt x="137" y="167"/>
                  </a:lnTo>
                  <a:lnTo>
                    <a:pt x="141" y="173"/>
                  </a:lnTo>
                  <a:lnTo>
                    <a:pt x="141" y="178"/>
                  </a:lnTo>
                  <a:lnTo>
                    <a:pt x="143" y="180"/>
                  </a:lnTo>
                  <a:lnTo>
                    <a:pt x="145" y="186"/>
                  </a:lnTo>
                  <a:lnTo>
                    <a:pt x="147" y="188"/>
                  </a:lnTo>
                  <a:lnTo>
                    <a:pt x="147" y="192"/>
                  </a:lnTo>
                  <a:lnTo>
                    <a:pt x="147" y="192"/>
                  </a:lnTo>
                  <a:lnTo>
                    <a:pt x="147" y="195"/>
                  </a:lnTo>
                  <a:lnTo>
                    <a:pt x="147" y="197"/>
                  </a:lnTo>
                  <a:lnTo>
                    <a:pt x="147" y="201"/>
                  </a:lnTo>
                  <a:lnTo>
                    <a:pt x="149" y="203"/>
                  </a:lnTo>
                  <a:lnTo>
                    <a:pt x="149" y="205"/>
                  </a:lnTo>
                  <a:lnTo>
                    <a:pt x="151" y="207"/>
                  </a:lnTo>
                  <a:lnTo>
                    <a:pt x="152" y="212"/>
                  </a:lnTo>
                  <a:lnTo>
                    <a:pt x="152" y="214"/>
                  </a:lnTo>
                  <a:lnTo>
                    <a:pt x="151" y="214"/>
                  </a:lnTo>
                  <a:lnTo>
                    <a:pt x="151" y="212"/>
                  </a:lnTo>
                  <a:lnTo>
                    <a:pt x="151" y="212"/>
                  </a:lnTo>
                  <a:lnTo>
                    <a:pt x="149" y="212"/>
                  </a:lnTo>
                  <a:lnTo>
                    <a:pt x="149" y="216"/>
                  </a:lnTo>
                  <a:lnTo>
                    <a:pt x="151" y="216"/>
                  </a:lnTo>
                  <a:lnTo>
                    <a:pt x="151" y="220"/>
                  </a:lnTo>
                  <a:lnTo>
                    <a:pt x="149" y="222"/>
                  </a:lnTo>
                  <a:lnTo>
                    <a:pt x="149" y="222"/>
                  </a:lnTo>
                  <a:lnTo>
                    <a:pt x="145" y="226"/>
                  </a:lnTo>
                  <a:lnTo>
                    <a:pt x="147" y="227"/>
                  </a:lnTo>
                  <a:lnTo>
                    <a:pt x="147" y="231"/>
                  </a:lnTo>
                  <a:lnTo>
                    <a:pt x="147" y="233"/>
                  </a:lnTo>
                  <a:lnTo>
                    <a:pt x="145" y="235"/>
                  </a:lnTo>
                  <a:lnTo>
                    <a:pt x="143" y="237"/>
                  </a:lnTo>
                  <a:lnTo>
                    <a:pt x="141" y="241"/>
                  </a:lnTo>
                  <a:lnTo>
                    <a:pt x="139" y="242"/>
                  </a:lnTo>
                  <a:lnTo>
                    <a:pt x="137" y="246"/>
                  </a:lnTo>
                  <a:lnTo>
                    <a:pt x="134" y="246"/>
                  </a:lnTo>
                  <a:lnTo>
                    <a:pt x="128" y="250"/>
                  </a:lnTo>
                  <a:lnTo>
                    <a:pt x="128" y="252"/>
                  </a:lnTo>
                  <a:lnTo>
                    <a:pt x="126" y="252"/>
                  </a:lnTo>
                  <a:lnTo>
                    <a:pt x="124" y="254"/>
                  </a:lnTo>
                  <a:lnTo>
                    <a:pt x="115" y="259"/>
                  </a:lnTo>
                  <a:lnTo>
                    <a:pt x="111" y="259"/>
                  </a:lnTo>
                  <a:lnTo>
                    <a:pt x="109" y="259"/>
                  </a:lnTo>
                  <a:lnTo>
                    <a:pt x="107" y="259"/>
                  </a:lnTo>
                  <a:lnTo>
                    <a:pt x="103" y="259"/>
                  </a:lnTo>
                  <a:lnTo>
                    <a:pt x="103" y="258"/>
                  </a:lnTo>
                  <a:lnTo>
                    <a:pt x="103" y="254"/>
                  </a:lnTo>
                  <a:lnTo>
                    <a:pt x="103" y="258"/>
                  </a:lnTo>
                  <a:lnTo>
                    <a:pt x="103" y="258"/>
                  </a:lnTo>
                  <a:lnTo>
                    <a:pt x="100" y="258"/>
                  </a:lnTo>
                  <a:lnTo>
                    <a:pt x="103" y="259"/>
                  </a:lnTo>
                  <a:lnTo>
                    <a:pt x="103" y="259"/>
                  </a:lnTo>
                  <a:lnTo>
                    <a:pt x="100" y="261"/>
                  </a:lnTo>
                  <a:lnTo>
                    <a:pt x="100" y="259"/>
                  </a:lnTo>
                  <a:lnTo>
                    <a:pt x="103" y="263"/>
                  </a:lnTo>
                  <a:lnTo>
                    <a:pt x="103" y="265"/>
                  </a:lnTo>
                  <a:lnTo>
                    <a:pt x="103" y="267"/>
                  </a:lnTo>
                  <a:lnTo>
                    <a:pt x="100" y="269"/>
                  </a:lnTo>
                  <a:lnTo>
                    <a:pt x="98" y="265"/>
                  </a:lnTo>
                  <a:lnTo>
                    <a:pt x="100" y="271"/>
                  </a:lnTo>
                  <a:lnTo>
                    <a:pt x="100" y="271"/>
                  </a:lnTo>
                  <a:lnTo>
                    <a:pt x="100" y="275"/>
                  </a:lnTo>
                  <a:lnTo>
                    <a:pt x="98" y="271"/>
                  </a:lnTo>
                  <a:lnTo>
                    <a:pt x="94" y="271"/>
                  </a:lnTo>
                  <a:lnTo>
                    <a:pt x="94" y="271"/>
                  </a:lnTo>
                  <a:lnTo>
                    <a:pt x="94" y="275"/>
                  </a:lnTo>
                  <a:lnTo>
                    <a:pt x="94" y="275"/>
                  </a:lnTo>
                  <a:lnTo>
                    <a:pt x="94" y="276"/>
                  </a:lnTo>
                  <a:lnTo>
                    <a:pt x="94" y="276"/>
                  </a:lnTo>
                  <a:lnTo>
                    <a:pt x="92" y="276"/>
                  </a:lnTo>
                  <a:lnTo>
                    <a:pt x="90" y="276"/>
                  </a:lnTo>
                  <a:lnTo>
                    <a:pt x="87" y="280"/>
                  </a:lnTo>
                  <a:lnTo>
                    <a:pt x="85" y="282"/>
                  </a:lnTo>
                  <a:lnTo>
                    <a:pt x="83" y="282"/>
                  </a:lnTo>
                  <a:lnTo>
                    <a:pt x="83" y="284"/>
                  </a:lnTo>
                  <a:lnTo>
                    <a:pt x="81" y="288"/>
                  </a:lnTo>
                  <a:lnTo>
                    <a:pt x="79" y="290"/>
                  </a:lnTo>
                  <a:lnTo>
                    <a:pt x="77" y="290"/>
                  </a:lnTo>
                  <a:lnTo>
                    <a:pt x="79" y="291"/>
                  </a:lnTo>
                  <a:lnTo>
                    <a:pt x="70" y="295"/>
                  </a:lnTo>
                  <a:lnTo>
                    <a:pt x="68" y="293"/>
                  </a:lnTo>
                  <a:lnTo>
                    <a:pt x="70" y="291"/>
                  </a:lnTo>
                  <a:lnTo>
                    <a:pt x="73" y="291"/>
                  </a:lnTo>
                  <a:lnTo>
                    <a:pt x="73" y="288"/>
                  </a:lnTo>
                  <a:lnTo>
                    <a:pt x="73" y="290"/>
                  </a:lnTo>
                  <a:lnTo>
                    <a:pt x="70" y="288"/>
                  </a:lnTo>
                  <a:lnTo>
                    <a:pt x="70" y="282"/>
                  </a:lnTo>
                  <a:lnTo>
                    <a:pt x="70" y="282"/>
                  </a:lnTo>
                  <a:lnTo>
                    <a:pt x="70" y="280"/>
                  </a:lnTo>
                  <a:lnTo>
                    <a:pt x="70" y="280"/>
                  </a:lnTo>
                  <a:lnTo>
                    <a:pt x="70" y="275"/>
                  </a:lnTo>
                  <a:lnTo>
                    <a:pt x="73" y="269"/>
                  </a:lnTo>
                  <a:lnTo>
                    <a:pt x="77" y="265"/>
                  </a:lnTo>
                  <a:lnTo>
                    <a:pt x="79" y="263"/>
                  </a:lnTo>
                  <a:lnTo>
                    <a:pt x="75" y="263"/>
                  </a:lnTo>
                  <a:lnTo>
                    <a:pt x="73" y="263"/>
                  </a:lnTo>
                  <a:lnTo>
                    <a:pt x="70" y="265"/>
                  </a:lnTo>
                  <a:lnTo>
                    <a:pt x="70" y="263"/>
                  </a:lnTo>
                  <a:lnTo>
                    <a:pt x="68" y="263"/>
                  </a:lnTo>
                  <a:lnTo>
                    <a:pt x="64" y="263"/>
                  </a:lnTo>
                  <a:lnTo>
                    <a:pt x="64" y="261"/>
                  </a:lnTo>
                  <a:lnTo>
                    <a:pt x="64" y="259"/>
                  </a:lnTo>
                  <a:lnTo>
                    <a:pt x="62" y="258"/>
                  </a:lnTo>
                  <a:lnTo>
                    <a:pt x="64" y="254"/>
                  </a:lnTo>
                  <a:lnTo>
                    <a:pt x="70" y="252"/>
                  </a:lnTo>
                  <a:lnTo>
                    <a:pt x="73" y="246"/>
                  </a:lnTo>
                  <a:lnTo>
                    <a:pt x="75" y="246"/>
                  </a:lnTo>
                  <a:lnTo>
                    <a:pt x="77" y="250"/>
                  </a:lnTo>
                  <a:lnTo>
                    <a:pt x="87" y="246"/>
                  </a:lnTo>
                  <a:lnTo>
                    <a:pt x="90" y="250"/>
                  </a:lnTo>
                  <a:lnTo>
                    <a:pt x="92" y="252"/>
                  </a:lnTo>
                  <a:lnTo>
                    <a:pt x="98" y="250"/>
                  </a:lnTo>
                  <a:lnTo>
                    <a:pt x="94" y="246"/>
                  </a:lnTo>
                  <a:lnTo>
                    <a:pt x="94" y="246"/>
                  </a:lnTo>
                  <a:lnTo>
                    <a:pt x="92" y="242"/>
                  </a:lnTo>
                  <a:lnTo>
                    <a:pt x="88" y="241"/>
                  </a:lnTo>
                  <a:lnTo>
                    <a:pt x="88" y="233"/>
                  </a:lnTo>
                  <a:lnTo>
                    <a:pt x="92" y="231"/>
                  </a:lnTo>
                  <a:lnTo>
                    <a:pt x="100" y="231"/>
                  </a:lnTo>
                  <a:lnTo>
                    <a:pt x="100" y="227"/>
                  </a:lnTo>
                  <a:lnTo>
                    <a:pt x="107" y="226"/>
                  </a:lnTo>
                  <a:lnTo>
                    <a:pt x="109" y="222"/>
                  </a:lnTo>
                  <a:lnTo>
                    <a:pt x="111" y="222"/>
                  </a:lnTo>
                  <a:lnTo>
                    <a:pt x="115" y="220"/>
                  </a:lnTo>
                  <a:lnTo>
                    <a:pt x="117" y="214"/>
                  </a:lnTo>
                  <a:lnTo>
                    <a:pt x="117" y="210"/>
                  </a:lnTo>
                  <a:lnTo>
                    <a:pt x="117" y="205"/>
                  </a:lnTo>
                  <a:lnTo>
                    <a:pt x="117" y="201"/>
                  </a:lnTo>
                  <a:lnTo>
                    <a:pt x="117" y="195"/>
                  </a:lnTo>
                  <a:lnTo>
                    <a:pt x="113" y="188"/>
                  </a:lnTo>
                  <a:lnTo>
                    <a:pt x="109" y="186"/>
                  </a:lnTo>
                  <a:lnTo>
                    <a:pt x="107" y="180"/>
                  </a:lnTo>
                  <a:lnTo>
                    <a:pt x="107" y="180"/>
                  </a:lnTo>
                  <a:lnTo>
                    <a:pt x="111" y="178"/>
                  </a:lnTo>
                  <a:lnTo>
                    <a:pt x="111" y="173"/>
                  </a:lnTo>
                  <a:lnTo>
                    <a:pt x="109" y="171"/>
                  </a:lnTo>
                  <a:lnTo>
                    <a:pt x="109" y="167"/>
                  </a:lnTo>
                  <a:lnTo>
                    <a:pt x="115" y="161"/>
                  </a:lnTo>
                  <a:lnTo>
                    <a:pt x="115" y="158"/>
                  </a:lnTo>
                  <a:lnTo>
                    <a:pt x="111" y="158"/>
                  </a:lnTo>
                  <a:lnTo>
                    <a:pt x="109" y="154"/>
                  </a:lnTo>
                  <a:lnTo>
                    <a:pt x="111" y="150"/>
                  </a:lnTo>
                  <a:lnTo>
                    <a:pt x="113" y="146"/>
                  </a:lnTo>
                  <a:lnTo>
                    <a:pt x="113" y="146"/>
                  </a:lnTo>
                  <a:lnTo>
                    <a:pt x="109" y="146"/>
                  </a:lnTo>
                  <a:lnTo>
                    <a:pt x="107" y="146"/>
                  </a:lnTo>
                  <a:lnTo>
                    <a:pt x="103" y="141"/>
                  </a:lnTo>
                  <a:lnTo>
                    <a:pt x="100" y="141"/>
                  </a:lnTo>
                  <a:lnTo>
                    <a:pt x="100" y="139"/>
                  </a:lnTo>
                  <a:lnTo>
                    <a:pt x="100" y="137"/>
                  </a:lnTo>
                  <a:lnTo>
                    <a:pt x="98" y="137"/>
                  </a:lnTo>
                  <a:lnTo>
                    <a:pt x="94" y="137"/>
                  </a:lnTo>
                  <a:lnTo>
                    <a:pt x="94" y="133"/>
                  </a:lnTo>
                  <a:lnTo>
                    <a:pt x="92" y="131"/>
                  </a:lnTo>
                  <a:lnTo>
                    <a:pt x="90" y="128"/>
                  </a:lnTo>
                  <a:lnTo>
                    <a:pt x="87" y="128"/>
                  </a:lnTo>
                  <a:lnTo>
                    <a:pt x="83" y="126"/>
                  </a:lnTo>
                  <a:lnTo>
                    <a:pt x="81" y="122"/>
                  </a:lnTo>
                  <a:lnTo>
                    <a:pt x="75" y="114"/>
                  </a:lnTo>
                  <a:lnTo>
                    <a:pt x="75" y="113"/>
                  </a:lnTo>
                  <a:lnTo>
                    <a:pt x="73" y="109"/>
                  </a:lnTo>
                  <a:lnTo>
                    <a:pt x="68" y="103"/>
                  </a:lnTo>
                  <a:lnTo>
                    <a:pt x="62" y="99"/>
                  </a:lnTo>
                  <a:lnTo>
                    <a:pt x="58" y="97"/>
                  </a:lnTo>
                  <a:lnTo>
                    <a:pt x="53" y="96"/>
                  </a:lnTo>
                  <a:lnTo>
                    <a:pt x="47" y="94"/>
                  </a:lnTo>
                  <a:lnTo>
                    <a:pt x="45" y="90"/>
                  </a:lnTo>
                  <a:lnTo>
                    <a:pt x="43" y="90"/>
                  </a:lnTo>
                  <a:lnTo>
                    <a:pt x="39" y="88"/>
                  </a:lnTo>
                  <a:lnTo>
                    <a:pt x="43" y="84"/>
                  </a:lnTo>
                  <a:lnTo>
                    <a:pt x="39" y="79"/>
                  </a:lnTo>
                  <a:lnTo>
                    <a:pt x="39" y="77"/>
                  </a:lnTo>
                  <a:lnTo>
                    <a:pt x="43" y="77"/>
                  </a:lnTo>
                  <a:lnTo>
                    <a:pt x="47" y="75"/>
                  </a:lnTo>
                  <a:lnTo>
                    <a:pt x="51" y="75"/>
                  </a:lnTo>
                  <a:lnTo>
                    <a:pt x="53" y="73"/>
                  </a:lnTo>
                  <a:lnTo>
                    <a:pt x="55" y="65"/>
                  </a:lnTo>
                  <a:lnTo>
                    <a:pt x="58" y="64"/>
                  </a:lnTo>
                  <a:lnTo>
                    <a:pt x="58" y="62"/>
                  </a:lnTo>
                  <a:lnTo>
                    <a:pt x="53" y="60"/>
                  </a:lnTo>
                  <a:lnTo>
                    <a:pt x="53" y="58"/>
                  </a:lnTo>
                  <a:lnTo>
                    <a:pt x="53" y="54"/>
                  </a:lnTo>
                  <a:lnTo>
                    <a:pt x="47" y="54"/>
                  </a:lnTo>
                  <a:lnTo>
                    <a:pt x="43" y="50"/>
                  </a:lnTo>
                  <a:lnTo>
                    <a:pt x="39" y="50"/>
                  </a:lnTo>
                  <a:lnTo>
                    <a:pt x="36" y="52"/>
                  </a:lnTo>
                  <a:lnTo>
                    <a:pt x="32" y="50"/>
                  </a:lnTo>
                  <a:lnTo>
                    <a:pt x="23" y="50"/>
                  </a:lnTo>
                  <a:lnTo>
                    <a:pt x="19" y="45"/>
                  </a:lnTo>
                  <a:lnTo>
                    <a:pt x="13" y="37"/>
                  </a:lnTo>
                  <a:lnTo>
                    <a:pt x="13" y="35"/>
                  </a:lnTo>
                  <a:lnTo>
                    <a:pt x="13" y="30"/>
                  </a:lnTo>
                  <a:lnTo>
                    <a:pt x="9" y="28"/>
                  </a:lnTo>
                  <a:lnTo>
                    <a:pt x="6" y="24"/>
                  </a:lnTo>
                  <a:lnTo>
                    <a:pt x="0" y="20"/>
                  </a:lnTo>
                  <a:lnTo>
                    <a:pt x="0" y="18"/>
                  </a:lnTo>
                  <a:lnTo>
                    <a:pt x="0" y="18"/>
                  </a:lnTo>
                  <a:lnTo>
                    <a:pt x="0" y="18"/>
                  </a:lnTo>
                  <a:lnTo>
                    <a:pt x="0" y="18"/>
                  </a:lnTo>
                  <a:close/>
                  <a:moveTo>
                    <a:pt x="51" y="259"/>
                  </a:moveTo>
                  <a:lnTo>
                    <a:pt x="53" y="261"/>
                  </a:lnTo>
                  <a:lnTo>
                    <a:pt x="53" y="265"/>
                  </a:lnTo>
                  <a:lnTo>
                    <a:pt x="53" y="267"/>
                  </a:lnTo>
                  <a:lnTo>
                    <a:pt x="56" y="267"/>
                  </a:lnTo>
                  <a:lnTo>
                    <a:pt x="56" y="261"/>
                  </a:lnTo>
                  <a:lnTo>
                    <a:pt x="55" y="259"/>
                  </a:lnTo>
                  <a:lnTo>
                    <a:pt x="55" y="258"/>
                  </a:lnTo>
                  <a:lnTo>
                    <a:pt x="51" y="259"/>
                  </a:lnTo>
                  <a:lnTo>
                    <a:pt x="51" y="259"/>
                  </a:lnTo>
                  <a:lnTo>
                    <a:pt x="51" y="259"/>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0" name="Freeform 201">
              <a:extLst>
                <a:ext uri="{FF2B5EF4-FFF2-40B4-BE49-F238E27FC236}">
                  <a16:creationId xmlns:a16="http://schemas.microsoft.com/office/drawing/2014/main" id="{27E15D7B-8388-C941-B854-52C7615E5281}"/>
                </a:ext>
              </a:extLst>
            </p:cNvPr>
            <p:cNvSpPr>
              <a:spLocks noEditPoints="1"/>
            </p:cNvSpPr>
            <p:nvPr/>
          </p:nvSpPr>
          <p:spPr bwMode="auto">
            <a:xfrm>
              <a:off x="7885710" y="3144712"/>
              <a:ext cx="637442" cy="615143"/>
            </a:xfrm>
            <a:custGeom>
              <a:avLst/>
              <a:gdLst/>
              <a:ahLst/>
              <a:cxnLst>
                <a:cxn ang="0">
                  <a:pos x="744" y="337"/>
                </a:cxn>
                <a:cxn ang="0">
                  <a:pos x="706" y="256"/>
                </a:cxn>
                <a:cxn ang="0">
                  <a:pos x="572" y="9"/>
                </a:cxn>
                <a:cxn ang="0">
                  <a:pos x="518" y="132"/>
                </a:cxn>
                <a:cxn ang="0">
                  <a:pos x="459" y="71"/>
                </a:cxn>
                <a:cxn ang="0">
                  <a:pos x="463" y="75"/>
                </a:cxn>
                <a:cxn ang="0">
                  <a:pos x="463" y="28"/>
                </a:cxn>
                <a:cxn ang="0">
                  <a:pos x="454" y="34"/>
                </a:cxn>
                <a:cxn ang="0">
                  <a:pos x="395" y="24"/>
                </a:cxn>
                <a:cxn ang="0">
                  <a:pos x="354" y="20"/>
                </a:cxn>
                <a:cxn ang="0">
                  <a:pos x="354" y="24"/>
                </a:cxn>
                <a:cxn ang="0">
                  <a:pos x="250" y="86"/>
                </a:cxn>
                <a:cxn ang="0">
                  <a:pos x="0" y="310"/>
                </a:cxn>
                <a:cxn ang="0">
                  <a:pos x="407" y="574"/>
                </a:cxn>
                <a:cxn ang="0">
                  <a:pos x="531" y="650"/>
                </a:cxn>
                <a:cxn ang="0">
                  <a:pos x="508" y="708"/>
                </a:cxn>
                <a:cxn ang="0">
                  <a:pos x="497" y="680"/>
                </a:cxn>
                <a:cxn ang="0">
                  <a:pos x="565" y="704"/>
                </a:cxn>
                <a:cxn ang="0">
                  <a:pos x="546" y="774"/>
                </a:cxn>
                <a:cxn ang="0">
                  <a:pos x="497" y="785"/>
                </a:cxn>
                <a:cxn ang="0">
                  <a:pos x="501" y="712"/>
                </a:cxn>
                <a:cxn ang="0">
                  <a:pos x="559" y="723"/>
                </a:cxn>
                <a:cxn ang="0">
                  <a:pos x="544" y="783"/>
                </a:cxn>
                <a:cxn ang="0">
                  <a:pos x="510" y="796"/>
                </a:cxn>
                <a:cxn ang="0">
                  <a:pos x="45" y="529"/>
                </a:cxn>
                <a:cxn ang="0">
                  <a:pos x="107" y="504"/>
                </a:cxn>
                <a:cxn ang="0">
                  <a:pos x="175" y="486"/>
                </a:cxn>
                <a:cxn ang="0">
                  <a:pos x="305" y="459"/>
                </a:cxn>
                <a:cxn ang="0">
                  <a:pos x="360" y="491"/>
                </a:cxn>
                <a:cxn ang="0">
                  <a:pos x="388" y="533"/>
                </a:cxn>
                <a:cxn ang="0">
                  <a:pos x="420" y="516"/>
                </a:cxn>
                <a:cxn ang="0">
                  <a:pos x="429" y="553"/>
                </a:cxn>
                <a:cxn ang="0">
                  <a:pos x="439" y="604"/>
                </a:cxn>
                <a:cxn ang="0">
                  <a:pos x="505" y="653"/>
                </a:cxn>
                <a:cxn ang="0">
                  <a:pos x="537" y="661"/>
                </a:cxn>
                <a:cxn ang="0">
                  <a:pos x="572" y="642"/>
                </a:cxn>
                <a:cxn ang="0">
                  <a:pos x="659" y="553"/>
                </a:cxn>
                <a:cxn ang="0">
                  <a:pos x="708" y="480"/>
                </a:cxn>
                <a:cxn ang="0">
                  <a:pos x="736" y="367"/>
                </a:cxn>
                <a:cxn ang="0">
                  <a:pos x="713" y="292"/>
                </a:cxn>
                <a:cxn ang="0">
                  <a:pos x="689" y="258"/>
                </a:cxn>
                <a:cxn ang="0">
                  <a:pos x="663" y="199"/>
                </a:cxn>
                <a:cxn ang="0">
                  <a:pos x="631" y="141"/>
                </a:cxn>
                <a:cxn ang="0">
                  <a:pos x="601" y="86"/>
                </a:cxn>
                <a:cxn ang="0">
                  <a:pos x="580" y="15"/>
                </a:cxn>
                <a:cxn ang="0">
                  <a:pos x="559" y="83"/>
                </a:cxn>
                <a:cxn ang="0">
                  <a:pos x="506" y="137"/>
                </a:cxn>
                <a:cxn ang="0">
                  <a:pos x="448" y="86"/>
                </a:cxn>
                <a:cxn ang="0">
                  <a:pos x="476" y="41"/>
                </a:cxn>
                <a:cxn ang="0">
                  <a:pos x="442" y="43"/>
                </a:cxn>
                <a:cxn ang="0">
                  <a:pos x="393" y="24"/>
                </a:cxn>
                <a:cxn ang="0">
                  <a:pos x="363" y="41"/>
                </a:cxn>
                <a:cxn ang="0">
                  <a:pos x="333" y="77"/>
                </a:cxn>
                <a:cxn ang="0">
                  <a:pos x="326" y="98"/>
                </a:cxn>
                <a:cxn ang="0">
                  <a:pos x="296" y="81"/>
                </a:cxn>
                <a:cxn ang="0">
                  <a:pos x="260" y="86"/>
                </a:cxn>
                <a:cxn ang="0">
                  <a:pos x="237" y="113"/>
                </a:cxn>
                <a:cxn ang="0">
                  <a:pos x="222" y="135"/>
                </a:cxn>
                <a:cxn ang="0">
                  <a:pos x="192" y="156"/>
                </a:cxn>
                <a:cxn ang="0">
                  <a:pos x="104" y="209"/>
                </a:cxn>
                <a:cxn ang="0">
                  <a:pos x="34" y="229"/>
                </a:cxn>
                <a:cxn ang="0">
                  <a:pos x="13" y="318"/>
                </a:cxn>
                <a:cxn ang="0">
                  <a:pos x="25" y="435"/>
                </a:cxn>
              </a:cxnLst>
              <a:rect l="0" t="0" r="r" b="b"/>
              <a:pathLst>
                <a:path w="747" h="802">
                  <a:moveTo>
                    <a:pt x="740" y="382"/>
                  </a:moveTo>
                  <a:lnTo>
                    <a:pt x="742" y="376"/>
                  </a:lnTo>
                  <a:lnTo>
                    <a:pt x="742" y="380"/>
                  </a:lnTo>
                  <a:lnTo>
                    <a:pt x="740" y="382"/>
                  </a:lnTo>
                  <a:lnTo>
                    <a:pt x="740" y="382"/>
                  </a:lnTo>
                  <a:lnTo>
                    <a:pt x="740" y="382"/>
                  </a:lnTo>
                  <a:lnTo>
                    <a:pt x="740" y="382"/>
                  </a:lnTo>
                  <a:close/>
                  <a:moveTo>
                    <a:pt x="742" y="337"/>
                  </a:moveTo>
                  <a:lnTo>
                    <a:pt x="740" y="331"/>
                  </a:lnTo>
                  <a:lnTo>
                    <a:pt x="742" y="326"/>
                  </a:lnTo>
                  <a:lnTo>
                    <a:pt x="742" y="324"/>
                  </a:lnTo>
                  <a:lnTo>
                    <a:pt x="744" y="318"/>
                  </a:lnTo>
                  <a:lnTo>
                    <a:pt x="747" y="316"/>
                  </a:lnTo>
                  <a:lnTo>
                    <a:pt x="744" y="314"/>
                  </a:lnTo>
                  <a:lnTo>
                    <a:pt x="747" y="310"/>
                  </a:lnTo>
                  <a:lnTo>
                    <a:pt x="747" y="310"/>
                  </a:lnTo>
                  <a:lnTo>
                    <a:pt x="747" y="316"/>
                  </a:lnTo>
                  <a:lnTo>
                    <a:pt x="747" y="322"/>
                  </a:lnTo>
                  <a:lnTo>
                    <a:pt x="744" y="326"/>
                  </a:lnTo>
                  <a:lnTo>
                    <a:pt x="744" y="333"/>
                  </a:lnTo>
                  <a:lnTo>
                    <a:pt x="744" y="337"/>
                  </a:lnTo>
                  <a:lnTo>
                    <a:pt x="742" y="337"/>
                  </a:lnTo>
                  <a:lnTo>
                    <a:pt x="742" y="337"/>
                  </a:lnTo>
                  <a:lnTo>
                    <a:pt x="742" y="337"/>
                  </a:lnTo>
                  <a:lnTo>
                    <a:pt x="742" y="337"/>
                  </a:lnTo>
                  <a:close/>
                  <a:moveTo>
                    <a:pt x="712" y="282"/>
                  </a:moveTo>
                  <a:lnTo>
                    <a:pt x="713" y="286"/>
                  </a:lnTo>
                  <a:lnTo>
                    <a:pt x="717" y="290"/>
                  </a:lnTo>
                  <a:lnTo>
                    <a:pt x="717" y="286"/>
                  </a:lnTo>
                  <a:lnTo>
                    <a:pt x="713" y="284"/>
                  </a:lnTo>
                  <a:lnTo>
                    <a:pt x="713" y="282"/>
                  </a:lnTo>
                  <a:lnTo>
                    <a:pt x="713" y="282"/>
                  </a:lnTo>
                  <a:lnTo>
                    <a:pt x="712" y="280"/>
                  </a:lnTo>
                  <a:lnTo>
                    <a:pt x="712" y="282"/>
                  </a:lnTo>
                  <a:lnTo>
                    <a:pt x="712" y="282"/>
                  </a:lnTo>
                  <a:lnTo>
                    <a:pt x="712" y="282"/>
                  </a:lnTo>
                  <a:lnTo>
                    <a:pt x="712" y="282"/>
                  </a:lnTo>
                  <a:close/>
                  <a:moveTo>
                    <a:pt x="706" y="256"/>
                  </a:moveTo>
                  <a:lnTo>
                    <a:pt x="706" y="254"/>
                  </a:lnTo>
                  <a:lnTo>
                    <a:pt x="704" y="254"/>
                  </a:lnTo>
                  <a:lnTo>
                    <a:pt x="706" y="256"/>
                  </a:lnTo>
                  <a:lnTo>
                    <a:pt x="706" y="256"/>
                  </a:lnTo>
                  <a:lnTo>
                    <a:pt x="706" y="256"/>
                  </a:lnTo>
                  <a:lnTo>
                    <a:pt x="706" y="256"/>
                  </a:lnTo>
                  <a:close/>
                  <a:moveTo>
                    <a:pt x="634" y="175"/>
                  </a:moveTo>
                  <a:lnTo>
                    <a:pt x="638" y="171"/>
                  </a:lnTo>
                  <a:lnTo>
                    <a:pt x="634" y="169"/>
                  </a:lnTo>
                  <a:lnTo>
                    <a:pt x="638" y="169"/>
                  </a:lnTo>
                  <a:lnTo>
                    <a:pt x="638" y="165"/>
                  </a:lnTo>
                  <a:lnTo>
                    <a:pt x="638" y="173"/>
                  </a:lnTo>
                  <a:lnTo>
                    <a:pt x="638" y="177"/>
                  </a:lnTo>
                  <a:lnTo>
                    <a:pt x="634" y="175"/>
                  </a:lnTo>
                  <a:lnTo>
                    <a:pt x="634" y="175"/>
                  </a:lnTo>
                  <a:lnTo>
                    <a:pt x="634" y="175"/>
                  </a:lnTo>
                  <a:lnTo>
                    <a:pt x="634" y="175"/>
                  </a:lnTo>
                  <a:close/>
                  <a:moveTo>
                    <a:pt x="576" y="0"/>
                  </a:moveTo>
                  <a:lnTo>
                    <a:pt x="576" y="3"/>
                  </a:lnTo>
                  <a:lnTo>
                    <a:pt x="576" y="0"/>
                  </a:lnTo>
                  <a:lnTo>
                    <a:pt x="576" y="0"/>
                  </a:lnTo>
                  <a:lnTo>
                    <a:pt x="576" y="0"/>
                  </a:lnTo>
                  <a:lnTo>
                    <a:pt x="576" y="0"/>
                  </a:lnTo>
                  <a:lnTo>
                    <a:pt x="576" y="0"/>
                  </a:lnTo>
                  <a:close/>
                  <a:moveTo>
                    <a:pt x="572" y="9"/>
                  </a:moveTo>
                  <a:lnTo>
                    <a:pt x="572" y="13"/>
                  </a:lnTo>
                  <a:lnTo>
                    <a:pt x="574" y="13"/>
                  </a:lnTo>
                  <a:lnTo>
                    <a:pt x="576" y="11"/>
                  </a:lnTo>
                  <a:lnTo>
                    <a:pt x="576" y="9"/>
                  </a:lnTo>
                  <a:lnTo>
                    <a:pt x="572" y="9"/>
                  </a:lnTo>
                  <a:lnTo>
                    <a:pt x="572" y="9"/>
                  </a:lnTo>
                  <a:lnTo>
                    <a:pt x="572" y="9"/>
                  </a:lnTo>
                  <a:lnTo>
                    <a:pt x="572" y="9"/>
                  </a:lnTo>
                  <a:close/>
                  <a:moveTo>
                    <a:pt x="514" y="141"/>
                  </a:moveTo>
                  <a:lnTo>
                    <a:pt x="514" y="145"/>
                  </a:lnTo>
                  <a:lnTo>
                    <a:pt x="516" y="141"/>
                  </a:lnTo>
                  <a:lnTo>
                    <a:pt x="516" y="141"/>
                  </a:lnTo>
                  <a:lnTo>
                    <a:pt x="514" y="141"/>
                  </a:lnTo>
                  <a:lnTo>
                    <a:pt x="514" y="141"/>
                  </a:lnTo>
                  <a:lnTo>
                    <a:pt x="514" y="141"/>
                  </a:lnTo>
                  <a:lnTo>
                    <a:pt x="514" y="141"/>
                  </a:lnTo>
                  <a:close/>
                  <a:moveTo>
                    <a:pt x="508" y="132"/>
                  </a:moveTo>
                  <a:lnTo>
                    <a:pt x="510" y="135"/>
                  </a:lnTo>
                  <a:lnTo>
                    <a:pt x="512" y="135"/>
                  </a:lnTo>
                  <a:lnTo>
                    <a:pt x="516" y="132"/>
                  </a:lnTo>
                  <a:lnTo>
                    <a:pt x="518" y="132"/>
                  </a:lnTo>
                  <a:lnTo>
                    <a:pt x="518" y="130"/>
                  </a:lnTo>
                  <a:lnTo>
                    <a:pt x="514" y="130"/>
                  </a:lnTo>
                  <a:lnTo>
                    <a:pt x="510" y="132"/>
                  </a:lnTo>
                  <a:lnTo>
                    <a:pt x="510" y="132"/>
                  </a:lnTo>
                  <a:lnTo>
                    <a:pt x="508" y="132"/>
                  </a:lnTo>
                  <a:lnTo>
                    <a:pt x="508" y="132"/>
                  </a:lnTo>
                  <a:lnTo>
                    <a:pt x="508" y="132"/>
                  </a:lnTo>
                  <a:lnTo>
                    <a:pt x="508" y="132"/>
                  </a:lnTo>
                  <a:close/>
                  <a:moveTo>
                    <a:pt x="473" y="115"/>
                  </a:moveTo>
                  <a:lnTo>
                    <a:pt x="469" y="113"/>
                  </a:lnTo>
                  <a:lnTo>
                    <a:pt x="473" y="111"/>
                  </a:lnTo>
                  <a:lnTo>
                    <a:pt x="473" y="113"/>
                  </a:lnTo>
                  <a:lnTo>
                    <a:pt x="473" y="115"/>
                  </a:lnTo>
                  <a:lnTo>
                    <a:pt x="473" y="115"/>
                  </a:lnTo>
                  <a:lnTo>
                    <a:pt x="473" y="115"/>
                  </a:lnTo>
                  <a:lnTo>
                    <a:pt x="473" y="115"/>
                  </a:lnTo>
                  <a:close/>
                  <a:moveTo>
                    <a:pt x="459" y="77"/>
                  </a:moveTo>
                  <a:lnTo>
                    <a:pt x="459" y="75"/>
                  </a:lnTo>
                  <a:lnTo>
                    <a:pt x="457" y="75"/>
                  </a:lnTo>
                  <a:lnTo>
                    <a:pt x="457" y="73"/>
                  </a:lnTo>
                  <a:lnTo>
                    <a:pt x="459" y="71"/>
                  </a:lnTo>
                  <a:lnTo>
                    <a:pt x="461" y="75"/>
                  </a:lnTo>
                  <a:lnTo>
                    <a:pt x="459" y="77"/>
                  </a:lnTo>
                  <a:lnTo>
                    <a:pt x="459" y="77"/>
                  </a:lnTo>
                  <a:lnTo>
                    <a:pt x="459" y="77"/>
                  </a:lnTo>
                  <a:lnTo>
                    <a:pt x="459" y="77"/>
                  </a:lnTo>
                  <a:close/>
                  <a:moveTo>
                    <a:pt x="463" y="81"/>
                  </a:moveTo>
                  <a:lnTo>
                    <a:pt x="463" y="83"/>
                  </a:lnTo>
                  <a:lnTo>
                    <a:pt x="463" y="83"/>
                  </a:lnTo>
                  <a:lnTo>
                    <a:pt x="467" y="83"/>
                  </a:lnTo>
                  <a:lnTo>
                    <a:pt x="473" y="83"/>
                  </a:lnTo>
                  <a:lnTo>
                    <a:pt x="473" y="81"/>
                  </a:lnTo>
                  <a:lnTo>
                    <a:pt x="473" y="79"/>
                  </a:lnTo>
                  <a:lnTo>
                    <a:pt x="469" y="79"/>
                  </a:lnTo>
                  <a:lnTo>
                    <a:pt x="467" y="79"/>
                  </a:lnTo>
                  <a:lnTo>
                    <a:pt x="473" y="75"/>
                  </a:lnTo>
                  <a:lnTo>
                    <a:pt x="473" y="75"/>
                  </a:lnTo>
                  <a:lnTo>
                    <a:pt x="467" y="75"/>
                  </a:lnTo>
                  <a:lnTo>
                    <a:pt x="467" y="73"/>
                  </a:lnTo>
                  <a:lnTo>
                    <a:pt x="467" y="73"/>
                  </a:lnTo>
                  <a:lnTo>
                    <a:pt x="463" y="75"/>
                  </a:lnTo>
                  <a:lnTo>
                    <a:pt x="463" y="75"/>
                  </a:lnTo>
                  <a:lnTo>
                    <a:pt x="463" y="77"/>
                  </a:lnTo>
                  <a:lnTo>
                    <a:pt x="463" y="77"/>
                  </a:lnTo>
                  <a:lnTo>
                    <a:pt x="463" y="81"/>
                  </a:lnTo>
                  <a:lnTo>
                    <a:pt x="463" y="81"/>
                  </a:lnTo>
                  <a:lnTo>
                    <a:pt x="463" y="81"/>
                  </a:lnTo>
                  <a:lnTo>
                    <a:pt x="463" y="81"/>
                  </a:lnTo>
                  <a:close/>
                  <a:moveTo>
                    <a:pt x="467" y="24"/>
                  </a:moveTo>
                  <a:lnTo>
                    <a:pt x="467" y="26"/>
                  </a:lnTo>
                  <a:lnTo>
                    <a:pt x="469" y="22"/>
                  </a:lnTo>
                  <a:lnTo>
                    <a:pt x="473" y="20"/>
                  </a:lnTo>
                  <a:lnTo>
                    <a:pt x="473" y="18"/>
                  </a:lnTo>
                  <a:lnTo>
                    <a:pt x="467" y="22"/>
                  </a:lnTo>
                  <a:lnTo>
                    <a:pt x="467" y="24"/>
                  </a:lnTo>
                  <a:lnTo>
                    <a:pt x="467" y="24"/>
                  </a:lnTo>
                  <a:lnTo>
                    <a:pt x="467" y="24"/>
                  </a:lnTo>
                  <a:lnTo>
                    <a:pt x="467" y="24"/>
                  </a:lnTo>
                  <a:close/>
                  <a:moveTo>
                    <a:pt x="463" y="28"/>
                  </a:moveTo>
                  <a:lnTo>
                    <a:pt x="463" y="28"/>
                  </a:lnTo>
                  <a:lnTo>
                    <a:pt x="463" y="26"/>
                  </a:lnTo>
                  <a:lnTo>
                    <a:pt x="463" y="28"/>
                  </a:lnTo>
                  <a:lnTo>
                    <a:pt x="463" y="28"/>
                  </a:lnTo>
                  <a:lnTo>
                    <a:pt x="463" y="28"/>
                  </a:lnTo>
                  <a:lnTo>
                    <a:pt x="463" y="28"/>
                  </a:lnTo>
                  <a:close/>
                  <a:moveTo>
                    <a:pt x="459" y="28"/>
                  </a:moveTo>
                  <a:lnTo>
                    <a:pt x="461" y="32"/>
                  </a:lnTo>
                  <a:lnTo>
                    <a:pt x="461" y="28"/>
                  </a:lnTo>
                  <a:lnTo>
                    <a:pt x="459" y="28"/>
                  </a:lnTo>
                  <a:lnTo>
                    <a:pt x="459" y="28"/>
                  </a:lnTo>
                  <a:lnTo>
                    <a:pt x="459" y="28"/>
                  </a:lnTo>
                  <a:lnTo>
                    <a:pt x="459" y="28"/>
                  </a:lnTo>
                  <a:close/>
                  <a:moveTo>
                    <a:pt x="452" y="32"/>
                  </a:moveTo>
                  <a:lnTo>
                    <a:pt x="456" y="32"/>
                  </a:lnTo>
                  <a:lnTo>
                    <a:pt x="456" y="32"/>
                  </a:lnTo>
                  <a:lnTo>
                    <a:pt x="452" y="32"/>
                  </a:lnTo>
                  <a:lnTo>
                    <a:pt x="452" y="32"/>
                  </a:lnTo>
                  <a:lnTo>
                    <a:pt x="452" y="32"/>
                  </a:lnTo>
                  <a:lnTo>
                    <a:pt x="452" y="32"/>
                  </a:lnTo>
                  <a:close/>
                  <a:moveTo>
                    <a:pt x="448" y="37"/>
                  </a:moveTo>
                  <a:lnTo>
                    <a:pt x="448" y="37"/>
                  </a:lnTo>
                  <a:lnTo>
                    <a:pt x="452" y="32"/>
                  </a:lnTo>
                  <a:lnTo>
                    <a:pt x="454" y="32"/>
                  </a:lnTo>
                  <a:lnTo>
                    <a:pt x="454" y="34"/>
                  </a:lnTo>
                  <a:lnTo>
                    <a:pt x="450" y="37"/>
                  </a:lnTo>
                  <a:lnTo>
                    <a:pt x="448" y="37"/>
                  </a:lnTo>
                  <a:lnTo>
                    <a:pt x="448" y="37"/>
                  </a:lnTo>
                  <a:lnTo>
                    <a:pt x="448" y="37"/>
                  </a:lnTo>
                  <a:lnTo>
                    <a:pt x="448" y="37"/>
                  </a:lnTo>
                  <a:close/>
                  <a:moveTo>
                    <a:pt x="442" y="39"/>
                  </a:moveTo>
                  <a:lnTo>
                    <a:pt x="442" y="39"/>
                  </a:lnTo>
                  <a:lnTo>
                    <a:pt x="446" y="37"/>
                  </a:lnTo>
                  <a:lnTo>
                    <a:pt x="446" y="37"/>
                  </a:lnTo>
                  <a:lnTo>
                    <a:pt x="442" y="39"/>
                  </a:lnTo>
                  <a:lnTo>
                    <a:pt x="442" y="39"/>
                  </a:lnTo>
                  <a:lnTo>
                    <a:pt x="442" y="39"/>
                  </a:lnTo>
                  <a:lnTo>
                    <a:pt x="442" y="39"/>
                  </a:lnTo>
                  <a:close/>
                  <a:moveTo>
                    <a:pt x="395" y="24"/>
                  </a:moveTo>
                  <a:lnTo>
                    <a:pt x="393" y="20"/>
                  </a:lnTo>
                  <a:lnTo>
                    <a:pt x="393" y="18"/>
                  </a:lnTo>
                  <a:lnTo>
                    <a:pt x="397" y="17"/>
                  </a:lnTo>
                  <a:lnTo>
                    <a:pt x="395" y="20"/>
                  </a:lnTo>
                  <a:lnTo>
                    <a:pt x="395" y="24"/>
                  </a:lnTo>
                  <a:lnTo>
                    <a:pt x="395" y="24"/>
                  </a:lnTo>
                  <a:lnTo>
                    <a:pt x="395" y="24"/>
                  </a:lnTo>
                  <a:lnTo>
                    <a:pt x="395" y="24"/>
                  </a:lnTo>
                  <a:close/>
                  <a:moveTo>
                    <a:pt x="354" y="22"/>
                  </a:moveTo>
                  <a:lnTo>
                    <a:pt x="354" y="26"/>
                  </a:lnTo>
                  <a:lnTo>
                    <a:pt x="360" y="28"/>
                  </a:lnTo>
                  <a:lnTo>
                    <a:pt x="360" y="32"/>
                  </a:lnTo>
                  <a:lnTo>
                    <a:pt x="365" y="37"/>
                  </a:lnTo>
                  <a:lnTo>
                    <a:pt x="373" y="28"/>
                  </a:lnTo>
                  <a:lnTo>
                    <a:pt x="373" y="28"/>
                  </a:lnTo>
                  <a:lnTo>
                    <a:pt x="375" y="28"/>
                  </a:lnTo>
                  <a:lnTo>
                    <a:pt x="377" y="26"/>
                  </a:lnTo>
                  <a:lnTo>
                    <a:pt x="375" y="24"/>
                  </a:lnTo>
                  <a:lnTo>
                    <a:pt x="373" y="22"/>
                  </a:lnTo>
                  <a:lnTo>
                    <a:pt x="371" y="22"/>
                  </a:lnTo>
                  <a:lnTo>
                    <a:pt x="369" y="24"/>
                  </a:lnTo>
                  <a:lnTo>
                    <a:pt x="363" y="24"/>
                  </a:lnTo>
                  <a:lnTo>
                    <a:pt x="363" y="26"/>
                  </a:lnTo>
                  <a:lnTo>
                    <a:pt x="360" y="26"/>
                  </a:lnTo>
                  <a:lnTo>
                    <a:pt x="360" y="24"/>
                  </a:lnTo>
                  <a:lnTo>
                    <a:pt x="358" y="24"/>
                  </a:lnTo>
                  <a:lnTo>
                    <a:pt x="354" y="20"/>
                  </a:lnTo>
                  <a:lnTo>
                    <a:pt x="354" y="20"/>
                  </a:lnTo>
                  <a:lnTo>
                    <a:pt x="354" y="22"/>
                  </a:lnTo>
                  <a:lnTo>
                    <a:pt x="354" y="22"/>
                  </a:lnTo>
                  <a:lnTo>
                    <a:pt x="354" y="22"/>
                  </a:lnTo>
                  <a:lnTo>
                    <a:pt x="354" y="22"/>
                  </a:lnTo>
                  <a:close/>
                  <a:moveTo>
                    <a:pt x="354" y="24"/>
                  </a:moveTo>
                  <a:lnTo>
                    <a:pt x="354" y="28"/>
                  </a:lnTo>
                  <a:lnTo>
                    <a:pt x="360" y="32"/>
                  </a:lnTo>
                  <a:lnTo>
                    <a:pt x="360" y="32"/>
                  </a:lnTo>
                  <a:lnTo>
                    <a:pt x="354" y="32"/>
                  </a:lnTo>
                  <a:lnTo>
                    <a:pt x="354" y="32"/>
                  </a:lnTo>
                  <a:lnTo>
                    <a:pt x="348" y="28"/>
                  </a:lnTo>
                  <a:lnTo>
                    <a:pt x="348" y="28"/>
                  </a:lnTo>
                  <a:lnTo>
                    <a:pt x="350" y="28"/>
                  </a:lnTo>
                  <a:lnTo>
                    <a:pt x="350" y="28"/>
                  </a:lnTo>
                  <a:lnTo>
                    <a:pt x="350" y="28"/>
                  </a:lnTo>
                  <a:lnTo>
                    <a:pt x="350" y="28"/>
                  </a:lnTo>
                  <a:lnTo>
                    <a:pt x="350" y="26"/>
                  </a:lnTo>
                  <a:lnTo>
                    <a:pt x="350" y="24"/>
                  </a:lnTo>
                  <a:lnTo>
                    <a:pt x="354" y="24"/>
                  </a:lnTo>
                  <a:lnTo>
                    <a:pt x="354" y="24"/>
                  </a:lnTo>
                  <a:lnTo>
                    <a:pt x="354" y="24"/>
                  </a:lnTo>
                  <a:lnTo>
                    <a:pt x="354" y="24"/>
                  </a:lnTo>
                  <a:close/>
                  <a:moveTo>
                    <a:pt x="235" y="103"/>
                  </a:moveTo>
                  <a:lnTo>
                    <a:pt x="237" y="105"/>
                  </a:lnTo>
                  <a:lnTo>
                    <a:pt x="241" y="103"/>
                  </a:lnTo>
                  <a:lnTo>
                    <a:pt x="237" y="99"/>
                  </a:lnTo>
                  <a:lnTo>
                    <a:pt x="237" y="99"/>
                  </a:lnTo>
                  <a:lnTo>
                    <a:pt x="235" y="103"/>
                  </a:lnTo>
                  <a:lnTo>
                    <a:pt x="235" y="103"/>
                  </a:lnTo>
                  <a:lnTo>
                    <a:pt x="235" y="103"/>
                  </a:lnTo>
                  <a:lnTo>
                    <a:pt x="235" y="103"/>
                  </a:lnTo>
                  <a:close/>
                  <a:moveTo>
                    <a:pt x="237" y="115"/>
                  </a:moveTo>
                  <a:lnTo>
                    <a:pt x="235" y="111"/>
                  </a:lnTo>
                  <a:lnTo>
                    <a:pt x="233" y="107"/>
                  </a:lnTo>
                  <a:lnTo>
                    <a:pt x="233" y="113"/>
                  </a:lnTo>
                  <a:lnTo>
                    <a:pt x="237" y="115"/>
                  </a:lnTo>
                  <a:lnTo>
                    <a:pt x="237" y="115"/>
                  </a:lnTo>
                  <a:lnTo>
                    <a:pt x="237" y="115"/>
                  </a:lnTo>
                  <a:lnTo>
                    <a:pt x="237" y="115"/>
                  </a:lnTo>
                  <a:close/>
                  <a:moveTo>
                    <a:pt x="250" y="86"/>
                  </a:moveTo>
                  <a:lnTo>
                    <a:pt x="250" y="86"/>
                  </a:lnTo>
                  <a:lnTo>
                    <a:pt x="250" y="86"/>
                  </a:lnTo>
                  <a:lnTo>
                    <a:pt x="252" y="86"/>
                  </a:lnTo>
                  <a:lnTo>
                    <a:pt x="250" y="86"/>
                  </a:lnTo>
                  <a:lnTo>
                    <a:pt x="250" y="86"/>
                  </a:lnTo>
                  <a:lnTo>
                    <a:pt x="250" y="86"/>
                  </a:lnTo>
                  <a:lnTo>
                    <a:pt x="250" y="86"/>
                  </a:lnTo>
                  <a:close/>
                  <a:moveTo>
                    <a:pt x="55" y="214"/>
                  </a:moveTo>
                  <a:lnTo>
                    <a:pt x="55" y="213"/>
                  </a:lnTo>
                  <a:lnTo>
                    <a:pt x="58" y="209"/>
                  </a:lnTo>
                  <a:lnTo>
                    <a:pt x="58" y="213"/>
                  </a:lnTo>
                  <a:lnTo>
                    <a:pt x="55" y="214"/>
                  </a:lnTo>
                  <a:lnTo>
                    <a:pt x="55" y="214"/>
                  </a:lnTo>
                  <a:lnTo>
                    <a:pt x="55" y="214"/>
                  </a:lnTo>
                  <a:lnTo>
                    <a:pt x="55" y="214"/>
                  </a:lnTo>
                  <a:close/>
                  <a:moveTo>
                    <a:pt x="0" y="310"/>
                  </a:moveTo>
                  <a:lnTo>
                    <a:pt x="2" y="301"/>
                  </a:lnTo>
                  <a:lnTo>
                    <a:pt x="2" y="307"/>
                  </a:lnTo>
                  <a:lnTo>
                    <a:pt x="2" y="307"/>
                  </a:lnTo>
                  <a:lnTo>
                    <a:pt x="0" y="310"/>
                  </a:lnTo>
                  <a:lnTo>
                    <a:pt x="0" y="310"/>
                  </a:lnTo>
                  <a:lnTo>
                    <a:pt x="0" y="310"/>
                  </a:lnTo>
                  <a:lnTo>
                    <a:pt x="0" y="310"/>
                  </a:lnTo>
                  <a:close/>
                  <a:moveTo>
                    <a:pt x="0" y="324"/>
                  </a:moveTo>
                  <a:lnTo>
                    <a:pt x="0" y="318"/>
                  </a:lnTo>
                  <a:lnTo>
                    <a:pt x="0" y="312"/>
                  </a:lnTo>
                  <a:lnTo>
                    <a:pt x="2" y="318"/>
                  </a:lnTo>
                  <a:lnTo>
                    <a:pt x="0" y="324"/>
                  </a:lnTo>
                  <a:lnTo>
                    <a:pt x="0" y="324"/>
                  </a:lnTo>
                  <a:lnTo>
                    <a:pt x="0" y="324"/>
                  </a:lnTo>
                  <a:lnTo>
                    <a:pt x="0" y="324"/>
                  </a:lnTo>
                  <a:close/>
                  <a:moveTo>
                    <a:pt x="409" y="563"/>
                  </a:moveTo>
                  <a:lnTo>
                    <a:pt x="409" y="567"/>
                  </a:lnTo>
                  <a:lnTo>
                    <a:pt x="409" y="567"/>
                  </a:lnTo>
                  <a:lnTo>
                    <a:pt x="412" y="567"/>
                  </a:lnTo>
                  <a:lnTo>
                    <a:pt x="412" y="569"/>
                  </a:lnTo>
                  <a:lnTo>
                    <a:pt x="414" y="569"/>
                  </a:lnTo>
                  <a:lnTo>
                    <a:pt x="418" y="569"/>
                  </a:lnTo>
                  <a:lnTo>
                    <a:pt x="418" y="569"/>
                  </a:lnTo>
                  <a:lnTo>
                    <a:pt x="418" y="572"/>
                  </a:lnTo>
                  <a:lnTo>
                    <a:pt x="409" y="570"/>
                  </a:lnTo>
                  <a:lnTo>
                    <a:pt x="409" y="572"/>
                  </a:lnTo>
                  <a:lnTo>
                    <a:pt x="407" y="572"/>
                  </a:lnTo>
                  <a:lnTo>
                    <a:pt x="407" y="574"/>
                  </a:lnTo>
                  <a:lnTo>
                    <a:pt x="405" y="574"/>
                  </a:lnTo>
                  <a:lnTo>
                    <a:pt x="403" y="572"/>
                  </a:lnTo>
                  <a:lnTo>
                    <a:pt x="401" y="572"/>
                  </a:lnTo>
                  <a:lnTo>
                    <a:pt x="397" y="572"/>
                  </a:lnTo>
                  <a:lnTo>
                    <a:pt x="395" y="572"/>
                  </a:lnTo>
                  <a:lnTo>
                    <a:pt x="392" y="572"/>
                  </a:lnTo>
                  <a:lnTo>
                    <a:pt x="388" y="570"/>
                  </a:lnTo>
                  <a:lnTo>
                    <a:pt x="388" y="569"/>
                  </a:lnTo>
                  <a:lnTo>
                    <a:pt x="393" y="567"/>
                  </a:lnTo>
                  <a:lnTo>
                    <a:pt x="405" y="563"/>
                  </a:lnTo>
                  <a:lnTo>
                    <a:pt x="407" y="563"/>
                  </a:lnTo>
                  <a:lnTo>
                    <a:pt x="409" y="563"/>
                  </a:lnTo>
                  <a:lnTo>
                    <a:pt x="409" y="563"/>
                  </a:lnTo>
                  <a:lnTo>
                    <a:pt x="409" y="563"/>
                  </a:lnTo>
                  <a:lnTo>
                    <a:pt x="409" y="563"/>
                  </a:lnTo>
                  <a:close/>
                  <a:moveTo>
                    <a:pt x="531" y="650"/>
                  </a:moveTo>
                  <a:lnTo>
                    <a:pt x="531" y="650"/>
                  </a:lnTo>
                  <a:lnTo>
                    <a:pt x="533" y="651"/>
                  </a:lnTo>
                  <a:lnTo>
                    <a:pt x="533" y="651"/>
                  </a:lnTo>
                  <a:lnTo>
                    <a:pt x="531" y="650"/>
                  </a:lnTo>
                  <a:lnTo>
                    <a:pt x="531" y="650"/>
                  </a:lnTo>
                  <a:lnTo>
                    <a:pt x="531" y="650"/>
                  </a:lnTo>
                  <a:lnTo>
                    <a:pt x="531" y="650"/>
                  </a:lnTo>
                  <a:close/>
                  <a:moveTo>
                    <a:pt x="550" y="661"/>
                  </a:moveTo>
                  <a:lnTo>
                    <a:pt x="552" y="665"/>
                  </a:lnTo>
                  <a:lnTo>
                    <a:pt x="552" y="661"/>
                  </a:lnTo>
                  <a:lnTo>
                    <a:pt x="550" y="661"/>
                  </a:lnTo>
                  <a:lnTo>
                    <a:pt x="550" y="661"/>
                  </a:lnTo>
                  <a:lnTo>
                    <a:pt x="550" y="661"/>
                  </a:lnTo>
                  <a:lnTo>
                    <a:pt x="550" y="661"/>
                  </a:lnTo>
                  <a:close/>
                  <a:moveTo>
                    <a:pt x="505" y="712"/>
                  </a:moveTo>
                  <a:lnTo>
                    <a:pt x="505" y="715"/>
                  </a:lnTo>
                  <a:lnTo>
                    <a:pt x="508" y="715"/>
                  </a:lnTo>
                  <a:lnTo>
                    <a:pt x="510" y="714"/>
                  </a:lnTo>
                  <a:lnTo>
                    <a:pt x="506" y="712"/>
                  </a:lnTo>
                  <a:lnTo>
                    <a:pt x="505" y="712"/>
                  </a:lnTo>
                  <a:lnTo>
                    <a:pt x="505" y="712"/>
                  </a:lnTo>
                  <a:lnTo>
                    <a:pt x="505" y="712"/>
                  </a:lnTo>
                  <a:lnTo>
                    <a:pt x="505" y="712"/>
                  </a:lnTo>
                  <a:close/>
                  <a:moveTo>
                    <a:pt x="506" y="704"/>
                  </a:moveTo>
                  <a:lnTo>
                    <a:pt x="506" y="708"/>
                  </a:lnTo>
                  <a:lnTo>
                    <a:pt x="508" y="708"/>
                  </a:lnTo>
                  <a:lnTo>
                    <a:pt x="508" y="704"/>
                  </a:lnTo>
                  <a:lnTo>
                    <a:pt x="506" y="704"/>
                  </a:lnTo>
                  <a:lnTo>
                    <a:pt x="506" y="704"/>
                  </a:lnTo>
                  <a:lnTo>
                    <a:pt x="506" y="704"/>
                  </a:lnTo>
                  <a:lnTo>
                    <a:pt x="506" y="704"/>
                  </a:lnTo>
                  <a:close/>
                  <a:moveTo>
                    <a:pt x="503" y="710"/>
                  </a:moveTo>
                  <a:lnTo>
                    <a:pt x="501" y="708"/>
                  </a:lnTo>
                  <a:lnTo>
                    <a:pt x="501" y="704"/>
                  </a:lnTo>
                  <a:lnTo>
                    <a:pt x="505" y="702"/>
                  </a:lnTo>
                  <a:lnTo>
                    <a:pt x="505" y="706"/>
                  </a:lnTo>
                  <a:lnTo>
                    <a:pt x="503" y="710"/>
                  </a:lnTo>
                  <a:lnTo>
                    <a:pt x="503" y="710"/>
                  </a:lnTo>
                  <a:lnTo>
                    <a:pt x="503" y="710"/>
                  </a:lnTo>
                  <a:lnTo>
                    <a:pt x="503" y="710"/>
                  </a:lnTo>
                  <a:close/>
                  <a:moveTo>
                    <a:pt x="491" y="695"/>
                  </a:moveTo>
                  <a:lnTo>
                    <a:pt x="493" y="695"/>
                  </a:lnTo>
                  <a:lnTo>
                    <a:pt x="491" y="691"/>
                  </a:lnTo>
                  <a:lnTo>
                    <a:pt x="493" y="687"/>
                  </a:lnTo>
                  <a:lnTo>
                    <a:pt x="493" y="683"/>
                  </a:lnTo>
                  <a:lnTo>
                    <a:pt x="497" y="682"/>
                  </a:lnTo>
                  <a:lnTo>
                    <a:pt x="497" y="680"/>
                  </a:lnTo>
                  <a:lnTo>
                    <a:pt x="501" y="682"/>
                  </a:lnTo>
                  <a:lnTo>
                    <a:pt x="501" y="687"/>
                  </a:lnTo>
                  <a:lnTo>
                    <a:pt x="501" y="689"/>
                  </a:lnTo>
                  <a:lnTo>
                    <a:pt x="497" y="691"/>
                  </a:lnTo>
                  <a:lnTo>
                    <a:pt x="497" y="695"/>
                  </a:lnTo>
                  <a:lnTo>
                    <a:pt x="493" y="698"/>
                  </a:lnTo>
                  <a:lnTo>
                    <a:pt x="491" y="695"/>
                  </a:lnTo>
                  <a:lnTo>
                    <a:pt x="491" y="695"/>
                  </a:lnTo>
                  <a:lnTo>
                    <a:pt x="491" y="695"/>
                  </a:lnTo>
                  <a:lnTo>
                    <a:pt x="491" y="695"/>
                  </a:lnTo>
                  <a:close/>
                  <a:moveTo>
                    <a:pt x="565" y="704"/>
                  </a:moveTo>
                  <a:lnTo>
                    <a:pt x="572" y="702"/>
                  </a:lnTo>
                  <a:lnTo>
                    <a:pt x="572" y="698"/>
                  </a:lnTo>
                  <a:lnTo>
                    <a:pt x="565" y="691"/>
                  </a:lnTo>
                  <a:lnTo>
                    <a:pt x="563" y="695"/>
                  </a:lnTo>
                  <a:lnTo>
                    <a:pt x="563" y="698"/>
                  </a:lnTo>
                  <a:lnTo>
                    <a:pt x="563" y="700"/>
                  </a:lnTo>
                  <a:lnTo>
                    <a:pt x="563" y="702"/>
                  </a:lnTo>
                  <a:lnTo>
                    <a:pt x="565" y="704"/>
                  </a:lnTo>
                  <a:lnTo>
                    <a:pt x="565" y="704"/>
                  </a:lnTo>
                  <a:lnTo>
                    <a:pt x="565" y="704"/>
                  </a:lnTo>
                  <a:lnTo>
                    <a:pt x="565" y="704"/>
                  </a:lnTo>
                  <a:close/>
                  <a:moveTo>
                    <a:pt x="561" y="710"/>
                  </a:moveTo>
                  <a:lnTo>
                    <a:pt x="563" y="712"/>
                  </a:lnTo>
                  <a:lnTo>
                    <a:pt x="569" y="712"/>
                  </a:lnTo>
                  <a:lnTo>
                    <a:pt x="570" y="714"/>
                  </a:lnTo>
                  <a:lnTo>
                    <a:pt x="572" y="712"/>
                  </a:lnTo>
                  <a:lnTo>
                    <a:pt x="569" y="708"/>
                  </a:lnTo>
                  <a:lnTo>
                    <a:pt x="563" y="708"/>
                  </a:lnTo>
                  <a:lnTo>
                    <a:pt x="561" y="710"/>
                  </a:lnTo>
                  <a:lnTo>
                    <a:pt x="561" y="710"/>
                  </a:lnTo>
                  <a:lnTo>
                    <a:pt x="561" y="710"/>
                  </a:lnTo>
                  <a:lnTo>
                    <a:pt x="561" y="710"/>
                  </a:lnTo>
                  <a:close/>
                  <a:moveTo>
                    <a:pt x="565" y="719"/>
                  </a:moveTo>
                  <a:lnTo>
                    <a:pt x="563" y="715"/>
                  </a:lnTo>
                  <a:lnTo>
                    <a:pt x="567" y="715"/>
                  </a:lnTo>
                  <a:lnTo>
                    <a:pt x="565" y="719"/>
                  </a:lnTo>
                  <a:lnTo>
                    <a:pt x="565" y="719"/>
                  </a:lnTo>
                  <a:lnTo>
                    <a:pt x="565" y="719"/>
                  </a:lnTo>
                  <a:lnTo>
                    <a:pt x="565" y="719"/>
                  </a:lnTo>
                  <a:close/>
                  <a:moveTo>
                    <a:pt x="546" y="778"/>
                  </a:moveTo>
                  <a:lnTo>
                    <a:pt x="546" y="774"/>
                  </a:lnTo>
                  <a:lnTo>
                    <a:pt x="546" y="778"/>
                  </a:lnTo>
                  <a:lnTo>
                    <a:pt x="546" y="778"/>
                  </a:lnTo>
                  <a:lnTo>
                    <a:pt x="546" y="778"/>
                  </a:lnTo>
                  <a:lnTo>
                    <a:pt x="546" y="778"/>
                  </a:lnTo>
                  <a:lnTo>
                    <a:pt x="546" y="778"/>
                  </a:lnTo>
                  <a:close/>
                  <a:moveTo>
                    <a:pt x="525" y="798"/>
                  </a:moveTo>
                  <a:lnTo>
                    <a:pt x="521" y="798"/>
                  </a:lnTo>
                  <a:lnTo>
                    <a:pt x="525" y="795"/>
                  </a:lnTo>
                  <a:lnTo>
                    <a:pt x="525" y="791"/>
                  </a:lnTo>
                  <a:lnTo>
                    <a:pt x="525" y="789"/>
                  </a:lnTo>
                  <a:lnTo>
                    <a:pt x="525" y="791"/>
                  </a:lnTo>
                  <a:lnTo>
                    <a:pt x="525" y="795"/>
                  </a:lnTo>
                  <a:lnTo>
                    <a:pt x="525" y="798"/>
                  </a:lnTo>
                  <a:lnTo>
                    <a:pt x="525" y="798"/>
                  </a:lnTo>
                  <a:lnTo>
                    <a:pt x="525" y="798"/>
                  </a:lnTo>
                  <a:lnTo>
                    <a:pt x="525" y="798"/>
                  </a:lnTo>
                  <a:close/>
                  <a:moveTo>
                    <a:pt x="501" y="798"/>
                  </a:moveTo>
                  <a:lnTo>
                    <a:pt x="501" y="793"/>
                  </a:lnTo>
                  <a:lnTo>
                    <a:pt x="501" y="791"/>
                  </a:lnTo>
                  <a:lnTo>
                    <a:pt x="497" y="789"/>
                  </a:lnTo>
                  <a:lnTo>
                    <a:pt x="497" y="785"/>
                  </a:lnTo>
                  <a:lnTo>
                    <a:pt x="497" y="783"/>
                  </a:lnTo>
                  <a:lnTo>
                    <a:pt x="497" y="781"/>
                  </a:lnTo>
                  <a:lnTo>
                    <a:pt x="497" y="772"/>
                  </a:lnTo>
                  <a:lnTo>
                    <a:pt x="497" y="768"/>
                  </a:lnTo>
                  <a:lnTo>
                    <a:pt x="493" y="768"/>
                  </a:lnTo>
                  <a:lnTo>
                    <a:pt x="493" y="761"/>
                  </a:lnTo>
                  <a:lnTo>
                    <a:pt x="497" y="757"/>
                  </a:lnTo>
                  <a:lnTo>
                    <a:pt x="501" y="761"/>
                  </a:lnTo>
                  <a:lnTo>
                    <a:pt x="503" y="761"/>
                  </a:lnTo>
                  <a:lnTo>
                    <a:pt x="501" y="757"/>
                  </a:lnTo>
                  <a:lnTo>
                    <a:pt x="501" y="755"/>
                  </a:lnTo>
                  <a:lnTo>
                    <a:pt x="497" y="753"/>
                  </a:lnTo>
                  <a:lnTo>
                    <a:pt x="497" y="747"/>
                  </a:lnTo>
                  <a:lnTo>
                    <a:pt x="497" y="744"/>
                  </a:lnTo>
                  <a:lnTo>
                    <a:pt x="497" y="734"/>
                  </a:lnTo>
                  <a:lnTo>
                    <a:pt x="497" y="729"/>
                  </a:lnTo>
                  <a:lnTo>
                    <a:pt x="497" y="723"/>
                  </a:lnTo>
                  <a:lnTo>
                    <a:pt x="497" y="719"/>
                  </a:lnTo>
                  <a:lnTo>
                    <a:pt x="497" y="719"/>
                  </a:lnTo>
                  <a:lnTo>
                    <a:pt x="497" y="714"/>
                  </a:lnTo>
                  <a:lnTo>
                    <a:pt x="501" y="712"/>
                  </a:lnTo>
                  <a:lnTo>
                    <a:pt x="503" y="715"/>
                  </a:lnTo>
                  <a:lnTo>
                    <a:pt x="506" y="715"/>
                  </a:lnTo>
                  <a:lnTo>
                    <a:pt x="510" y="719"/>
                  </a:lnTo>
                  <a:lnTo>
                    <a:pt x="510" y="715"/>
                  </a:lnTo>
                  <a:lnTo>
                    <a:pt x="512" y="715"/>
                  </a:lnTo>
                  <a:lnTo>
                    <a:pt x="512" y="719"/>
                  </a:lnTo>
                  <a:lnTo>
                    <a:pt x="518" y="723"/>
                  </a:lnTo>
                  <a:lnTo>
                    <a:pt x="521" y="729"/>
                  </a:lnTo>
                  <a:lnTo>
                    <a:pt x="525" y="731"/>
                  </a:lnTo>
                  <a:lnTo>
                    <a:pt x="531" y="729"/>
                  </a:lnTo>
                  <a:lnTo>
                    <a:pt x="533" y="729"/>
                  </a:lnTo>
                  <a:lnTo>
                    <a:pt x="535" y="731"/>
                  </a:lnTo>
                  <a:lnTo>
                    <a:pt x="535" y="729"/>
                  </a:lnTo>
                  <a:lnTo>
                    <a:pt x="538" y="729"/>
                  </a:lnTo>
                  <a:lnTo>
                    <a:pt x="550" y="729"/>
                  </a:lnTo>
                  <a:lnTo>
                    <a:pt x="552" y="725"/>
                  </a:lnTo>
                  <a:lnTo>
                    <a:pt x="552" y="723"/>
                  </a:lnTo>
                  <a:lnTo>
                    <a:pt x="555" y="723"/>
                  </a:lnTo>
                  <a:lnTo>
                    <a:pt x="555" y="725"/>
                  </a:lnTo>
                  <a:lnTo>
                    <a:pt x="557" y="723"/>
                  </a:lnTo>
                  <a:lnTo>
                    <a:pt x="559" y="723"/>
                  </a:lnTo>
                  <a:lnTo>
                    <a:pt x="565" y="725"/>
                  </a:lnTo>
                  <a:lnTo>
                    <a:pt x="563" y="729"/>
                  </a:lnTo>
                  <a:lnTo>
                    <a:pt x="561" y="738"/>
                  </a:lnTo>
                  <a:lnTo>
                    <a:pt x="557" y="740"/>
                  </a:lnTo>
                  <a:lnTo>
                    <a:pt x="557" y="747"/>
                  </a:lnTo>
                  <a:lnTo>
                    <a:pt x="555" y="753"/>
                  </a:lnTo>
                  <a:lnTo>
                    <a:pt x="555" y="757"/>
                  </a:lnTo>
                  <a:lnTo>
                    <a:pt x="555" y="759"/>
                  </a:lnTo>
                  <a:lnTo>
                    <a:pt x="555" y="761"/>
                  </a:lnTo>
                  <a:lnTo>
                    <a:pt x="555" y="764"/>
                  </a:lnTo>
                  <a:lnTo>
                    <a:pt x="552" y="763"/>
                  </a:lnTo>
                  <a:lnTo>
                    <a:pt x="552" y="757"/>
                  </a:lnTo>
                  <a:lnTo>
                    <a:pt x="550" y="761"/>
                  </a:lnTo>
                  <a:lnTo>
                    <a:pt x="546" y="763"/>
                  </a:lnTo>
                  <a:lnTo>
                    <a:pt x="546" y="772"/>
                  </a:lnTo>
                  <a:lnTo>
                    <a:pt x="546" y="774"/>
                  </a:lnTo>
                  <a:lnTo>
                    <a:pt x="542" y="774"/>
                  </a:lnTo>
                  <a:lnTo>
                    <a:pt x="542" y="778"/>
                  </a:lnTo>
                  <a:lnTo>
                    <a:pt x="540" y="779"/>
                  </a:lnTo>
                  <a:lnTo>
                    <a:pt x="544" y="781"/>
                  </a:lnTo>
                  <a:lnTo>
                    <a:pt x="544" y="783"/>
                  </a:lnTo>
                  <a:lnTo>
                    <a:pt x="538" y="791"/>
                  </a:lnTo>
                  <a:lnTo>
                    <a:pt x="537" y="789"/>
                  </a:lnTo>
                  <a:lnTo>
                    <a:pt x="533" y="791"/>
                  </a:lnTo>
                  <a:lnTo>
                    <a:pt x="533" y="785"/>
                  </a:lnTo>
                  <a:lnTo>
                    <a:pt x="537" y="787"/>
                  </a:lnTo>
                  <a:lnTo>
                    <a:pt x="538" y="783"/>
                  </a:lnTo>
                  <a:lnTo>
                    <a:pt x="537" y="781"/>
                  </a:lnTo>
                  <a:lnTo>
                    <a:pt x="533" y="783"/>
                  </a:lnTo>
                  <a:lnTo>
                    <a:pt x="531" y="785"/>
                  </a:lnTo>
                  <a:lnTo>
                    <a:pt x="527" y="785"/>
                  </a:lnTo>
                  <a:lnTo>
                    <a:pt x="527" y="781"/>
                  </a:lnTo>
                  <a:lnTo>
                    <a:pt x="527" y="785"/>
                  </a:lnTo>
                  <a:lnTo>
                    <a:pt x="525" y="787"/>
                  </a:lnTo>
                  <a:lnTo>
                    <a:pt x="521" y="791"/>
                  </a:lnTo>
                  <a:lnTo>
                    <a:pt x="521" y="787"/>
                  </a:lnTo>
                  <a:lnTo>
                    <a:pt x="518" y="795"/>
                  </a:lnTo>
                  <a:lnTo>
                    <a:pt x="518" y="798"/>
                  </a:lnTo>
                  <a:lnTo>
                    <a:pt x="516" y="802"/>
                  </a:lnTo>
                  <a:lnTo>
                    <a:pt x="512" y="802"/>
                  </a:lnTo>
                  <a:lnTo>
                    <a:pt x="510" y="798"/>
                  </a:lnTo>
                  <a:lnTo>
                    <a:pt x="510" y="796"/>
                  </a:lnTo>
                  <a:lnTo>
                    <a:pt x="506" y="798"/>
                  </a:lnTo>
                  <a:lnTo>
                    <a:pt x="505" y="798"/>
                  </a:lnTo>
                  <a:lnTo>
                    <a:pt x="501" y="798"/>
                  </a:lnTo>
                  <a:lnTo>
                    <a:pt x="501" y="798"/>
                  </a:lnTo>
                  <a:lnTo>
                    <a:pt x="501" y="798"/>
                  </a:lnTo>
                  <a:lnTo>
                    <a:pt x="501" y="798"/>
                  </a:lnTo>
                  <a:lnTo>
                    <a:pt x="501" y="798"/>
                  </a:lnTo>
                  <a:lnTo>
                    <a:pt x="501" y="798"/>
                  </a:lnTo>
                  <a:close/>
                  <a:moveTo>
                    <a:pt x="8" y="508"/>
                  </a:moveTo>
                  <a:lnTo>
                    <a:pt x="9" y="510"/>
                  </a:lnTo>
                  <a:lnTo>
                    <a:pt x="13" y="510"/>
                  </a:lnTo>
                  <a:lnTo>
                    <a:pt x="21" y="518"/>
                  </a:lnTo>
                  <a:lnTo>
                    <a:pt x="21" y="521"/>
                  </a:lnTo>
                  <a:lnTo>
                    <a:pt x="21" y="523"/>
                  </a:lnTo>
                  <a:lnTo>
                    <a:pt x="25" y="523"/>
                  </a:lnTo>
                  <a:lnTo>
                    <a:pt x="26" y="527"/>
                  </a:lnTo>
                  <a:lnTo>
                    <a:pt x="34" y="527"/>
                  </a:lnTo>
                  <a:lnTo>
                    <a:pt x="34" y="527"/>
                  </a:lnTo>
                  <a:lnTo>
                    <a:pt x="36" y="529"/>
                  </a:lnTo>
                  <a:lnTo>
                    <a:pt x="40" y="529"/>
                  </a:lnTo>
                  <a:lnTo>
                    <a:pt x="45" y="529"/>
                  </a:lnTo>
                  <a:lnTo>
                    <a:pt x="45" y="529"/>
                  </a:lnTo>
                  <a:lnTo>
                    <a:pt x="49" y="529"/>
                  </a:lnTo>
                  <a:lnTo>
                    <a:pt x="49" y="529"/>
                  </a:lnTo>
                  <a:lnTo>
                    <a:pt x="55" y="529"/>
                  </a:lnTo>
                  <a:lnTo>
                    <a:pt x="58" y="529"/>
                  </a:lnTo>
                  <a:lnTo>
                    <a:pt x="58" y="527"/>
                  </a:lnTo>
                  <a:lnTo>
                    <a:pt x="62" y="525"/>
                  </a:lnTo>
                  <a:lnTo>
                    <a:pt x="66" y="521"/>
                  </a:lnTo>
                  <a:lnTo>
                    <a:pt x="72" y="521"/>
                  </a:lnTo>
                  <a:lnTo>
                    <a:pt x="72" y="518"/>
                  </a:lnTo>
                  <a:lnTo>
                    <a:pt x="75" y="516"/>
                  </a:lnTo>
                  <a:lnTo>
                    <a:pt x="75" y="516"/>
                  </a:lnTo>
                  <a:lnTo>
                    <a:pt x="79" y="520"/>
                  </a:lnTo>
                  <a:lnTo>
                    <a:pt x="83" y="514"/>
                  </a:lnTo>
                  <a:lnTo>
                    <a:pt x="83" y="516"/>
                  </a:lnTo>
                  <a:lnTo>
                    <a:pt x="85" y="514"/>
                  </a:lnTo>
                  <a:lnTo>
                    <a:pt x="87" y="510"/>
                  </a:lnTo>
                  <a:lnTo>
                    <a:pt x="98" y="504"/>
                  </a:lnTo>
                  <a:lnTo>
                    <a:pt x="102" y="504"/>
                  </a:lnTo>
                  <a:lnTo>
                    <a:pt x="104" y="504"/>
                  </a:lnTo>
                  <a:lnTo>
                    <a:pt x="107" y="504"/>
                  </a:lnTo>
                  <a:lnTo>
                    <a:pt x="117" y="503"/>
                  </a:lnTo>
                  <a:lnTo>
                    <a:pt x="119" y="504"/>
                  </a:lnTo>
                  <a:lnTo>
                    <a:pt x="124" y="503"/>
                  </a:lnTo>
                  <a:lnTo>
                    <a:pt x="126" y="504"/>
                  </a:lnTo>
                  <a:lnTo>
                    <a:pt x="130" y="504"/>
                  </a:lnTo>
                  <a:lnTo>
                    <a:pt x="134" y="503"/>
                  </a:lnTo>
                  <a:lnTo>
                    <a:pt x="134" y="508"/>
                  </a:lnTo>
                  <a:lnTo>
                    <a:pt x="137" y="508"/>
                  </a:lnTo>
                  <a:lnTo>
                    <a:pt x="139" y="504"/>
                  </a:lnTo>
                  <a:lnTo>
                    <a:pt x="141" y="508"/>
                  </a:lnTo>
                  <a:lnTo>
                    <a:pt x="143" y="504"/>
                  </a:lnTo>
                  <a:lnTo>
                    <a:pt x="151" y="504"/>
                  </a:lnTo>
                  <a:lnTo>
                    <a:pt x="151" y="508"/>
                  </a:lnTo>
                  <a:lnTo>
                    <a:pt x="153" y="508"/>
                  </a:lnTo>
                  <a:lnTo>
                    <a:pt x="156" y="504"/>
                  </a:lnTo>
                  <a:lnTo>
                    <a:pt x="158" y="504"/>
                  </a:lnTo>
                  <a:lnTo>
                    <a:pt x="164" y="503"/>
                  </a:lnTo>
                  <a:lnTo>
                    <a:pt x="168" y="499"/>
                  </a:lnTo>
                  <a:lnTo>
                    <a:pt x="168" y="497"/>
                  </a:lnTo>
                  <a:lnTo>
                    <a:pt x="173" y="493"/>
                  </a:lnTo>
                  <a:lnTo>
                    <a:pt x="175" y="486"/>
                  </a:lnTo>
                  <a:lnTo>
                    <a:pt x="179" y="484"/>
                  </a:lnTo>
                  <a:lnTo>
                    <a:pt x="183" y="484"/>
                  </a:lnTo>
                  <a:lnTo>
                    <a:pt x="186" y="484"/>
                  </a:lnTo>
                  <a:lnTo>
                    <a:pt x="196" y="480"/>
                  </a:lnTo>
                  <a:lnTo>
                    <a:pt x="203" y="474"/>
                  </a:lnTo>
                  <a:lnTo>
                    <a:pt x="211" y="469"/>
                  </a:lnTo>
                  <a:lnTo>
                    <a:pt x="213" y="469"/>
                  </a:lnTo>
                  <a:lnTo>
                    <a:pt x="217" y="469"/>
                  </a:lnTo>
                  <a:lnTo>
                    <a:pt x="220" y="469"/>
                  </a:lnTo>
                  <a:lnTo>
                    <a:pt x="226" y="471"/>
                  </a:lnTo>
                  <a:lnTo>
                    <a:pt x="230" y="471"/>
                  </a:lnTo>
                  <a:lnTo>
                    <a:pt x="233" y="469"/>
                  </a:lnTo>
                  <a:lnTo>
                    <a:pt x="241" y="471"/>
                  </a:lnTo>
                  <a:lnTo>
                    <a:pt x="250" y="467"/>
                  </a:lnTo>
                  <a:lnTo>
                    <a:pt x="256" y="465"/>
                  </a:lnTo>
                  <a:lnTo>
                    <a:pt x="260" y="461"/>
                  </a:lnTo>
                  <a:lnTo>
                    <a:pt x="264" y="461"/>
                  </a:lnTo>
                  <a:lnTo>
                    <a:pt x="269" y="459"/>
                  </a:lnTo>
                  <a:lnTo>
                    <a:pt x="275" y="459"/>
                  </a:lnTo>
                  <a:lnTo>
                    <a:pt x="296" y="456"/>
                  </a:lnTo>
                  <a:lnTo>
                    <a:pt x="305" y="459"/>
                  </a:lnTo>
                  <a:lnTo>
                    <a:pt x="307" y="459"/>
                  </a:lnTo>
                  <a:lnTo>
                    <a:pt x="313" y="456"/>
                  </a:lnTo>
                  <a:lnTo>
                    <a:pt x="318" y="456"/>
                  </a:lnTo>
                  <a:lnTo>
                    <a:pt x="324" y="461"/>
                  </a:lnTo>
                  <a:lnTo>
                    <a:pt x="326" y="469"/>
                  </a:lnTo>
                  <a:lnTo>
                    <a:pt x="329" y="471"/>
                  </a:lnTo>
                  <a:lnTo>
                    <a:pt x="333" y="469"/>
                  </a:lnTo>
                  <a:lnTo>
                    <a:pt x="335" y="467"/>
                  </a:lnTo>
                  <a:lnTo>
                    <a:pt x="339" y="469"/>
                  </a:lnTo>
                  <a:lnTo>
                    <a:pt x="339" y="469"/>
                  </a:lnTo>
                  <a:lnTo>
                    <a:pt x="343" y="469"/>
                  </a:lnTo>
                  <a:lnTo>
                    <a:pt x="346" y="474"/>
                  </a:lnTo>
                  <a:lnTo>
                    <a:pt x="350" y="474"/>
                  </a:lnTo>
                  <a:lnTo>
                    <a:pt x="354" y="474"/>
                  </a:lnTo>
                  <a:lnTo>
                    <a:pt x="363" y="480"/>
                  </a:lnTo>
                  <a:lnTo>
                    <a:pt x="360" y="484"/>
                  </a:lnTo>
                  <a:lnTo>
                    <a:pt x="363" y="484"/>
                  </a:lnTo>
                  <a:lnTo>
                    <a:pt x="365" y="486"/>
                  </a:lnTo>
                  <a:lnTo>
                    <a:pt x="365" y="488"/>
                  </a:lnTo>
                  <a:lnTo>
                    <a:pt x="363" y="488"/>
                  </a:lnTo>
                  <a:lnTo>
                    <a:pt x="360" y="491"/>
                  </a:lnTo>
                  <a:lnTo>
                    <a:pt x="363" y="499"/>
                  </a:lnTo>
                  <a:lnTo>
                    <a:pt x="367" y="499"/>
                  </a:lnTo>
                  <a:lnTo>
                    <a:pt x="371" y="503"/>
                  </a:lnTo>
                  <a:lnTo>
                    <a:pt x="373" y="508"/>
                  </a:lnTo>
                  <a:lnTo>
                    <a:pt x="373" y="510"/>
                  </a:lnTo>
                  <a:lnTo>
                    <a:pt x="377" y="520"/>
                  </a:lnTo>
                  <a:lnTo>
                    <a:pt x="375" y="525"/>
                  </a:lnTo>
                  <a:lnTo>
                    <a:pt x="377" y="527"/>
                  </a:lnTo>
                  <a:lnTo>
                    <a:pt x="377" y="529"/>
                  </a:lnTo>
                  <a:lnTo>
                    <a:pt x="375" y="533"/>
                  </a:lnTo>
                  <a:lnTo>
                    <a:pt x="373" y="533"/>
                  </a:lnTo>
                  <a:lnTo>
                    <a:pt x="371" y="533"/>
                  </a:lnTo>
                  <a:lnTo>
                    <a:pt x="375" y="537"/>
                  </a:lnTo>
                  <a:lnTo>
                    <a:pt x="377" y="538"/>
                  </a:lnTo>
                  <a:lnTo>
                    <a:pt x="378" y="542"/>
                  </a:lnTo>
                  <a:lnTo>
                    <a:pt x="382" y="542"/>
                  </a:lnTo>
                  <a:lnTo>
                    <a:pt x="384" y="544"/>
                  </a:lnTo>
                  <a:lnTo>
                    <a:pt x="384" y="542"/>
                  </a:lnTo>
                  <a:lnTo>
                    <a:pt x="384" y="537"/>
                  </a:lnTo>
                  <a:lnTo>
                    <a:pt x="384" y="537"/>
                  </a:lnTo>
                  <a:lnTo>
                    <a:pt x="388" y="533"/>
                  </a:lnTo>
                  <a:lnTo>
                    <a:pt x="388" y="533"/>
                  </a:lnTo>
                  <a:lnTo>
                    <a:pt x="390" y="529"/>
                  </a:lnTo>
                  <a:lnTo>
                    <a:pt x="393" y="527"/>
                  </a:lnTo>
                  <a:lnTo>
                    <a:pt x="395" y="523"/>
                  </a:lnTo>
                  <a:lnTo>
                    <a:pt x="399" y="520"/>
                  </a:lnTo>
                  <a:lnTo>
                    <a:pt x="407" y="516"/>
                  </a:lnTo>
                  <a:lnTo>
                    <a:pt x="409" y="512"/>
                  </a:lnTo>
                  <a:lnTo>
                    <a:pt x="409" y="512"/>
                  </a:lnTo>
                  <a:lnTo>
                    <a:pt x="414" y="510"/>
                  </a:lnTo>
                  <a:lnTo>
                    <a:pt x="418" y="504"/>
                  </a:lnTo>
                  <a:lnTo>
                    <a:pt x="422" y="497"/>
                  </a:lnTo>
                  <a:lnTo>
                    <a:pt x="427" y="497"/>
                  </a:lnTo>
                  <a:lnTo>
                    <a:pt x="429" y="493"/>
                  </a:lnTo>
                  <a:lnTo>
                    <a:pt x="427" y="489"/>
                  </a:lnTo>
                  <a:lnTo>
                    <a:pt x="427" y="484"/>
                  </a:lnTo>
                  <a:lnTo>
                    <a:pt x="431" y="489"/>
                  </a:lnTo>
                  <a:lnTo>
                    <a:pt x="431" y="495"/>
                  </a:lnTo>
                  <a:lnTo>
                    <a:pt x="431" y="501"/>
                  </a:lnTo>
                  <a:lnTo>
                    <a:pt x="429" y="503"/>
                  </a:lnTo>
                  <a:lnTo>
                    <a:pt x="427" y="512"/>
                  </a:lnTo>
                  <a:lnTo>
                    <a:pt x="420" y="516"/>
                  </a:lnTo>
                  <a:lnTo>
                    <a:pt x="418" y="521"/>
                  </a:lnTo>
                  <a:lnTo>
                    <a:pt x="418" y="523"/>
                  </a:lnTo>
                  <a:lnTo>
                    <a:pt x="418" y="529"/>
                  </a:lnTo>
                  <a:lnTo>
                    <a:pt x="412" y="533"/>
                  </a:lnTo>
                  <a:lnTo>
                    <a:pt x="412" y="537"/>
                  </a:lnTo>
                  <a:lnTo>
                    <a:pt x="409" y="544"/>
                  </a:lnTo>
                  <a:lnTo>
                    <a:pt x="401" y="544"/>
                  </a:lnTo>
                  <a:lnTo>
                    <a:pt x="399" y="550"/>
                  </a:lnTo>
                  <a:lnTo>
                    <a:pt x="397" y="553"/>
                  </a:lnTo>
                  <a:lnTo>
                    <a:pt x="397" y="553"/>
                  </a:lnTo>
                  <a:lnTo>
                    <a:pt x="403" y="553"/>
                  </a:lnTo>
                  <a:lnTo>
                    <a:pt x="409" y="550"/>
                  </a:lnTo>
                  <a:lnTo>
                    <a:pt x="414" y="553"/>
                  </a:lnTo>
                  <a:lnTo>
                    <a:pt x="420" y="542"/>
                  </a:lnTo>
                  <a:lnTo>
                    <a:pt x="422" y="533"/>
                  </a:lnTo>
                  <a:lnTo>
                    <a:pt x="427" y="527"/>
                  </a:lnTo>
                  <a:lnTo>
                    <a:pt x="429" y="529"/>
                  </a:lnTo>
                  <a:lnTo>
                    <a:pt x="429" y="537"/>
                  </a:lnTo>
                  <a:lnTo>
                    <a:pt x="431" y="542"/>
                  </a:lnTo>
                  <a:lnTo>
                    <a:pt x="429" y="544"/>
                  </a:lnTo>
                  <a:lnTo>
                    <a:pt x="429" y="553"/>
                  </a:lnTo>
                  <a:lnTo>
                    <a:pt x="425" y="561"/>
                  </a:lnTo>
                  <a:lnTo>
                    <a:pt x="418" y="563"/>
                  </a:lnTo>
                  <a:lnTo>
                    <a:pt x="420" y="567"/>
                  </a:lnTo>
                  <a:lnTo>
                    <a:pt x="424" y="567"/>
                  </a:lnTo>
                  <a:lnTo>
                    <a:pt x="429" y="567"/>
                  </a:lnTo>
                  <a:lnTo>
                    <a:pt x="431" y="563"/>
                  </a:lnTo>
                  <a:lnTo>
                    <a:pt x="435" y="563"/>
                  </a:lnTo>
                  <a:lnTo>
                    <a:pt x="439" y="557"/>
                  </a:lnTo>
                  <a:lnTo>
                    <a:pt x="442" y="561"/>
                  </a:lnTo>
                  <a:lnTo>
                    <a:pt x="442" y="561"/>
                  </a:lnTo>
                  <a:lnTo>
                    <a:pt x="442" y="563"/>
                  </a:lnTo>
                  <a:lnTo>
                    <a:pt x="439" y="567"/>
                  </a:lnTo>
                  <a:lnTo>
                    <a:pt x="437" y="567"/>
                  </a:lnTo>
                  <a:lnTo>
                    <a:pt x="437" y="567"/>
                  </a:lnTo>
                  <a:lnTo>
                    <a:pt x="439" y="572"/>
                  </a:lnTo>
                  <a:lnTo>
                    <a:pt x="439" y="576"/>
                  </a:lnTo>
                  <a:lnTo>
                    <a:pt x="442" y="582"/>
                  </a:lnTo>
                  <a:lnTo>
                    <a:pt x="442" y="587"/>
                  </a:lnTo>
                  <a:lnTo>
                    <a:pt x="442" y="597"/>
                  </a:lnTo>
                  <a:lnTo>
                    <a:pt x="439" y="602"/>
                  </a:lnTo>
                  <a:lnTo>
                    <a:pt x="439" y="604"/>
                  </a:lnTo>
                  <a:lnTo>
                    <a:pt x="439" y="612"/>
                  </a:lnTo>
                  <a:lnTo>
                    <a:pt x="442" y="612"/>
                  </a:lnTo>
                  <a:lnTo>
                    <a:pt x="442" y="617"/>
                  </a:lnTo>
                  <a:lnTo>
                    <a:pt x="444" y="625"/>
                  </a:lnTo>
                  <a:lnTo>
                    <a:pt x="452" y="634"/>
                  </a:lnTo>
                  <a:lnTo>
                    <a:pt x="456" y="634"/>
                  </a:lnTo>
                  <a:lnTo>
                    <a:pt x="459" y="636"/>
                  </a:lnTo>
                  <a:lnTo>
                    <a:pt x="461" y="640"/>
                  </a:lnTo>
                  <a:lnTo>
                    <a:pt x="467" y="640"/>
                  </a:lnTo>
                  <a:lnTo>
                    <a:pt x="467" y="640"/>
                  </a:lnTo>
                  <a:lnTo>
                    <a:pt x="467" y="640"/>
                  </a:lnTo>
                  <a:lnTo>
                    <a:pt x="473" y="640"/>
                  </a:lnTo>
                  <a:lnTo>
                    <a:pt x="476" y="646"/>
                  </a:lnTo>
                  <a:lnTo>
                    <a:pt x="482" y="646"/>
                  </a:lnTo>
                  <a:lnTo>
                    <a:pt x="486" y="650"/>
                  </a:lnTo>
                  <a:lnTo>
                    <a:pt x="488" y="653"/>
                  </a:lnTo>
                  <a:lnTo>
                    <a:pt x="491" y="655"/>
                  </a:lnTo>
                  <a:lnTo>
                    <a:pt x="493" y="661"/>
                  </a:lnTo>
                  <a:lnTo>
                    <a:pt x="497" y="661"/>
                  </a:lnTo>
                  <a:lnTo>
                    <a:pt x="497" y="657"/>
                  </a:lnTo>
                  <a:lnTo>
                    <a:pt x="505" y="653"/>
                  </a:lnTo>
                  <a:lnTo>
                    <a:pt x="506" y="650"/>
                  </a:lnTo>
                  <a:lnTo>
                    <a:pt x="512" y="650"/>
                  </a:lnTo>
                  <a:lnTo>
                    <a:pt x="518" y="646"/>
                  </a:lnTo>
                  <a:lnTo>
                    <a:pt x="518" y="646"/>
                  </a:lnTo>
                  <a:lnTo>
                    <a:pt x="521" y="646"/>
                  </a:lnTo>
                  <a:lnTo>
                    <a:pt x="521" y="642"/>
                  </a:lnTo>
                  <a:lnTo>
                    <a:pt x="518" y="640"/>
                  </a:lnTo>
                  <a:lnTo>
                    <a:pt x="518" y="640"/>
                  </a:lnTo>
                  <a:lnTo>
                    <a:pt x="525" y="634"/>
                  </a:lnTo>
                  <a:lnTo>
                    <a:pt x="531" y="640"/>
                  </a:lnTo>
                  <a:lnTo>
                    <a:pt x="531" y="642"/>
                  </a:lnTo>
                  <a:lnTo>
                    <a:pt x="525" y="646"/>
                  </a:lnTo>
                  <a:lnTo>
                    <a:pt x="525" y="650"/>
                  </a:lnTo>
                  <a:lnTo>
                    <a:pt x="527" y="651"/>
                  </a:lnTo>
                  <a:lnTo>
                    <a:pt x="531" y="648"/>
                  </a:lnTo>
                  <a:lnTo>
                    <a:pt x="533" y="646"/>
                  </a:lnTo>
                  <a:lnTo>
                    <a:pt x="537" y="648"/>
                  </a:lnTo>
                  <a:lnTo>
                    <a:pt x="537" y="651"/>
                  </a:lnTo>
                  <a:lnTo>
                    <a:pt x="535" y="651"/>
                  </a:lnTo>
                  <a:lnTo>
                    <a:pt x="531" y="653"/>
                  </a:lnTo>
                  <a:lnTo>
                    <a:pt x="537" y="661"/>
                  </a:lnTo>
                  <a:lnTo>
                    <a:pt x="537" y="666"/>
                  </a:lnTo>
                  <a:lnTo>
                    <a:pt x="538" y="666"/>
                  </a:lnTo>
                  <a:lnTo>
                    <a:pt x="542" y="666"/>
                  </a:lnTo>
                  <a:lnTo>
                    <a:pt x="542" y="670"/>
                  </a:lnTo>
                  <a:lnTo>
                    <a:pt x="544" y="672"/>
                  </a:lnTo>
                  <a:lnTo>
                    <a:pt x="546" y="670"/>
                  </a:lnTo>
                  <a:lnTo>
                    <a:pt x="546" y="665"/>
                  </a:lnTo>
                  <a:lnTo>
                    <a:pt x="544" y="666"/>
                  </a:lnTo>
                  <a:lnTo>
                    <a:pt x="544" y="665"/>
                  </a:lnTo>
                  <a:lnTo>
                    <a:pt x="546" y="661"/>
                  </a:lnTo>
                  <a:lnTo>
                    <a:pt x="555" y="661"/>
                  </a:lnTo>
                  <a:lnTo>
                    <a:pt x="555" y="665"/>
                  </a:lnTo>
                  <a:lnTo>
                    <a:pt x="557" y="661"/>
                  </a:lnTo>
                  <a:lnTo>
                    <a:pt x="561" y="655"/>
                  </a:lnTo>
                  <a:lnTo>
                    <a:pt x="572" y="650"/>
                  </a:lnTo>
                  <a:lnTo>
                    <a:pt x="576" y="646"/>
                  </a:lnTo>
                  <a:lnTo>
                    <a:pt x="574" y="646"/>
                  </a:lnTo>
                  <a:lnTo>
                    <a:pt x="572" y="646"/>
                  </a:lnTo>
                  <a:lnTo>
                    <a:pt x="572" y="646"/>
                  </a:lnTo>
                  <a:lnTo>
                    <a:pt x="569" y="642"/>
                  </a:lnTo>
                  <a:lnTo>
                    <a:pt x="572" y="642"/>
                  </a:lnTo>
                  <a:lnTo>
                    <a:pt x="576" y="642"/>
                  </a:lnTo>
                  <a:lnTo>
                    <a:pt x="584" y="640"/>
                  </a:lnTo>
                  <a:lnTo>
                    <a:pt x="599" y="636"/>
                  </a:lnTo>
                  <a:lnTo>
                    <a:pt x="610" y="640"/>
                  </a:lnTo>
                  <a:lnTo>
                    <a:pt x="614" y="636"/>
                  </a:lnTo>
                  <a:lnTo>
                    <a:pt x="614" y="634"/>
                  </a:lnTo>
                  <a:lnTo>
                    <a:pt x="617" y="634"/>
                  </a:lnTo>
                  <a:lnTo>
                    <a:pt x="621" y="633"/>
                  </a:lnTo>
                  <a:lnTo>
                    <a:pt x="625" y="625"/>
                  </a:lnTo>
                  <a:lnTo>
                    <a:pt x="623" y="617"/>
                  </a:lnTo>
                  <a:lnTo>
                    <a:pt x="623" y="616"/>
                  </a:lnTo>
                  <a:lnTo>
                    <a:pt x="631" y="608"/>
                  </a:lnTo>
                  <a:lnTo>
                    <a:pt x="631" y="597"/>
                  </a:lnTo>
                  <a:lnTo>
                    <a:pt x="631" y="593"/>
                  </a:lnTo>
                  <a:lnTo>
                    <a:pt x="634" y="587"/>
                  </a:lnTo>
                  <a:lnTo>
                    <a:pt x="638" y="585"/>
                  </a:lnTo>
                  <a:lnTo>
                    <a:pt x="638" y="582"/>
                  </a:lnTo>
                  <a:lnTo>
                    <a:pt x="648" y="567"/>
                  </a:lnTo>
                  <a:lnTo>
                    <a:pt x="651" y="567"/>
                  </a:lnTo>
                  <a:lnTo>
                    <a:pt x="653" y="557"/>
                  </a:lnTo>
                  <a:lnTo>
                    <a:pt x="659" y="553"/>
                  </a:lnTo>
                  <a:lnTo>
                    <a:pt x="659" y="544"/>
                  </a:lnTo>
                  <a:lnTo>
                    <a:pt x="665" y="542"/>
                  </a:lnTo>
                  <a:lnTo>
                    <a:pt x="665" y="537"/>
                  </a:lnTo>
                  <a:lnTo>
                    <a:pt x="668" y="537"/>
                  </a:lnTo>
                  <a:lnTo>
                    <a:pt x="670" y="527"/>
                  </a:lnTo>
                  <a:lnTo>
                    <a:pt x="668" y="525"/>
                  </a:lnTo>
                  <a:lnTo>
                    <a:pt x="674" y="523"/>
                  </a:lnTo>
                  <a:lnTo>
                    <a:pt x="678" y="516"/>
                  </a:lnTo>
                  <a:lnTo>
                    <a:pt x="680" y="514"/>
                  </a:lnTo>
                  <a:lnTo>
                    <a:pt x="683" y="508"/>
                  </a:lnTo>
                  <a:lnTo>
                    <a:pt x="689" y="508"/>
                  </a:lnTo>
                  <a:lnTo>
                    <a:pt x="693" y="504"/>
                  </a:lnTo>
                  <a:lnTo>
                    <a:pt x="687" y="504"/>
                  </a:lnTo>
                  <a:lnTo>
                    <a:pt x="689" y="504"/>
                  </a:lnTo>
                  <a:lnTo>
                    <a:pt x="693" y="503"/>
                  </a:lnTo>
                  <a:lnTo>
                    <a:pt x="700" y="499"/>
                  </a:lnTo>
                  <a:lnTo>
                    <a:pt x="700" y="495"/>
                  </a:lnTo>
                  <a:lnTo>
                    <a:pt x="700" y="491"/>
                  </a:lnTo>
                  <a:lnTo>
                    <a:pt x="700" y="488"/>
                  </a:lnTo>
                  <a:lnTo>
                    <a:pt x="708" y="484"/>
                  </a:lnTo>
                  <a:lnTo>
                    <a:pt x="708" y="480"/>
                  </a:lnTo>
                  <a:lnTo>
                    <a:pt x="712" y="478"/>
                  </a:lnTo>
                  <a:lnTo>
                    <a:pt x="717" y="472"/>
                  </a:lnTo>
                  <a:lnTo>
                    <a:pt x="713" y="469"/>
                  </a:lnTo>
                  <a:lnTo>
                    <a:pt x="717" y="461"/>
                  </a:lnTo>
                  <a:lnTo>
                    <a:pt x="717" y="459"/>
                  </a:lnTo>
                  <a:lnTo>
                    <a:pt x="717" y="459"/>
                  </a:lnTo>
                  <a:lnTo>
                    <a:pt x="723" y="446"/>
                  </a:lnTo>
                  <a:lnTo>
                    <a:pt x="723" y="439"/>
                  </a:lnTo>
                  <a:lnTo>
                    <a:pt x="729" y="425"/>
                  </a:lnTo>
                  <a:lnTo>
                    <a:pt x="729" y="423"/>
                  </a:lnTo>
                  <a:lnTo>
                    <a:pt x="732" y="414"/>
                  </a:lnTo>
                  <a:lnTo>
                    <a:pt x="738" y="410"/>
                  </a:lnTo>
                  <a:lnTo>
                    <a:pt x="740" y="405"/>
                  </a:lnTo>
                  <a:lnTo>
                    <a:pt x="738" y="401"/>
                  </a:lnTo>
                  <a:lnTo>
                    <a:pt x="742" y="397"/>
                  </a:lnTo>
                  <a:lnTo>
                    <a:pt x="738" y="388"/>
                  </a:lnTo>
                  <a:lnTo>
                    <a:pt x="740" y="382"/>
                  </a:lnTo>
                  <a:lnTo>
                    <a:pt x="736" y="376"/>
                  </a:lnTo>
                  <a:lnTo>
                    <a:pt x="736" y="375"/>
                  </a:lnTo>
                  <a:lnTo>
                    <a:pt x="734" y="371"/>
                  </a:lnTo>
                  <a:lnTo>
                    <a:pt x="736" y="367"/>
                  </a:lnTo>
                  <a:lnTo>
                    <a:pt x="736" y="365"/>
                  </a:lnTo>
                  <a:lnTo>
                    <a:pt x="740" y="358"/>
                  </a:lnTo>
                  <a:lnTo>
                    <a:pt x="740" y="356"/>
                  </a:lnTo>
                  <a:lnTo>
                    <a:pt x="740" y="346"/>
                  </a:lnTo>
                  <a:lnTo>
                    <a:pt x="742" y="342"/>
                  </a:lnTo>
                  <a:lnTo>
                    <a:pt x="740" y="341"/>
                  </a:lnTo>
                  <a:lnTo>
                    <a:pt x="740" y="337"/>
                  </a:lnTo>
                  <a:lnTo>
                    <a:pt x="740" y="331"/>
                  </a:lnTo>
                  <a:lnTo>
                    <a:pt x="738" y="331"/>
                  </a:lnTo>
                  <a:lnTo>
                    <a:pt x="740" y="324"/>
                  </a:lnTo>
                  <a:lnTo>
                    <a:pt x="736" y="322"/>
                  </a:lnTo>
                  <a:lnTo>
                    <a:pt x="734" y="318"/>
                  </a:lnTo>
                  <a:lnTo>
                    <a:pt x="734" y="316"/>
                  </a:lnTo>
                  <a:lnTo>
                    <a:pt x="729" y="312"/>
                  </a:lnTo>
                  <a:lnTo>
                    <a:pt x="727" y="307"/>
                  </a:lnTo>
                  <a:lnTo>
                    <a:pt x="725" y="301"/>
                  </a:lnTo>
                  <a:lnTo>
                    <a:pt x="723" y="297"/>
                  </a:lnTo>
                  <a:lnTo>
                    <a:pt x="723" y="297"/>
                  </a:lnTo>
                  <a:lnTo>
                    <a:pt x="717" y="297"/>
                  </a:lnTo>
                  <a:lnTo>
                    <a:pt x="717" y="297"/>
                  </a:lnTo>
                  <a:lnTo>
                    <a:pt x="713" y="292"/>
                  </a:lnTo>
                  <a:lnTo>
                    <a:pt x="713" y="292"/>
                  </a:lnTo>
                  <a:lnTo>
                    <a:pt x="713" y="288"/>
                  </a:lnTo>
                  <a:lnTo>
                    <a:pt x="708" y="284"/>
                  </a:lnTo>
                  <a:lnTo>
                    <a:pt x="706" y="282"/>
                  </a:lnTo>
                  <a:lnTo>
                    <a:pt x="708" y="278"/>
                  </a:lnTo>
                  <a:lnTo>
                    <a:pt x="704" y="275"/>
                  </a:lnTo>
                  <a:lnTo>
                    <a:pt x="708" y="269"/>
                  </a:lnTo>
                  <a:lnTo>
                    <a:pt x="710" y="263"/>
                  </a:lnTo>
                  <a:lnTo>
                    <a:pt x="708" y="261"/>
                  </a:lnTo>
                  <a:lnTo>
                    <a:pt x="710" y="258"/>
                  </a:lnTo>
                  <a:lnTo>
                    <a:pt x="706" y="258"/>
                  </a:lnTo>
                  <a:lnTo>
                    <a:pt x="706" y="260"/>
                  </a:lnTo>
                  <a:lnTo>
                    <a:pt x="706" y="261"/>
                  </a:lnTo>
                  <a:lnTo>
                    <a:pt x="706" y="263"/>
                  </a:lnTo>
                  <a:lnTo>
                    <a:pt x="697" y="254"/>
                  </a:lnTo>
                  <a:lnTo>
                    <a:pt x="695" y="250"/>
                  </a:lnTo>
                  <a:lnTo>
                    <a:pt x="693" y="250"/>
                  </a:lnTo>
                  <a:lnTo>
                    <a:pt x="693" y="254"/>
                  </a:lnTo>
                  <a:lnTo>
                    <a:pt x="693" y="256"/>
                  </a:lnTo>
                  <a:lnTo>
                    <a:pt x="695" y="263"/>
                  </a:lnTo>
                  <a:lnTo>
                    <a:pt x="689" y="258"/>
                  </a:lnTo>
                  <a:lnTo>
                    <a:pt x="689" y="260"/>
                  </a:lnTo>
                  <a:lnTo>
                    <a:pt x="689" y="256"/>
                  </a:lnTo>
                  <a:lnTo>
                    <a:pt x="687" y="254"/>
                  </a:lnTo>
                  <a:lnTo>
                    <a:pt x="687" y="243"/>
                  </a:lnTo>
                  <a:lnTo>
                    <a:pt x="689" y="243"/>
                  </a:lnTo>
                  <a:lnTo>
                    <a:pt x="689" y="239"/>
                  </a:lnTo>
                  <a:lnTo>
                    <a:pt x="685" y="237"/>
                  </a:lnTo>
                  <a:lnTo>
                    <a:pt x="685" y="235"/>
                  </a:lnTo>
                  <a:lnTo>
                    <a:pt x="683" y="231"/>
                  </a:lnTo>
                  <a:lnTo>
                    <a:pt x="683" y="229"/>
                  </a:lnTo>
                  <a:lnTo>
                    <a:pt x="678" y="224"/>
                  </a:lnTo>
                  <a:lnTo>
                    <a:pt x="676" y="220"/>
                  </a:lnTo>
                  <a:lnTo>
                    <a:pt x="676" y="214"/>
                  </a:lnTo>
                  <a:lnTo>
                    <a:pt x="680" y="218"/>
                  </a:lnTo>
                  <a:lnTo>
                    <a:pt x="680" y="214"/>
                  </a:lnTo>
                  <a:lnTo>
                    <a:pt x="676" y="209"/>
                  </a:lnTo>
                  <a:lnTo>
                    <a:pt x="674" y="209"/>
                  </a:lnTo>
                  <a:lnTo>
                    <a:pt x="670" y="209"/>
                  </a:lnTo>
                  <a:lnTo>
                    <a:pt x="668" y="203"/>
                  </a:lnTo>
                  <a:lnTo>
                    <a:pt x="665" y="203"/>
                  </a:lnTo>
                  <a:lnTo>
                    <a:pt x="663" y="199"/>
                  </a:lnTo>
                  <a:lnTo>
                    <a:pt x="659" y="201"/>
                  </a:lnTo>
                  <a:lnTo>
                    <a:pt x="659" y="199"/>
                  </a:lnTo>
                  <a:lnTo>
                    <a:pt x="655" y="197"/>
                  </a:lnTo>
                  <a:lnTo>
                    <a:pt x="651" y="201"/>
                  </a:lnTo>
                  <a:lnTo>
                    <a:pt x="653" y="197"/>
                  </a:lnTo>
                  <a:lnTo>
                    <a:pt x="655" y="196"/>
                  </a:lnTo>
                  <a:lnTo>
                    <a:pt x="659" y="194"/>
                  </a:lnTo>
                  <a:lnTo>
                    <a:pt x="655" y="194"/>
                  </a:lnTo>
                  <a:lnTo>
                    <a:pt x="653" y="194"/>
                  </a:lnTo>
                  <a:lnTo>
                    <a:pt x="649" y="194"/>
                  </a:lnTo>
                  <a:lnTo>
                    <a:pt x="648" y="190"/>
                  </a:lnTo>
                  <a:lnTo>
                    <a:pt x="646" y="190"/>
                  </a:lnTo>
                  <a:lnTo>
                    <a:pt x="638" y="186"/>
                  </a:lnTo>
                  <a:lnTo>
                    <a:pt x="634" y="179"/>
                  </a:lnTo>
                  <a:lnTo>
                    <a:pt x="634" y="171"/>
                  </a:lnTo>
                  <a:lnTo>
                    <a:pt x="631" y="169"/>
                  </a:lnTo>
                  <a:lnTo>
                    <a:pt x="631" y="165"/>
                  </a:lnTo>
                  <a:lnTo>
                    <a:pt x="634" y="162"/>
                  </a:lnTo>
                  <a:lnTo>
                    <a:pt x="634" y="156"/>
                  </a:lnTo>
                  <a:lnTo>
                    <a:pt x="634" y="147"/>
                  </a:lnTo>
                  <a:lnTo>
                    <a:pt x="631" y="141"/>
                  </a:lnTo>
                  <a:lnTo>
                    <a:pt x="634" y="141"/>
                  </a:lnTo>
                  <a:lnTo>
                    <a:pt x="631" y="137"/>
                  </a:lnTo>
                  <a:lnTo>
                    <a:pt x="629" y="137"/>
                  </a:lnTo>
                  <a:lnTo>
                    <a:pt x="625" y="132"/>
                  </a:lnTo>
                  <a:lnTo>
                    <a:pt x="625" y="122"/>
                  </a:lnTo>
                  <a:lnTo>
                    <a:pt x="627" y="122"/>
                  </a:lnTo>
                  <a:lnTo>
                    <a:pt x="627" y="120"/>
                  </a:lnTo>
                  <a:lnTo>
                    <a:pt x="625" y="116"/>
                  </a:lnTo>
                  <a:lnTo>
                    <a:pt x="623" y="107"/>
                  </a:lnTo>
                  <a:lnTo>
                    <a:pt x="625" y="103"/>
                  </a:lnTo>
                  <a:lnTo>
                    <a:pt x="623" y="99"/>
                  </a:lnTo>
                  <a:lnTo>
                    <a:pt x="625" y="98"/>
                  </a:lnTo>
                  <a:lnTo>
                    <a:pt x="625" y="96"/>
                  </a:lnTo>
                  <a:lnTo>
                    <a:pt x="619" y="88"/>
                  </a:lnTo>
                  <a:lnTo>
                    <a:pt x="614" y="86"/>
                  </a:lnTo>
                  <a:lnTo>
                    <a:pt x="616" y="86"/>
                  </a:lnTo>
                  <a:lnTo>
                    <a:pt x="612" y="83"/>
                  </a:lnTo>
                  <a:lnTo>
                    <a:pt x="606" y="83"/>
                  </a:lnTo>
                  <a:lnTo>
                    <a:pt x="606" y="83"/>
                  </a:lnTo>
                  <a:lnTo>
                    <a:pt x="604" y="86"/>
                  </a:lnTo>
                  <a:lnTo>
                    <a:pt x="601" y="86"/>
                  </a:lnTo>
                  <a:lnTo>
                    <a:pt x="597" y="81"/>
                  </a:lnTo>
                  <a:lnTo>
                    <a:pt x="599" y="79"/>
                  </a:lnTo>
                  <a:lnTo>
                    <a:pt x="595" y="73"/>
                  </a:lnTo>
                  <a:lnTo>
                    <a:pt x="597" y="66"/>
                  </a:lnTo>
                  <a:lnTo>
                    <a:pt x="597" y="58"/>
                  </a:lnTo>
                  <a:lnTo>
                    <a:pt x="595" y="58"/>
                  </a:lnTo>
                  <a:lnTo>
                    <a:pt x="593" y="56"/>
                  </a:lnTo>
                  <a:lnTo>
                    <a:pt x="595" y="52"/>
                  </a:lnTo>
                  <a:lnTo>
                    <a:pt x="591" y="49"/>
                  </a:lnTo>
                  <a:lnTo>
                    <a:pt x="591" y="45"/>
                  </a:lnTo>
                  <a:lnTo>
                    <a:pt x="589" y="43"/>
                  </a:lnTo>
                  <a:lnTo>
                    <a:pt x="589" y="39"/>
                  </a:lnTo>
                  <a:lnTo>
                    <a:pt x="591" y="37"/>
                  </a:lnTo>
                  <a:lnTo>
                    <a:pt x="589" y="37"/>
                  </a:lnTo>
                  <a:lnTo>
                    <a:pt x="585" y="37"/>
                  </a:lnTo>
                  <a:lnTo>
                    <a:pt x="584" y="34"/>
                  </a:lnTo>
                  <a:lnTo>
                    <a:pt x="585" y="26"/>
                  </a:lnTo>
                  <a:lnTo>
                    <a:pt x="584" y="24"/>
                  </a:lnTo>
                  <a:lnTo>
                    <a:pt x="582" y="18"/>
                  </a:lnTo>
                  <a:lnTo>
                    <a:pt x="580" y="17"/>
                  </a:lnTo>
                  <a:lnTo>
                    <a:pt x="580" y="15"/>
                  </a:lnTo>
                  <a:lnTo>
                    <a:pt x="576" y="17"/>
                  </a:lnTo>
                  <a:lnTo>
                    <a:pt x="574" y="18"/>
                  </a:lnTo>
                  <a:lnTo>
                    <a:pt x="574" y="26"/>
                  </a:lnTo>
                  <a:lnTo>
                    <a:pt x="572" y="32"/>
                  </a:lnTo>
                  <a:lnTo>
                    <a:pt x="572" y="32"/>
                  </a:lnTo>
                  <a:lnTo>
                    <a:pt x="570" y="37"/>
                  </a:lnTo>
                  <a:lnTo>
                    <a:pt x="569" y="37"/>
                  </a:lnTo>
                  <a:lnTo>
                    <a:pt x="567" y="43"/>
                  </a:lnTo>
                  <a:lnTo>
                    <a:pt x="563" y="47"/>
                  </a:lnTo>
                  <a:lnTo>
                    <a:pt x="565" y="51"/>
                  </a:lnTo>
                  <a:lnTo>
                    <a:pt x="569" y="52"/>
                  </a:lnTo>
                  <a:lnTo>
                    <a:pt x="567" y="52"/>
                  </a:lnTo>
                  <a:lnTo>
                    <a:pt x="565" y="52"/>
                  </a:lnTo>
                  <a:lnTo>
                    <a:pt x="563" y="58"/>
                  </a:lnTo>
                  <a:lnTo>
                    <a:pt x="561" y="62"/>
                  </a:lnTo>
                  <a:lnTo>
                    <a:pt x="563" y="64"/>
                  </a:lnTo>
                  <a:lnTo>
                    <a:pt x="563" y="67"/>
                  </a:lnTo>
                  <a:lnTo>
                    <a:pt x="561" y="67"/>
                  </a:lnTo>
                  <a:lnTo>
                    <a:pt x="559" y="67"/>
                  </a:lnTo>
                  <a:lnTo>
                    <a:pt x="557" y="79"/>
                  </a:lnTo>
                  <a:lnTo>
                    <a:pt x="559" y="83"/>
                  </a:lnTo>
                  <a:lnTo>
                    <a:pt x="557" y="90"/>
                  </a:lnTo>
                  <a:lnTo>
                    <a:pt x="559" y="96"/>
                  </a:lnTo>
                  <a:lnTo>
                    <a:pt x="559" y="101"/>
                  </a:lnTo>
                  <a:lnTo>
                    <a:pt x="555" y="103"/>
                  </a:lnTo>
                  <a:lnTo>
                    <a:pt x="555" y="107"/>
                  </a:lnTo>
                  <a:lnTo>
                    <a:pt x="552" y="113"/>
                  </a:lnTo>
                  <a:lnTo>
                    <a:pt x="552" y="124"/>
                  </a:lnTo>
                  <a:lnTo>
                    <a:pt x="546" y="128"/>
                  </a:lnTo>
                  <a:lnTo>
                    <a:pt x="550" y="132"/>
                  </a:lnTo>
                  <a:lnTo>
                    <a:pt x="546" y="137"/>
                  </a:lnTo>
                  <a:lnTo>
                    <a:pt x="544" y="141"/>
                  </a:lnTo>
                  <a:lnTo>
                    <a:pt x="544" y="147"/>
                  </a:lnTo>
                  <a:lnTo>
                    <a:pt x="538" y="152"/>
                  </a:lnTo>
                  <a:lnTo>
                    <a:pt x="525" y="156"/>
                  </a:lnTo>
                  <a:lnTo>
                    <a:pt x="521" y="154"/>
                  </a:lnTo>
                  <a:lnTo>
                    <a:pt x="516" y="152"/>
                  </a:lnTo>
                  <a:lnTo>
                    <a:pt x="514" y="150"/>
                  </a:lnTo>
                  <a:lnTo>
                    <a:pt x="508" y="147"/>
                  </a:lnTo>
                  <a:lnTo>
                    <a:pt x="508" y="145"/>
                  </a:lnTo>
                  <a:lnTo>
                    <a:pt x="508" y="141"/>
                  </a:lnTo>
                  <a:lnTo>
                    <a:pt x="506" y="137"/>
                  </a:lnTo>
                  <a:lnTo>
                    <a:pt x="503" y="137"/>
                  </a:lnTo>
                  <a:lnTo>
                    <a:pt x="501" y="135"/>
                  </a:lnTo>
                  <a:lnTo>
                    <a:pt x="493" y="135"/>
                  </a:lnTo>
                  <a:lnTo>
                    <a:pt x="488" y="132"/>
                  </a:lnTo>
                  <a:lnTo>
                    <a:pt x="488" y="130"/>
                  </a:lnTo>
                  <a:lnTo>
                    <a:pt x="482" y="124"/>
                  </a:lnTo>
                  <a:lnTo>
                    <a:pt x="478" y="124"/>
                  </a:lnTo>
                  <a:lnTo>
                    <a:pt x="473" y="120"/>
                  </a:lnTo>
                  <a:lnTo>
                    <a:pt x="473" y="120"/>
                  </a:lnTo>
                  <a:lnTo>
                    <a:pt x="473" y="120"/>
                  </a:lnTo>
                  <a:lnTo>
                    <a:pt x="467" y="116"/>
                  </a:lnTo>
                  <a:lnTo>
                    <a:pt x="463" y="116"/>
                  </a:lnTo>
                  <a:lnTo>
                    <a:pt x="461" y="115"/>
                  </a:lnTo>
                  <a:lnTo>
                    <a:pt x="463" y="113"/>
                  </a:lnTo>
                  <a:lnTo>
                    <a:pt x="457" y="111"/>
                  </a:lnTo>
                  <a:lnTo>
                    <a:pt x="457" y="107"/>
                  </a:lnTo>
                  <a:lnTo>
                    <a:pt x="452" y="101"/>
                  </a:lnTo>
                  <a:lnTo>
                    <a:pt x="448" y="101"/>
                  </a:lnTo>
                  <a:lnTo>
                    <a:pt x="444" y="96"/>
                  </a:lnTo>
                  <a:lnTo>
                    <a:pt x="444" y="92"/>
                  </a:lnTo>
                  <a:lnTo>
                    <a:pt x="448" y="86"/>
                  </a:lnTo>
                  <a:lnTo>
                    <a:pt x="448" y="83"/>
                  </a:lnTo>
                  <a:lnTo>
                    <a:pt x="452" y="81"/>
                  </a:lnTo>
                  <a:lnTo>
                    <a:pt x="454" y="75"/>
                  </a:lnTo>
                  <a:lnTo>
                    <a:pt x="456" y="71"/>
                  </a:lnTo>
                  <a:lnTo>
                    <a:pt x="452" y="73"/>
                  </a:lnTo>
                  <a:lnTo>
                    <a:pt x="450" y="67"/>
                  </a:lnTo>
                  <a:lnTo>
                    <a:pt x="454" y="66"/>
                  </a:lnTo>
                  <a:lnTo>
                    <a:pt x="452" y="62"/>
                  </a:lnTo>
                  <a:lnTo>
                    <a:pt x="454" y="62"/>
                  </a:lnTo>
                  <a:lnTo>
                    <a:pt x="457" y="62"/>
                  </a:lnTo>
                  <a:lnTo>
                    <a:pt x="457" y="62"/>
                  </a:lnTo>
                  <a:lnTo>
                    <a:pt x="461" y="62"/>
                  </a:lnTo>
                  <a:lnTo>
                    <a:pt x="467" y="62"/>
                  </a:lnTo>
                  <a:lnTo>
                    <a:pt x="467" y="58"/>
                  </a:lnTo>
                  <a:lnTo>
                    <a:pt x="463" y="52"/>
                  </a:lnTo>
                  <a:lnTo>
                    <a:pt x="467" y="52"/>
                  </a:lnTo>
                  <a:lnTo>
                    <a:pt x="469" y="52"/>
                  </a:lnTo>
                  <a:lnTo>
                    <a:pt x="473" y="47"/>
                  </a:lnTo>
                  <a:lnTo>
                    <a:pt x="473" y="45"/>
                  </a:lnTo>
                  <a:lnTo>
                    <a:pt x="476" y="43"/>
                  </a:lnTo>
                  <a:lnTo>
                    <a:pt x="476" y="41"/>
                  </a:lnTo>
                  <a:lnTo>
                    <a:pt x="473" y="37"/>
                  </a:lnTo>
                  <a:lnTo>
                    <a:pt x="469" y="41"/>
                  </a:lnTo>
                  <a:lnTo>
                    <a:pt x="467" y="41"/>
                  </a:lnTo>
                  <a:lnTo>
                    <a:pt x="467" y="34"/>
                  </a:lnTo>
                  <a:lnTo>
                    <a:pt x="463" y="37"/>
                  </a:lnTo>
                  <a:lnTo>
                    <a:pt x="459" y="41"/>
                  </a:lnTo>
                  <a:lnTo>
                    <a:pt x="463" y="41"/>
                  </a:lnTo>
                  <a:lnTo>
                    <a:pt x="463" y="45"/>
                  </a:lnTo>
                  <a:lnTo>
                    <a:pt x="459" y="47"/>
                  </a:lnTo>
                  <a:lnTo>
                    <a:pt x="456" y="43"/>
                  </a:lnTo>
                  <a:lnTo>
                    <a:pt x="456" y="41"/>
                  </a:lnTo>
                  <a:lnTo>
                    <a:pt x="454" y="39"/>
                  </a:lnTo>
                  <a:lnTo>
                    <a:pt x="452" y="41"/>
                  </a:lnTo>
                  <a:lnTo>
                    <a:pt x="450" y="43"/>
                  </a:lnTo>
                  <a:lnTo>
                    <a:pt x="450" y="39"/>
                  </a:lnTo>
                  <a:lnTo>
                    <a:pt x="452" y="37"/>
                  </a:lnTo>
                  <a:lnTo>
                    <a:pt x="454" y="37"/>
                  </a:lnTo>
                  <a:lnTo>
                    <a:pt x="450" y="37"/>
                  </a:lnTo>
                  <a:lnTo>
                    <a:pt x="448" y="39"/>
                  </a:lnTo>
                  <a:lnTo>
                    <a:pt x="444" y="41"/>
                  </a:lnTo>
                  <a:lnTo>
                    <a:pt x="442" y="43"/>
                  </a:lnTo>
                  <a:lnTo>
                    <a:pt x="442" y="43"/>
                  </a:lnTo>
                  <a:lnTo>
                    <a:pt x="439" y="41"/>
                  </a:lnTo>
                  <a:lnTo>
                    <a:pt x="437" y="41"/>
                  </a:lnTo>
                  <a:lnTo>
                    <a:pt x="437" y="39"/>
                  </a:lnTo>
                  <a:lnTo>
                    <a:pt x="435" y="37"/>
                  </a:lnTo>
                  <a:lnTo>
                    <a:pt x="433" y="37"/>
                  </a:lnTo>
                  <a:lnTo>
                    <a:pt x="427" y="37"/>
                  </a:lnTo>
                  <a:lnTo>
                    <a:pt x="425" y="37"/>
                  </a:lnTo>
                  <a:lnTo>
                    <a:pt x="424" y="37"/>
                  </a:lnTo>
                  <a:lnTo>
                    <a:pt x="422" y="34"/>
                  </a:lnTo>
                  <a:lnTo>
                    <a:pt x="420" y="34"/>
                  </a:lnTo>
                  <a:lnTo>
                    <a:pt x="418" y="32"/>
                  </a:lnTo>
                  <a:lnTo>
                    <a:pt x="412" y="32"/>
                  </a:lnTo>
                  <a:lnTo>
                    <a:pt x="409" y="32"/>
                  </a:lnTo>
                  <a:lnTo>
                    <a:pt x="405" y="28"/>
                  </a:lnTo>
                  <a:lnTo>
                    <a:pt x="407" y="28"/>
                  </a:lnTo>
                  <a:lnTo>
                    <a:pt x="403" y="24"/>
                  </a:lnTo>
                  <a:lnTo>
                    <a:pt x="401" y="24"/>
                  </a:lnTo>
                  <a:lnTo>
                    <a:pt x="401" y="26"/>
                  </a:lnTo>
                  <a:lnTo>
                    <a:pt x="395" y="28"/>
                  </a:lnTo>
                  <a:lnTo>
                    <a:pt x="393" y="24"/>
                  </a:lnTo>
                  <a:lnTo>
                    <a:pt x="392" y="24"/>
                  </a:lnTo>
                  <a:lnTo>
                    <a:pt x="388" y="20"/>
                  </a:lnTo>
                  <a:lnTo>
                    <a:pt x="384" y="22"/>
                  </a:lnTo>
                  <a:lnTo>
                    <a:pt x="384" y="20"/>
                  </a:lnTo>
                  <a:lnTo>
                    <a:pt x="380" y="22"/>
                  </a:lnTo>
                  <a:lnTo>
                    <a:pt x="384" y="26"/>
                  </a:lnTo>
                  <a:lnTo>
                    <a:pt x="384" y="26"/>
                  </a:lnTo>
                  <a:lnTo>
                    <a:pt x="388" y="28"/>
                  </a:lnTo>
                  <a:lnTo>
                    <a:pt x="388" y="26"/>
                  </a:lnTo>
                  <a:lnTo>
                    <a:pt x="393" y="28"/>
                  </a:lnTo>
                  <a:lnTo>
                    <a:pt x="393" y="32"/>
                  </a:lnTo>
                  <a:lnTo>
                    <a:pt x="395" y="37"/>
                  </a:lnTo>
                  <a:lnTo>
                    <a:pt x="392" y="37"/>
                  </a:lnTo>
                  <a:lnTo>
                    <a:pt x="390" y="43"/>
                  </a:lnTo>
                  <a:lnTo>
                    <a:pt x="388" y="39"/>
                  </a:lnTo>
                  <a:lnTo>
                    <a:pt x="388" y="39"/>
                  </a:lnTo>
                  <a:lnTo>
                    <a:pt x="384" y="41"/>
                  </a:lnTo>
                  <a:lnTo>
                    <a:pt x="373" y="41"/>
                  </a:lnTo>
                  <a:lnTo>
                    <a:pt x="369" y="37"/>
                  </a:lnTo>
                  <a:lnTo>
                    <a:pt x="367" y="39"/>
                  </a:lnTo>
                  <a:lnTo>
                    <a:pt x="363" y="41"/>
                  </a:lnTo>
                  <a:lnTo>
                    <a:pt x="363" y="45"/>
                  </a:lnTo>
                  <a:lnTo>
                    <a:pt x="360" y="45"/>
                  </a:lnTo>
                  <a:lnTo>
                    <a:pt x="363" y="49"/>
                  </a:lnTo>
                  <a:lnTo>
                    <a:pt x="360" y="47"/>
                  </a:lnTo>
                  <a:lnTo>
                    <a:pt x="358" y="47"/>
                  </a:lnTo>
                  <a:lnTo>
                    <a:pt x="354" y="49"/>
                  </a:lnTo>
                  <a:lnTo>
                    <a:pt x="358" y="51"/>
                  </a:lnTo>
                  <a:lnTo>
                    <a:pt x="358" y="52"/>
                  </a:lnTo>
                  <a:lnTo>
                    <a:pt x="350" y="51"/>
                  </a:lnTo>
                  <a:lnTo>
                    <a:pt x="350" y="52"/>
                  </a:lnTo>
                  <a:lnTo>
                    <a:pt x="350" y="56"/>
                  </a:lnTo>
                  <a:lnTo>
                    <a:pt x="348" y="56"/>
                  </a:lnTo>
                  <a:lnTo>
                    <a:pt x="346" y="58"/>
                  </a:lnTo>
                  <a:lnTo>
                    <a:pt x="346" y="62"/>
                  </a:lnTo>
                  <a:lnTo>
                    <a:pt x="348" y="62"/>
                  </a:lnTo>
                  <a:lnTo>
                    <a:pt x="350" y="64"/>
                  </a:lnTo>
                  <a:lnTo>
                    <a:pt x="346" y="62"/>
                  </a:lnTo>
                  <a:lnTo>
                    <a:pt x="345" y="66"/>
                  </a:lnTo>
                  <a:lnTo>
                    <a:pt x="341" y="66"/>
                  </a:lnTo>
                  <a:lnTo>
                    <a:pt x="339" y="71"/>
                  </a:lnTo>
                  <a:lnTo>
                    <a:pt x="333" y="77"/>
                  </a:lnTo>
                  <a:lnTo>
                    <a:pt x="331" y="77"/>
                  </a:lnTo>
                  <a:lnTo>
                    <a:pt x="329" y="83"/>
                  </a:lnTo>
                  <a:lnTo>
                    <a:pt x="329" y="83"/>
                  </a:lnTo>
                  <a:lnTo>
                    <a:pt x="329" y="86"/>
                  </a:lnTo>
                  <a:lnTo>
                    <a:pt x="339" y="86"/>
                  </a:lnTo>
                  <a:lnTo>
                    <a:pt x="333" y="88"/>
                  </a:lnTo>
                  <a:lnTo>
                    <a:pt x="331" y="90"/>
                  </a:lnTo>
                  <a:lnTo>
                    <a:pt x="341" y="94"/>
                  </a:lnTo>
                  <a:lnTo>
                    <a:pt x="339" y="94"/>
                  </a:lnTo>
                  <a:lnTo>
                    <a:pt x="331" y="94"/>
                  </a:lnTo>
                  <a:lnTo>
                    <a:pt x="331" y="92"/>
                  </a:lnTo>
                  <a:lnTo>
                    <a:pt x="331" y="94"/>
                  </a:lnTo>
                  <a:lnTo>
                    <a:pt x="333" y="96"/>
                  </a:lnTo>
                  <a:lnTo>
                    <a:pt x="333" y="101"/>
                  </a:lnTo>
                  <a:lnTo>
                    <a:pt x="339" y="105"/>
                  </a:lnTo>
                  <a:lnTo>
                    <a:pt x="331" y="101"/>
                  </a:lnTo>
                  <a:lnTo>
                    <a:pt x="329" y="96"/>
                  </a:lnTo>
                  <a:lnTo>
                    <a:pt x="326" y="96"/>
                  </a:lnTo>
                  <a:lnTo>
                    <a:pt x="326" y="98"/>
                  </a:lnTo>
                  <a:lnTo>
                    <a:pt x="326" y="99"/>
                  </a:lnTo>
                  <a:lnTo>
                    <a:pt x="326" y="98"/>
                  </a:lnTo>
                  <a:lnTo>
                    <a:pt x="316" y="92"/>
                  </a:lnTo>
                  <a:lnTo>
                    <a:pt x="311" y="92"/>
                  </a:lnTo>
                  <a:lnTo>
                    <a:pt x="313" y="96"/>
                  </a:lnTo>
                  <a:lnTo>
                    <a:pt x="311" y="98"/>
                  </a:lnTo>
                  <a:lnTo>
                    <a:pt x="309" y="96"/>
                  </a:lnTo>
                  <a:lnTo>
                    <a:pt x="307" y="96"/>
                  </a:lnTo>
                  <a:lnTo>
                    <a:pt x="305" y="98"/>
                  </a:lnTo>
                  <a:lnTo>
                    <a:pt x="307" y="101"/>
                  </a:lnTo>
                  <a:lnTo>
                    <a:pt x="307" y="103"/>
                  </a:lnTo>
                  <a:lnTo>
                    <a:pt x="307" y="101"/>
                  </a:lnTo>
                  <a:lnTo>
                    <a:pt x="305" y="103"/>
                  </a:lnTo>
                  <a:lnTo>
                    <a:pt x="305" y="105"/>
                  </a:lnTo>
                  <a:lnTo>
                    <a:pt x="301" y="107"/>
                  </a:lnTo>
                  <a:lnTo>
                    <a:pt x="296" y="107"/>
                  </a:lnTo>
                  <a:lnTo>
                    <a:pt x="301" y="105"/>
                  </a:lnTo>
                  <a:lnTo>
                    <a:pt x="305" y="101"/>
                  </a:lnTo>
                  <a:lnTo>
                    <a:pt x="301" y="96"/>
                  </a:lnTo>
                  <a:lnTo>
                    <a:pt x="305" y="92"/>
                  </a:lnTo>
                  <a:lnTo>
                    <a:pt x="305" y="88"/>
                  </a:lnTo>
                  <a:lnTo>
                    <a:pt x="301" y="88"/>
                  </a:lnTo>
                  <a:lnTo>
                    <a:pt x="296" y="81"/>
                  </a:lnTo>
                  <a:lnTo>
                    <a:pt x="294" y="75"/>
                  </a:lnTo>
                  <a:lnTo>
                    <a:pt x="288" y="75"/>
                  </a:lnTo>
                  <a:lnTo>
                    <a:pt x="284" y="71"/>
                  </a:lnTo>
                  <a:lnTo>
                    <a:pt x="282" y="73"/>
                  </a:lnTo>
                  <a:lnTo>
                    <a:pt x="284" y="75"/>
                  </a:lnTo>
                  <a:lnTo>
                    <a:pt x="281" y="77"/>
                  </a:lnTo>
                  <a:lnTo>
                    <a:pt x="279" y="81"/>
                  </a:lnTo>
                  <a:lnTo>
                    <a:pt x="277" y="81"/>
                  </a:lnTo>
                  <a:lnTo>
                    <a:pt x="277" y="77"/>
                  </a:lnTo>
                  <a:lnTo>
                    <a:pt x="275" y="79"/>
                  </a:lnTo>
                  <a:lnTo>
                    <a:pt x="275" y="81"/>
                  </a:lnTo>
                  <a:lnTo>
                    <a:pt x="271" y="75"/>
                  </a:lnTo>
                  <a:lnTo>
                    <a:pt x="269" y="75"/>
                  </a:lnTo>
                  <a:lnTo>
                    <a:pt x="269" y="79"/>
                  </a:lnTo>
                  <a:lnTo>
                    <a:pt x="271" y="79"/>
                  </a:lnTo>
                  <a:lnTo>
                    <a:pt x="267" y="83"/>
                  </a:lnTo>
                  <a:lnTo>
                    <a:pt x="265" y="86"/>
                  </a:lnTo>
                  <a:lnTo>
                    <a:pt x="267" y="86"/>
                  </a:lnTo>
                  <a:lnTo>
                    <a:pt x="264" y="90"/>
                  </a:lnTo>
                  <a:lnTo>
                    <a:pt x="262" y="86"/>
                  </a:lnTo>
                  <a:lnTo>
                    <a:pt x="260" y="86"/>
                  </a:lnTo>
                  <a:lnTo>
                    <a:pt x="260" y="86"/>
                  </a:lnTo>
                  <a:lnTo>
                    <a:pt x="262" y="83"/>
                  </a:lnTo>
                  <a:lnTo>
                    <a:pt x="258" y="83"/>
                  </a:lnTo>
                  <a:lnTo>
                    <a:pt x="258" y="86"/>
                  </a:lnTo>
                  <a:lnTo>
                    <a:pt x="252" y="86"/>
                  </a:lnTo>
                  <a:lnTo>
                    <a:pt x="252" y="88"/>
                  </a:lnTo>
                  <a:lnTo>
                    <a:pt x="250" y="94"/>
                  </a:lnTo>
                  <a:lnTo>
                    <a:pt x="256" y="94"/>
                  </a:lnTo>
                  <a:lnTo>
                    <a:pt x="252" y="99"/>
                  </a:lnTo>
                  <a:lnTo>
                    <a:pt x="250" y="98"/>
                  </a:lnTo>
                  <a:lnTo>
                    <a:pt x="245" y="99"/>
                  </a:lnTo>
                  <a:lnTo>
                    <a:pt x="247" y="103"/>
                  </a:lnTo>
                  <a:lnTo>
                    <a:pt x="250" y="103"/>
                  </a:lnTo>
                  <a:lnTo>
                    <a:pt x="247" y="107"/>
                  </a:lnTo>
                  <a:lnTo>
                    <a:pt x="247" y="107"/>
                  </a:lnTo>
                  <a:lnTo>
                    <a:pt x="243" y="103"/>
                  </a:lnTo>
                  <a:lnTo>
                    <a:pt x="237" y="107"/>
                  </a:lnTo>
                  <a:lnTo>
                    <a:pt x="235" y="107"/>
                  </a:lnTo>
                  <a:lnTo>
                    <a:pt x="237" y="111"/>
                  </a:lnTo>
                  <a:lnTo>
                    <a:pt x="237" y="111"/>
                  </a:lnTo>
                  <a:lnTo>
                    <a:pt x="237" y="113"/>
                  </a:lnTo>
                  <a:lnTo>
                    <a:pt x="237" y="113"/>
                  </a:lnTo>
                  <a:lnTo>
                    <a:pt x="237" y="116"/>
                  </a:lnTo>
                  <a:lnTo>
                    <a:pt x="237" y="120"/>
                  </a:lnTo>
                  <a:lnTo>
                    <a:pt x="235" y="120"/>
                  </a:lnTo>
                  <a:lnTo>
                    <a:pt x="233" y="124"/>
                  </a:lnTo>
                  <a:lnTo>
                    <a:pt x="241" y="124"/>
                  </a:lnTo>
                  <a:lnTo>
                    <a:pt x="235" y="128"/>
                  </a:lnTo>
                  <a:lnTo>
                    <a:pt x="235" y="130"/>
                  </a:lnTo>
                  <a:lnTo>
                    <a:pt x="232" y="128"/>
                  </a:lnTo>
                  <a:lnTo>
                    <a:pt x="230" y="126"/>
                  </a:lnTo>
                  <a:lnTo>
                    <a:pt x="226" y="122"/>
                  </a:lnTo>
                  <a:lnTo>
                    <a:pt x="226" y="126"/>
                  </a:lnTo>
                  <a:lnTo>
                    <a:pt x="222" y="122"/>
                  </a:lnTo>
                  <a:lnTo>
                    <a:pt x="220" y="120"/>
                  </a:lnTo>
                  <a:lnTo>
                    <a:pt x="217" y="122"/>
                  </a:lnTo>
                  <a:lnTo>
                    <a:pt x="220" y="126"/>
                  </a:lnTo>
                  <a:lnTo>
                    <a:pt x="220" y="128"/>
                  </a:lnTo>
                  <a:lnTo>
                    <a:pt x="217" y="132"/>
                  </a:lnTo>
                  <a:lnTo>
                    <a:pt x="220" y="132"/>
                  </a:lnTo>
                  <a:lnTo>
                    <a:pt x="226" y="132"/>
                  </a:lnTo>
                  <a:lnTo>
                    <a:pt x="222" y="135"/>
                  </a:lnTo>
                  <a:lnTo>
                    <a:pt x="222" y="141"/>
                  </a:lnTo>
                  <a:lnTo>
                    <a:pt x="220" y="137"/>
                  </a:lnTo>
                  <a:lnTo>
                    <a:pt x="220" y="137"/>
                  </a:lnTo>
                  <a:lnTo>
                    <a:pt x="220" y="141"/>
                  </a:lnTo>
                  <a:lnTo>
                    <a:pt x="220" y="147"/>
                  </a:lnTo>
                  <a:lnTo>
                    <a:pt x="220" y="150"/>
                  </a:lnTo>
                  <a:lnTo>
                    <a:pt x="213" y="137"/>
                  </a:lnTo>
                  <a:lnTo>
                    <a:pt x="209" y="132"/>
                  </a:lnTo>
                  <a:lnTo>
                    <a:pt x="207" y="128"/>
                  </a:lnTo>
                  <a:lnTo>
                    <a:pt x="207" y="124"/>
                  </a:lnTo>
                  <a:lnTo>
                    <a:pt x="207" y="126"/>
                  </a:lnTo>
                  <a:lnTo>
                    <a:pt x="201" y="130"/>
                  </a:lnTo>
                  <a:lnTo>
                    <a:pt x="201" y="132"/>
                  </a:lnTo>
                  <a:lnTo>
                    <a:pt x="198" y="135"/>
                  </a:lnTo>
                  <a:lnTo>
                    <a:pt x="198" y="135"/>
                  </a:lnTo>
                  <a:lnTo>
                    <a:pt x="196" y="135"/>
                  </a:lnTo>
                  <a:lnTo>
                    <a:pt x="192" y="137"/>
                  </a:lnTo>
                  <a:lnTo>
                    <a:pt x="188" y="141"/>
                  </a:lnTo>
                  <a:lnTo>
                    <a:pt x="188" y="147"/>
                  </a:lnTo>
                  <a:lnTo>
                    <a:pt x="188" y="156"/>
                  </a:lnTo>
                  <a:lnTo>
                    <a:pt x="192" y="156"/>
                  </a:lnTo>
                  <a:lnTo>
                    <a:pt x="192" y="160"/>
                  </a:lnTo>
                  <a:lnTo>
                    <a:pt x="188" y="162"/>
                  </a:lnTo>
                  <a:lnTo>
                    <a:pt x="186" y="165"/>
                  </a:lnTo>
                  <a:lnTo>
                    <a:pt x="181" y="165"/>
                  </a:lnTo>
                  <a:lnTo>
                    <a:pt x="183" y="169"/>
                  </a:lnTo>
                  <a:lnTo>
                    <a:pt x="177" y="171"/>
                  </a:lnTo>
                  <a:lnTo>
                    <a:pt x="177" y="177"/>
                  </a:lnTo>
                  <a:lnTo>
                    <a:pt x="175" y="179"/>
                  </a:lnTo>
                  <a:lnTo>
                    <a:pt x="169" y="188"/>
                  </a:lnTo>
                  <a:lnTo>
                    <a:pt x="158" y="194"/>
                  </a:lnTo>
                  <a:lnTo>
                    <a:pt x="149" y="194"/>
                  </a:lnTo>
                  <a:lnTo>
                    <a:pt x="145" y="196"/>
                  </a:lnTo>
                  <a:lnTo>
                    <a:pt x="139" y="196"/>
                  </a:lnTo>
                  <a:lnTo>
                    <a:pt x="134" y="196"/>
                  </a:lnTo>
                  <a:lnTo>
                    <a:pt x="132" y="196"/>
                  </a:lnTo>
                  <a:lnTo>
                    <a:pt x="124" y="197"/>
                  </a:lnTo>
                  <a:lnTo>
                    <a:pt x="124" y="201"/>
                  </a:lnTo>
                  <a:lnTo>
                    <a:pt x="121" y="203"/>
                  </a:lnTo>
                  <a:lnTo>
                    <a:pt x="109" y="203"/>
                  </a:lnTo>
                  <a:lnTo>
                    <a:pt x="104" y="205"/>
                  </a:lnTo>
                  <a:lnTo>
                    <a:pt x="104" y="209"/>
                  </a:lnTo>
                  <a:lnTo>
                    <a:pt x="98" y="211"/>
                  </a:lnTo>
                  <a:lnTo>
                    <a:pt x="90" y="211"/>
                  </a:lnTo>
                  <a:lnTo>
                    <a:pt x="89" y="211"/>
                  </a:lnTo>
                  <a:lnTo>
                    <a:pt x="85" y="211"/>
                  </a:lnTo>
                  <a:lnTo>
                    <a:pt x="83" y="209"/>
                  </a:lnTo>
                  <a:lnTo>
                    <a:pt x="83" y="211"/>
                  </a:lnTo>
                  <a:lnTo>
                    <a:pt x="79" y="214"/>
                  </a:lnTo>
                  <a:lnTo>
                    <a:pt x="70" y="214"/>
                  </a:lnTo>
                  <a:lnTo>
                    <a:pt x="70" y="218"/>
                  </a:lnTo>
                  <a:lnTo>
                    <a:pt x="68" y="218"/>
                  </a:lnTo>
                  <a:lnTo>
                    <a:pt x="60" y="222"/>
                  </a:lnTo>
                  <a:lnTo>
                    <a:pt x="55" y="226"/>
                  </a:lnTo>
                  <a:lnTo>
                    <a:pt x="43" y="229"/>
                  </a:lnTo>
                  <a:lnTo>
                    <a:pt x="38" y="235"/>
                  </a:lnTo>
                  <a:lnTo>
                    <a:pt x="38" y="243"/>
                  </a:lnTo>
                  <a:lnTo>
                    <a:pt x="34" y="245"/>
                  </a:lnTo>
                  <a:lnTo>
                    <a:pt x="30" y="243"/>
                  </a:lnTo>
                  <a:lnTo>
                    <a:pt x="34" y="243"/>
                  </a:lnTo>
                  <a:lnTo>
                    <a:pt x="34" y="239"/>
                  </a:lnTo>
                  <a:lnTo>
                    <a:pt x="34" y="233"/>
                  </a:lnTo>
                  <a:lnTo>
                    <a:pt x="34" y="229"/>
                  </a:lnTo>
                  <a:lnTo>
                    <a:pt x="26" y="235"/>
                  </a:lnTo>
                  <a:lnTo>
                    <a:pt x="26" y="239"/>
                  </a:lnTo>
                  <a:lnTo>
                    <a:pt x="21" y="248"/>
                  </a:lnTo>
                  <a:lnTo>
                    <a:pt x="25" y="254"/>
                  </a:lnTo>
                  <a:lnTo>
                    <a:pt x="25" y="258"/>
                  </a:lnTo>
                  <a:lnTo>
                    <a:pt x="25" y="267"/>
                  </a:lnTo>
                  <a:lnTo>
                    <a:pt x="17" y="275"/>
                  </a:lnTo>
                  <a:lnTo>
                    <a:pt x="13" y="288"/>
                  </a:lnTo>
                  <a:lnTo>
                    <a:pt x="15" y="294"/>
                  </a:lnTo>
                  <a:lnTo>
                    <a:pt x="15" y="303"/>
                  </a:lnTo>
                  <a:lnTo>
                    <a:pt x="21" y="314"/>
                  </a:lnTo>
                  <a:lnTo>
                    <a:pt x="21" y="318"/>
                  </a:lnTo>
                  <a:lnTo>
                    <a:pt x="25" y="322"/>
                  </a:lnTo>
                  <a:lnTo>
                    <a:pt x="21" y="326"/>
                  </a:lnTo>
                  <a:lnTo>
                    <a:pt x="21" y="331"/>
                  </a:lnTo>
                  <a:lnTo>
                    <a:pt x="19" y="333"/>
                  </a:lnTo>
                  <a:lnTo>
                    <a:pt x="17" y="331"/>
                  </a:lnTo>
                  <a:lnTo>
                    <a:pt x="17" y="322"/>
                  </a:lnTo>
                  <a:lnTo>
                    <a:pt x="15" y="326"/>
                  </a:lnTo>
                  <a:lnTo>
                    <a:pt x="13" y="326"/>
                  </a:lnTo>
                  <a:lnTo>
                    <a:pt x="13" y="318"/>
                  </a:lnTo>
                  <a:lnTo>
                    <a:pt x="9" y="312"/>
                  </a:lnTo>
                  <a:lnTo>
                    <a:pt x="8" y="316"/>
                  </a:lnTo>
                  <a:lnTo>
                    <a:pt x="8" y="324"/>
                  </a:lnTo>
                  <a:lnTo>
                    <a:pt x="13" y="327"/>
                  </a:lnTo>
                  <a:lnTo>
                    <a:pt x="17" y="335"/>
                  </a:lnTo>
                  <a:lnTo>
                    <a:pt x="11" y="337"/>
                  </a:lnTo>
                  <a:lnTo>
                    <a:pt x="8" y="331"/>
                  </a:lnTo>
                  <a:lnTo>
                    <a:pt x="6" y="324"/>
                  </a:lnTo>
                  <a:lnTo>
                    <a:pt x="4" y="327"/>
                  </a:lnTo>
                  <a:lnTo>
                    <a:pt x="2" y="327"/>
                  </a:lnTo>
                  <a:lnTo>
                    <a:pt x="6" y="335"/>
                  </a:lnTo>
                  <a:lnTo>
                    <a:pt x="13" y="342"/>
                  </a:lnTo>
                  <a:lnTo>
                    <a:pt x="17" y="352"/>
                  </a:lnTo>
                  <a:lnTo>
                    <a:pt x="15" y="373"/>
                  </a:lnTo>
                  <a:lnTo>
                    <a:pt x="19" y="376"/>
                  </a:lnTo>
                  <a:lnTo>
                    <a:pt x="21" y="386"/>
                  </a:lnTo>
                  <a:lnTo>
                    <a:pt x="25" y="401"/>
                  </a:lnTo>
                  <a:lnTo>
                    <a:pt x="25" y="405"/>
                  </a:lnTo>
                  <a:lnTo>
                    <a:pt x="25" y="425"/>
                  </a:lnTo>
                  <a:lnTo>
                    <a:pt x="25" y="429"/>
                  </a:lnTo>
                  <a:lnTo>
                    <a:pt x="25" y="435"/>
                  </a:lnTo>
                  <a:lnTo>
                    <a:pt x="25" y="439"/>
                  </a:lnTo>
                  <a:lnTo>
                    <a:pt x="28" y="450"/>
                  </a:lnTo>
                  <a:lnTo>
                    <a:pt x="28" y="454"/>
                  </a:lnTo>
                  <a:lnTo>
                    <a:pt x="25" y="456"/>
                  </a:lnTo>
                  <a:lnTo>
                    <a:pt x="26" y="459"/>
                  </a:lnTo>
                  <a:lnTo>
                    <a:pt x="26" y="461"/>
                  </a:lnTo>
                  <a:lnTo>
                    <a:pt x="25" y="471"/>
                  </a:lnTo>
                  <a:lnTo>
                    <a:pt x="21" y="474"/>
                  </a:lnTo>
                  <a:lnTo>
                    <a:pt x="25" y="474"/>
                  </a:lnTo>
                  <a:lnTo>
                    <a:pt x="21" y="480"/>
                  </a:lnTo>
                  <a:lnTo>
                    <a:pt x="21" y="484"/>
                  </a:lnTo>
                  <a:lnTo>
                    <a:pt x="21" y="488"/>
                  </a:lnTo>
                  <a:lnTo>
                    <a:pt x="15" y="491"/>
                  </a:lnTo>
                  <a:lnTo>
                    <a:pt x="11" y="489"/>
                  </a:lnTo>
                  <a:lnTo>
                    <a:pt x="6" y="497"/>
                  </a:lnTo>
                  <a:lnTo>
                    <a:pt x="8" y="508"/>
                  </a:lnTo>
                  <a:lnTo>
                    <a:pt x="8" y="508"/>
                  </a:lnTo>
                  <a:lnTo>
                    <a:pt x="8" y="508"/>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1" name="Freeform 202">
              <a:extLst>
                <a:ext uri="{FF2B5EF4-FFF2-40B4-BE49-F238E27FC236}">
                  <a16:creationId xmlns:a16="http://schemas.microsoft.com/office/drawing/2014/main" id="{13D0C71B-AFB3-D141-A2A8-8D73D93FACB1}"/>
                </a:ext>
              </a:extLst>
            </p:cNvPr>
            <p:cNvSpPr>
              <a:spLocks noEditPoints="1"/>
            </p:cNvSpPr>
            <p:nvPr/>
          </p:nvSpPr>
          <p:spPr bwMode="auto">
            <a:xfrm>
              <a:off x="8600805" y="3586510"/>
              <a:ext cx="251735" cy="296066"/>
            </a:xfrm>
            <a:custGeom>
              <a:avLst/>
              <a:gdLst/>
              <a:ahLst/>
              <a:cxnLst>
                <a:cxn ang="0">
                  <a:pos x="2" y="333"/>
                </a:cxn>
                <a:cxn ang="0">
                  <a:pos x="239" y="81"/>
                </a:cxn>
                <a:cxn ang="0">
                  <a:pos x="246" y="64"/>
                </a:cxn>
                <a:cxn ang="0">
                  <a:pos x="250" y="66"/>
                </a:cxn>
                <a:cxn ang="0">
                  <a:pos x="201" y="219"/>
                </a:cxn>
                <a:cxn ang="0">
                  <a:pos x="235" y="188"/>
                </a:cxn>
                <a:cxn ang="0">
                  <a:pos x="252" y="164"/>
                </a:cxn>
                <a:cxn ang="0">
                  <a:pos x="271" y="151"/>
                </a:cxn>
                <a:cxn ang="0">
                  <a:pos x="280" y="138"/>
                </a:cxn>
                <a:cxn ang="0">
                  <a:pos x="295" y="111"/>
                </a:cxn>
                <a:cxn ang="0">
                  <a:pos x="271" y="115"/>
                </a:cxn>
                <a:cxn ang="0">
                  <a:pos x="250" y="89"/>
                </a:cxn>
                <a:cxn ang="0">
                  <a:pos x="244" y="70"/>
                </a:cxn>
                <a:cxn ang="0">
                  <a:pos x="243" y="90"/>
                </a:cxn>
                <a:cxn ang="0">
                  <a:pos x="235" y="75"/>
                </a:cxn>
                <a:cxn ang="0">
                  <a:pos x="233" y="49"/>
                </a:cxn>
                <a:cxn ang="0">
                  <a:pos x="239" y="30"/>
                </a:cxn>
                <a:cxn ang="0">
                  <a:pos x="229" y="19"/>
                </a:cxn>
                <a:cxn ang="0">
                  <a:pos x="222" y="17"/>
                </a:cxn>
                <a:cxn ang="0">
                  <a:pos x="216" y="0"/>
                </a:cxn>
                <a:cxn ang="0">
                  <a:pos x="212" y="26"/>
                </a:cxn>
                <a:cxn ang="0">
                  <a:pos x="222" y="57"/>
                </a:cxn>
                <a:cxn ang="0">
                  <a:pos x="227" y="64"/>
                </a:cxn>
                <a:cxn ang="0">
                  <a:pos x="222" y="68"/>
                </a:cxn>
                <a:cxn ang="0">
                  <a:pos x="227" y="90"/>
                </a:cxn>
                <a:cxn ang="0">
                  <a:pos x="222" y="109"/>
                </a:cxn>
                <a:cxn ang="0">
                  <a:pos x="212" y="139"/>
                </a:cxn>
                <a:cxn ang="0">
                  <a:pos x="201" y="162"/>
                </a:cxn>
                <a:cxn ang="0">
                  <a:pos x="201" y="198"/>
                </a:cxn>
                <a:cxn ang="0">
                  <a:pos x="177" y="194"/>
                </a:cxn>
                <a:cxn ang="0">
                  <a:pos x="177" y="198"/>
                </a:cxn>
                <a:cxn ang="0">
                  <a:pos x="177" y="203"/>
                </a:cxn>
                <a:cxn ang="0">
                  <a:pos x="22" y="373"/>
                </a:cxn>
                <a:cxn ang="0">
                  <a:pos x="2" y="386"/>
                </a:cxn>
                <a:cxn ang="0">
                  <a:pos x="11" y="365"/>
                </a:cxn>
                <a:cxn ang="0">
                  <a:pos x="15" y="377"/>
                </a:cxn>
                <a:cxn ang="0">
                  <a:pos x="5" y="382"/>
                </a:cxn>
                <a:cxn ang="0">
                  <a:pos x="0" y="343"/>
                </a:cxn>
                <a:cxn ang="0">
                  <a:pos x="11" y="322"/>
                </a:cxn>
                <a:cxn ang="0">
                  <a:pos x="26" y="309"/>
                </a:cxn>
                <a:cxn ang="0">
                  <a:pos x="41" y="294"/>
                </a:cxn>
                <a:cxn ang="0">
                  <a:pos x="69" y="284"/>
                </a:cxn>
                <a:cxn ang="0">
                  <a:pos x="94" y="260"/>
                </a:cxn>
                <a:cxn ang="0">
                  <a:pos x="124" y="230"/>
                </a:cxn>
                <a:cxn ang="0">
                  <a:pos x="147" y="207"/>
                </a:cxn>
                <a:cxn ang="0">
                  <a:pos x="163" y="194"/>
                </a:cxn>
                <a:cxn ang="0">
                  <a:pos x="167" y="207"/>
                </a:cxn>
                <a:cxn ang="0">
                  <a:pos x="180" y="205"/>
                </a:cxn>
                <a:cxn ang="0">
                  <a:pos x="184" y="207"/>
                </a:cxn>
                <a:cxn ang="0">
                  <a:pos x="171" y="237"/>
                </a:cxn>
                <a:cxn ang="0">
                  <a:pos x="147" y="266"/>
                </a:cxn>
                <a:cxn ang="0">
                  <a:pos x="137" y="288"/>
                </a:cxn>
                <a:cxn ang="0">
                  <a:pos x="130" y="284"/>
                </a:cxn>
                <a:cxn ang="0">
                  <a:pos x="118" y="284"/>
                </a:cxn>
                <a:cxn ang="0">
                  <a:pos x="103" y="298"/>
                </a:cxn>
                <a:cxn ang="0">
                  <a:pos x="81" y="335"/>
                </a:cxn>
                <a:cxn ang="0">
                  <a:pos x="67" y="349"/>
                </a:cxn>
                <a:cxn ang="0">
                  <a:pos x="51" y="364"/>
                </a:cxn>
                <a:cxn ang="0">
                  <a:pos x="26" y="365"/>
                </a:cxn>
                <a:cxn ang="0">
                  <a:pos x="11" y="352"/>
                </a:cxn>
              </a:cxnLst>
              <a:rect l="0" t="0" r="r" b="b"/>
              <a:pathLst>
                <a:path w="295" h="386">
                  <a:moveTo>
                    <a:pt x="2" y="333"/>
                  </a:moveTo>
                  <a:lnTo>
                    <a:pt x="2" y="333"/>
                  </a:lnTo>
                  <a:lnTo>
                    <a:pt x="5" y="333"/>
                  </a:lnTo>
                  <a:lnTo>
                    <a:pt x="5" y="332"/>
                  </a:lnTo>
                  <a:lnTo>
                    <a:pt x="2" y="332"/>
                  </a:lnTo>
                  <a:lnTo>
                    <a:pt x="2" y="333"/>
                  </a:lnTo>
                  <a:lnTo>
                    <a:pt x="2" y="333"/>
                  </a:lnTo>
                  <a:lnTo>
                    <a:pt x="2" y="333"/>
                  </a:lnTo>
                  <a:lnTo>
                    <a:pt x="2" y="333"/>
                  </a:lnTo>
                  <a:lnTo>
                    <a:pt x="2" y="333"/>
                  </a:lnTo>
                  <a:close/>
                  <a:moveTo>
                    <a:pt x="239" y="81"/>
                  </a:moveTo>
                  <a:lnTo>
                    <a:pt x="241" y="81"/>
                  </a:lnTo>
                  <a:lnTo>
                    <a:pt x="241" y="83"/>
                  </a:lnTo>
                  <a:lnTo>
                    <a:pt x="239" y="83"/>
                  </a:lnTo>
                  <a:lnTo>
                    <a:pt x="239" y="81"/>
                  </a:lnTo>
                  <a:lnTo>
                    <a:pt x="239" y="81"/>
                  </a:lnTo>
                  <a:lnTo>
                    <a:pt x="239" y="81"/>
                  </a:lnTo>
                  <a:lnTo>
                    <a:pt x="239" y="81"/>
                  </a:lnTo>
                  <a:close/>
                  <a:moveTo>
                    <a:pt x="244" y="64"/>
                  </a:moveTo>
                  <a:lnTo>
                    <a:pt x="243" y="64"/>
                  </a:lnTo>
                  <a:lnTo>
                    <a:pt x="244" y="64"/>
                  </a:lnTo>
                  <a:lnTo>
                    <a:pt x="244" y="64"/>
                  </a:lnTo>
                  <a:lnTo>
                    <a:pt x="244" y="64"/>
                  </a:lnTo>
                  <a:lnTo>
                    <a:pt x="244" y="64"/>
                  </a:lnTo>
                  <a:lnTo>
                    <a:pt x="244" y="64"/>
                  </a:lnTo>
                  <a:close/>
                  <a:moveTo>
                    <a:pt x="250" y="66"/>
                  </a:moveTo>
                  <a:lnTo>
                    <a:pt x="246" y="64"/>
                  </a:lnTo>
                  <a:lnTo>
                    <a:pt x="250" y="60"/>
                  </a:lnTo>
                  <a:lnTo>
                    <a:pt x="250" y="60"/>
                  </a:lnTo>
                  <a:lnTo>
                    <a:pt x="250" y="64"/>
                  </a:lnTo>
                  <a:lnTo>
                    <a:pt x="250" y="64"/>
                  </a:lnTo>
                  <a:lnTo>
                    <a:pt x="250" y="66"/>
                  </a:lnTo>
                  <a:lnTo>
                    <a:pt x="250" y="66"/>
                  </a:lnTo>
                  <a:lnTo>
                    <a:pt x="250" y="66"/>
                  </a:lnTo>
                  <a:lnTo>
                    <a:pt x="250" y="66"/>
                  </a:lnTo>
                  <a:lnTo>
                    <a:pt x="250" y="66"/>
                  </a:lnTo>
                  <a:close/>
                  <a:moveTo>
                    <a:pt x="188" y="213"/>
                  </a:moveTo>
                  <a:lnTo>
                    <a:pt x="192" y="213"/>
                  </a:lnTo>
                  <a:lnTo>
                    <a:pt x="195" y="209"/>
                  </a:lnTo>
                  <a:lnTo>
                    <a:pt x="197" y="209"/>
                  </a:lnTo>
                  <a:lnTo>
                    <a:pt x="197" y="215"/>
                  </a:lnTo>
                  <a:lnTo>
                    <a:pt x="197" y="217"/>
                  </a:lnTo>
                  <a:lnTo>
                    <a:pt x="197" y="217"/>
                  </a:lnTo>
                  <a:lnTo>
                    <a:pt x="197" y="217"/>
                  </a:lnTo>
                  <a:lnTo>
                    <a:pt x="201" y="219"/>
                  </a:lnTo>
                  <a:lnTo>
                    <a:pt x="197" y="219"/>
                  </a:lnTo>
                  <a:lnTo>
                    <a:pt x="201" y="222"/>
                  </a:lnTo>
                  <a:lnTo>
                    <a:pt x="203" y="222"/>
                  </a:lnTo>
                  <a:lnTo>
                    <a:pt x="209" y="217"/>
                  </a:lnTo>
                  <a:lnTo>
                    <a:pt x="216" y="209"/>
                  </a:lnTo>
                  <a:lnTo>
                    <a:pt x="222" y="205"/>
                  </a:lnTo>
                  <a:lnTo>
                    <a:pt x="226" y="200"/>
                  </a:lnTo>
                  <a:lnTo>
                    <a:pt x="231" y="190"/>
                  </a:lnTo>
                  <a:lnTo>
                    <a:pt x="235" y="188"/>
                  </a:lnTo>
                  <a:lnTo>
                    <a:pt x="237" y="188"/>
                  </a:lnTo>
                  <a:lnTo>
                    <a:pt x="239" y="188"/>
                  </a:lnTo>
                  <a:lnTo>
                    <a:pt x="239" y="185"/>
                  </a:lnTo>
                  <a:lnTo>
                    <a:pt x="241" y="183"/>
                  </a:lnTo>
                  <a:lnTo>
                    <a:pt x="244" y="181"/>
                  </a:lnTo>
                  <a:lnTo>
                    <a:pt x="246" y="173"/>
                  </a:lnTo>
                  <a:lnTo>
                    <a:pt x="250" y="168"/>
                  </a:lnTo>
                  <a:lnTo>
                    <a:pt x="250" y="166"/>
                  </a:lnTo>
                  <a:lnTo>
                    <a:pt x="252" y="164"/>
                  </a:lnTo>
                  <a:lnTo>
                    <a:pt x="250" y="160"/>
                  </a:lnTo>
                  <a:lnTo>
                    <a:pt x="246" y="160"/>
                  </a:lnTo>
                  <a:lnTo>
                    <a:pt x="244" y="160"/>
                  </a:lnTo>
                  <a:lnTo>
                    <a:pt x="246" y="158"/>
                  </a:lnTo>
                  <a:lnTo>
                    <a:pt x="250" y="158"/>
                  </a:lnTo>
                  <a:lnTo>
                    <a:pt x="258" y="151"/>
                  </a:lnTo>
                  <a:lnTo>
                    <a:pt x="261" y="149"/>
                  </a:lnTo>
                  <a:lnTo>
                    <a:pt x="267" y="151"/>
                  </a:lnTo>
                  <a:lnTo>
                    <a:pt x="271" y="151"/>
                  </a:lnTo>
                  <a:lnTo>
                    <a:pt x="269" y="153"/>
                  </a:lnTo>
                  <a:lnTo>
                    <a:pt x="271" y="155"/>
                  </a:lnTo>
                  <a:lnTo>
                    <a:pt x="271" y="153"/>
                  </a:lnTo>
                  <a:lnTo>
                    <a:pt x="276" y="151"/>
                  </a:lnTo>
                  <a:lnTo>
                    <a:pt x="271" y="149"/>
                  </a:lnTo>
                  <a:lnTo>
                    <a:pt x="271" y="145"/>
                  </a:lnTo>
                  <a:lnTo>
                    <a:pt x="275" y="139"/>
                  </a:lnTo>
                  <a:lnTo>
                    <a:pt x="276" y="136"/>
                  </a:lnTo>
                  <a:lnTo>
                    <a:pt x="280" y="138"/>
                  </a:lnTo>
                  <a:lnTo>
                    <a:pt x="280" y="138"/>
                  </a:lnTo>
                  <a:lnTo>
                    <a:pt x="280" y="136"/>
                  </a:lnTo>
                  <a:lnTo>
                    <a:pt x="282" y="134"/>
                  </a:lnTo>
                  <a:lnTo>
                    <a:pt x="288" y="124"/>
                  </a:lnTo>
                  <a:lnTo>
                    <a:pt x="288" y="124"/>
                  </a:lnTo>
                  <a:lnTo>
                    <a:pt x="288" y="122"/>
                  </a:lnTo>
                  <a:lnTo>
                    <a:pt x="290" y="115"/>
                  </a:lnTo>
                  <a:lnTo>
                    <a:pt x="291" y="113"/>
                  </a:lnTo>
                  <a:lnTo>
                    <a:pt x="295" y="111"/>
                  </a:lnTo>
                  <a:lnTo>
                    <a:pt x="295" y="111"/>
                  </a:lnTo>
                  <a:lnTo>
                    <a:pt x="290" y="109"/>
                  </a:lnTo>
                  <a:lnTo>
                    <a:pt x="288" y="106"/>
                  </a:lnTo>
                  <a:lnTo>
                    <a:pt x="290" y="106"/>
                  </a:lnTo>
                  <a:lnTo>
                    <a:pt x="290" y="106"/>
                  </a:lnTo>
                  <a:lnTo>
                    <a:pt x="286" y="104"/>
                  </a:lnTo>
                  <a:lnTo>
                    <a:pt x="282" y="107"/>
                  </a:lnTo>
                  <a:lnTo>
                    <a:pt x="276" y="115"/>
                  </a:lnTo>
                  <a:lnTo>
                    <a:pt x="271" y="115"/>
                  </a:lnTo>
                  <a:lnTo>
                    <a:pt x="269" y="115"/>
                  </a:lnTo>
                  <a:lnTo>
                    <a:pt x="265" y="115"/>
                  </a:lnTo>
                  <a:lnTo>
                    <a:pt x="258" y="106"/>
                  </a:lnTo>
                  <a:lnTo>
                    <a:pt x="256" y="107"/>
                  </a:lnTo>
                  <a:lnTo>
                    <a:pt x="252" y="104"/>
                  </a:lnTo>
                  <a:lnTo>
                    <a:pt x="250" y="100"/>
                  </a:lnTo>
                  <a:lnTo>
                    <a:pt x="252" y="98"/>
                  </a:lnTo>
                  <a:lnTo>
                    <a:pt x="254" y="94"/>
                  </a:lnTo>
                  <a:lnTo>
                    <a:pt x="250" y="89"/>
                  </a:lnTo>
                  <a:lnTo>
                    <a:pt x="250" y="85"/>
                  </a:lnTo>
                  <a:lnTo>
                    <a:pt x="250" y="83"/>
                  </a:lnTo>
                  <a:lnTo>
                    <a:pt x="250" y="79"/>
                  </a:lnTo>
                  <a:lnTo>
                    <a:pt x="250" y="77"/>
                  </a:lnTo>
                  <a:lnTo>
                    <a:pt x="250" y="77"/>
                  </a:lnTo>
                  <a:lnTo>
                    <a:pt x="250" y="72"/>
                  </a:lnTo>
                  <a:lnTo>
                    <a:pt x="246" y="70"/>
                  </a:lnTo>
                  <a:lnTo>
                    <a:pt x="246" y="72"/>
                  </a:lnTo>
                  <a:lnTo>
                    <a:pt x="244" y="70"/>
                  </a:lnTo>
                  <a:lnTo>
                    <a:pt x="243" y="70"/>
                  </a:lnTo>
                  <a:lnTo>
                    <a:pt x="246" y="74"/>
                  </a:lnTo>
                  <a:lnTo>
                    <a:pt x="246" y="77"/>
                  </a:lnTo>
                  <a:lnTo>
                    <a:pt x="246" y="79"/>
                  </a:lnTo>
                  <a:lnTo>
                    <a:pt x="244" y="81"/>
                  </a:lnTo>
                  <a:lnTo>
                    <a:pt x="244" y="85"/>
                  </a:lnTo>
                  <a:lnTo>
                    <a:pt x="246" y="85"/>
                  </a:lnTo>
                  <a:lnTo>
                    <a:pt x="246" y="90"/>
                  </a:lnTo>
                  <a:lnTo>
                    <a:pt x="243" y="90"/>
                  </a:lnTo>
                  <a:lnTo>
                    <a:pt x="241" y="89"/>
                  </a:lnTo>
                  <a:lnTo>
                    <a:pt x="241" y="85"/>
                  </a:lnTo>
                  <a:lnTo>
                    <a:pt x="237" y="85"/>
                  </a:lnTo>
                  <a:lnTo>
                    <a:pt x="237" y="83"/>
                  </a:lnTo>
                  <a:lnTo>
                    <a:pt x="233" y="81"/>
                  </a:lnTo>
                  <a:lnTo>
                    <a:pt x="231" y="81"/>
                  </a:lnTo>
                  <a:lnTo>
                    <a:pt x="231" y="79"/>
                  </a:lnTo>
                  <a:lnTo>
                    <a:pt x="233" y="77"/>
                  </a:lnTo>
                  <a:lnTo>
                    <a:pt x="235" y="75"/>
                  </a:lnTo>
                  <a:lnTo>
                    <a:pt x="231" y="72"/>
                  </a:lnTo>
                  <a:lnTo>
                    <a:pt x="235" y="68"/>
                  </a:lnTo>
                  <a:lnTo>
                    <a:pt x="237" y="68"/>
                  </a:lnTo>
                  <a:lnTo>
                    <a:pt x="239" y="64"/>
                  </a:lnTo>
                  <a:lnTo>
                    <a:pt x="237" y="60"/>
                  </a:lnTo>
                  <a:lnTo>
                    <a:pt x="237" y="60"/>
                  </a:lnTo>
                  <a:lnTo>
                    <a:pt x="237" y="57"/>
                  </a:lnTo>
                  <a:lnTo>
                    <a:pt x="237" y="53"/>
                  </a:lnTo>
                  <a:lnTo>
                    <a:pt x="233" y="49"/>
                  </a:lnTo>
                  <a:lnTo>
                    <a:pt x="233" y="47"/>
                  </a:lnTo>
                  <a:lnTo>
                    <a:pt x="235" y="49"/>
                  </a:lnTo>
                  <a:lnTo>
                    <a:pt x="239" y="49"/>
                  </a:lnTo>
                  <a:lnTo>
                    <a:pt x="239" y="43"/>
                  </a:lnTo>
                  <a:lnTo>
                    <a:pt x="241" y="43"/>
                  </a:lnTo>
                  <a:lnTo>
                    <a:pt x="241" y="38"/>
                  </a:lnTo>
                  <a:lnTo>
                    <a:pt x="239" y="34"/>
                  </a:lnTo>
                  <a:lnTo>
                    <a:pt x="241" y="30"/>
                  </a:lnTo>
                  <a:lnTo>
                    <a:pt x="239" y="30"/>
                  </a:lnTo>
                  <a:lnTo>
                    <a:pt x="233" y="34"/>
                  </a:lnTo>
                  <a:lnTo>
                    <a:pt x="229" y="30"/>
                  </a:lnTo>
                  <a:lnTo>
                    <a:pt x="231" y="28"/>
                  </a:lnTo>
                  <a:lnTo>
                    <a:pt x="229" y="26"/>
                  </a:lnTo>
                  <a:lnTo>
                    <a:pt x="227" y="26"/>
                  </a:lnTo>
                  <a:lnTo>
                    <a:pt x="229" y="21"/>
                  </a:lnTo>
                  <a:lnTo>
                    <a:pt x="233" y="21"/>
                  </a:lnTo>
                  <a:lnTo>
                    <a:pt x="233" y="19"/>
                  </a:lnTo>
                  <a:lnTo>
                    <a:pt x="229" y="19"/>
                  </a:lnTo>
                  <a:lnTo>
                    <a:pt x="226" y="17"/>
                  </a:lnTo>
                  <a:lnTo>
                    <a:pt x="226" y="17"/>
                  </a:lnTo>
                  <a:lnTo>
                    <a:pt x="226" y="13"/>
                  </a:lnTo>
                  <a:lnTo>
                    <a:pt x="226" y="13"/>
                  </a:lnTo>
                  <a:lnTo>
                    <a:pt x="226" y="11"/>
                  </a:lnTo>
                  <a:lnTo>
                    <a:pt x="226" y="11"/>
                  </a:lnTo>
                  <a:lnTo>
                    <a:pt x="222" y="13"/>
                  </a:lnTo>
                  <a:lnTo>
                    <a:pt x="222" y="15"/>
                  </a:lnTo>
                  <a:lnTo>
                    <a:pt x="222" y="17"/>
                  </a:lnTo>
                  <a:lnTo>
                    <a:pt x="220" y="17"/>
                  </a:lnTo>
                  <a:lnTo>
                    <a:pt x="220" y="13"/>
                  </a:lnTo>
                  <a:lnTo>
                    <a:pt x="220" y="11"/>
                  </a:lnTo>
                  <a:lnTo>
                    <a:pt x="218" y="6"/>
                  </a:lnTo>
                  <a:lnTo>
                    <a:pt x="218" y="2"/>
                  </a:lnTo>
                  <a:lnTo>
                    <a:pt x="218" y="2"/>
                  </a:lnTo>
                  <a:lnTo>
                    <a:pt x="220" y="0"/>
                  </a:lnTo>
                  <a:lnTo>
                    <a:pt x="218" y="0"/>
                  </a:lnTo>
                  <a:lnTo>
                    <a:pt x="216" y="0"/>
                  </a:lnTo>
                  <a:lnTo>
                    <a:pt x="211" y="0"/>
                  </a:lnTo>
                  <a:lnTo>
                    <a:pt x="211" y="2"/>
                  </a:lnTo>
                  <a:lnTo>
                    <a:pt x="212" y="4"/>
                  </a:lnTo>
                  <a:lnTo>
                    <a:pt x="216" y="13"/>
                  </a:lnTo>
                  <a:lnTo>
                    <a:pt x="218" y="17"/>
                  </a:lnTo>
                  <a:lnTo>
                    <a:pt x="216" y="25"/>
                  </a:lnTo>
                  <a:lnTo>
                    <a:pt x="216" y="26"/>
                  </a:lnTo>
                  <a:lnTo>
                    <a:pt x="214" y="26"/>
                  </a:lnTo>
                  <a:lnTo>
                    <a:pt x="212" y="26"/>
                  </a:lnTo>
                  <a:lnTo>
                    <a:pt x="216" y="34"/>
                  </a:lnTo>
                  <a:lnTo>
                    <a:pt x="216" y="34"/>
                  </a:lnTo>
                  <a:lnTo>
                    <a:pt x="220" y="34"/>
                  </a:lnTo>
                  <a:lnTo>
                    <a:pt x="222" y="34"/>
                  </a:lnTo>
                  <a:lnTo>
                    <a:pt x="222" y="34"/>
                  </a:lnTo>
                  <a:lnTo>
                    <a:pt x="218" y="36"/>
                  </a:lnTo>
                  <a:lnTo>
                    <a:pt x="220" y="41"/>
                  </a:lnTo>
                  <a:lnTo>
                    <a:pt x="222" y="47"/>
                  </a:lnTo>
                  <a:lnTo>
                    <a:pt x="222" y="57"/>
                  </a:lnTo>
                  <a:lnTo>
                    <a:pt x="222" y="60"/>
                  </a:lnTo>
                  <a:lnTo>
                    <a:pt x="222" y="64"/>
                  </a:lnTo>
                  <a:lnTo>
                    <a:pt x="222" y="64"/>
                  </a:lnTo>
                  <a:lnTo>
                    <a:pt x="226" y="60"/>
                  </a:lnTo>
                  <a:lnTo>
                    <a:pt x="222" y="60"/>
                  </a:lnTo>
                  <a:lnTo>
                    <a:pt x="226" y="58"/>
                  </a:lnTo>
                  <a:lnTo>
                    <a:pt x="226" y="60"/>
                  </a:lnTo>
                  <a:lnTo>
                    <a:pt x="226" y="64"/>
                  </a:lnTo>
                  <a:lnTo>
                    <a:pt x="227" y="64"/>
                  </a:lnTo>
                  <a:lnTo>
                    <a:pt x="227" y="60"/>
                  </a:lnTo>
                  <a:lnTo>
                    <a:pt x="227" y="60"/>
                  </a:lnTo>
                  <a:lnTo>
                    <a:pt x="227" y="60"/>
                  </a:lnTo>
                  <a:lnTo>
                    <a:pt x="229" y="64"/>
                  </a:lnTo>
                  <a:lnTo>
                    <a:pt x="226" y="66"/>
                  </a:lnTo>
                  <a:lnTo>
                    <a:pt x="226" y="68"/>
                  </a:lnTo>
                  <a:lnTo>
                    <a:pt x="226" y="70"/>
                  </a:lnTo>
                  <a:lnTo>
                    <a:pt x="226" y="72"/>
                  </a:lnTo>
                  <a:lnTo>
                    <a:pt x="222" y="68"/>
                  </a:lnTo>
                  <a:lnTo>
                    <a:pt x="222" y="68"/>
                  </a:lnTo>
                  <a:lnTo>
                    <a:pt x="222" y="75"/>
                  </a:lnTo>
                  <a:lnTo>
                    <a:pt x="226" y="83"/>
                  </a:lnTo>
                  <a:lnTo>
                    <a:pt x="226" y="83"/>
                  </a:lnTo>
                  <a:lnTo>
                    <a:pt x="227" y="83"/>
                  </a:lnTo>
                  <a:lnTo>
                    <a:pt x="229" y="85"/>
                  </a:lnTo>
                  <a:lnTo>
                    <a:pt x="229" y="85"/>
                  </a:lnTo>
                  <a:lnTo>
                    <a:pt x="231" y="89"/>
                  </a:lnTo>
                  <a:lnTo>
                    <a:pt x="227" y="90"/>
                  </a:lnTo>
                  <a:lnTo>
                    <a:pt x="227" y="90"/>
                  </a:lnTo>
                  <a:lnTo>
                    <a:pt x="227" y="94"/>
                  </a:lnTo>
                  <a:lnTo>
                    <a:pt x="227" y="94"/>
                  </a:lnTo>
                  <a:lnTo>
                    <a:pt x="226" y="104"/>
                  </a:lnTo>
                  <a:lnTo>
                    <a:pt x="226" y="104"/>
                  </a:lnTo>
                  <a:lnTo>
                    <a:pt x="226" y="106"/>
                  </a:lnTo>
                  <a:lnTo>
                    <a:pt x="226" y="107"/>
                  </a:lnTo>
                  <a:lnTo>
                    <a:pt x="226" y="109"/>
                  </a:lnTo>
                  <a:lnTo>
                    <a:pt x="222" y="109"/>
                  </a:lnTo>
                  <a:lnTo>
                    <a:pt x="222" y="113"/>
                  </a:lnTo>
                  <a:lnTo>
                    <a:pt x="222" y="115"/>
                  </a:lnTo>
                  <a:lnTo>
                    <a:pt x="222" y="115"/>
                  </a:lnTo>
                  <a:lnTo>
                    <a:pt x="222" y="115"/>
                  </a:lnTo>
                  <a:lnTo>
                    <a:pt x="220" y="119"/>
                  </a:lnTo>
                  <a:lnTo>
                    <a:pt x="218" y="122"/>
                  </a:lnTo>
                  <a:lnTo>
                    <a:pt x="216" y="134"/>
                  </a:lnTo>
                  <a:lnTo>
                    <a:pt x="214" y="138"/>
                  </a:lnTo>
                  <a:lnTo>
                    <a:pt x="212" y="139"/>
                  </a:lnTo>
                  <a:lnTo>
                    <a:pt x="209" y="139"/>
                  </a:lnTo>
                  <a:lnTo>
                    <a:pt x="207" y="139"/>
                  </a:lnTo>
                  <a:lnTo>
                    <a:pt x="203" y="139"/>
                  </a:lnTo>
                  <a:lnTo>
                    <a:pt x="197" y="143"/>
                  </a:lnTo>
                  <a:lnTo>
                    <a:pt x="192" y="147"/>
                  </a:lnTo>
                  <a:lnTo>
                    <a:pt x="192" y="151"/>
                  </a:lnTo>
                  <a:lnTo>
                    <a:pt x="192" y="155"/>
                  </a:lnTo>
                  <a:lnTo>
                    <a:pt x="197" y="158"/>
                  </a:lnTo>
                  <a:lnTo>
                    <a:pt x="201" y="162"/>
                  </a:lnTo>
                  <a:lnTo>
                    <a:pt x="203" y="166"/>
                  </a:lnTo>
                  <a:lnTo>
                    <a:pt x="209" y="168"/>
                  </a:lnTo>
                  <a:lnTo>
                    <a:pt x="211" y="170"/>
                  </a:lnTo>
                  <a:lnTo>
                    <a:pt x="211" y="179"/>
                  </a:lnTo>
                  <a:lnTo>
                    <a:pt x="212" y="179"/>
                  </a:lnTo>
                  <a:lnTo>
                    <a:pt x="211" y="181"/>
                  </a:lnTo>
                  <a:lnTo>
                    <a:pt x="211" y="185"/>
                  </a:lnTo>
                  <a:lnTo>
                    <a:pt x="209" y="188"/>
                  </a:lnTo>
                  <a:lnTo>
                    <a:pt x="201" y="198"/>
                  </a:lnTo>
                  <a:lnTo>
                    <a:pt x="197" y="203"/>
                  </a:lnTo>
                  <a:lnTo>
                    <a:pt x="192" y="207"/>
                  </a:lnTo>
                  <a:lnTo>
                    <a:pt x="188" y="209"/>
                  </a:lnTo>
                  <a:lnTo>
                    <a:pt x="188" y="213"/>
                  </a:lnTo>
                  <a:lnTo>
                    <a:pt x="188" y="213"/>
                  </a:lnTo>
                  <a:lnTo>
                    <a:pt x="188" y="213"/>
                  </a:lnTo>
                  <a:lnTo>
                    <a:pt x="188" y="213"/>
                  </a:lnTo>
                  <a:close/>
                  <a:moveTo>
                    <a:pt x="177" y="198"/>
                  </a:moveTo>
                  <a:lnTo>
                    <a:pt x="177" y="194"/>
                  </a:lnTo>
                  <a:lnTo>
                    <a:pt x="180" y="192"/>
                  </a:lnTo>
                  <a:lnTo>
                    <a:pt x="182" y="192"/>
                  </a:lnTo>
                  <a:lnTo>
                    <a:pt x="182" y="194"/>
                  </a:lnTo>
                  <a:lnTo>
                    <a:pt x="180" y="198"/>
                  </a:lnTo>
                  <a:lnTo>
                    <a:pt x="179" y="198"/>
                  </a:lnTo>
                  <a:lnTo>
                    <a:pt x="177" y="198"/>
                  </a:lnTo>
                  <a:lnTo>
                    <a:pt x="177" y="198"/>
                  </a:lnTo>
                  <a:lnTo>
                    <a:pt x="177" y="198"/>
                  </a:lnTo>
                  <a:lnTo>
                    <a:pt x="177" y="198"/>
                  </a:lnTo>
                  <a:lnTo>
                    <a:pt x="177" y="198"/>
                  </a:lnTo>
                  <a:close/>
                  <a:moveTo>
                    <a:pt x="177" y="203"/>
                  </a:moveTo>
                  <a:lnTo>
                    <a:pt x="179" y="202"/>
                  </a:lnTo>
                  <a:lnTo>
                    <a:pt x="180" y="200"/>
                  </a:lnTo>
                  <a:lnTo>
                    <a:pt x="179" y="203"/>
                  </a:lnTo>
                  <a:lnTo>
                    <a:pt x="177" y="203"/>
                  </a:lnTo>
                  <a:lnTo>
                    <a:pt x="177" y="203"/>
                  </a:lnTo>
                  <a:lnTo>
                    <a:pt x="177" y="203"/>
                  </a:lnTo>
                  <a:lnTo>
                    <a:pt x="177" y="203"/>
                  </a:lnTo>
                  <a:close/>
                  <a:moveTo>
                    <a:pt x="173" y="202"/>
                  </a:moveTo>
                  <a:lnTo>
                    <a:pt x="177" y="202"/>
                  </a:lnTo>
                  <a:lnTo>
                    <a:pt x="177" y="202"/>
                  </a:lnTo>
                  <a:lnTo>
                    <a:pt x="177" y="200"/>
                  </a:lnTo>
                  <a:lnTo>
                    <a:pt x="173" y="202"/>
                  </a:lnTo>
                  <a:lnTo>
                    <a:pt x="173" y="202"/>
                  </a:lnTo>
                  <a:lnTo>
                    <a:pt x="173" y="202"/>
                  </a:lnTo>
                  <a:lnTo>
                    <a:pt x="173" y="202"/>
                  </a:lnTo>
                  <a:close/>
                  <a:moveTo>
                    <a:pt x="22" y="373"/>
                  </a:moveTo>
                  <a:lnTo>
                    <a:pt x="24" y="373"/>
                  </a:lnTo>
                  <a:lnTo>
                    <a:pt x="24" y="373"/>
                  </a:lnTo>
                  <a:lnTo>
                    <a:pt x="22" y="373"/>
                  </a:lnTo>
                  <a:lnTo>
                    <a:pt x="22" y="373"/>
                  </a:lnTo>
                  <a:lnTo>
                    <a:pt x="22" y="373"/>
                  </a:lnTo>
                  <a:lnTo>
                    <a:pt x="22" y="373"/>
                  </a:lnTo>
                  <a:close/>
                  <a:moveTo>
                    <a:pt x="5" y="382"/>
                  </a:moveTo>
                  <a:lnTo>
                    <a:pt x="2" y="386"/>
                  </a:lnTo>
                  <a:lnTo>
                    <a:pt x="2" y="386"/>
                  </a:lnTo>
                  <a:lnTo>
                    <a:pt x="2" y="382"/>
                  </a:lnTo>
                  <a:lnTo>
                    <a:pt x="5" y="381"/>
                  </a:lnTo>
                  <a:lnTo>
                    <a:pt x="5" y="381"/>
                  </a:lnTo>
                  <a:lnTo>
                    <a:pt x="5" y="377"/>
                  </a:lnTo>
                  <a:lnTo>
                    <a:pt x="9" y="377"/>
                  </a:lnTo>
                  <a:lnTo>
                    <a:pt x="9" y="373"/>
                  </a:lnTo>
                  <a:lnTo>
                    <a:pt x="9" y="369"/>
                  </a:lnTo>
                  <a:lnTo>
                    <a:pt x="9" y="367"/>
                  </a:lnTo>
                  <a:lnTo>
                    <a:pt x="11" y="365"/>
                  </a:lnTo>
                  <a:lnTo>
                    <a:pt x="15" y="369"/>
                  </a:lnTo>
                  <a:lnTo>
                    <a:pt x="17" y="373"/>
                  </a:lnTo>
                  <a:lnTo>
                    <a:pt x="19" y="373"/>
                  </a:lnTo>
                  <a:lnTo>
                    <a:pt x="17" y="373"/>
                  </a:lnTo>
                  <a:lnTo>
                    <a:pt x="15" y="373"/>
                  </a:lnTo>
                  <a:lnTo>
                    <a:pt x="15" y="373"/>
                  </a:lnTo>
                  <a:lnTo>
                    <a:pt x="15" y="373"/>
                  </a:lnTo>
                  <a:lnTo>
                    <a:pt x="15" y="373"/>
                  </a:lnTo>
                  <a:lnTo>
                    <a:pt x="15" y="377"/>
                  </a:lnTo>
                  <a:lnTo>
                    <a:pt x="17" y="377"/>
                  </a:lnTo>
                  <a:lnTo>
                    <a:pt x="17" y="381"/>
                  </a:lnTo>
                  <a:lnTo>
                    <a:pt x="17" y="381"/>
                  </a:lnTo>
                  <a:lnTo>
                    <a:pt x="15" y="381"/>
                  </a:lnTo>
                  <a:lnTo>
                    <a:pt x="11" y="382"/>
                  </a:lnTo>
                  <a:lnTo>
                    <a:pt x="9" y="382"/>
                  </a:lnTo>
                  <a:lnTo>
                    <a:pt x="9" y="382"/>
                  </a:lnTo>
                  <a:lnTo>
                    <a:pt x="5" y="382"/>
                  </a:lnTo>
                  <a:lnTo>
                    <a:pt x="5" y="382"/>
                  </a:lnTo>
                  <a:lnTo>
                    <a:pt x="5" y="382"/>
                  </a:lnTo>
                  <a:lnTo>
                    <a:pt x="5" y="382"/>
                  </a:lnTo>
                  <a:lnTo>
                    <a:pt x="5" y="382"/>
                  </a:lnTo>
                  <a:close/>
                  <a:moveTo>
                    <a:pt x="2" y="352"/>
                  </a:moveTo>
                  <a:lnTo>
                    <a:pt x="0" y="347"/>
                  </a:lnTo>
                  <a:lnTo>
                    <a:pt x="2" y="343"/>
                  </a:lnTo>
                  <a:lnTo>
                    <a:pt x="2" y="343"/>
                  </a:lnTo>
                  <a:lnTo>
                    <a:pt x="2" y="343"/>
                  </a:lnTo>
                  <a:lnTo>
                    <a:pt x="0" y="343"/>
                  </a:lnTo>
                  <a:lnTo>
                    <a:pt x="2" y="337"/>
                  </a:lnTo>
                  <a:lnTo>
                    <a:pt x="5" y="337"/>
                  </a:lnTo>
                  <a:lnTo>
                    <a:pt x="9" y="337"/>
                  </a:lnTo>
                  <a:lnTo>
                    <a:pt x="11" y="335"/>
                  </a:lnTo>
                  <a:lnTo>
                    <a:pt x="9" y="333"/>
                  </a:lnTo>
                  <a:lnTo>
                    <a:pt x="5" y="332"/>
                  </a:lnTo>
                  <a:lnTo>
                    <a:pt x="5" y="330"/>
                  </a:lnTo>
                  <a:lnTo>
                    <a:pt x="9" y="324"/>
                  </a:lnTo>
                  <a:lnTo>
                    <a:pt x="11" y="322"/>
                  </a:lnTo>
                  <a:lnTo>
                    <a:pt x="11" y="322"/>
                  </a:lnTo>
                  <a:lnTo>
                    <a:pt x="15" y="322"/>
                  </a:lnTo>
                  <a:lnTo>
                    <a:pt x="15" y="324"/>
                  </a:lnTo>
                  <a:lnTo>
                    <a:pt x="17" y="322"/>
                  </a:lnTo>
                  <a:lnTo>
                    <a:pt x="17" y="317"/>
                  </a:lnTo>
                  <a:lnTo>
                    <a:pt x="19" y="313"/>
                  </a:lnTo>
                  <a:lnTo>
                    <a:pt x="20" y="313"/>
                  </a:lnTo>
                  <a:lnTo>
                    <a:pt x="26" y="309"/>
                  </a:lnTo>
                  <a:lnTo>
                    <a:pt x="26" y="309"/>
                  </a:lnTo>
                  <a:lnTo>
                    <a:pt x="30" y="307"/>
                  </a:lnTo>
                  <a:lnTo>
                    <a:pt x="30" y="303"/>
                  </a:lnTo>
                  <a:lnTo>
                    <a:pt x="30" y="301"/>
                  </a:lnTo>
                  <a:lnTo>
                    <a:pt x="34" y="300"/>
                  </a:lnTo>
                  <a:lnTo>
                    <a:pt x="35" y="301"/>
                  </a:lnTo>
                  <a:lnTo>
                    <a:pt x="35" y="303"/>
                  </a:lnTo>
                  <a:lnTo>
                    <a:pt x="35" y="298"/>
                  </a:lnTo>
                  <a:lnTo>
                    <a:pt x="39" y="294"/>
                  </a:lnTo>
                  <a:lnTo>
                    <a:pt x="41" y="294"/>
                  </a:lnTo>
                  <a:lnTo>
                    <a:pt x="47" y="292"/>
                  </a:lnTo>
                  <a:lnTo>
                    <a:pt x="49" y="286"/>
                  </a:lnTo>
                  <a:lnTo>
                    <a:pt x="54" y="283"/>
                  </a:lnTo>
                  <a:lnTo>
                    <a:pt x="58" y="283"/>
                  </a:lnTo>
                  <a:lnTo>
                    <a:pt x="60" y="283"/>
                  </a:lnTo>
                  <a:lnTo>
                    <a:pt x="64" y="283"/>
                  </a:lnTo>
                  <a:lnTo>
                    <a:pt x="64" y="283"/>
                  </a:lnTo>
                  <a:lnTo>
                    <a:pt x="66" y="283"/>
                  </a:lnTo>
                  <a:lnTo>
                    <a:pt x="69" y="284"/>
                  </a:lnTo>
                  <a:lnTo>
                    <a:pt x="69" y="283"/>
                  </a:lnTo>
                  <a:lnTo>
                    <a:pt x="67" y="279"/>
                  </a:lnTo>
                  <a:lnTo>
                    <a:pt x="67" y="277"/>
                  </a:lnTo>
                  <a:lnTo>
                    <a:pt x="75" y="273"/>
                  </a:lnTo>
                  <a:lnTo>
                    <a:pt x="79" y="271"/>
                  </a:lnTo>
                  <a:lnTo>
                    <a:pt x="84" y="266"/>
                  </a:lnTo>
                  <a:lnTo>
                    <a:pt x="90" y="262"/>
                  </a:lnTo>
                  <a:lnTo>
                    <a:pt x="94" y="262"/>
                  </a:lnTo>
                  <a:lnTo>
                    <a:pt x="94" y="260"/>
                  </a:lnTo>
                  <a:lnTo>
                    <a:pt x="99" y="258"/>
                  </a:lnTo>
                  <a:lnTo>
                    <a:pt x="103" y="258"/>
                  </a:lnTo>
                  <a:lnTo>
                    <a:pt x="109" y="252"/>
                  </a:lnTo>
                  <a:lnTo>
                    <a:pt x="118" y="243"/>
                  </a:lnTo>
                  <a:lnTo>
                    <a:pt x="118" y="241"/>
                  </a:lnTo>
                  <a:lnTo>
                    <a:pt x="118" y="237"/>
                  </a:lnTo>
                  <a:lnTo>
                    <a:pt x="118" y="234"/>
                  </a:lnTo>
                  <a:lnTo>
                    <a:pt x="122" y="230"/>
                  </a:lnTo>
                  <a:lnTo>
                    <a:pt x="124" y="230"/>
                  </a:lnTo>
                  <a:lnTo>
                    <a:pt x="124" y="228"/>
                  </a:lnTo>
                  <a:lnTo>
                    <a:pt x="126" y="222"/>
                  </a:lnTo>
                  <a:lnTo>
                    <a:pt x="130" y="222"/>
                  </a:lnTo>
                  <a:lnTo>
                    <a:pt x="133" y="222"/>
                  </a:lnTo>
                  <a:lnTo>
                    <a:pt x="137" y="219"/>
                  </a:lnTo>
                  <a:lnTo>
                    <a:pt x="137" y="219"/>
                  </a:lnTo>
                  <a:lnTo>
                    <a:pt x="143" y="213"/>
                  </a:lnTo>
                  <a:lnTo>
                    <a:pt x="143" y="209"/>
                  </a:lnTo>
                  <a:lnTo>
                    <a:pt x="147" y="207"/>
                  </a:lnTo>
                  <a:lnTo>
                    <a:pt x="148" y="198"/>
                  </a:lnTo>
                  <a:lnTo>
                    <a:pt x="150" y="192"/>
                  </a:lnTo>
                  <a:lnTo>
                    <a:pt x="154" y="190"/>
                  </a:lnTo>
                  <a:lnTo>
                    <a:pt x="156" y="188"/>
                  </a:lnTo>
                  <a:lnTo>
                    <a:pt x="162" y="185"/>
                  </a:lnTo>
                  <a:lnTo>
                    <a:pt x="163" y="188"/>
                  </a:lnTo>
                  <a:lnTo>
                    <a:pt x="162" y="188"/>
                  </a:lnTo>
                  <a:lnTo>
                    <a:pt x="162" y="192"/>
                  </a:lnTo>
                  <a:lnTo>
                    <a:pt x="163" y="194"/>
                  </a:lnTo>
                  <a:lnTo>
                    <a:pt x="163" y="194"/>
                  </a:lnTo>
                  <a:lnTo>
                    <a:pt x="167" y="192"/>
                  </a:lnTo>
                  <a:lnTo>
                    <a:pt x="167" y="194"/>
                  </a:lnTo>
                  <a:lnTo>
                    <a:pt x="167" y="198"/>
                  </a:lnTo>
                  <a:lnTo>
                    <a:pt x="167" y="198"/>
                  </a:lnTo>
                  <a:lnTo>
                    <a:pt x="167" y="198"/>
                  </a:lnTo>
                  <a:lnTo>
                    <a:pt x="163" y="200"/>
                  </a:lnTo>
                  <a:lnTo>
                    <a:pt x="163" y="202"/>
                  </a:lnTo>
                  <a:lnTo>
                    <a:pt x="167" y="207"/>
                  </a:lnTo>
                  <a:lnTo>
                    <a:pt x="167" y="209"/>
                  </a:lnTo>
                  <a:lnTo>
                    <a:pt x="171" y="205"/>
                  </a:lnTo>
                  <a:lnTo>
                    <a:pt x="173" y="203"/>
                  </a:lnTo>
                  <a:lnTo>
                    <a:pt x="177" y="203"/>
                  </a:lnTo>
                  <a:lnTo>
                    <a:pt x="177" y="203"/>
                  </a:lnTo>
                  <a:lnTo>
                    <a:pt x="177" y="205"/>
                  </a:lnTo>
                  <a:lnTo>
                    <a:pt x="179" y="209"/>
                  </a:lnTo>
                  <a:lnTo>
                    <a:pt x="180" y="205"/>
                  </a:lnTo>
                  <a:lnTo>
                    <a:pt x="180" y="205"/>
                  </a:lnTo>
                  <a:lnTo>
                    <a:pt x="179" y="203"/>
                  </a:lnTo>
                  <a:lnTo>
                    <a:pt x="180" y="200"/>
                  </a:lnTo>
                  <a:lnTo>
                    <a:pt x="184" y="200"/>
                  </a:lnTo>
                  <a:lnTo>
                    <a:pt x="184" y="203"/>
                  </a:lnTo>
                  <a:lnTo>
                    <a:pt x="186" y="203"/>
                  </a:lnTo>
                  <a:lnTo>
                    <a:pt x="182" y="207"/>
                  </a:lnTo>
                  <a:lnTo>
                    <a:pt x="179" y="209"/>
                  </a:lnTo>
                  <a:lnTo>
                    <a:pt x="182" y="209"/>
                  </a:lnTo>
                  <a:lnTo>
                    <a:pt x="184" y="207"/>
                  </a:lnTo>
                  <a:lnTo>
                    <a:pt x="180" y="213"/>
                  </a:lnTo>
                  <a:lnTo>
                    <a:pt x="180" y="213"/>
                  </a:lnTo>
                  <a:lnTo>
                    <a:pt x="179" y="217"/>
                  </a:lnTo>
                  <a:lnTo>
                    <a:pt x="179" y="219"/>
                  </a:lnTo>
                  <a:lnTo>
                    <a:pt x="180" y="222"/>
                  </a:lnTo>
                  <a:lnTo>
                    <a:pt x="180" y="228"/>
                  </a:lnTo>
                  <a:lnTo>
                    <a:pt x="182" y="228"/>
                  </a:lnTo>
                  <a:lnTo>
                    <a:pt x="179" y="228"/>
                  </a:lnTo>
                  <a:lnTo>
                    <a:pt x="171" y="237"/>
                  </a:lnTo>
                  <a:lnTo>
                    <a:pt x="167" y="239"/>
                  </a:lnTo>
                  <a:lnTo>
                    <a:pt x="163" y="247"/>
                  </a:lnTo>
                  <a:lnTo>
                    <a:pt x="163" y="247"/>
                  </a:lnTo>
                  <a:lnTo>
                    <a:pt x="160" y="247"/>
                  </a:lnTo>
                  <a:lnTo>
                    <a:pt x="156" y="252"/>
                  </a:lnTo>
                  <a:lnTo>
                    <a:pt x="156" y="254"/>
                  </a:lnTo>
                  <a:lnTo>
                    <a:pt x="150" y="258"/>
                  </a:lnTo>
                  <a:lnTo>
                    <a:pt x="150" y="262"/>
                  </a:lnTo>
                  <a:lnTo>
                    <a:pt x="147" y="266"/>
                  </a:lnTo>
                  <a:lnTo>
                    <a:pt x="139" y="266"/>
                  </a:lnTo>
                  <a:lnTo>
                    <a:pt x="139" y="268"/>
                  </a:lnTo>
                  <a:lnTo>
                    <a:pt x="137" y="273"/>
                  </a:lnTo>
                  <a:lnTo>
                    <a:pt x="137" y="279"/>
                  </a:lnTo>
                  <a:lnTo>
                    <a:pt x="135" y="279"/>
                  </a:lnTo>
                  <a:lnTo>
                    <a:pt x="139" y="279"/>
                  </a:lnTo>
                  <a:lnTo>
                    <a:pt x="139" y="283"/>
                  </a:lnTo>
                  <a:lnTo>
                    <a:pt x="139" y="286"/>
                  </a:lnTo>
                  <a:lnTo>
                    <a:pt x="137" y="288"/>
                  </a:lnTo>
                  <a:lnTo>
                    <a:pt x="137" y="286"/>
                  </a:lnTo>
                  <a:lnTo>
                    <a:pt x="137" y="283"/>
                  </a:lnTo>
                  <a:lnTo>
                    <a:pt x="135" y="283"/>
                  </a:lnTo>
                  <a:lnTo>
                    <a:pt x="135" y="283"/>
                  </a:lnTo>
                  <a:lnTo>
                    <a:pt x="135" y="286"/>
                  </a:lnTo>
                  <a:lnTo>
                    <a:pt x="133" y="288"/>
                  </a:lnTo>
                  <a:lnTo>
                    <a:pt x="131" y="286"/>
                  </a:lnTo>
                  <a:lnTo>
                    <a:pt x="128" y="286"/>
                  </a:lnTo>
                  <a:lnTo>
                    <a:pt x="130" y="284"/>
                  </a:lnTo>
                  <a:lnTo>
                    <a:pt x="130" y="284"/>
                  </a:lnTo>
                  <a:lnTo>
                    <a:pt x="128" y="283"/>
                  </a:lnTo>
                  <a:lnTo>
                    <a:pt x="126" y="284"/>
                  </a:lnTo>
                  <a:lnTo>
                    <a:pt x="126" y="286"/>
                  </a:lnTo>
                  <a:lnTo>
                    <a:pt x="122" y="286"/>
                  </a:lnTo>
                  <a:lnTo>
                    <a:pt x="122" y="286"/>
                  </a:lnTo>
                  <a:lnTo>
                    <a:pt x="120" y="283"/>
                  </a:lnTo>
                  <a:lnTo>
                    <a:pt x="118" y="283"/>
                  </a:lnTo>
                  <a:lnTo>
                    <a:pt x="118" y="284"/>
                  </a:lnTo>
                  <a:lnTo>
                    <a:pt x="120" y="286"/>
                  </a:lnTo>
                  <a:lnTo>
                    <a:pt x="118" y="292"/>
                  </a:lnTo>
                  <a:lnTo>
                    <a:pt x="115" y="292"/>
                  </a:lnTo>
                  <a:lnTo>
                    <a:pt x="113" y="292"/>
                  </a:lnTo>
                  <a:lnTo>
                    <a:pt x="113" y="294"/>
                  </a:lnTo>
                  <a:lnTo>
                    <a:pt x="109" y="294"/>
                  </a:lnTo>
                  <a:lnTo>
                    <a:pt x="107" y="292"/>
                  </a:lnTo>
                  <a:lnTo>
                    <a:pt x="107" y="296"/>
                  </a:lnTo>
                  <a:lnTo>
                    <a:pt x="103" y="298"/>
                  </a:lnTo>
                  <a:lnTo>
                    <a:pt x="99" y="301"/>
                  </a:lnTo>
                  <a:lnTo>
                    <a:pt x="99" y="305"/>
                  </a:lnTo>
                  <a:lnTo>
                    <a:pt x="98" y="307"/>
                  </a:lnTo>
                  <a:lnTo>
                    <a:pt x="94" y="313"/>
                  </a:lnTo>
                  <a:lnTo>
                    <a:pt x="94" y="317"/>
                  </a:lnTo>
                  <a:lnTo>
                    <a:pt x="94" y="322"/>
                  </a:lnTo>
                  <a:lnTo>
                    <a:pt x="84" y="326"/>
                  </a:lnTo>
                  <a:lnTo>
                    <a:pt x="83" y="330"/>
                  </a:lnTo>
                  <a:lnTo>
                    <a:pt x="81" y="335"/>
                  </a:lnTo>
                  <a:lnTo>
                    <a:pt x="77" y="341"/>
                  </a:lnTo>
                  <a:lnTo>
                    <a:pt x="73" y="343"/>
                  </a:lnTo>
                  <a:lnTo>
                    <a:pt x="73" y="347"/>
                  </a:lnTo>
                  <a:lnTo>
                    <a:pt x="73" y="347"/>
                  </a:lnTo>
                  <a:lnTo>
                    <a:pt x="71" y="347"/>
                  </a:lnTo>
                  <a:lnTo>
                    <a:pt x="75" y="347"/>
                  </a:lnTo>
                  <a:lnTo>
                    <a:pt x="75" y="347"/>
                  </a:lnTo>
                  <a:lnTo>
                    <a:pt x="73" y="349"/>
                  </a:lnTo>
                  <a:lnTo>
                    <a:pt x="67" y="349"/>
                  </a:lnTo>
                  <a:lnTo>
                    <a:pt x="64" y="352"/>
                  </a:lnTo>
                  <a:lnTo>
                    <a:pt x="60" y="354"/>
                  </a:lnTo>
                  <a:lnTo>
                    <a:pt x="60" y="358"/>
                  </a:lnTo>
                  <a:lnTo>
                    <a:pt x="56" y="360"/>
                  </a:lnTo>
                  <a:lnTo>
                    <a:pt x="56" y="358"/>
                  </a:lnTo>
                  <a:lnTo>
                    <a:pt x="54" y="356"/>
                  </a:lnTo>
                  <a:lnTo>
                    <a:pt x="54" y="360"/>
                  </a:lnTo>
                  <a:lnTo>
                    <a:pt x="54" y="362"/>
                  </a:lnTo>
                  <a:lnTo>
                    <a:pt x="51" y="364"/>
                  </a:lnTo>
                  <a:lnTo>
                    <a:pt x="45" y="367"/>
                  </a:lnTo>
                  <a:lnTo>
                    <a:pt x="39" y="371"/>
                  </a:lnTo>
                  <a:lnTo>
                    <a:pt x="35" y="371"/>
                  </a:lnTo>
                  <a:lnTo>
                    <a:pt x="30" y="371"/>
                  </a:lnTo>
                  <a:lnTo>
                    <a:pt x="30" y="367"/>
                  </a:lnTo>
                  <a:lnTo>
                    <a:pt x="26" y="371"/>
                  </a:lnTo>
                  <a:lnTo>
                    <a:pt x="26" y="371"/>
                  </a:lnTo>
                  <a:lnTo>
                    <a:pt x="30" y="367"/>
                  </a:lnTo>
                  <a:lnTo>
                    <a:pt x="26" y="365"/>
                  </a:lnTo>
                  <a:lnTo>
                    <a:pt x="22" y="364"/>
                  </a:lnTo>
                  <a:lnTo>
                    <a:pt x="22" y="360"/>
                  </a:lnTo>
                  <a:lnTo>
                    <a:pt x="20" y="358"/>
                  </a:lnTo>
                  <a:lnTo>
                    <a:pt x="17" y="358"/>
                  </a:lnTo>
                  <a:lnTo>
                    <a:pt x="15" y="356"/>
                  </a:lnTo>
                  <a:lnTo>
                    <a:pt x="17" y="354"/>
                  </a:lnTo>
                  <a:lnTo>
                    <a:pt x="15" y="352"/>
                  </a:lnTo>
                  <a:lnTo>
                    <a:pt x="15" y="352"/>
                  </a:lnTo>
                  <a:lnTo>
                    <a:pt x="11" y="352"/>
                  </a:lnTo>
                  <a:lnTo>
                    <a:pt x="9" y="352"/>
                  </a:lnTo>
                  <a:lnTo>
                    <a:pt x="9" y="352"/>
                  </a:lnTo>
                  <a:lnTo>
                    <a:pt x="9" y="352"/>
                  </a:lnTo>
                  <a:lnTo>
                    <a:pt x="5" y="352"/>
                  </a:lnTo>
                  <a:lnTo>
                    <a:pt x="2" y="352"/>
                  </a:lnTo>
                  <a:lnTo>
                    <a:pt x="2" y="352"/>
                  </a:lnTo>
                  <a:lnTo>
                    <a:pt x="2" y="352"/>
                  </a:ln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2" name="Freeform 203">
              <a:extLst>
                <a:ext uri="{FF2B5EF4-FFF2-40B4-BE49-F238E27FC236}">
                  <a16:creationId xmlns:a16="http://schemas.microsoft.com/office/drawing/2014/main" id="{2E95D33C-E22E-D940-8D43-E726B673F9DE}"/>
                </a:ext>
              </a:extLst>
            </p:cNvPr>
            <p:cNvSpPr>
              <a:spLocks/>
            </p:cNvSpPr>
            <p:nvPr/>
          </p:nvSpPr>
          <p:spPr bwMode="auto">
            <a:xfrm>
              <a:off x="7142454" y="2417584"/>
              <a:ext cx="464215" cy="467110"/>
            </a:xfrm>
            <a:custGeom>
              <a:avLst/>
              <a:gdLst/>
              <a:ahLst/>
              <a:cxnLst>
                <a:cxn ang="0">
                  <a:pos x="237" y="143"/>
                </a:cxn>
                <a:cxn ang="0">
                  <a:pos x="244" y="147"/>
                </a:cxn>
                <a:cxn ang="0">
                  <a:pos x="257" y="154"/>
                </a:cxn>
                <a:cxn ang="0">
                  <a:pos x="263" y="143"/>
                </a:cxn>
                <a:cxn ang="0">
                  <a:pos x="270" y="112"/>
                </a:cxn>
                <a:cxn ang="0">
                  <a:pos x="289" y="94"/>
                </a:cxn>
                <a:cxn ang="0">
                  <a:pos x="280" y="91"/>
                </a:cxn>
                <a:cxn ang="0">
                  <a:pos x="277" y="84"/>
                </a:cxn>
                <a:cxn ang="0">
                  <a:pos x="276" y="79"/>
                </a:cxn>
                <a:cxn ang="0">
                  <a:pos x="245" y="99"/>
                </a:cxn>
                <a:cxn ang="0">
                  <a:pos x="240" y="107"/>
                </a:cxn>
                <a:cxn ang="0">
                  <a:pos x="209" y="102"/>
                </a:cxn>
                <a:cxn ang="0">
                  <a:pos x="202" y="102"/>
                </a:cxn>
                <a:cxn ang="0">
                  <a:pos x="193" y="119"/>
                </a:cxn>
                <a:cxn ang="0">
                  <a:pos x="179" y="116"/>
                </a:cxn>
                <a:cxn ang="0">
                  <a:pos x="164" y="109"/>
                </a:cxn>
                <a:cxn ang="0">
                  <a:pos x="151" y="108"/>
                </a:cxn>
                <a:cxn ang="0">
                  <a:pos x="124" y="95"/>
                </a:cxn>
                <a:cxn ang="0">
                  <a:pos x="115" y="67"/>
                </a:cxn>
                <a:cxn ang="0">
                  <a:pos x="108" y="53"/>
                </a:cxn>
                <a:cxn ang="0">
                  <a:pos x="113" y="55"/>
                </a:cxn>
                <a:cxn ang="0">
                  <a:pos x="115" y="35"/>
                </a:cxn>
                <a:cxn ang="0">
                  <a:pos x="125" y="27"/>
                </a:cxn>
                <a:cxn ang="0">
                  <a:pos x="99" y="20"/>
                </a:cxn>
                <a:cxn ang="0">
                  <a:pos x="80" y="1"/>
                </a:cxn>
                <a:cxn ang="0">
                  <a:pos x="66" y="4"/>
                </a:cxn>
                <a:cxn ang="0">
                  <a:pos x="53" y="13"/>
                </a:cxn>
                <a:cxn ang="0">
                  <a:pos x="67" y="22"/>
                </a:cxn>
                <a:cxn ang="0">
                  <a:pos x="71" y="50"/>
                </a:cxn>
                <a:cxn ang="0">
                  <a:pos x="70" y="62"/>
                </a:cxn>
                <a:cxn ang="0">
                  <a:pos x="57" y="83"/>
                </a:cxn>
                <a:cxn ang="0">
                  <a:pos x="28" y="102"/>
                </a:cxn>
                <a:cxn ang="0">
                  <a:pos x="24" y="119"/>
                </a:cxn>
                <a:cxn ang="0">
                  <a:pos x="27" y="128"/>
                </a:cxn>
                <a:cxn ang="0">
                  <a:pos x="7" y="147"/>
                </a:cxn>
                <a:cxn ang="0">
                  <a:pos x="1" y="152"/>
                </a:cxn>
                <a:cxn ang="0">
                  <a:pos x="3" y="152"/>
                </a:cxn>
                <a:cxn ang="0">
                  <a:pos x="7" y="166"/>
                </a:cxn>
                <a:cxn ang="0">
                  <a:pos x="43" y="168"/>
                </a:cxn>
                <a:cxn ang="0">
                  <a:pos x="48" y="175"/>
                </a:cxn>
                <a:cxn ang="0">
                  <a:pos x="46" y="204"/>
                </a:cxn>
                <a:cxn ang="0">
                  <a:pos x="47" y="208"/>
                </a:cxn>
                <a:cxn ang="0">
                  <a:pos x="65" y="263"/>
                </a:cxn>
                <a:cxn ang="0">
                  <a:pos x="75" y="286"/>
                </a:cxn>
                <a:cxn ang="0">
                  <a:pos x="104" y="314"/>
                </a:cxn>
                <a:cxn ang="0">
                  <a:pos x="117" y="300"/>
                </a:cxn>
                <a:cxn ang="0">
                  <a:pos x="123" y="281"/>
                </a:cxn>
                <a:cxn ang="0">
                  <a:pos x="126" y="264"/>
                </a:cxn>
                <a:cxn ang="0">
                  <a:pos x="136" y="241"/>
                </a:cxn>
                <a:cxn ang="0">
                  <a:pos x="160" y="220"/>
                </a:cxn>
                <a:cxn ang="0">
                  <a:pos x="173" y="206"/>
                </a:cxn>
                <a:cxn ang="0">
                  <a:pos x="196" y="185"/>
                </a:cxn>
                <a:cxn ang="0">
                  <a:pos x="206" y="170"/>
                </a:cxn>
                <a:cxn ang="0">
                  <a:pos x="214" y="157"/>
                </a:cxn>
                <a:cxn ang="0">
                  <a:pos x="209" y="150"/>
                </a:cxn>
                <a:cxn ang="0">
                  <a:pos x="204" y="140"/>
                </a:cxn>
                <a:cxn ang="0">
                  <a:pos x="203" y="126"/>
                </a:cxn>
                <a:cxn ang="0">
                  <a:pos x="212" y="120"/>
                </a:cxn>
                <a:cxn ang="0">
                  <a:pos x="218" y="121"/>
                </a:cxn>
                <a:cxn ang="0">
                  <a:pos x="245" y="133"/>
                </a:cxn>
              </a:cxnLst>
              <a:rect l="0" t="0" r="r" b="b"/>
              <a:pathLst>
                <a:path w="289" h="323">
                  <a:moveTo>
                    <a:pt x="245" y="133"/>
                  </a:moveTo>
                  <a:cubicBezTo>
                    <a:pt x="244" y="137"/>
                    <a:pt x="244" y="142"/>
                    <a:pt x="237" y="143"/>
                  </a:cubicBezTo>
                  <a:cubicBezTo>
                    <a:pt x="233" y="148"/>
                    <a:pt x="236" y="153"/>
                    <a:pt x="240" y="156"/>
                  </a:cubicBezTo>
                  <a:cubicBezTo>
                    <a:pt x="242" y="155"/>
                    <a:pt x="241" y="149"/>
                    <a:pt x="244" y="147"/>
                  </a:cubicBezTo>
                  <a:cubicBezTo>
                    <a:pt x="251" y="154"/>
                    <a:pt x="245" y="164"/>
                    <a:pt x="254" y="168"/>
                  </a:cubicBezTo>
                  <a:cubicBezTo>
                    <a:pt x="257" y="163"/>
                    <a:pt x="252" y="157"/>
                    <a:pt x="257" y="154"/>
                  </a:cubicBezTo>
                  <a:cubicBezTo>
                    <a:pt x="255" y="150"/>
                    <a:pt x="258" y="147"/>
                    <a:pt x="255" y="142"/>
                  </a:cubicBezTo>
                  <a:cubicBezTo>
                    <a:pt x="258" y="143"/>
                    <a:pt x="259" y="143"/>
                    <a:pt x="263" y="143"/>
                  </a:cubicBezTo>
                  <a:cubicBezTo>
                    <a:pt x="264" y="138"/>
                    <a:pt x="268" y="134"/>
                    <a:pt x="266" y="129"/>
                  </a:cubicBezTo>
                  <a:cubicBezTo>
                    <a:pt x="269" y="125"/>
                    <a:pt x="271" y="118"/>
                    <a:pt x="270" y="112"/>
                  </a:cubicBezTo>
                  <a:cubicBezTo>
                    <a:pt x="275" y="109"/>
                    <a:pt x="282" y="97"/>
                    <a:pt x="287" y="105"/>
                  </a:cubicBezTo>
                  <a:cubicBezTo>
                    <a:pt x="288" y="102"/>
                    <a:pt x="283" y="98"/>
                    <a:pt x="289" y="94"/>
                  </a:cubicBezTo>
                  <a:cubicBezTo>
                    <a:pt x="289" y="93"/>
                    <a:pt x="288" y="92"/>
                    <a:pt x="288" y="91"/>
                  </a:cubicBezTo>
                  <a:cubicBezTo>
                    <a:pt x="284" y="91"/>
                    <a:pt x="284" y="89"/>
                    <a:pt x="280" y="91"/>
                  </a:cubicBezTo>
                  <a:cubicBezTo>
                    <a:pt x="279" y="90"/>
                    <a:pt x="280" y="87"/>
                    <a:pt x="281" y="86"/>
                  </a:cubicBezTo>
                  <a:cubicBezTo>
                    <a:pt x="280" y="83"/>
                    <a:pt x="280" y="84"/>
                    <a:pt x="277" y="84"/>
                  </a:cubicBezTo>
                  <a:cubicBezTo>
                    <a:pt x="277" y="83"/>
                    <a:pt x="278" y="82"/>
                    <a:pt x="278" y="81"/>
                  </a:cubicBezTo>
                  <a:cubicBezTo>
                    <a:pt x="277" y="82"/>
                    <a:pt x="276" y="80"/>
                    <a:pt x="276" y="79"/>
                  </a:cubicBezTo>
                  <a:cubicBezTo>
                    <a:pt x="271" y="83"/>
                    <a:pt x="268" y="87"/>
                    <a:pt x="262" y="81"/>
                  </a:cubicBezTo>
                  <a:cubicBezTo>
                    <a:pt x="259" y="89"/>
                    <a:pt x="247" y="92"/>
                    <a:pt x="245" y="99"/>
                  </a:cubicBezTo>
                  <a:cubicBezTo>
                    <a:pt x="243" y="100"/>
                    <a:pt x="240" y="102"/>
                    <a:pt x="235" y="102"/>
                  </a:cubicBezTo>
                  <a:cubicBezTo>
                    <a:pt x="235" y="106"/>
                    <a:pt x="239" y="105"/>
                    <a:pt x="240" y="107"/>
                  </a:cubicBezTo>
                  <a:cubicBezTo>
                    <a:pt x="239" y="109"/>
                    <a:pt x="241" y="110"/>
                    <a:pt x="241" y="112"/>
                  </a:cubicBezTo>
                  <a:cubicBezTo>
                    <a:pt x="228" y="114"/>
                    <a:pt x="205" y="121"/>
                    <a:pt x="209" y="102"/>
                  </a:cubicBezTo>
                  <a:cubicBezTo>
                    <a:pt x="209" y="102"/>
                    <a:pt x="208" y="102"/>
                    <a:pt x="208" y="101"/>
                  </a:cubicBezTo>
                  <a:cubicBezTo>
                    <a:pt x="205" y="100"/>
                    <a:pt x="205" y="103"/>
                    <a:pt x="202" y="102"/>
                  </a:cubicBezTo>
                  <a:cubicBezTo>
                    <a:pt x="203" y="107"/>
                    <a:pt x="202" y="115"/>
                    <a:pt x="203" y="119"/>
                  </a:cubicBezTo>
                  <a:cubicBezTo>
                    <a:pt x="203" y="122"/>
                    <a:pt x="194" y="122"/>
                    <a:pt x="193" y="119"/>
                  </a:cubicBezTo>
                  <a:cubicBezTo>
                    <a:pt x="189" y="123"/>
                    <a:pt x="184" y="117"/>
                    <a:pt x="181" y="119"/>
                  </a:cubicBezTo>
                  <a:cubicBezTo>
                    <a:pt x="181" y="118"/>
                    <a:pt x="180" y="118"/>
                    <a:pt x="179" y="116"/>
                  </a:cubicBezTo>
                  <a:cubicBezTo>
                    <a:pt x="178" y="116"/>
                    <a:pt x="177" y="117"/>
                    <a:pt x="177" y="118"/>
                  </a:cubicBezTo>
                  <a:cubicBezTo>
                    <a:pt x="172" y="116"/>
                    <a:pt x="169" y="110"/>
                    <a:pt x="164" y="109"/>
                  </a:cubicBezTo>
                  <a:cubicBezTo>
                    <a:pt x="159" y="109"/>
                    <a:pt x="156" y="113"/>
                    <a:pt x="153" y="111"/>
                  </a:cubicBezTo>
                  <a:cubicBezTo>
                    <a:pt x="152" y="110"/>
                    <a:pt x="152" y="108"/>
                    <a:pt x="151" y="108"/>
                  </a:cubicBezTo>
                  <a:cubicBezTo>
                    <a:pt x="148" y="107"/>
                    <a:pt x="145" y="107"/>
                    <a:pt x="143" y="107"/>
                  </a:cubicBezTo>
                  <a:cubicBezTo>
                    <a:pt x="137" y="104"/>
                    <a:pt x="132" y="98"/>
                    <a:pt x="124" y="95"/>
                  </a:cubicBezTo>
                  <a:cubicBezTo>
                    <a:pt x="128" y="88"/>
                    <a:pt x="126" y="83"/>
                    <a:pt x="134" y="80"/>
                  </a:cubicBezTo>
                  <a:cubicBezTo>
                    <a:pt x="127" y="75"/>
                    <a:pt x="122" y="74"/>
                    <a:pt x="115" y="67"/>
                  </a:cubicBezTo>
                  <a:cubicBezTo>
                    <a:pt x="114" y="66"/>
                    <a:pt x="114" y="68"/>
                    <a:pt x="112" y="67"/>
                  </a:cubicBezTo>
                  <a:cubicBezTo>
                    <a:pt x="112" y="64"/>
                    <a:pt x="109" y="55"/>
                    <a:pt x="108" y="53"/>
                  </a:cubicBezTo>
                  <a:cubicBezTo>
                    <a:pt x="110" y="53"/>
                    <a:pt x="111" y="53"/>
                    <a:pt x="111" y="52"/>
                  </a:cubicBezTo>
                  <a:cubicBezTo>
                    <a:pt x="112" y="52"/>
                    <a:pt x="112" y="55"/>
                    <a:pt x="113" y="55"/>
                  </a:cubicBezTo>
                  <a:cubicBezTo>
                    <a:pt x="116" y="56"/>
                    <a:pt x="116" y="52"/>
                    <a:pt x="119" y="53"/>
                  </a:cubicBezTo>
                  <a:cubicBezTo>
                    <a:pt x="119" y="44"/>
                    <a:pt x="110" y="43"/>
                    <a:pt x="115" y="35"/>
                  </a:cubicBezTo>
                  <a:cubicBezTo>
                    <a:pt x="116" y="36"/>
                    <a:pt x="117" y="36"/>
                    <a:pt x="118" y="36"/>
                  </a:cubicBezTo>
                  <a:cubicBezTo>
                    <a:pt x="118" y="31"/>
                    <a:pt x="122" y="31"/>
                    <a:pt x="125" y="27"/>
                  </a:cubicBezTo>
                  <a:cubicBezTo>
                    <a:pt x="128" y="23"/>
                    <a:pt x="127" y="15"/>
                    <a:pt x="118" y="14"/>
                  </a:cubicBezTo>
                  <a:cubicBezTo>
                    <a:pt x="113" y="14"/>
                    <a:pt x="105" y="20"/>
                    <a:pt x="99" y="20"/>
                  </a:cubicBezTo>
                  <a:cubicBezTo>
                    <a:pt x="100" y="18"/>
                    <a:pt x="97" y="15"/>
                    <a:pt x="94" y="17"/>
                  </a:cubicBezTo>
                  <a:cubicBezTo>
                    <a:pt x="93" y="11"/>
                    <a:pt x="83" y="8"/>
                    <a:pt x="80" y="1"/>
                  </a:cubicBezTo>
                  <a:cubicBezTo>
                    <a:pt x="74" y="0"/>
                    <a:pt x="70" y="3"/>
                    <a:pt x="65" y="2"/>
                  </a:cubicBezTo>
                  <a:cubicBezTo>
                    <a:pt x="65" y="3"/>
                    <a:pt x="66" y="3"/>
                    <a:pt x="66" y="4"/>
                  </a:cubicBezTo>
                  <a:cubicBezTo>
                    <a:pt x="63" y="5"/>
                    <a:pt x="62" y="3"/>
                    <a:pt x="60" y="4"/>
                  </a:cubicBezTo>
                  <a:cubicBezTo>
                    <a:pt x="58" y="7"/>
                    <a:pt x="53" y="7"/>
                    <a:pt x="53" y="13"/>
                  </a:cubicBezTo>
                  <a:cubicBezTo>
                    <a:pt x="58" y="14"/>
                    <a:pt x="59" y="18"/>
                    <a:pt x="64" y="18"/>
                  </a:cubicBezTo>
                  <a:cubicBezTo>
                    <a:pt x="64" y="20"/>
                    <a:pt x="64" y="23"/>
                    <a:pt x="67" y="22"/>
                  </a:cubicBezTo>
                  <a:cubicBezTo>
                    <a:pt x="68" y="25"/>
                    <a:pt x="65" y="27"/>
                    <a:pt x="61" y="29"/>
                  </a:cubicBezTo>
                  <a:cubicBezTo>
                    <a:pt x="62" y="37"/>
                    <a:pt x="58" y="47"/>
                    <a:pt x="71" y="50"/>
                  </a:cubicBezTo>
                  <a:cubicBezTo>
                    <a:pt x="73" y="52"/>
                    <a:pt x="74" y="55"/>
                    <a:pt x="78" y="55"/>
                  </a:cubicBezTo>
                  <a:cubicBezTo>
                    <a:pt x="79" y="60"/>
                    <a:pt x="72" y="58"/>
                    <a:pt x="70" y="62"/>
                  </a:cubicBezTo>
                  <a:cubicBezTo>
                    <a:pt x="72" y="66"/>
                    <a:pt x="69" y="66"/>
                    <a:pt x="71" y="69"/>
                  </a:cubicBezTo>
                  <a:cubicBezTo>
                    <a:pt x="65" y="74"/>
                    <a:pt x="64" y="81"/>
                    <a:pt x="57" y="83"/>
                  </a:cubicBezTo>
                  <a:cubicBezTo>
                    <a:pt x="58" y="87"/>
                    <a:pt x="55" y="87"/>
                    <a:pt x="56" y="90"/>
                  </a:cubicBezTo>
                  <a:cubicBezTo>
                    <a:pt x="49" y="94"/>
                    <a:pt x="37" y="114"/>
                    <a:pt x="28" y="102"/>
                  </a:cubicBezTo>
                  <a:cubicBezTo>
                    <a:pt x="23" y="105"/>
                    <a:pt x="18" y="109"/>
                    <a:pt x="17" y="116"/>
                  </a:cubicBezTo>
                  <a:cubicBezTo>
                    <a:pt x="19" y="117"/>
                    <a:pt x="20" y="119"/>
                    <a:pt x="24" y="119"/>
                  </a:cubicBezTo>
                  <a:cubicBezTo>
                    <a:pt x="23" y="123"/>
                    <a:pt x="23" y="122"/>
                    <a:pt x="23" y="127"/>
                  </a:cubicBezTo>
                  <a:cubicBezTo>
                    <a:pt x="24" y="127"/>
                    <a:pt x="26" y="130"/>
                    <a:pt x="27" y="128"/>
                  </a:cubicBezTo>
                  <a:cubicBezTo>
                    <a:pt x="28" y="131"/>
                    <a:pt x="32" y="140"/>
                    <a:pt x="32" y="144"/>
                  </a:cubicBezTo>
                  <a:cubicBezTo>
                    <a:pt x="26" y="149"/>
                    <a:pt x="9" y="141"/>
                    <a:pt x="7" y="147"/>
                  </a:cubicBezTo>
                  <a:cubicBezTo>
                    <a:pt x="4" y="147"/>
                    <a:pt x="2" y="147"/>
                    <a:pt x="0" y="149"/>
                  </a:cubicBezTo>
                  <a:cubicBezTo>
                    <a:pt x="1" y="149"/>
                    <a:pt x="1" y="150"/>
                    <a:pt x="1" y="152"/>
                  </a:cubicBezTo>
                  <a:cubicBezTo>
                    <a:pt x="2" y="150"/>
                    <a:pt x="4" y="150"/>
                    <a:pt x="5" y="149"/>
                  </a:cubicBezTo>
                  <a:cubicBezTo>
                    <a:pt x="7" y="150"/>
                    <a:pt x="3" y="151"/>
                    <a:pt x="3" y="152"/>
                  </a:cubicBezTo>
                  <a:cubicBezTo>
                    <a:pt x="6" y="161"/>
                    <a:pt x="18" y="164"/>
                    <a:pt x="24" y="159"/>
                  </a:cubicBezTo>
                  <a:cubicBezTo>
                    <a:pt x="21" y="167"/>
                    <a:pt x="12" y="166"/>
                    <a:pt x="7" y="166"/>
                  </a:cubicBezTo>
                  <a:cubicBezTo>
                    <a:pt x="13" y="174"/>
                    <a:pt x="19" y="181"/>
                    <a:pt x="24" y="185"/>
                  </a:cubicBezTo>
                  <a:cubicBezTo>
                    <a:pt x="34" y="187"/>
                    <a:pt x="45" y="178"/>
                    <a:pt x="43" y="168"/>
                  </a:cubicBezTo>
                  <a:cubicBezTo>
                    <a:pt x="46" y="170"/>
                    <a:pt x="45" y="173"/>
                    <a:pt x="45" y="175"/>
                  </a:cubicBezTo>
                  <a:cubicBezTo>
                    <a:pt x="47" y="175"/>
                    <a:pt x="47" y="177"/>
                    <a:pt x="48" y="175"/>
                  </a:cubicBezTo>
                  <a:cubicBezTo>
                    <a:pt x="44" y="180"/>
                    <a:pt x="47" y="182"/>
                    <a:pt x="48" y="187"/>
                  </a:cubicBezTo>
                  <a:cubicBezTo>
                    <a:pt x="45" y="193"/>
                    <a:pt x="46" y="200"/>
                    <a:pt x="46" y="204"/>
                  </a:cubicBezTo>
                  <a:cubicBezTo>
                    <a:pt x="46" y="205"/>
                    <a:pt x="47" y="205"/>
                    <a:pt x="48" y="205"/>
                  </a:cubicBezTo>
                  <a:cubicBezTo>
                    <a:pt x="49" y="207"/>
                    <a:pt x="47" y="207"/>
                    <a:pt x="47" y="208"/>
                  </a:cubicBezTo>
                  <a:cubicBezTo>
                    <a:pt x="51" y="220"/>
                    <a:pt x="51" y="235"/>
                    <a:pt x="57" y="246"/>
                  </a:cubicBezTo>
                  <a:cubicBezTo>
                    <a:pt x="59" y="251"/>
                    <a:pt x="64" y="256"/>
                    <a:pt x="65" y="263"/>
                  </a:cubicBezTo>
                  <a:cubicBezTo>
                    <a:pt x="65" y="264"/>
                    <a:pt x="65" y="266"/>
                    <a:pt x="65" y="267"/>
                  </a:cubicBezTo>
                  <a:cubicBezTo>
                    <a:pt x="67" y="274"/>
                    <a:pt x="72" y="279"/>
                    <a:pt x="75" y="286"/>
                  </a:cubicBezTo>
                  <a:cubicBezTo>
                    <a:pt x="81" y="296"/>
                    <a:pt x="82" y="322"/>
                    <a:pt x="96" y="323"/>
                  </a:cubicBezTo>
                  <a:cubicBezTo>
                    <a:pt x="100" y="323"/>
                    <a:pt x="105" y="320"/>
                    <a:pt x="104" y="314"/>
                  </a:cubicBezTo>
                  <a:cubicBezTo>
                    <a:pt x="107" y="312"/>
                    <a:pt x="110" y="311"/>
                    <a:pt x="113" y="311"/>
                  </a:cubicBezTo>
                  <a:cubicBezTo>
                    <a:pt x="111" y="307"/>
                    <a:pt x="118" y="303"/>
                    <a:pt x="117" y="300"/>
                  </a:cubicBezTo>
                  <a:cubicBezTo>
                    <a:pt x="121" y="299"/>
                    <a:pt x="120" y="300"/>
                    <a:pt x="124" y="299"/>
                  </a:cubicBezTo>
                  <a:cubicBezTo>
                    <a:pt x="124" y="292"/>
                    <a:pt x="121" y="287"/>
                    <a:pt x="123" y="281"/>
                  </a:cubicBezTo>
                  <a:cubicBezTo>
                    <a:pt x="124" y="280"/>
                    <a:pt x="128" y="276"/>
                    <a:pt x="125" y="275"/>
                  </a:cubicBezTo>
                  <a:cubicBezTo>
                    <a:pt x="128" y="274"/>
                    <a:pt x="131" y="264"/>
                    <a:pt x="126" y="264"/>
                  </a:cubicBezTo>
                  <a:cubicBezTo>
                    <a:pt x="126" y="263"/>
                    <a:pt x="127" y="263"/>
                    <a:pt x="128" y="263"/>
                  </a:cubicBezTo>
                  <a:cubicBezTo>
                    <a:pt x="125" y="256"/>
                    <a:pt x="124" y="236"/>
                    <a:pt x="136" y="241"/>
                  </a:cubicBezTo>
                  <a:cubicBezTo>
                    <a:pt x="138" y="233"/>
                    <a:pt x="145" y="235"/>
                    <a:pt x="151" y="231"/>
                  </a:cubicBezTo>
                  <a:cubicBezTo>
                    <a:pt x="148" y="225"/>
                    <a:pt x="155" y="225"/>
                    <a:pt x="160" y="220"/>
                  </a:cubicBezTo>
                  <a:cubicBezTo>
                    <a:pt x="162" y="219"/>
                    <a:pt x="162" y="216"/>
                    <a:pt x="163" y="215"/>
                  </a:cubicBezTo>
                  <a:cubicBezTo>
                    <a:pt x="167" y="212"/>
                    <a:pt x="170" y="210"/>
                    <a:pt x="173" y="206"/>
                  </a:cubicBezTo>
                  <a:cubicBezTo>
                    <a:pt x="178" y="200"/>
                    <a:pt x="179" y="196"/>
                    <a:pt x="181" y="195"/>
                  </a:cubicBezTo>
                  <a:cubicBezTo>
                    <a:pt x="186" y="194"/>
                    <a:pt x="196" y="193"/>
                    <a:pt x="196" y="185"/>
                  </a:cubicBezTo>
                  <a:cubicBezTo>
                    <a:pt x="196" y="183"/>
                    <a:pt x="194" y="181"/>
                    <a:pt x="195" y="179"/>
                  </a:cubicBezTo>
                  <a:cubicBezTo>
                    <a:pt x="199" y="174"/>
                    <a:pt x="204" y="177"/>
                    <a:pt x="206" y="170"/>
                  </a:cubicBezTo>
                  <a:cubicBezTo>
                    <a:pt x="209" y="174"/>
                    <a:pt x="212" y="170"/>
                    <a:pt x="215" y="170"/>
                  </a:cubicBezTo>
                  <a:cubicBezTo>
                    <a:pt x="215" y="164"/>
                    <a:pt x="212" y="161"/>
                    <a:pt x="214" y="157"/>
                  </a:cubicBezTo>
                  <a:cubicBezTo>
                    <a:pt x="214" y="156"/>
                    <a:pt x="213" y="156"/>
                    <a:pt x="211" y="156"/>
                  </a:cubicBezTo>
                  <a:cubicBezTo>
                    <a:pt x="212" y="152"/>
                    <a:pt x="210" y="152"/>
                    <a:pt x="209" y="150"/>
                  </a:cubicBezTo>
                  <a:cubicBezTo>
                    <a:pt x="209" y="148"/>
                    <a:pt x="211" y="147"/>
                    <a:pt x="210" y="144"/>
                  </a:cubicBezTo>
                  <a:cubicBezTo>
                    <a:pt x="208" y="143"/>
                    <a:pt x="205" y="142"/>
                    <a:pt x="204" y="140"/>
                  </a:cubicBezTo>
                  <a:cubicBezTo>
                    <a:pt x="205" y="136"/>
                    <a:pt x="208" y="134"/>
                    <a:pt x="212" y="133"/>
                  </a:cubicBezTo>
                  <a:cubicBezTo>
                    <a:pt x="209" y="129"/>
                    <a:pt x="206" y="129"/>
                    <a:pt x="203" y="126"/>
                  </a:cubicBezTo>
                  <a:cubicBezTo>
                    <a:pt x="203" y="123"/>
                    <a:pt x="208" y="121"/>
                    <a:pt x="205" y="119"/>
                  </a:cubicBezTo>
                  <a:cubicBezTo>
                    <a:pt x="208" y="119"/>
                    <a:pt x="209" y="122"/>
                    <a:pt x="212" y="120"/>
                  </a:cubicBezTo>
                  <a:cubicBezTo>
                    <a:pt x="213" y="121"/>
                    <a:pt x="215" y="122"/>
                    <a:pt x="216" y="123"/>
                  </a:cubicBezTo>
                  <a:cubicBezTo>
                    <a:pt x="217" y="124"/>
                    <a:pt x="218" y="123"/>
                    <a:pt x="218" y="121"/>
                  </a:cubicBezTo>
                  <a:cubicBezTo>
                    <a:pt x="221" y="123"/>
                    <a:pt x="220" y="128"/>
                    <a:pt x="220" y="130"/>
                  </a:cubicBezTo>
                  <a:cubicBezTo>
                    <a:pt x="231" y="135"/>
                    <a:pt x="235" y="130"/>
                    <a:pt x="245" y="133"/>
                  </a:cubicBezTo>
                  <a:close/>
                </a:path>
              </a:pathLst>
            </a:custGeom>
            <a:solidFill>
              <a:srgbClr val="0A9A9C"/>
            </a:solidFill>
            <a:ln w="3175"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53" name="Group 452">
              <a:extLst>
                <a:ext uri="{FF2B5EF4-FFF2-40B4-BE49-F238E27FC236}">
                  <a16:creationId xmlns:a16="http://schemas.microsoft.com/office/drawing/2014/main" id="{C1344849-2678-4446-AC30-508FAA1B027D}"/>
                </a:ext>
              </a:extLst>
            </p:cNvPr>
            <p:cNvGrpSpPr/>
            <p:nvPr/>
          </p:nvGrpSpPr>
          <p:grpSpPr>
            <a:xfrm>
              <a:off x="1978344" y="726232"/>
              <a:ext cx="7789656" cy="3146578"/>
              <a:chOff x="1978344" y="726232"/>
              <a:chExt cx="7789656" cy="3146578"/>
            </a:xfrm>
          </p:grpSpPr>
          <p:sp>
            <p:nvSpPr>
              <p:cNvPr id="454" name="ZoneTexte 1563">
                <a:extLst>
                  <a:ext uri="{FF2B5EF4-FFF2-40B4-BE49-F238E27FC236}">
                    <a16:creationId xmlns:a16="http://schemas.microsoft.com/office/drawing/2014/main" id="{D8510D51-8949-5841-BA56-516703FEDD34}"/>
                  </a:ext>
                </a:extLst>
              </p:cNvPr>
              <p:cNvSpPr txBox="1"/>
              <p:nvPr/>
            </p:nvSpPr>
            <p:spPr>
              <a:xfrm>
                <a:off x="8206767" y="2349000"/>
                <a:ext cx="1561233" cy="307777"/>
              </a:xfrm>
              <a:prstGeom prst="rect">
                <a:avLst/>
              </a:prstGeom>
              <a:noFill/>
              <a:ln>
                <a:noFill/>
              </a:ln>
            </p:spPr>
            <p:txBody>
              <a:bodyPr wrap="square" rtlCol="0">
                <a:spAutoFit/>
              </a:bodyPr>
              <a:lstStyle/>
              <a:p>
                <a:pPr algn="ctr"/>
                <a:r>
                  <a:rPr lang="pl-PL" sz="1400" b="1" dirty="0"/>
                  <a:t>Azja Pacyf. </a:t>
                </a:r>
                <a:endParaRPr lang="en-US" sz="1400" b="1" dirty="0"/>
              </a:p>
            </p:txBody>
          </p:sp>
          <p:sp>
            <p:nvSpPr>
              <p:cNvPr id="455" name="ZoneTexte 1559">
                <a:extLst>
                  <a:ext uri="{FF2B5EF4-FFF2-40B4-BE49-F238E27FC236}">
                    <a16:creationId xmlns:a16="http://schemas.microsoft.com/office/drawing/2014/main" id="{6E479C7F-F681-724D-A0E7-ACE23DD8C8DA}"/>
                  </a:ext>
                </a:extLst>
              </p:cNvPr>
              <p:cNvSpPr txBox="1"/>
              <p:nvPr/>
            </p:nvSpPr>
            <p:spPr>
              <a:xfrm>
                <a:off x="2515058" y="2045221"/>
                <a:ext cx="1789884" cy="480131"/>
              </a:xfrm>
              <a:prstGeom prst="rect">
                <a:avLst/>
              </a:prstGeom>
              <a:noFill/>
              <a:ln>
                <a:noFill/>
              </a:ln>
            </p:spPr>
            <p:txBody>
              <a:bodyPr wrap="square" rtlCol="0">
                <a:spAutoFit/>
              </a:bodyPr>
              <a:lstStyle/>
              <a:p>
                <a:pPr algn="ctr">
                  <a:lnSpc>
                    <a:spcPct val="90000"/>
                  </a:lnSpc>
                </a:pPr>
                <a:r>
                  <a:rPr lang="pl-PL" sz="1400" b="1" dirty="0"/>
                  <a:t>Ameryka </a:t>
                </a:r>
                <a:br>
                  <a:rPr lang="pl-PL" sz="1400" b="1" dirty="0"/>
                </a:br>
                <a:r>
                  <a:rPr lang="pl-PL" sz="1400" b="1" dirty="0"/>
                  <a:t>Płn.</a:t>
                </a:r>
                <a:endParaRPr lang="en-US" sz="1400" b="1" dirty="0"/>
              </a:p>
            </p:txBody>
          </p:sp>
          <p:sp>
            <p:nvSpPr>
              <p:cNvPr id="456" name="ZoneTexte 213">
                <a:extLst>
                  <a:ext uri="{FF2B5EF4-FFF2-40B4-BE49-F238E27FC236}">
                    <a16:creationId xmlns:a16="http://schemas.microsoft.com/office/drawing/2014/main" id="{C7416FCF-B5C9-1545-A432-FF42F70D86F7}"/>
                  </a:ext>
                </a:extLst>
              </p:cNvPr>
              <p:cNvSpPr txBox="1"/>
              <p:nvPr/>
            </p:nvSpPr>
            <p:spPr>
              <a:xfrm>
                <a:off x="3160661" y="2483668"/>
                <a:ext cx="983618" cy="307777"/>
              </a:xfrm>
              <a:prstGeom prst="rect">
                <a:avLst/>
              </a:prstGeom>
              <a:noFill/>
              <a:ln>
                <a:noFill/>
              </a:ln>
            </p:spPr>
            <p:txBody>
              <a:bodyPr wrap="square" rtlCol="0">
                <a:spAutoFit/>
              </a:bodyPr>
              <a:lstStyle/>
              <a:p>
                <a:pPr algn="ctr"/>
                <a:r>
                  <a:rPr lang="pl-PL" sz="1400" dirty="0"/>
                  <a:t>~</a:t>
                </a:r>
                <a:r>
                  <a:rPr lang="en-US" sz="1400" dirty="0"/>
                  <a:t>16</a:t>
                </a:r>
                <a:r>
                  <a:rPr lang="pl-PL" sz="1400" dirty="0"/>
                  <a:t>,780</a:t>
                </a:r>
                <a:endParaRPr lang="en-US" sz="1400" dirty="0"/>
              </a:p>
            </p:txBody>
          </p:sp>
          <p:sp>
            <p:nvSpPr>
              <p:cNvPr id="457" name="ZoneTexte 1560">
                <a:extLst>
                  <a:ext uri="{FF2B5EF4-FFF2-40B4-BE49-F238E27FC236}">
                    <a16:creationId xmlns:a16="http://schemas.microsoft.com/office/drawing/2014/main" id="{10174589-485C-0242-B548-B65DBB62B60C}"/>
                  </a:ext>
                </a:extLst>
              </p:cNvPr>
              <p:cNvSpPr txBox="1"/>
              <p:nvPr/>
            </p:nvSpPr>
            <p:spPr>
              <a:xfrm>
                <a:off x="1978344" y="2949368"/>
                <a:ext cx="2893656" cy="523220"/>
              </a:xfrm>
              <a:prstGeom prst="rect">
                <a:avLst/>
              </a:prstGeom>
              <a:noFill/>
              <a:ln>
                <a:noFill/>
              </a:ln>
            </p:spPr>
            <p:txBody>
              <a:bodyPr wrap="square" rtlCol="0">
                <a:spAutoFit/>
              </a:bodyPr>
              <a:lstStyle/>
              <a:p>
                <a:pPr algn="ctr"/>
                <a:r>
                  <a:rPr lang="pl-PL" sz="1400" b="1" dirty="0"/>
                  <a:t>Ameryka</a:t>
                </a:r>
                <a:br>
                  <a:rPr lang="pl-PL" sz="1400" b="1" dirty="0"/>
                </a:br>
                <a:r>
                  <a:rPr lang="pl-PL" sz="1400" b="1" dirty="0"/>
                  <a:t>Środk. i Płd.</a:t>
                </a:r>
                <a:endParaRPr lang="en-US" sz="1400" b="1" dirty="0"/>
              </a:p>
            </p:txBody>
          </p:sp>
          <p:sp>
            <p:nvSpPr>
              <p:cNvPr id="458" name="ZoneTexte 214">
                <a:extLst>
                  <a:ext uri="{FF2B5EF4-FFF2-40B4-BE49-F238E27FC236}">
                    <a16:creationId xmlns:a16="http://schemas.microsoft.com/office/drawing/2014/main" id="{CCB60D12-6FBB-FB42-8B3E-064891D45101}"/>
                  </a:ext>
                </a:extLst>
              </p:cNvPr>
              <p:cNvSpPr txBox="1"/>
              <p:nvPr/>
            </p:nvSpPr>
            <p:spPr>
              <a:xfrm>
                <a:off x="3799983" y="3419668"/>
                <a:ext cx="1011699" cy="307777"/>
              </a:xfrm>
              <a:prstGeom prst="rect">
                <a:avLst/>
              </a:prstGeom>
              <a:noFill/>
              <a:ln>
                <a:noFill/>
              </a:ln>
            </p:spPr>
            <p:txBody>
              <a:bodyPr wrap="square" rtlCol="0">
                <a:spAutoFit/>
              </a:bodyPr>
              <a:lstStyle/>
              <a:p>
                <a:pPr algn="ctr"/>
                <a:r>
                  <a:rPr lang="pl-PL" sz="1400" dirty="0"/>
                  <a:t>~ 8,580</a:t>
                </a:r>
                <a:endParaRPr lang="en-US" sz="1400" dirty="0"/>
              </a:p>
            </p:txBody>
          </p:sp>
          <p:sp>
            <p:nvSpPr>
              <p:cNvPr id="459" name="ZoneTexte 1561">
                <a:extLst>
                  <a:ext uri="{FF2B5EF4-FFF2-40B4-BE49-F238E27FC236}">
                    <a16:creationId xmlns:a16="http://schemas.microsoft.com/office/drawing/2014/main" id="{A7F19B53-5933-434E-AAC9-EE24B5227CDD}"/>
                  </a:ext>
                </a:extLst>
              </p:cNvPr>
              <p:cNvSpPr txBox="1"/>
              <p:nvPr/>
            </p:nvSpPr>
            <p:spPr>
              <a:xfrm>
                <a:off x="5808000" y="726232"/>
                <a:ext cx="981294" cy="307777"/>
              </a:xfrm>
              <a:prstGeom prst="rect">
                <a:avLst/>
              </a:prstGeom>
              <a:noFill/>
              <a:ln>
                <a:noFill/>
              </a:ln>
            </p:spPr>
            <p:txBody>
              <a:bodyPr wrap="square" rtlCol="0">
                <a:spAutoFit/>
              </a:bodyPr>
              <a:lstStyle/>
              <a:p>
                <a:pPr algn="ctr"/>
                <a:r>
                  <a:rPr lang="en-US" sz="1400" b="1" dirty="0" err="1"/>
                  <a:t>Europ</a:t>
                </a:r>
                <a:r>
                  <a:rPr lang="pl-PL" sz="1400" b="1" dirty="0"/>
                  <a:t>a</a:t>
                </a:r>
                <a:endParaRPr lang="en-US" sz="1400" b="1" dirty="0"/>
              </a:p>
            </p:txBody>
          </p:sp>
          <p:sp>
            <p:nvSpPr>
              <p:cNvPr id="460" name="ZoneTexte 215">
                <a:extLst>
                  <a:ext uri="{FF2B5EF4-FFF2-40B4-BE49-F238E27FC236}">
                    <a16:creationId xmlns:a16="http://schemas.microsoft.com/office/drawing/2014/main" id="{25B1C396-96DA-0947-B20C-D873265CE829}"/>
                  </a:ext>
                </a:extLst>
              </p:cNvPr>
              <p:cNvSpPr txBox="1"/>
              <p:nvPr/>
            </p:nvSpPr>
            <p:spPr>
              <a:xfrm>
                <a:off x="5702818" y="971668"/>
                <a:ext cx="1132239" cy="307777"/>
              </a:xfrm>
              <a:prstGeom prst="rect">
                <a:avLst/>
              </a:prstGeom>
              <a:noFill/>
              <a:ln>
                <a:noFill/>
              </a:ln>
            </p:spPr>
            <p:txBody>
              <a:bodyPr wrap="square" rtlCol="0">
                <a:spAutoFit/>
              </a:bodyPr>
              <a:lstStyle/>
              <a:p>
                <a:pPr algn="ctr"/>
                <a:r>
                  <a:rPr lang="pl-PL" sz="1400" dirty="0"/>
                  <a:t>~</a:t>
                </a:r>
                <a:r>
                  <a:rPr lang="en-US" sz="1400" dirty="0"/>
                  <a:t>6</a:t>
                </a:r>
                <a:r>
                  <a:rPr lang="pl-PL" sz="1400" dirty="0"/>
                  <a:t>4,400</a:t>
                </a:r>
                <a:endParaRPr lang="en-US" sz="1400" dirty="0"/>
              </a:p>
            </p:txBody>
          </p:sp>
          <p:sp>
            <p:nvSpPr>
              <p:cNvPr id="461" name="ZoneTexte 1562">
                <a:extLst>
                  <a:ext uri="{FF2B5EF4-FFF2-40B4-BE49-F238E27FC236}">
                    <a16:creationId xmlns:a16="http://schemas.microsoft.com/office/drawing/2014/main" id="{F1DBFBED-67D5-D243-8816-3879E6B8F7E0}"/>
                  </a:ext>
                </a:extLst>
              </p:cNvPr>
              <p:cNvSpPr txBox="1"/>
              <p:nvPr/>
            </p:nvSpPr>
            <p:spPr>
              <a:xfrm>
                <a:off x="4997391" y="3565033"/>
                <a:ext cx="2297621" cy="307777"/>
              </a:xfrm>
              <a:prstGeom prst="rect">
                <a:avLst/>
              </a:prstGeom>
              <a:noFill/>
              <a:ln>
                <a:noFill/>
              </a:ln>
            </p:spPr>
            <p:txBody>
              <a:bodyPr wrap="square" rtlCol="0">
                <a:spAutoFit/>
              </a:bodyPr>
              <a:lstStyle/>
              <a:p>
                <a:pPr algn="ctr"/>
                <a:r>
                  <a:rPr lang="pl-PL" sz="1400" b="1" dirty="0"/>
                  <a:t>Bliski Wschód</a:t>
                </a:r>
                <a:endParaRPr lang="en-US" sz="1400" b="1" dirty="0"/>
              </a:p>
            </p:txBody>
          </p:sp>
          <p:sp>
            <p:nvSpPr>
              <p:cNvPr id="462" name="ZoneTexte 216">
                <a:extLst>
                  <a:ext uri="{FF2B5EF4-FFF2-40B4-BE49-F238E27FC236}">
                    <a16:creationId xmlns:a16="http://schemas.microsoft.com/office/drawing/2014/main" id="{12D76595-DC87-154B-885D-4BCC55C86733}"/>
                  </a:ext>
                </a:extLst>
              </p:cNvPr>
              <p:cNvSpPr txBox="1"/>
              <p:nvPr/>
            </p:nvSpPr>
            <p:spPr>
              <a:xfrm>
                <a:off x="5553797" y="3268812"/>
                <a:ext cx="816804" cy="307777"/>
              </a:xfrm>
              <a:prstGeom prst="rect">
                <a:avLst/>
              </a:prstGeom>
              <a:noFill/>
              <a:ln>
                <a:noFill/>
              </a:ln>
            </p:spPr>
            <p:txBody>
              <a:bodyPr wrap="square" rtlCol="0">
                <a:spAutoFit/>
              </a:bodyPr>
              <a:lstStyle/>
              <a:p>
                <a:pPr algn="ctr"/>
                <a:r>
                  <a:rPr lang="pl-PL" sz="1400" dirty="0"/>
                  <a:t>~ 95</a:t>
                </a:r>
                <a:endParaRPr lang="en-US" sz="1400" dirty="0"/>
              </a:p>
            </p:txBody>
          </p:sp>
          <p:sp>
            <p:nvSpPr>
              <p:cNvPr id="463" name="ZoneTexte 217">
                <a:extLst>
                  <a:ext uri="{FF2B5EF4-FFF2-40B4-BE49-F238E27FC236}">
                    <a16:creationId xmlns:a16="http://schemas.microsoft.com/office/drawing/2014/main" id="{AD692977-3E42-744D-A099-AD9FAD510740}"/>
                  </a:ext>
                </a:extLst>
              </p:cNvPr>
              <p:cNvSpPr txBox="1"/>
              <p:nvPr/>
            </p:nvSpPr>
            <p:spPr>
              <a:xfrm>
                <a:off x="8578981" y="2620461"/>
                <a:ext cx="1018502" cy="307777"/>
              </a:xfrm>
              <a:prstGeom prst="rect">
                <a:avLst/>
              </a:prstGeom>
              <a:noFill/>
              <a:ln>
                <a:noFill/>
              </a:ln>
            </p:spPr>
            <p:txBody>
              <a:bodyPr wrap="square" rtlCol="0">
                <a:spAutoFit/>
              </a:bodyPr>
              <a:lstStyle/>
              <a:p>
                <a:pPr algn="ctr"/>
                <a:r>
                  <a:rPr lang="pl-PL" sz="1400" dirty="0"/>
                  <a:t>~5,060</a:t>
                </a:r>
                <a:endParaRPr lang="en-US" sz="1400" dirty="0"/>
              </a:p>
            </p:txBody>
          </p:sp>
          <p:sp>
            <p:nvSpPr>
              <p:cNvPr id="464" name="ZoneTexte 1563">
                <a:extLst>
                  <a:ext uri="{FF2B5EF4-FFF2-40B4-BE49-F238E27FC236}">
                    <a16:creationId xmlns:a16="http://schemas.microsoft.com/office/drawing/2014/main" id="{25EFE89C-CF1C-0C43-8D89-C5535D0DF4D1}"/>
                  </a:ext>
                </a:extLst>
              </p:cNvPr>
              <p:cNvSpPr txBox="1"/>
              <p:nvPr/>
            </p:nvSpPr>
            <p:spPr>
              <a:xfrm>
                <a:off x="6984596" y="2962687"/>
                <a:ext cx="758465" cy="307777"/>
              </a:xfrm>
              <a:prstGeom prst="rect">
                <a:avLst/>
              </a:prstGeom>
              <a:noFill/>
              <a:ln>
                <a:noFill/>
              </a:ln>
            </p:spPr>
            <p:txBody>
              <a:bodyPr wrap="square" rtlCol="0">
                <a:spAutoFit/>
              </a:bodyPr>
              <a:lstStyle/>
              <a:p>
                <a:pPr algn="ctr"/>
                <a:r>
                  <a:rPr lang="pl-PL" sz="1400" b="1" dirty="0"/>
                  <a:t>Indie</a:t>
                </a:r>
                <a:endParaRPr lang="en-US" sz="1400" b="1" dirty="0"/>
              </a:p>
            </p:txBody>
          </p:sp>
          <p:sp>
            <p:nvSpPr>
              <p:cNvPr id="465" name="ZoneTexte 217">
                <a:extLst>
                  <a:ext uri="{FF2B5EF4-FFF2-40B4-BE49-F238E27FC236}">
                    <a16:creationId xmlns:a16="http://schemas.microsoft.com/office/drawing/2014/main" id="{DB7B1698-BA96-844F-B9D7-46A3111386CD}"/>
                  </a:ext>
                </a:extLst>
              </p:cNvPr>
              <p:cNvSpPr txBox="1"/>
              <p:nvPr/>
            </p:nvSpPr>
            <p:spPr>
              <a:xfrm>
                <a:off x="6762861" y="3203668"/>
                <a:ext cx="1054029" cy="307777"/>
              </a:xfrm>
              <a:prstGeom prst="rect">
                <a:avLst/>
              </a:prstGeom>
              <a:noFill/>
              <a:ln>
                <a:noFill/>
              </a:ln>
            </p:spPr>
            <p:txBody>
              <a:bodyPr wrap="square" rtlCol="0">
                <a:spAutoFit/>
              </a:bodyPr>
              <a:lstStyle/>
              <a:p>
                <a:pPr algn="ctr"/>
                <a:r>
                  <a:rPr lang="pl-PL" sz="1400" dirty="0"/>
                  <a:t>~96,680</a:t>
                </a:r>
                <a:endParaRPr lang="en-US" sz="1400" dirty="0"/>
              </a:p>
            </p:txBody>
          </p:sp>
        </p:grpSp>
      </p:grpSp>
    </p:spTree>
    <p:extLst>
      <p:ext uri="{BB962C8B-B14F-4D97-AF65-F5344CB8AC3E}">
        <p14:creationId xmlns:p14="http://schemas.microsoft.com/office/powerpoint/2010/main" val="121305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20">
            <a:extLst>
              <a:ext uri="{FF2B5EF4-FFF2-40B4-BE49-F238E27FC236}">
                <a16:creationId xmlns:a16="http://schemas.microsoft.com/office/drawing/2014/main" id="{B7FCA49D-790E-2543-AB7B-8A5BA465A0AE}"/>
              </a:ext>
            </a:extLst>
          </p:cNvPr>
          <p:cNvSpPr/>
          <p:nvPr/>
        </p:nvSpPr>
        <p:spPr>
          <a:xfrm>
            <a:off x="4181751" y="1629000"/>
            <a:ext cx="1714858" cy="162025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2" name="Oval 20">
            <a:extLst>
              <a:ext uri="{FF2B5EF4-FFF2-40B4-BE49-F238E27FC236}">
                <a16:creationId xmlns:a16="http://schemas.microsoft.com/office/drawing/2014/main" id="{71F9681F-5E76-E24C-BE2C-B0EEDD101AB1}"/>
              </a:ext>
            </a:extLst>
          </p:cNvPr>
          <p:cNvSpPr/>
          <p:nvPr/>
        </p:nvSpPr>
        <p:spPr>
          <a:xfrm>
            <a:off x="768000" y="1713489"/>
            <a:ext cx="1652685" cy="1561514"/>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8" name="Espace réservé du contenu 2">
            <a:extLst>
              <a:ext uri="{FF2B5EF4-FFF2-40B4-BE49-F238E27FC236}">
                <a16:creationId xmlns:a16="http://schemas.microsoft.com/office/drawing/2014/main" id="{66277C54-977F-4D19-97E3-D6591F098DC6}"/>
              </a:ext>
            </a:extLst>
          </p:cNvPr>
          <p:cNvSpPr txBox="1">
            <a:spLocks/>
          </p:cNvSpPr>
          <p:nvPr/>
        </p:nvSpPr>
        <p:spPr>
          <a:xfrm>
            <a:off x="927168" y="3730787"/>
            <a:ext cx="2867703" cy="2077828"/>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marL="180000" indent="-180000">
              <a:lnSpc>
                <a:spcPct val="100000"/>
              </a:lnSpc>
              <a:spcBef>
                <a:spcPts val="300"/>
              </a:spcBef>
              <a:spcAft>
                <a:spcPts val="300"/>
              </a:spcAft>
              <a:buClr>
                <a:schemeClr val="accent1"/>
              </a:buClr>
              <a:buFont typeface="Arial" panose="020B0604020202020204" pitchFamily="34" charset="0"/>
              <a:buChar char="•"/>
              <a:defRPr/>
            </a:pPr>
            <a:r>
              <a:rPr lang="en-US" sz="1200" dirty="0">
                <a:solidFill>
                  <a:schemeClr val="tx1"/>
                </a:solidFill>
                <a:cs typeface="Arial" panose="020B0604020202020204" pitchFamily="34" charset="0"/>
              </a:rPr>
              <a:t>~</a:t>
            </a:r>
            <a:r>
              <a:rPr lang="en-US" sz="1200" b="1" dirty="0">
                <a:solidFill>
                  <a:schemeClr val="tx1"/>
                </a:solidFill>
                <a:cs typeface="Arial" panose="020B0604020202020204" pitchFamily="34" charset="0"/>
              </a:rPr>
              <a:t>6</a:t>
            </a:r>
            <a:r>
              <a:rPr lang="pl-PL" sz="1200" b="1" dirty="0">
                <a:solidFill>
                  <a:schemeClr val="tx1"/>
                </a:solidFill>
                <a:cs typeface="Arial" panose="020B0604020202020204" pitchFamily="34" charset="0"/>
              </a:rPr>
              <a:t>5</a:t>
            </a:r>
            <a:r>
              <a:rPr lang="en-US" sz="1200" b="1" dirty="0">
                <a:solidFill>
                  <a:schemeClr val="tx1"/>
                </a:solidFill>
                <a:cs typeface="Arial" panose="020B0604020202020204" pitchFamily="34" charset="0"/>
              </a:rPr>
              <a:t>00 </a:t>
            </a:r>
            <a:r>
              <a:rPr lang="en-US" sz="1200" dirty="0">
                <a:solidFill>
                  <a:schemeClr val="tx1"/>
                </a:solidFill>
                <a:cs typeface="Arial" panose="020B0604020202020204" pitchFamily="34" charset="0"/>
              </a:rPr>
              <a:t>pracowników</a:t>
            </a:r>
          </a:p>
          <a:p>
            <a:pPr marL="180000" indent="-180000">
              <a:lnSpc>
                <a:spcPct val="100000"/>
              </a:lnSpc>
              <a:spcBef>
                <a:spcPts val="300"/>
              </a:spcBef>
              <a:spcAft>
                <a:spcPts val="300"/>
              </a:spcAft>
              <a:buClr>
                <a:schemeClr val="accent1"/>
              </a:buClr>
              <a:buFont typeface="Arial" panose="020B0604020202020204" pitchFamily="34" charset="0"/>
              <a:buChar char="•"/>
              <a:defRPr/>
            </a:pPr>
            <a:r>
              <a:rPr lang="en-US" sz="1200" dirty="0">
                <a:solidFill>
                  <a:schemeClr val="tx1"/>
                </a:solidFill>
                <a:cs typeface="Arial" panose="020B0604020202020204" pitchFamily="34" charset="0"/>
              </a:rPr>
              <a:t>W Polsce od 1996 roku,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w Krakowie od 2003 roku</a:t>
            </a:r>
          </a:p>
          <a:p>
            <a:pPr marL="180000" indent="-180000">
              <a:lnSpc>
                <a:spcPct val="100000"/>
              </a:lnSpc>
              <a:spcBef>
                <a:spcPts val="300"/>
              </a:spcBef>
              <a:spcAft>
                <a:spcPts val="300"/>
              </a:spcAft>
              <a:buClr>
                <a:schemeClr val="accent1"/>
              </a:buClr>
              <a:buFont typeface="Arial" panose="020B0604020202020204" pitchFamily="34" charset="0"/>
              <a:buChar char="•"/>
              <a:defRPr/>
            </a:pPr>
            <a:r>
              <a:rPr lang="en-US" sz="1200" b="1" dirty="0">
                <a:solidFill>
                  <a:schemeClr val="tx1"/>
                </a:solidFill>
                <a:cs typeface="Arial" panose="020B0604020202020204" pitchFamily="34" charset="0"/>
              </a:rPr>
              <a:t>Cloud Infrastructure Services </a:t>
            </a:r>
            <a:r>
              <a:rPr lang="en-US" sz="1200" dirty="0">
                <a:solidFill>
                  <a:schemeClr val="tx1"/>
                </a:solidFill>
                <a:cs typeface="Arial" panose="020B0604020202020204" pitchFamily="34" charset="0"/>
              </a:rPr>
              <a:t>~2</a:t>
            </a:r>
            <a:r>
              <a:rPr lang="pl-PL" sz="1200" dirty="0">
                <a:solidFill>
                  <a:schemeClr val="tx1"/>
                </a:solidFill>
                <a:cs typeface="Arial" panose="020B0604020202020204" pitchFamily="34" charset="0"/>
              </a:rPr>
              <a:t>3</a:t>
            </a:r>
            <a:r>
              <a:rPr lang="en-US" sz="1200" dirty="0">
                <a:solidFill>
                  <a:schemeClr val="tx1"/>
                </a:solidFill>
                <a:cs typeface="Arial" panose="020B0604020202020204" pitchFamily="34" charset="0"/>
              </a:rPr>
              <a:t>00 pracowników</a:t>
            </a:r>
          </a:p>
          <a:p>
            <a:pPr marL="180000" indent="-180000">
              <a:lnSpc>
                <a:spcPct val="100000"/>
              </a:lnSpc>
              <a:spcBef>
                <a:spcPts val="300"/>
              </a:spcBef>
              <a:spcAft>
                <a:spcPts val="300"/>
              </a:spcAft>
              <a:buClr>
                <a:schemeClr val="accent1"/>
              </a:buClr>
              <a:buFont typeface="Arial" panose="020B0604020202020204" pitchFamily="34" charset="0"/>
              <a:buChar char="•"/>
              <a:defRPr/>
            </a:pPr>
            <a:r>
              <a:rPr lang="en-US" sz="1200" b="1" dirty="0">
                <a:solidFill>
                  <a:schemeClr val="tx1"/>
                </a:solidFill>
                <a:cs typeface="Arial" panose="020B0604020202020204" pitchFamily="34" charset="0"/>
              </a:rPr>
              <a:t>Business Services ~4</a:t>
            </a:r>
            <a:r>
              <a:rPr lang="pl-PL" sz="1200" b="1" dirty="0">
                <a:solidFill>
                  <a:schemeClr val="tx1"/>
                </a:solidFill>
                <a:cs typeface="Arial" panose="020B0604020202020204" pitchFamily="34" charset="0"/>
              </a:rPr>
              <a:t>2</a:t>
            </a:r>
            <a:r>
              <a:rPr lang="en-US" sz="1200" b="1" dirty="0">
                <a:solidFill>
                  <a:schemeClr val="tx1"/>
                </a:solidFill>
                <a:cs typeface="Arial" panose="020B0604020202020204" pitchFamily="34" charset="0"/>
              </a:rPr>
              <a:t>00 pracowników</a:t>
            </a:r>
          </a:p>
          <a:p>
            <a:pPr marL="180000" indent="-180000">
              <a:lnSpc>
                <a:spcPct val="100000"/>
              </a:lnSpc>
              <a:spcBef>
                <a:spcPts val="300"/>
              </a:spcBef>
              <a:spcAft>
                <a:spcPts val="300"/>
              </a:spcAft>
              <a:buClr>
                <a:schemeClr val="accent1"/>
              </a:buClr>
              <a:buFont typeface="Arial" panose="020B0604020202020204" pitchFamily="34" charset="0"/>
              <a:buChar char="•"/>
              <a:defRPr/>
            </a:pPr>
            <a:endParaRPr lang="en-US" sz="1400" dirty="0">
              <a:solidFill>
                <a:schemeClr val="tx1"/>
              </a:solidFill>
              <a:cs typeface="Arial" panose="020B0604020202020204" pitchFamily="34" charset="0"/>
            </a:endParaRPr>
          </a:p>
        </p:txBody>
      </p:sp>
      <p:sp>
        <p:nvSpPr>
          <p:cNvPr id="20" name="Espace réservé du contenu 2">
            <a:extLst>
              <a:ext uri="{FF2B5EF4-FFF2-40B4-BE49-F238E27FC236}">
                <a16:creationId xmlns:a16="http://schemas.microsoft.com/office/drawing/2014/main" id="{66277C54-977F-4D19-97E3-D6591F098DC6}"/>
              </a:ext>
            </a:extLst>
          </p:cNvPr>
          <p:cNvSpPr txBox="1">
            <a:spLocks/>
          </p:cNvSpPr>
          <p:nvPr/>
        </p:nvSpPr>
        <p:spPr>
          <a:xfrm>
            <a:off x="4444168" y="3730787"/>
            <a:ext cx="2333186" cy="1357828"/>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marL="180000" indent="-180000">
              <a:lnSpc>
                <a:spcPct val="100000"/>
              </a:lnSpc>
              <a:spcBef>
                <a:spcPts val="300"/>
              </a:spcBef>
              <a:spcAft>
                <a:spcPts val="300"/>
              </a:spcAft>
              <a:buClr>
                <a:schemeClr val="accent1"/>
              </a:buClr>
              <a:buFont typeface="Arial" panose="020B0604020202020204" pitchFamily="34" charset="0"/>
              <a:buChar char="•"/>
              <a:defRPr/>
            </a:pPr>
            <a:r>
              <a:rPr lang="en-US" sz="1200" dirty="0">
                <a:solidFill>
                  <a:schemeClr val="tx1"/>
                </a:solidFill>
                <a:cs typeface="Arial" panose="020B0604020202020204" pitchFamily="34" charset="0"/>
              </a:rPr>
              <a:t>~</a:t>
            </a:r>
            <a:r>
              <a:rPr lang="en-US" sz="1200" b="1" dirty="0">
                <a:solidFill>
                  <a:schemeClr val="tx1"/>
                </a:solidFill>
                <a:cs typeface="Arial" panose="020B0604020202020204" pitchFamily="34" charset="0"/>
              </a:rPr>
              <a:t>100</a:t>
            </a:r>
            <a:r>
              <a:rPr lang="en-US" sz="1200" dirty="0">
                <a:solidFill>
                  <a:schemeClr val="tx1"/>
                </a:solidFill>
                <a:cs typeface="Arial" panose="020B0604020202020204" pitchFamily="34" charset="0"/>
              </a:rPr>
              <a:t> pracowników</a:t>
            </a:r>
          </a:p>
          <a:p>
            <a:pPr marL="180000" indent="-180000">
              <a:lnSpc>
                <a:spcPct val="100000"/>
              </a:lnSpc>
              <a:spcBef>
                <a:spcPts val="300"/>
              </a:spcBef>
              <a:spcAft>
                <a:spcPts val="300"/>
              </a:spcAft>
              <a:buClr>
                <a:schemeClr val="accent1"/>
              </a:buClr>
              <a:buFont typeface="Arial" panose="020B0604020202020204" pitchFamily="34" charset="0"/>
              <a:buChar char="•"/>
              <a:defRPr/>
            </a:pPr>
            <a:r>
              <a:rPr lang="en-US" sz="1200" b="1" dirty="0">
                <a:solidFill>
                  <a:schemeClr val="tx1"/>
                </a:solidFill>
                <a:cs typeface="Arial" panose="020B0604020202020204" pitchFamily="34" charset="0"/>
              </a:rPr>
              <a:t>Application Services </a:t>
            </a:r>
            <a:r>
              <a:rPr lang="en-US" sz="1200" dirty="0">
                <a:solidFill>
                  <a:schemeClr val="tx1"/>
                </a:solidFill>
                <a:cs typeface="Arial" panose="020B0604020202020204" pitchFamily="34" charset="0"/>
              </a:rPr>
              <a:t>(Apps Two</a:t>
            </a:r>
            <a:r>
              <a:rPr lang="pl-PL" sz="1200" dirty="0">
                <a:solidFill>
                  <a:schemeClr val="tx1"/>
                </a:solidFill>
                <a:cs typeface="Arial" panose="020B0604020202020204" pitchFamily="34" charset="0"/>
              </a:rPr>
              <a:t>)</a:t>
            </a:r>
            <a:endParaRPr lang="en-US" sz="1200" dirty="0">
              <a:solidFill>
                <a:schemeClr val="tx1"/>
              </a:solidFill>
              <a:cs typeface="Arial" panose="020B0604020202020204" pitchFamily="34" charset="0"/>
            </a:endParaRPr>
          </a:p>
        </p:txBody>
      </p:sp>
      <p:sp>
        <p:nvSpPr>
          <p:cNvPr id="16" name="Freeform 9">
            <a:extLst>
              <a:ext uri="{FF2B5EF4-FFF2-40B4-BE49-F238E27FC236}">
                <a16:creationId xmlns:a16="http://schemas.microsoft.com/office/drawing/2014/main" id="{F636B1F3-4795-4E4F-9C5D-FFDEC79B33DE}"/>
              </a:ext>
            </a:extLst>
          </p:cNvPr>
          <p:cNvSpPr>
            <a:spLocks/>
          </p:cNvSpPr>
          <p:nvPr/>
        </p:nvSpPr>
        <p:spPr bwMode="auto">
          <a:xfrm flipH="1" flipV="1">
            <a:off x="8361098" y="4345569"/>
            <a:ext cx="3830900" cy="2512431"/>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Oval 20">
            <a:extLst>
              <a:ext uri="{FF2B5EF4-FFF2-40B4-BE49-F238E27FC236}">
                <a16:creationId xmlns:a16="http://schemas.microsoft.com/office/drawing/2014/main" id="{FE24B8B3-FF8F-2346-8D22-B53C9878D323}"/>
              </a:ext>
            </a:extLst>
          </p:cNvPr>
          <p:cNvSpPr/>
          <p:nvPr/>
        </p:nvSpPr>
        <p:spPr>
          <a:xfrm>
            <a:off x="7604743" y="1721990"/>
            <a:ext cx="1635316" cy="154510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FF83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grpSp>
        <p:nvGrpSpPr>
          <p:cNvPr id="22" name="Group 21"/>
          <p:cNvGrpSpPr/>
          <p:nvPr/>
        </p:nvGrpSpPr>
        <p:grpSpPr>
          <a:xfrm>
            <a:off x="798088" y="1269000"/>
            <a:ext cx="9731207" cy="1905016"/>
            <a:chOff x="798088" y="1269000"/>
            <a:chExt cx="9731207" cy="1905016"/>
          </a:xfrm>
        </p:grpSpPr>
        <p:pic>
          <p:nvPicPr>
            <p:cNvPr id="19" name="Picture 4"/>
            <p:cNvPicPr>
              <a:picLocks noChangeArrowheads="1"/>
            </p:cNvPicPr>
            <p:nvPr/>
          </p:nvPicPr>
          <p:blipFill rotWithShape="1">
            <a:blip r:embed="rId3" cstate="print"/>
            <a:srcRect l="10714" r="14293"/>
            <a:stretch/>
          </p:blipFill>
          <p:spPr bwMode="auto">
            <a:xfrm>
              <a:off x="798088" y="1734016"/>
              <a:ext cx="1440000" cy="1440000"/>
            </a:xfrm>
            <a:prstGeom prst="ellipse">
              <a:avLst/>
            </a:prstGeom>
            <a:noFill/>
            <a:ln>
              <a:noFill/>
            </a:ln>
          </p:spPr>
        </p:pic>
        <p:sp>
          <p:nvSpPr>
            <p:cNvPr id="6" name="Oval 20">
              <a:extLst>
                <a:ext uri="{FF2B5EF4-FFF2-40B4-BE49-F238E27FC236}">
                  <a16:creationId xmlns:a16="http://schemas.microsoft.com/office/drawing/2014/main" id="{E6220067-AF62-4783-BEAC-D404D1C147A2}"/>
                </a:ext>
              </a:extLst>
            </p:cNvPr>
            <p:cNvSpPr/>
            <p:nvPr/>
          </p:nvSpPr>
          <p:spPr>
            <a:xfrm>
              <a:off x="1677332" y="1269000"/>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t>Kraków, Katowice, Opole, Lublin</a:t>
              </a:r>
              <a:endParaRPr lang="pt-PT" dirty="0"/>
            </a:p>
          </p:txBody>
        </p:sp>
        <p:pic>
          <p:nvPicPr>
            <p:cNvPr id="18" name="Picture 3"/>
            <p:cNvPicPr>
              <a:picLocks noChangeArrowheads="1"/>
            </p:cNvPicPr>
            <p:nvPr/>
          </p:nvPicPr>
          <p:blipFill rotWithShape="1">
            <a:blip r:embed="rId4" cstate="print"/>
            <a:srcRect l="11925" r="13823"/>
            <a:stretch/>
          </p:blipFill>
          <p:spPr bwMode="auto">
            <a:xfrm>
              <a:off x="4267921" y="1734016"/>
              <a:ext cx="1440000" cy="1440000"/>
            </a:xfrm>
            <a:prstGeom prst="ellipse">
              <a:avLst/>
            </a:prstGeom>
            <a:noFill/>
            <a:ln>
              <a:noFill/>
            </a:ln>
          </p:spPr>
        </p:pic>
        <p:sp>
          <p:nvSpPr>
            <p:cNvPr id="10" name="Oval 20">
              <a:extLst>
                <a:ext uri="{FF2B5EF4-FFF2-40B4-BE49-F238E27FC236}">
                  <a16:creationId xmlns:a16="http://schemas.microsoft.com/office/drawing/2014/main" id="{803335D2-F16A-46BA-879D-9655FA7FE8BF}"/>
                </a:ext>
              </a:extLst>
            </p:cNvPr>
            <p:cNvSpPr/>
            <p:nvPr/>
          </p:nvSpPr>
          <p:spPr>
            <a:xfrm>
              <a:off x="5140612" y="1269000"/>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t>Warszawa</a:t>
              </a:r>
            </a:p>
          </p:txBody>
        </p:sp>
        <p:pic>
          <p:nvPicPr>
            <p:cNvPr id="17" name="Picture 2"/>
            <p:cNvPicPr>
              <a:picLocks noChangeArrowheads="1"/>
            </p:cNvPicPr>
            <p:nvPr/>
          </p:nvPicPr>
          <p:blipFill rotWithShape="1">
            <a:blip r:embed="rId5" cstate="print"/>
            <a:srcRect l="13361" r="13361"/>
            <a:stretch/>
          </p:blipFill>
          <p:spPr bwMode="auto">
            <a:xfrm>
              <a:off x="7680000" y="1734016"/>
              <a:ext cx="1440000" cy="1440000"/>
            </a:xfrm>
            <a:prstGeom prst="ellipse">
              <a:avLst/>
            </a:prstGeom>
            <a:noFill/>
            <a:ln>
              <a:noFill/>
            </a:ln>
          </p:spPr>
        </p:pic>
        <p:sp>
          <p:nvSpPr>
            <p:cNvPr id="15" name="Oval 20">
              <a:extLst>
                <a:ext uri="{FF2B5EF4-FFF2-40B4-BE49-F238E27FC236}">
                  <a16:creationId xmlns:a16="http://schemas.microsoft.com/office/drawing/2014/main" id="{6AEC3BE0-C461-4D70-BAFB-904C49CEB9BF}"/>
                </a:ext>
              </a:extLst>
            </p:cNvPr>
            <p:cNvSpPr/>
            <p:nvPr/>
          </p:nvSpPr>
          <p:spPr>
            <a:xfrm>
              <a:off x="8603891" y="1269000"/>
              <a:ext cx="1925404" cy="1819188"/>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dirty="0"/>
                <a:t>Wrocław, Poznań</a:t>
              </a:r>
              <a:endParaRPr lang="pt-PT" dirty="0"/>
            </a:p>
          </p:txBody>
        </p:sp>
      </p:grpSp>
      <p:sp>
        <p:nvSpPr>
          <p:cNvPr id="21" name="Espace réservé du contenu 2">
            <a:extLst>
              <a:ext uri="{FF2B5EF4-FFF2-40B4-BE49-F238E27FC236}">
                <a16:creationId xmlns:a16="http://schemas.microsoft.com/office/drawing/2014/main" id="{66277C54-977F-4D19-97E3-D6591F098DC6}"/>
              </a:ext>
            </a:extLst>
          </p:cNvPr>
          <p:cNvSpPr txBox="1">
            <a:spLocks/>
          </p:cNvSpPr>
          <p:nvPr/>
        </p:nvSpPr>
        <p:spPr>
          <a:xfrm>
            <a:off x="7858308" y="3807366"/>
            <a:ext cx="2333186" cy="1357828"/>
          </a:xfrm>
        </p:spPr>
        <p:txBody>
          <a:bodyPr/>
          <a:lstStyle>
            <a:lvl1pPr marL="166239" indent="-166239" algn="l" defTabSz="914616" rtl="0" eaLnBrk="1" latinLnBrk="0" hangingPunct="1">
              <a:lnSpc>
                <a:spcPct val="90000"/>
              </a:lnSpc>
              <a:spcBef>
                <a:spcPts val="0"/>
              </a:spcBef>
              <a:spcAft>
                <a:spcPts val="600"/>
              </a:spcAft>
              <a:buClr>
                <a:schemeClr val="accent5"/>
              </a:buClr>
              <a:buFont typeface="Wingdings" pitchFamily="2" charset="2"/>
              <a:buChar char="§"/>
              <a:defRPr sz="2201" b="0" kern="1200">
                <a:solidFill>
                  <a:schemeClr val="tx2">
                    <a:lumMod val="50000"/>
                  </a:schemeClr>
                </a:solidFill>
                <a:latin typeface="+mn-lt"/>
                <a:ea typeface="+mn-ea"/>
                <a:cs typeface="+mn-cs"/>
              </a:defRPr>
            </a:lvl1pPr>
            <a:lvl2pPr marL="355707" indent="-181029" algn="l" defTabSz="914616" rtl="0" eaLnBrk="1" latinLnBrk="0" hangingPunct="1">
              <a:lnSpc>
                <a:spcPct val="90000"/>
              </a:lnSpc>
              <a:spcBef>
                <a:spcPts val="0"/>
              </a:spcBef>
              <a:spcAft>
                <a:spcPts val="600"/>
              </a:spcAft>
              <a:buClr>
                <a:schemeClr val="accent3"/>
              </a:buClr>
              <a:buFont typeface="Wingdings" pitchFamily="2" charset="2"/>
              <a:buChar char="§"/>
              <a:defRPr sz="1801" kern="1200">
                <a:solidFill>
                  <a:schemeClr val="tx2">
                    <a:lumMod val="50000"/>
                  </a:schemeClr>
                </a:solidFill>
                <a:latin typeface="+mn-lt"/>
                <a:ea typeface="+mn-ea"/>
                <a:cs typeface="+mn-cs"/>
              </a:defRPr>
            </a:lvl2pPr>
            <a:lvl3pPr marL="536736" indent="-165150" algn="l" defTabSz="914616" rtl="0" eaLnBrk="1" latinLnBrk="0" hangingPunct="1">
              <a:lnSpc>
                <a:spcPct val="90000"/>
              </a:lnSpc>
              <a:spcBef>
                <a:spcPts val="0"/>
              </a:spcBef>
              <a:spcAft>
                <a:spcPts val="600"/>
              </a:spcAft>
              <a:buClr>
                <a:schemeClr val="accent2"/>
              </a:buClr>
              <a:buFont typeface="Arial" pitchFamily="34" charset="0"/>
              <a:buChar char="•"/>
              <a:tabLst/>
              <a:defRPr sz="1600" kern="1200">
                <a:solidFill>
                  <a:schemeClr val="tx2">
                    <a:lumMod val="50000"/>
                  </a:schemeClr>
                </a:solidFill>
                <a:latin typeface="+mn-lt"/>
                <a:ea typeface="+mn-ea"/>
                <a:cs typeface="+mn-cs"/>
              </a:defRPr>
            </a:lvl3pPr>
            <a:lvl4pPr marL="711413" indent="-165150" algn="l" defTabSz="914616" rtl="0" eaLnBrk="1" latinLnBrk="0" hangingPunct="1">
              <a:lnSpc>
                <a:spcPct val="90000"/>
              </a:lnSpc>
              <a:spcBef>
                <a:spcPts val="0"/>
              </a:spcBef>
              <a:spcAft>
                <a:spcPts val="600"/>
              </a:spcAft>
              <a:buClr>
                <a:schemeClr val="bg2"/>
              </a:buClr>
              <a:buFont typeface="Arial" pitchFamily="34" charset="0"/>
              <a:buChar char="–"/>
              <a:tabLst/>
              <a:defRPr sz="1400" kern="1200">
                <a:solidFill>
                  <a:schemeClr val="tx2">
                    <a:lumMod val="50000"/>
                  </a:schemeClr>
                </a:solidFill>
                <a:latin typeface="+mn-lt"/>
                <a:ea typeface="+mn-ea"/>
                <a:cs typeface="+mn-cs"/>
              </a:defRPr>
            </a:lvl4pPr>
            <a:lvl5pPr marL="1610107" indent="-193721" algn="l" defTabSz="914616" rtl="0" eaLnBrk="1" latinLnBrk="0" hangingPunct="1">
              <a:spcBef>
                <a:spcPts val="0"/>
              </a:spcBef>
              <a:buClr>
                <a:srgbClr val="B1B1B1"/>
              </a:buClr>
              <a:buFont typeface="Arial" pitchFamily="34" charset="0"/>
              <a:buChar char="–"/>
              <a:defRPr sz="1701" kern="1200">
                <a:solidFill>
                  <a:srgbClr val="494949"/>
                </a:solidFill>
                <a:latin typeface="+mn-lt"/>
                <a:ea typeface="+mn-ea"/>
                <a:cs typeface="+mn-cs"/>
              </a:defRPr>
            </a:lvl5pPr>
            <a:lvl6pPr marL="2515195"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2972503"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29812"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887120" indent="-228655" algn="l" defTabSz="914616"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marL="180000" indent="-180000">
              <a:lnSpc>
                <a:spcPct val="100000"/>
              </a:lnSpc>
              <a:spcBef>
                <a:spcPts val="300"/>
              </a:spcBef>
              <a:spcAft>
                <a:spcPts val="300"/>
              </a:spcAft>
              <a:buClr>
                <a:schemeClr val="accent1"/>
              </a:buClr>
              <a:buFont typeface="Arial" panose="020B0604020202020204" pitchFamily="34" charset="0"/>
              <a:buChar char="•"/>
              <a:defRPr/>
            </a:pPr>
            <a:r>
              <a:rPr lang="en-US" sz="1200" dirty="0">
                <a:solidFill>
                  <a:schemeClr val="tx1"/>
                </a:solidFill>
                <a:cs typeface="Arial" panose="020B0604020202020204" pitchFamily="34" charset="0"/>
              </a:rPr>
              <a:t>~</a:t>
            </a:r>
            <a:r>
              <a:rPr lang="pl-PL" sz="1200" b="1" dirty="0">
                <a:solidFill>
                  <a:schemeClr val="tx1"/>
                </a:solidFill>
                <a:cs typeface="Arial" panose="020B0604020202020204" pitchFamily="34" charset="0"/>
              </a:rPr>
              <a:t>1900</a:t>
            </a:r>
            <a:r>
              <a:rPr lang="en-US" sz="1200" dirty="0">
                <a:solidFill>
                  <a:schemeClr val="tx1"/>
                </a:solidFill>
                <a:cs typeface="Arial" panose="020B0604020202020204" pitchFamily="34" charset="0"/>
              </a:rPr>
              <a:t> pracowników</a:t>
            </a:r>
          </a:p>
          <a:p>
            <a:pPr marL="180000" indent="-180000">
              <a:lnSpc>
                <a:spcPct val="100000"/>
              </a:lnSpc>
              <a:spcBef>
                <a:spcPts val="300"/>
              </a:spcBef>
              <a:spcAft>
                <a:spcPts val="300"/>
              </a:spcAft>
              <a:buClr>
                <a:schemeClr val="accent1"/>
              </a:buClr>
              <a:buFont typeface="Arial" panose="020B0604020202020204" pitchFamily="34" charset="0"/>
              <a:buChar char="•"/>
              <a:defRPr/>
            </a:pPr>
            <a:r>
              <a:rPr lang="en-US" sz="1200" b="1" dirty="0">
                <a:solidFill>
                  <a:schemeClr val="tx1"/>
                </a:solidFill>
                <a:cs typeface="Arial" panose="020B0604020202020204" pitchFamily="34" charset="0"/>
              </a:rPr>
              <a:t>Software Solutions Center</a:t>
            </a:r>
          </a:p>
        </p:txBody>
      </p:sp>
      <p:cxnSp>
        <p:nvCxnSpPr>
          <p:cNvPr id="32" name="Straight Connector 31">
            <a:extLst>
              <a:ext uri="{FF2B5EF4-FFF2-40B4-BE49-F238E27FC236}">
                <a16:creationId xmlns:a16="http://schemas.microsoft.com/office/drawing/2014/main" id="{88FA16F4-EFA0-AC42-9FCE-73AEB56FE30F}"/>
              </a:ext>
            </a:extLst>
          </p:cNvPr>
          <p:cNvCxnSpPr>
            <a:cxnSpLocks/>
          </p:cNvCxnSpPr>
          <p:nvPr/>
        </p:nvCxnSpPr>
        <p:spPr>
          <a:xfrm>
            <a:off x="3936000" y="2951400"/>
            <a:ext cx="0" cy="2520000"/>
          </a:xfrm>
          <a:prstGeom prst="line">
            <a:avLst/>
          </a:prstGeom>
          <a:ln w="381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DE8913C-D108-1241-B391-7363BD8ABEE9}"/>
              </a:ext>
            </a:extLst>
          </p:cNvPr>
          <p:cNvCxnSpPr>
            <a:cxnSpLocks/>
          </p:cNvCxnSpPr>
          <p:nvPr/>
        </p:nvCxnSpPr>
        <p:spPr>
          <a:xfrm>
            <a:off x="7392878" y="2951400"/>
            <a:ext cx="0" cy="2520000"/>
          </a:xfrm>
          <a:prstGeom prst="line">
            <a:avLst/>
          </a:prstGeom>
          <a:ln w="381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6" name="Title 35">
            <a:extLst>
              <a:ext uri="{FF2B5EF4-FFF2-40B4-BE49-F238E27FC236}">
                <a16:creationId xmlns:a16="http://schemas.microsoft.com/office/drawing/2014/main" id="{7BDBD92B-C410-824F-AB28-54F1819D6E99}"/>
              </a:ext>
            </a:extLst>
          </p:cNvPr>
          <p:cNvSpPr>
            <a:spLocks noGrp="1"/>
          </p:cNvSpPr>
          <p:nvPr>
            <p:ph type="title"/>
          </p:nvPr>
        </p:nvSpPr>
        <p:spPr>
          <a:xfrm>
            <a:off x="227349" y="164100"/>
            <a:ext cx="11125236" cy="1104900"/>
          </a:xfrm>
        </p:spPr>
        <p:txBody>
          <a:bodyPr/>
          <a:lstStyle/>
          <a:p>
            <a:r>
              <a:rPr lang="pl-PL" sz="4000" b="1" dirty="0"/>
              <a:t>Capgemini w Polsce</a:t>
            </a:r>
            <a:br>
              <a:rPr lang="en-US" sz="3200" dirty="0">
                <a:solidFill>
                  <a:schemeClr val="tx1"/>
                </a:solidFill>
                <a:cs typeface="Arial" panose="020B0604020202020204" pitchFamily="34" charset="0"/>
              </a:rPr>
            </a:br>
            <a:r>
              <a:rPr lang="pl-PL" b="1" dirty="0"/>
              <a:t>  </a:t>
            </a:r>
          </a:p>
        </p:txBody>
      </p:sp>
      <p:sp>
        <p:nvSpPr>
          <p:cNvPr id="2" name="Rectangle 1"/>
          <p:cNvSpPr/>
          <p:nvPr/>
        </p:nvSpPr>
        <p:spPr>
          <a:xfrm>
            <a:off x="1128000" y="5952930"/>
            <a:ext cx="3507435" cy="369332"/>
          </a:xfrm>
          <a:prstGeom prst="rect">
            <a:avLst/>
          </a:prstGeom>
        </p:spPr>
        <p:txBody>
          <a:bodyPr wrap="none">
            <a:spAutoFit/>
          </a:bodyPr>
          <a:lstStyle/>
          <a:p>
            <a:r>
              <a:rPr lang="pl-PL" dirty="0">
                <a:cs typeface="Arial" panose="020B0604020202020204" pitchFamily="34" charset="0"/>
              </a:rPr>
              <a:t>Razem: </a:t>
            </a:r>
            <a:r>
              <a:rPr lang="en-US" dirty="0">
                <a:cs typeface="Arial" panose="020B0604020202020204" pitchFamily="34" charset="0"/>
              </a:rPr>
              <a:t>~</a:t>
            </a:r>
            <a:r>
              <a:rPr lang="pl-PL" dirty="0">
                <a:cs typeface="Arial" panose="020B0604020202020204" pitchFamily="34" charset="0"/>
              </a:rPr>
              <a:t>86</a:t>
            </a:r>
            <a:r>
              <a:rPr lang="en-US" dirty="0">
                <a:cs typeface="Arial" panose="020B0604020202020204" pitchFamily="34" charset="0"/>
              </a:rPr>
              <a:t>00 </a:t>
            </a:r>
            <a:r>
              <a:rPr lang="en-US" dirty="0" err="1">
                <a:cs typeface="Arial" panose="020B0604020202020204" pitchFamily="34" charset="0"/>
              </a:rPr>
              <a:t>pracowników</a:t>
            </a:r>
            <a:endParaRPr lang="pl-PL" dirty="0"/>
          </a:p>
        </p:txBody>
      </p:sp>
    </p:spTree>
    <p:extLst>
      <p:ext uri="{BB962C8B-B14F-4D97-AF65-F5344CB8AC3E}">
        <p14:creationId xmlns:p14="http://schemas.microsoft.com/office/powerpoint/2010/main" val="276974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cstate="print"/>
          <a:srcRect/>
          <a:stretch>
            <a:fillRect/>
          </a:stretch>
        </p:blipFill>
        <p:spPr bwMode="auto">
          <a:xfrm>
            <a:off x="1055440" y="44624"/>
            <a:ext cx="10074689" cy="6740845"/>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AFBB8454-4277-4F7C-81A2-0F5278995D21}"/>
              </a:ext>
            </a:extLst>
          </p:cNvPr>
          <p:cNvSpPr txBox="1"/>
          <p:nvPr/>
        </p:nvSpPr>
        <p:spPr>
          <a:xfrm>
            <a:off x="2063552" y="4437112"/>
            <a:ext cx="705626" cy="523220"/>
          </a:xfrm>
          <a:prstGeom prst="rect">
            <a:avLst/>
          </a:prstGeom>
          <a:solidFill>
            <a:schemeClr val="bg1"/>
          </a:solidFill>
        </p:spPr>
        <p:txBody>
          <a:bodyPr wrap="square" rtlCol="0">
            <a:spAutoFit/>
          </a:bodyPr>
          <a:lstStyle/>
          <a:p>
            <a:r>
              <a:rPr lang="pl-PL" sz="1200" dirty="0">
                <a:solidFill>
                  <a:srgbClr val="B40C54"/>
                </a:solidFill>
              </a:rPr>
              <a:t>+</a:t>
            </a:r>
            <a:r>
              <a:rPr lang="pl-PL" sz="2800" dirty="0">
                <a:solidFill>
                  <a:srgbClr val="B40C54"/>
                </a:solidFill>
              </a:rPr>
              <a:t>9</a:t>
            </a:r>
            <a:r>
              <a:rPr lang="pl-PL" dirty="0">
                <a:solidFill>
                  <a:srgbClr val="B40C54"/>
                </a:solidFill>
              </a:rPr>
              <a:t>0</a:t>
            </a:r>
            <a:endParaRPr lang="pl-PL" sz="1600" dirty="0">
              <a:solidFill>
                <a:srgbClr val="B40C54"/>
              </a:solidFill>
            </a:endParaRPr>
          </a:p>
        </p:txBody>
      </p:sp>
      <p:sp>
        <p:nvSpPr>
          <p:cNvPr id="5" name="TextBox 4">
            <a:extLst>
              <a:ext uri="{FF2B5EF4-FFF2-40B4-BE49-F238E27FC236}">
                <a16:creationId xmlns:a16="http://schemas.microsoft.com/office/drawing/2014/main" id="{8E3381AE-FE1D-4635-9CE8-962204E8C151}"/>
              </a:ext>
            </a:extLst>
          </p:cNvPr>
          <p:cNvSpPr txBox="1"/>
          <p:nvPr/>
        </p:nvSpPr>
        <p:spPr>
          <a:xfrm>
            <a:off x="8328248" y="620688"/>
            <a:ext cx="2443212" cy="830997"/>
          </a:xfrm>
          <a:prstGeom prst="rect">
            <a:avLst/>
          </a:prstGeom>
          <a:solidFill>
            <a:schemeClr val="bg1"/>
          </a:solidFill>
        </p:spPr>
        <p:txBody>
          <a:bodyPr wrap="square" rtlCol="0">
            <a:spAutoFit/>
          </a:bodyPr>
          <a:lstStyle/>
          <a:p>
            <a:r>
              <a:rPr lang="pl-PL" sz="4800" dirty="0">
                <a:solidFill>
                  <a:srgbClr val="33C0C3"/>
                </a:solidFill>
              </a:rPr>
              <a:t>+8500</a:t>
            </a:r>
          </a:p>
        </p:txBody>
      </p:sp>
    </p:spTree>
    <p:extLst>
      <p:ext uri="{BB962C8B-B14F-4D97-AF65-F5344CB8AC3E}">
        <p14:creationId xmlns:p14="http://schemas.microsoft.com/office/powerpoint/2010/main" val="1468703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016000" y="2133000"/>
            <a:ext cx="6624000" cy="1296000"/>
          </a:xfrm>
        </p:spPr>
        <p:txBody>
          <a:bodyPr/>
          <a:lstStyle/>
          <a:p>
            <a:r>
              <a:rPr lang="pl-PL" sz="3200" dirty="0">
                <a:latin typeface="Arial Black" panose="020B0A04020102020204" pitchFamily="34" charset="0"/>
              </a:rPr>
              <a:t>Część 2 </a:t>
            </a:r>
          </a:p>
          <a:p>
            <a:endParaRPr lang="pl-PL" sz="3200" dirty="0">
              <a:latin typeface="Arial Black" panose="020B0A04020102020204" pitchFamily="34" charset="0"/>
            </a:endParaRPr>
          </a:p>
          <a:p>
            <a:r>
              <a:rPr lang="pl-PL" sz="3200" dirty="0">
                <a:latin typeface="Arial Black" panose="020B0A04020102020204" pitchFamily="34" charset="0"/>
              </a:rPr>
              <a:t>Projekt – założenia, cele, sposób realizacji.</a:t>
            </a:r>
            <a:endParaRPr lang="en-US" sz="3200" dirty="0">
              <a:latin typeface="Arial Black" panose="020B0A04020102020204" pitchFamily="34" charset="0"/>
            </a:endParaRPr>
          </a:p>
        </p:txBody>
      </p:sp>
      <p:sp>
        <p:nvSpPr>
          <p:cNvPr id="6" name="Oval 5"/>
          <p:cNvSpPr/>
          <p:nvPr/>
        </p:nvSpPr>
        <p:spPr>
          <a:xfrm>
            <a:off x="552000" y="909000"/>
            <a:ext cx="3528001" cy="33840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pl-PL" sz="2800" b="1" dirty="0">
                <a:solidFill>
                  <a:schemeClr val="bg1"/>
                </a:solidFill>
                <a:latin typeface="Arial Rounded MT Bold" panose="020F0704030504030204" pitchFamily="34" charset="0"/>
                <a:cs typeface="Aparajita" panose="020B0604020202020204" pitchFamily="34" charset="0"/>
              </a:rPr>
              <a:t>IT GIRLS rEVOLUTION ACADEMY</a:t>
            </a:r>
            <a:endParaRPr lang="en-US" sz="2800" b="1" dirty="0">
              <a:solidFill>
                <a:schemeClr val="bg1"/>
              </a:solidFill>
              <a:latin typeface="Arial Rounded MT Bold" panose="020F0704030504030204" pitchFamily="34" charset="0"/>
              <a:cs typeface="Aparajita" panose="020B0604020202020204" pitchFamily="34" charset="0"/>
            </a:endParaRPr>
          </a:p>
        </p:txBody>
      </p:sp>
      <p:pic>
        <p:nvPicPr>
          <p:cNvPr id="5" name="Picture 4"/>
          <p:cNvPicPr>
            <a:picLocks noChangeAspect="1"/>
          </p:cNvPicPr>
          <p:nvPr/>
        </p:nvPicPr>
        <p:blipFill>
          <a:blip r:embed="rId2"/>
          <a:stretch>
            <a:fillRect/>
          </a:stretch>
        </p:blipFill>
        <p:spPr>
          <a:xfrm>
            <a:off x="9024140" y="4653000"/>
            <a:ext cx="3037659" cy="1728056"/>
          </a:xfrm>
          <a:prstGeom prst="rect">
            <a:avLst/>
          </a:prstGeom>
        </p:spPr>
      </p:pic>
    </p:spTree>
    <p:extLst>
      <p:ext uri="{BB962C8B-B14F-4D97-AF65-F5344CB8AC3E}">
        <p14:creationId xmlns:p14="http://schemas.microsoft.com/office/powerpoint/2010/main" val="39801266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altLang="en-US" sz="4000" b="1" dirty="0">
                <a:ea typeface="ＭＳ Ｐゴシック" charset="-128"/>
                <a:cs typeface="Arial" charset="0"/>
              </a:rPr>
              <a:t>Odpowiedzialność społeczna - CSR</a:t>
            </a:r>
            <a:endParaRPr lang="en-GB" altLang="en-US" sz="4000" dirty="0">
              <a:ea typeface="ＭＳ Ｐゴシック" charset="-128"/>
              <a:cs typeface="Arial" charset="0"/>
            </a:endParaRPr>
          </a:p>
        </p:txBody>
      </p:sp>
      <p:sp>
        <p:nvSpPr>
          <p:cNvPr id="12" name="Rectangle 11"/>
          <p:cNvSpPr/>
          <p:nvPr/>
        </p:nvSpPr>
        <p:spPr>
          <a:xfrm>
            <a:off x="353915" y="4071624"/>
            <a:ext cx="4371828" cy="3015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r>
              <a:rPr lang="pl-PL" sz="2000" b="1" dirty="0">
                <a:solidFill>
                  <a:schemeClr val="accent2"/>
                </a:solidFill>
              </a:rPr>
              <a:t>Obszary działalności:</a:t>
            </a:r>
            <a:endParaRPr lang="en-US" sz="2000" b="1" dirty="0">
              <a:solidFill>
                <a:schemeClr val="accent2"/>
              </a:solidFill>
            </a:endParaRPr>
          </a:p>
        </p:txBody>
      </p:sp>
      <p:sp>
        <p:nvSpPr>
          <p:cNvPr id="13" name="AutoShape 4"/>
          <p:cNvSpPr>
            <a:spLocks noChangeArrowheads="1"/>
          </p:cNvSpPr>
          <p:nvPr/>
        </p:nvSpPr>
        <p:spPr bwMode="auto">
          <a:xfrm>
            <a:off x="3238529" y="5782482"/>
            <a:ext cx="5276955" cy="401380"/>
          </a:xfrm>
          <a:prstGeom prst="rect">
            <a:avLst/>
          </a:prstGeom>
          <a:noFill/>
          <a:ln w="19050" cmpd="sng">
            <a:noFill/>
            <a:miter lim="800000"/>
            <a:headEnd/>
            <a:tailEnd/>
          </a:ln>
          <a:effectLst/>
        </p:spPr>
        <p:txBody>
          <a:bodyPr wrap="square" lIns="0" tIns="45881" rIns="108000" bIns="45881" numCol="1" anchor="ctr" anchorCtr="0"/>
          <a:lstStyle/>
          <a:p>
            <a:pPr marL="342900" indent="-7938">
              <a:buClr>
                <a:schemeClr val="bg2">
                  <a:lumMod val="50000"/>
                </a:schemeClr>
              </a:buClr>
              <a:tabLst>
                <a:tab pos="339725" algn="l"/>
              </a:tabLst>
              <a:defRPr/>
            </a:pPr>
            <a:r>
              <a:rPr lang="pl-PL" sz="1000" dirty="0"/>
              <a:t>Jesteśmy Sygnatariuszami Karty Różnorodności; wspieramy zatrudnianie osób niepełnosprawnych; wzmacniamy kobiety w organizacji wspierając społeczność Women@Capgemini. </a:t>
            </a:r>
            <a:endParaRPr lang="en-US" altLang="en-GB" sz="1000" dirty="0"/>
          </a:p>
        </p:txBody>
      </p:sp>
      <p:sp>
        <p:nvSpPr>
          <p:cNvPr id="14" name="AutoShape 4"/>
          <p:cNvSpPr>
            <a:spLocks noChangeArrowheads="1"/>
          </p:cNvSpPr>
          <p:nvPr/>
        </p:nvSpPr>
        <p:spPr bwMode="auto">
          <a:xfrm>
            <a:off x="3216000" y="5187620"/>
            <a:ext cx="5616000" cy="401380"/>
          </a:xfrm>
          <a:prstGeom prst="rect">
            <a:avLst/>
          </a:prstGeom>
          <a:noFill/>
          <a:ln w="19050" cmpd="sng">
            <a:noFill/>
            <a:miter lim="800000"/>
            <a:headEnd/>
            <a:tailEnd/>
          </a:ln>
          <a:effectLst/>
        </p:spPr>
        <p:txBody>
          <a:bodyPr wrap="none" lIns="0" tIns="45881" rIns="108000" bIns="45881" numCol="1" anchor="ctr" anchorCtr="0"/>
          <a:lstStyle/>
          <a:p>
            <a:pPr marL="342900" indent="-7938">
              <a:buClr>
                <a:schemeClr val="bg2">
                  <a:lumMod val="50000"/>
                </a:schemeClr>
              </a:buClr>
              <a:tabLst>
                <a:tab pos="339725" algn="l"/>
              </a:tabLst>
              <a:defRPr/>
            </a:pPr>
            <a:r>
              <a:rPr lang="pl-PL" altLang="en-GB" sz="1000" dirty="0"/>
              <a:t>Posiadamy certyfikat środowiskowy </a:t>
            </a:r>
            <a:r>
              <a:rPr lang="pl-PL" sz="1000" dirty="0"/>
              <a:t>ISO 140001; nasz cel to redukcja CO2 o 20%</a:t>
            </a:r>
          </a:p>
          <a:p>
            <a:pPr marL="342900" indent="-7938">
              <a:buClr>
                <a:schemeClr val="bg2">
                  <a:lumMod val="50000"/>
                </a:schemeClr>
              </a:buClr>
              <a:tabLst>
                <a:tab pos="339725" algn="l"/>
              </a:tabLst>
              <a:defRPr/>
            </a:pPr>
            <a:r>
              <a:rPr lang="pl-PL" altLang="en-GB" sz="1000" dirty="0"/>
              <a:t>do 2020 roku;  prowadzimy wewnętrzyny car pooling; posiadamy certyfikat </a:t>
            </a:r>
          </a:p>
          <a:p>
            <a:pPr marL="342900" indent="-7938">
              <a:buClr>
                <a:schemeClr val="bg2">
                  <a:lumMod val="50000"/>
                </a:schemeClr>
              </a:buClr>
              <a:tabLst>
                <a:tab pos="339725" algn="l"/>
              </a:tabLst>
              <a:defRPr/>
            </a:pPr>
            <a:r>
              <a:rPr lang="pl-PL" altLang="en-GB" sz="1000" dirty="0"/>
              <a:t>przyjazny rowerom.</a:t>
            </a:r>
            <a:endParaRPr lang="en-US" altLang="en-GB" sz="1000" dirty="0"/>
          </a:p>
        </p:txBody>
      </p:sp>
      <p:sp>
        <p:nvSpPr>
          <p:cNvPr id="16" name="AutoShape 4"/>
          <p:cNvSpPr>
            <a:spLocks noChangeArrowheads="1"/>
          </p:cNvSpPr>
          <p:nvPr/>
        </p:nvSpPr>
        <p:spPr bwMode="auto">
          <a:xfrm>
            <a:off x="3216000" y="4686161"/>
            <a:ext cx="5279431" cy="401380"/>
          </a:xfrm>
          <a:prstGeom prst="rect">
            <a:avLst/>
          </a:prstGeom>
          <a:noFill/>
          <a:ln w="19050" cmpd="sng">
            <a:noFill/>
            <a:miter lim="800000"/>
            <a:headEnd/>
            <a:tailEnd/>
          </a:ln>
          <a:effectLst/>
        </p:spPr>
        <p:txBody>
          <a:bodyPr wrap="square" lIns="0" tIns="45881" rIns="108000" bIns="45881" numCol="1" anchor="ctr" anchorCtr="0"/>
          <a:lstStyle/>
          <a:p>
            <a:pPr marL="344488" indent="-7938">
              <a:buClr>
                <a:schemeClr val="bg2">
                  <a:lumMod val="50000"/>
                </a:schemeClr>
              </a:buClr>
              <a:tabLst>
                <a:tab pos="342900" algn="l"/>
              </a:tabLst>
              <a:defRPr/>
            </a:pPr>
            <a:r>
              <a:rPr lang="pl-PL" sz="1000" dirty="0"/>
              <a:t>Granty przyznawane pracownikom na przeprowadzenie projektów społecznych w Polsce od 2012 r. (wolontariat pracowniczy); Zbiórki krwi. </a:t>
            </a:r>
            <a:endParaRPr lang="en-US" sz="1000" dirty="0"/>
          </a:p>
        </p:txBody>
      </p:sp>
      <p:sp>
        <p:nvSpPr>
          <p:cNvPr id="17" name="Rounded Rectangle 16"/>
          <p:cNvSpPr/>
          <p:nvPr/>
        </p:nvSpPr>
        <p:spPr>
          <a:xfrm>
            <a:off x="388457" y="4685389"/>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defRPr/>
            </a:pPr>
            <a:r>
              <a:rPr lang="pl-PL" sz="1200" b="1" dirty="0">
                <a:solidFill>
                  <a:schemeClr val="tx1"/>
                </a:solidFill>
              </a:rPr>
              <a:t>Zaangażowanie na rzecz społeczności lokalnych</a:t>
            </a:r>
            <a:endParaRPr lang="en-US" sz="1200" b="1" kern="0" dirty="0">
              <a:solidFill>
                <a:schemeClr val="tx1"/>
              </a:solidFill>
            </a:endParaRPr>
          </a:p>
        </p:txBody>
      </p:sp>
      <p:sp>
        <p:nvSpPr>
          <p:cNvPr id="18" name="Rounded Rectangle 17"/>
          <p:cNvSpPr/>
          <p:nvPr/>
        </p:nvSpPr>
        <p:spPr>
          <a:xfrm>
            <a:off x="388456" y="5254600"/>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pl-PL" sz="1200" b="1" dirty="0">
                <a:solidFill>
                  <a:schemeClr val="tx1"/>
                </a:solidFill>
              </a:rPr>
              <a:t>Środowisko</a:t>
            </a:r>
            <a:endParaRPr lang="en-US" sz="1200" dirty="0">
              <a:solidFill>
                <a:schemeClr val="tx1"/>
              </a:solidFill>
            </a:endParaRPr>
          </a:p>
        </p:txBody>
      </p:sp>
      <p:sp>
        <p:nvSpPr>
          <p:cNvPr id="19" name="Rounded Rectangle 18"/>
          <p:cNvSpPr/>
          <p:nvPr/>
        </p:nvSpPr>
        <p:spPr>
          <a:xfrm>
            <a:off x="388456" y="5805000"/>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pl-PL" sz="1200" b="1" dirty="0">
                <a:solidFill>
                  <a:schemeClr val="tx1"/>
                </a:solidFill>
              </a:rPr>
              <a:t>Kultura różnorodności</a:t>
            </a:r>
            <a:endParaRPr lang="en-US" sz="1200" dirty="0">
              <a:solidFill>
                <a:schemeClr val="tx1"/>
              </a:solidFill>
            </a:endParaRPr>
          </a:p>
        </p:txBody>
      </p:sp>
      <p:sp>
        <p:nvSpPr>
          <p:cNvPr id="240" name="TextBox 239"/>
          <p:cNvSpPr txBox="1"/>
          <p:nvPr/>
        </p:nvSpPr>
        <p:spPr>
          <a:xfrm>
            <a:off x="8976000" y="2801035"/>
            <a:ext cx="2725663" cy="1519090"/>
          </a:xfrm>
          <a:prstGeom prst="rect">
            <a:avLst/>
          </a:prstGeom>
          <a:noFill/>
          <a:ln>
            <a:noFill/>
          </a:ln>
          <a:effectLst/>
        </p:spPr>
        <p:txBody>
          <a:bodyPr wrap="square" rtlCol="0" anchor="t">
            <a:noAutofit/>
          </a:bodyPr>
          <a:lstStyle/>
          <a:p>
            <a:pPr marL="171450" indent="-171450">
              <a:buFont typeface="Wingdings" panose="05000000000000000000" pitchFamily="2" charset="2"/>
              <a:buChar char="Ø"/>
            </a:pPr>
            <a:r>
              <a:rPr lang="pl-PL" sz="1000" b="1" dirty="0"/>
              <a:t>107</a:t>
            </a:r>
            <a:r>
              <a:rPr lang="pl-PL" sz="1000" dirty="0"/>
              <a:t> zrealizowanych projektów.</a:t>
            </a:r>
          </a:p>
          <a:p>
            <a:pPr marL="171450" indent="-171450">
              <a:buFont typeface="Wingdings" panose="05000000000000000000" pitchFamily="2" charset="2"/>
              <a:buChar char="Ø"/>
            </a:pPr>
            <a:r>
              <a:rPr lang="pl-PL" sz="1000" b="1" dirty="0"/>
              <a:t>1059</a:t>
            </a:r>
            <a:r>
              <a:rPr lang="pl-PL" sz="1000" dirty="0"/>
              <a:t> pracowników-wolontariuszy z Capgemini, zaangażowanych w realizację projektów.</a:t>
            </a:r>
          </a:p>
          <a:p>
            <a:pPr marL="171450" indent="-171450">
              <a:buFont typeface="Wingdings" panose="05000000000000000000" pitchFamily="2" charset="2"/>
              <a:buChar char="Ø"/>
            </a:pPr>
            <a:r>
              <a:rPr lang="pl-PL" sz="1000" b="1" dirty="0"/>
              <a:t>1105</a:t>
            </a:r>
            <a:r>
              <a:rPr lang="pl-PL" sz="1000" dirty="0"/>
              <a:t> wolontariuszy spoza Capgemini.</a:t>
            </a:r>
          </a:p>
          <a:p>
            <a:pPr marL="171450" indent="-171450">
              <a:buFont typeface="Wingdings" panose="05000000000000000000" pitchFamily="2" charset="2"/>
              <a:buChar char="Ø"/>
            </a:pPr>
            <a:r>
              <a:rPr lang="pl-PL" sz="1000" b="1" dirty="0"/>
              <a:t>8989</a:t>
            </a:r>
            <a:r>
              <a:rPr lang="pl-PL" sz="1000" dirty="0"/>
              <a:t> bezpośrednich odbiorców projektów.</a:t>
            </a:r>
          </a:p>
          <a:p>
            <a:pPr marL="171450" indent="-171450">
              <a:buFont typeface="Wingdings" panose="05000000000000000000" pitchFamily="2" charset="2"/>
              <a:buChar char="Ø"/>
            </a:pPr>
            <a:r>
              <a:rPr lang="pl-PL" sz="1000" b="1" dirty="0"/>
              <a:t>224</a:t>
            </a:r>
            <a:r>
              <a:rPr lang="pl-PL" sz="1000" dirty="0"/>
              <a:t> partnerów społecznych.</a:t>
            </a:r>
          </a:p>
        </p:txBody>
      </p:sp>
      <p:sp>
        <p:nvSpPr>
          <p:cNvPr id="242" name="Oval 241"/>
          <p:cNvSpPr/>
          <p:nvPr/>
        </p:nvSpPr>
        <p:spPr bwMode="auto">
          <a:xfrm>
            <a:off x="3055304" y="4795923"/>
            <a:ext cx="174698" cy="171750"/>
          </a:xfrm>
          <a:prstGeom prst="ellipse">
            <a:avLst/>
          </a:prstGeom>
          <a:solidFill>
            <a:schemeClr val="accent3"/>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243" name="Oval 242"/>
          <p:cNvSpPr/>
          <p:nvPr/>
        </p:nvSpPr>
        <p:spPr bwMode="auto">
          <a:xfrm>
            <a:off x="3063831" y="5345250"/>
            <a:ext cx="174698" cy="171750"/>
          </a:xfrm>
          <a:prstGeom prst="ellipse">
            <a:avLst/>
          </a:prstGeom>
          <a:solidFill>
            <a:schemeClr val="accent2"/>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244" name="Oval 243"/>
          <p:cNvSpPr/>
          <p:nvPr/>
        </p:nvSpPr>
        <p:spPr bwMode="auto">
          <a:xfrm>
            <a:off x="3063831" y="5921250"/>
            <a:ext cx="174698" cy="171750"/>
          </a:xfrm>
          <a:prstGeom prst="ellipse">
            <a:avLst/>
          </a:prstGeom>
          <a:solidFill>
            <a:schemeClr val="accent4"/>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286" name="TextBox 285"/>
          <p:cNvSpPr txBox="1"/>
          <p:nvPr/>
        </p:nvSpPr>
        <p:spPr>
          <a:xfrm>
            <a:off x="306579" y="2024324"/>
            <a:ext cx="8188138" cy="1737724"/>
          </a:xfrm>
          <a:prstGeom prst="rect">
            <a:avLst/>
          </a:prstGeom>
          <a:noFill/>
          <a:ln>
            <a:noFill/>
          </a:ln>
          <a:effectLst/>
        </p:spPr>
        <p:txBody>
          <a:bodyPr wrap="square" lIns="0" rtlCol="0" anchor="t">
            <a:noAutofit/>
          </a:bodyPr>
          <a:lstStyle/>
          <a:p>
            <a:pPr marL="171450" indent="-171450">
              <a:lnSpc>
                <a:spcPts val="1800"/>
              </a:lnSpc>
              <a:buClr>
                <a:schemeClr val="accent1"/>
              </a:buClr>
              <a:buFont typeface="Wingdings" panose="05000000000000000000" pitchFamily="2" charset="2"/>
              <a:buChar char="v"/>
            </a:pPr>
            <a:r>
              <a:rPr lang="pl-PL" altLang="en-US" sz="1100" dirty="0"/>
              <a:t>Projekt </a:t>
            </a:r>
            <a:r>
              <a:rPr lang="pl-PL" altLang="en-US" sz="1100" b="1" dirty="0"/>
              <a:t>IT Girls rEvolution Academy </a:t>
            </a:r>
            <a:r>
              <a:rPr lang="pl-PL" altLang="en-US" sz="1100" dirty="0"/>
              <a:t>został w marcu 2019 r. zgłoszony przez 25 osobową grupę wolontariuszy do konkursu w programie </a:t>
            </a:r>
            <a:r>
              <a:rPr lang="pl-PL" altLang="en-US" sz="1100" b="1" dirty="0"/>
              <a:t>„Inwestujemy w dobre pomysły” </a:t>
            </a:r>
            <a:r>
              <a:rPr lang="pl-PL" altLang="en-US" sz="1100" dirty="0"/>
              <a:t>o przyznanie BIG LOCAL Grant.</a:t>
            </a:r>
          </a:p>
          <a:p>
            <a:pPr marL="171450" indent="-171450">
              <a:lnSpc>
                <a:spcPts val="1800"/>
              </a:lnSpc>
              <a:buClr>
                <a:schemeClr val="accent1"/>
              </a:buClr>
              <a:buFont typeface="Wingdings" panose="05000000000000000000" pitchFamily="2" charset="2"/>
              <a:buChar char="v"/>
            </a:pPr>
            <a:r>
              <a:rPr lang="pl-PL" altLang="en-US" sz="1100" dirty="0"/>
              <a:t>W roku 2020 zglosilismy jego druga edycje, tym razem w formie zdalnej.</a:t>
            </a:r>
          </a:p>
          <a:p>
            <a:pPr marL="171450" indent="-171450">
              <a:lnSpc>
                <a:spcPts val="1800"/>
              </a:lnSpc>
              <a:buClr>
                <a:schemeClr val="accent1"/>
              </a:buClr>
              <a:buFont typeface="Wingdings" panose="05000000000000000000" pitchFamily="2" charset="2"/>
              <a:buChar char="v"/>
            </a:pPr>
            <a:r>
              <a:rPr lang="pl-PL" altLang="en-US" sz="1100" dirty="0"/>
              <a:t>W czerwcu wyłoniono 8 sposród wielu zgłoszonych projektów. </a:t>
            </a:r>
            <a:r>
              <a:rPr lang="pl-PL" altLang="en-US" sz="1100" b="1" dirty="0"/>
              <a:t>IT Girls rEvolution Academy</a:t>
            </a:r>
            <a:r>
              <a:rPr lang="pl-PL" altLang="en-US" sz="1100" dirty="0"/>
              <a:t> znalazł się w grupie 4 BIG Local Grant projektów. </a:t>
            </a:r>
          </a:p>
          <a:p>
            <a:pPr marL="171450" indent="-171450">
              <a:lnSpc>
                <a:spcPts val="1800"/>
              </a:lnSpc>
              <a:buClr>
                <a:schemeClr val="accent1"/>
              </a:buClr>
              <a:buFont typeface="Wingdings" panose="05000000000000000000" pitchFamily="2" charset="2"/>
              <a:buChar char="v"/>
            </a:pPr>
            <a:r>
              <a:rPr lang="pl-PL" altLang="en-US" sz="1100" dirty="0"/>
              <a:t>Projekt łączy w sobie 2 obszary działalności CSR: zaangażowanie na rzecz społeczności lokalnych oraz kulturę różnorodności. Projekt wspierany jest przez społeczność </a:t>
            </a:r>
            <a:r>
              <a:rPr lang="pl-PL" altLang="en-US" sz="1100" b="1" dirty="0"/>
              <a:t>Women@Capgemini</a:t>
            </a:r>
            <a:r>
              <a:rPr lang="pl-PL" altLang="en-US" sz="1100" dirty="0"/>
              <a:t>. </a:t>
            </a:r>
          </a:p>
          <a:p>
            <a:pPr marL="171450" indent="-171450">
              <a:lnSpc>
                <a:spcPts val="1800"/>
              </a:lnSpc>
              <a:buClr>
                <a:schemeClr val="accent1"/>
              </a:buClr>
              <a:buFont typeface="Wingdings" panose="05000000000000000000" pitchFamily="2" charset="2"/>
              <a:buChar char="v"/>
            </a:pPr>
            <a:endParaRPr lang="en-US" altLang="en-US" sz="1000" b="1" dirty="0"/>
          </a:p>
        </p:txBody>
      </p:sp>
      <p:sp>
        <p:nvSpPr>
          <p:cNvPr id="287" name="Rectangle 286"/>
          <p:cNvSpPr/>
          <p:nvPr/>
        </p:nvSpPr>
        <p:spPr>
          <a:xfrm>
            <a:off x="318980" y="1174899"/>
            <a:ext cx="10029378" cy="6031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0000" bIns="45881" rtlCol="0" anchor="ctr"/>
          <a:lstStyle/>
          <a:p>
            <a:r>
              <a:rPr lang="pl-PL" sz="2000" b="1" dirty="0">
                <a:solidFill>
                  <a:schemeClr val="accent2"/>
                </a:solidFill>
              </a:rPr>
              <a:t>IT Girls rEvolution Academy – Grant Project 2020 </a:t>
            </a:r>
            <a:endParaRPr lang="en-US" sz="2000" b="1" dirty="0">
              <a:solidFill>
                <a:schemeClr val="accent2"/>
              </a:solidFill>
            </a:endParaRPr>
          </a:p>
        </p:txBody>
      </p:sp>
      <p:cxnSp>
        <p:nvCxnSpPr>
          <p:cNvPr id="241" name="Conector reto 49">
            <a:extLst>
              <a:ext uri="{FF2B5EF4-FFF2-40B4-BE49-F238E27FC236}">
                <a16:creationId xmlns:a16="http://schemas.microsoft.com/office/drawing/2014/main" id="{F794F527-7462-4648-A64E-D558D50F4129}"/>
              </a:ext>
            </a:extLst>
          </p:cNvPr>
          <p:cNvCxnSpPr>
            <a:cxnSpLocks/>
          </p:cNvCxnSpPr>
          <p:nvPr/>
        </p:nvCxnSpPr>
        <p:spPr>
          <a:xfrm>
            <a:off x="353915" y="1796877"/>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cxnSp>
        <p:nvCxnSpPr>
          <p:cNvPr id="246" name="Conector reto 49">
            <a:extLst>
              <a:ext uri="{FF2B5EF4-FFF2-40B4-BE49-F238E27FC236}">
                <a16:creationId xmlns:a16="http://schemas.microsoft.com/office/drawing/2014/main" id="{F794F527-7462-4648-A64E-D558D50F4129}"/>
              </a:ext>
            </a:extLst>
          </p:cNvPr>
          <p:cNvCxnSpPr>
            <a:cxnSpLocks/>
          </p:cNvCxnSpPr>
          <p:nvPr/>
        </p:nvCxnSpPr>
        <p:spPr>
          <a:xfrm>
            <a:off x="388457" y="4509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469" name="Rectangle 468"/>
          <p:cNvSpPr/>
          <p:nvPr/>
        </p:nvSpPr>
        <p:spPr>
          <a:xfrm>
            <a:off x="9120000" y="1561728"/>
            <a:ext cx="2725663" cy="8943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r>
              <a:rPr lang="pl-PL" sz="2000" b="1" dirty="0">
                <a:solidFill>
                  <a:schemeClr val="accent2"/>
                </a:solidFill>
              </a:rPr>
              <a:t>Projekty grantowe w liczbach do końca 2019 roku:</a:t>
            </a:r>
            <a:endParaRPr lang="en-US" sz="2000" b="1" dirty="0">
              <a:solidFill>
                <a:schemeClr val="accent2"/>
              </a:solidFill>
            </a:endParaRPr>
          </a:p>
        </p:txBody>
      </p:sp>
      <p:pic>
        <p:nvPicPr>
          <p:cNvPr id="472" name="Picture 47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06698" y="4509000"/>
            <a:ext cx="2798284" cy="1758364"/>
          </a:xfrm>
          <a:prstGeom prst="ellipse">
            <a:avLst/>
          </a:prstGeom>
          <a:ln>
            <a:noFill/>
          </a:ln>
          <a:effectLst>
            <a:softEdge rad="112500"/>
          </a:effectLst>
        </p:spPr>
      </p:pic>
    </p:spTree>
    <p:extLst>
      <p:ext uri="{BB962C8B-B14F-4D97-AF65-F5344CB8AC3E}">
        <p14:creationId xmlns:p14="http://schemas.microsoft.com/office/powerpoint/2010/main" val="217277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altLang="en-US" sz="4000" b="1" dirty="0">
                <a:ea typeface="ＭＳ Ｐゴシック" charset="-128"/>
                <a:cs typeface="Arial" charset="0"/>
              </a:rPr>
              <a:t>IT Girls rEvolution Academy</a:t>
            </a:r>
            <a:endParaRPr lang="en-GB" altLang="en-US" sz="4000" dirty="0">
              <a:ea typeface="ＭＳ Ｐゴシック" charset="-128"/>
              <a:cs typeface="Arial" charset="0"/>
            </a:endParaRPr>
          </a:p>
        </p:txBody>
      </p:sp>
      <p:sp>
        <p:nvSpPr>
          <p:cNvPr id="12" name="Rectangle 11"/>
          <p:cNvSpPr/>
          <p:nvPr/>
        </p:nvSpPr>
        <p:spPr>
          <a:xfrm>
            <a:off x="284172" y="957067"/>
            <a:ext cx="4371828" cy="3015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r>
              <a:rPr lang="pl-PL" sz="2000" b="1" dirty="0">
                <a:solidFill>
                  <a:schemeClr val="accent2"/>
                </a:solidFill>
              </a:rPr>
              <a:t>Koncepcja projektu</a:t>
            </a:r>
            <a:endParaRPr lang="en-US" sz="2000" b="1" dirty="0">
              <a:solidFill>
                <a:schemeClr val="accent2"/>
              </a:solidFill>
            </a:endParaRPr>
          </a:p>
        </p:txBody>
      </p:sp>
      <p:sp>
        <p:nvSpPr>
          <p:cNvPr id="18" name="Rounded Rectangle 17"/>
          <p:cNvSpPr/>
          <p:nvPr/>
        </p:nvSpPr>
        <p:spPr>
          <a:xfrm>
            <a:off x="113083" y="2801035"/>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endParaRPr lang="en-US" sz="1200" dirty="0">
              <a:solidFill>
                <a:schemeClr val="tx1"/>
              </a:solidFill>
            </a:endParaRPr>
          </a:p>
        </p:txBody>
      </p:sp>
      <p:sp>
        <p:nvSpPr>
          <p:cNvPr id="286" name="TextBox 285"/>
          <p:cNvSpPr txBox="1"/>
          <p:nvPr/>
        </p:nvSpPr>
        <p:spPr>
          <a:xfrm>
            <a:off x="325883" y="5332206"/>
            <a:ext cx="8218117" cy="1507272"/>
          </a:xfrm>
          <a:prstGeom prst="rect">
            <a:avLst/>
          </a:prstGeom>
          <a:noFill/>
          <a:ln>
            <a:noFill/>
          </a:ln>
          <a:effectLst/>
        </p:spPr>
        <p:txBody>
          <a:bodyPr wrap="square" lIns="0" rtlCol="0" anchor="t">
            <a:noAutofit/>
          </a:bodyPr>
          <a:lstStyle/>
          <a:p>
            <a:pPr marL="171450" indent="-171450">
              <a:lnSpc>
                <a:spcPts val="1800"/>
              </a:lnSpc>
              <a:buClr>
                <a:schemeClr val="accent1"/>
              </a:buClr>
              <a:buFont typeface="Wingdings" panose="05000000000000000000" pitchFamily="2" charset="2"/>
              <a:buChar char="v"/>
            </a:pPr>
            <a:endParaRPr lang="en-US" altLang="en-US" sz="1000" b="1" dirty="0"/>
          </a:p>
        </p:txBody>
      </p:sp>
      <p:cxnSp>
        <p:nvCxnSpPr>
          <p:cNvPr id="246" name="Conector reto 49">
            <a:extLst>
              <a:ext uri="{FF2B5EF4-FFF2-40B4-BE49-F238E27FC236}">
                <a16:creationId xmlns:a16="http://schemas.microsoft.com/office/drawing/2014/main" id="{F794F527-7462-4648-A64E-D558D50F4129}"/>
              </a:ext>
            </a:extLst>
          </p:cNvPr>
          <p:cNvCxnSpPr>
            <a:cxnSpLocks/>
          </p:cNvCxnSpPr>
          <p:nvPr/>
        </p:nvCxnSpPr>
        <p:spPr>
          <a:xfrm>
            <a:off x="284172" y="1336915"/>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469" name="Rectangle 468"/>
          <p:cNvSpPr/>
          <p:nvPr/>
        </p:nvSpPr>
        <p:spPr>
          <a:xfrm>
            <a:off x="8979980" y="1509912"/>
            <a:ext cx="2725663" cy="8943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endParaRPr lang="en-US" sz="2000" b="1" dirty="0">
              <a:solidFill>
                <a:schemeClr val="accent2"/>
              </a:solidFill>
            </a:endParaRPr>
          </a:p>
        </p:txBody>
      </p:sp>
      <p:sp>
        <p:nvSpPr>
          <p:cNvPr id="20" name="Rounded Rectangle 19"/>
          <p:cNvSpPr/>
          <p:nvPr/>
        </p:nvSpPr>
        <p:spPr>
          <a:xfrm>
            <a:off x="69288" y="2832493"/>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defRPr/>
            </a:pPr>
            <a:endParaRPr lang="en-US" sz="1200" b="1" kern="0" dirty="0">
              <a:solidFill>
                <a:schemeClr val="tx1"/>
              </a:solidFill>
            </a:endParaRPr>
          </a:p>
        </p:txBody>
      </p:sp>
      <p:sp>
        <p:nvSpPr>
          <p:cNvPr id="26" name="TextBox 25"/>
          <p:cNvSpPr txBox="1"/>
          <p:nvPr/>
        </p:nvSpPr>
        <p:spPr>
          <a:xfrm>
            <a:off x="284173" y="1428450"/>
            <a:ext cx="6891828" cy="1856550"/>
          </a:xfrm>
          <a:prstGeom prst="rect">
            <a:avLst/>
          </a:prstGeom>
          <a:noFill/>
          <a:ln>
            <a:noFill/>
          </a:ln>
          <a:effectLst/>
        </p:spPr>
        <p:txBody>
          <a:bodyPr wrap="square" lIns="0" rtlCol="0" anchor="t">
            <a:noAutofit/>
          </a:bodyPr>
          <a:lstStyle/>
          <a:p>
            <a:pPr algn="just">
              <a:lnSpc>
                <a:spcPts val="1800"/>
              </a:lnSpc>
              <a:buClr>
                <a:schemeClr val="accent1"/>
              </a:buClr>
            </a:pPr>
            <a:r>
              <a:rPr lang="pl-PL" sz="1100" dirty="0"/>
              <a:t>Jak mówił Steve Jobs „każdy powinien nauczyć się programowania, bo to uczy myślenia”- to motto naszego projektu. 8 szkół, 64 uczennice, 18 trenerów, 72 godziny treningu, 1 mln pozytywnych myśli. Wszystko to podczas 3 intensywnych dni warsztatowych, a na końcu spotkanie w wielkim finale. Konkurs międzyszkolny pod patronatem Capgemini „</a:t>
            </a:r>
            <a:r>
              <a:rPr lang="pl-PL" sz="1100" b="1" dirty="0"/>
              <a:t>Girls go for IT</a:t>
            </a:r>
            <a:r>
              <a:rPr lang="pl-PL" sz="1100" dirty="0"/>
              <a:t>”, gdzie adeptki naszej akademii wykorzystają w praktyce nabyte umiejętności i zbudują modelowe rozwiązanie metodą projektową dla klienta biznesowego. Nad całością czuwać będzie Jury, które wyłoni i nagrodzi 3 zwycięskie drużyny. Naszym celem jest pokazanie młodym kobietom, że kariera w IT jest dla nich a praca w korporacji daje możliwość rozwijania swoich pasji i zainteresowań.</a:t>
            </a:r>
            <a:endParaRPr lang="en-US" sz="1100" dirty="0"/>
          </a:p>
          <a:p>
            <a:pPr>
              <a:lnSpc>
                <a:spcPts val="1800"/>
              </a:lnSpc>
              <a:buClr>
                <a:schemeClr val="accent1"/>
              </a:buClr>
            </a:pPr>
            <a:endParaRPr lang="en-US" altLang="en-US" sz="1000" b="1" dirty="0"/>
          </a:p>
        </p:txBody>
      </p:sp>
      <p:sp>
        <p:nvSpPr>
          <p:cNvPr id="27" name="Rectangle 26"/>
          <p:cNvSpPr/>
          <p:nvPr/>
        </p:nvSpPr>
        <p:spPr>
          <a:xfrm>
            <a:off x="9272400" y="1714128"/>
            <a:ext cx="2725663" cy="8943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endParaRPr lang="en-US" sz="2000" b="1" dirty="0">
              <a:solidFill>
                <a:schemeClr val="accent2"/>
              </a:solidFill>
            </a:endParaRPr>
          </a:p>
        </p:txBody>
      </p:sp>
      <p:sp>
        <p:nvSpPr>
          <p:cNvPr id="32" name="Rectangle 31"/>
          <p:cNvSpPr/>
          <p:nvPr/>
        </p:nvSpPr>
        <p:spPr>
          <a:xfrm>
            <a:off x="284172" y="3703437"/>
            <a:ext cx="4371828" cy="3015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r>
              <a:rPr lang="pl-PL" sz="2000" b="1" dirty="0">
                <a:solidFill>
                  <a:schemeClr val="accent2"/>
                </a:solidFill>
              </a:rPr>
              <a:t>Cele projektu</a:t>
            </a:r>
            <a:endParaRPr lang="en-US" sz="2000" b="1" dirty="0">
              <a:solidFill>
                <a:schemeClr val="accent2"/>
              </a:solidFill>
            </a:endParaRPr>
          </a:p>
        </p:txBody>
      </p:sp>
      <p:sp>
        <p:nvSpPr>
          <p:cNvPr id="33" name="AutoShape 4"/>
          <p:cNvSpPr>
            <a:spLocks noChangeArrowheads="1"/>
          </p:cNvSpPr>
          <p:nvPr/>
        </p:nvSpPr>
        <p:spPr bwMode="auto">
          <a:xfrm>
            <a:off x="3417084" y="5431061"/>
            <a:ext cx="7776280" cy="433702"/>
          </a:xfrm>
          <a:prstGeom prst="rect">
            <a:avLst/>
          </a:prstGeom>
          <a:noFill/>
          <a:ln w="19050" cmpd="sng">
            <a:noFill/>
            <a:miter lim="800000"/>
            <a:headEnd/>
            <a:tailEnd/>
          </a:ln>
          <a:effectLst/>
        </p:spPr>
        <p:txBody>
          <a:bodyPr wrap="square" lIns="0" tIns="45881" rIns="108000" bIns="45881" numCol="1" anchor="ctr" anchorCtr="0"/>
          <a:lstStyle/>
          <a:p>
            <a:pPr marL="342900" indent="-7938">
              <a:buClr>
                <a:schemeClr val="bg2">
                  <a:lumMod val="50000"/>
                </a:schemeClr>
              </a:buClr>
              <a:tabLst>
                <a:tab pos="339725" algn="l"/>
              </a:tabLst>
              <a:defRPr/>
            </a:pPr>
            <a:r>
              <a:rPr lang="pl-PL" sz="1000" dirty="0"/>
              <a:t>Dzięki naszemu szkoleniu uczestniczki będą miały okazję zdobycia wiedzy z zakresu programowania, testowania, consultingu IT, zarządzania projektami. Szkolenie zostanie poszerzone o warsztaty z zakresu umiejętności miękkich.</a:t>
            </a:r>
            <a:endParaRPr lang="en-US" altLang="en-GB" sz="1000" dirty="0"/>
          </a:p>
        </p:txBody>
      </p:sp>
      <p:sp>
        <p:nvSpPr>
          <p:cNvPr id="34" name="AutoShape 4"/>
          <p:cNvSpPr>
            <a:spLocks noChangeArrowheads="1"/>
          </p:cNvSpPr>
          <p:nvPr/>
        </p:nvSpPr>
        <p:spPr bwMode="auto">
          <a:xfrm>
            <a:off x="3403876" y="4659059"/>
            <a:ext cx="3326916" cy="577619"/>
          </a:xfrm>
          <a:prstGeom prst="rect">
            <a:avLst/>
          </a:prstGeom>
          <a:noFill/>
          <a:ln w="19050" cmpd="sng">
            <a:noFill/>
            <a:miter lim="800000"/>
            <a:headEnd/>
            <a:tailEnd/>
          </a:ln>
          <a:effectLst/>
        </p:spPr>
        <p:txBody>
          <a:bodyPr wrap="none" lIns="0" tIns="45881" rIns="108000" bIns="45881" numCol="1" anchor="ctr" anchorCtr="0"/>
          <a:lstStyle/>
          <a:p>
            <a:pPr marL="342900" indent="-7938">
              <a:buClr>
                <a:schemeClr val="bg2">
                  <a:lumMod val="50000"/>
                </a:schemeClr>
              </a:buClr>
              <a:tabLst>
                <a:tab pos="339725" algn="l"/>
              </a:tabLst>
              <a:defRPr/>
            </a:pPr>
            <a:r>
              <a:rPr lang="pl-PL" altLang="en-GB" sz="1000" dirty="0"/>
              <a:t>Temat szans, jakie daje rozwój technologii IT, jest dużo rzadziej poruszany, niż temat zagrożeń z tym związanych. </a:t>
            </a:r>
          </a:p>
          <a:p>
            <a:pPr marL="342900" indent="-7938">
              <a:buClr>
                <a:schemeClr val="bg2">
                  <a:lumMod val="50000"/>
                </a:schemeClr>
              </a:buClr>
              <a:tabLst>
                <a:tab pos="339725" algn="l"/>
              </a:tabLst>
              <a:defRPr/>
            </a:pPr>
            <a:r>
              <a:rPr lang="pl-PL" altLang="en-GB" sz="1000" dirty="0"/>
              <a:t>Chcemy pokazać całym społecznościom szkolnym pozytywne aspekty postępu IT i zaproponować jak można z nich</a:t>
            </a:r>
          </a:p>
          <a:p>
            <a:pPr marL="342900" indent="-7938">
              <a:buClr>
                <a:schemeClr val="bg2">
                  <a:lumMod val="50000"/>
                </a:schemeClr>
              </a:buClr>
              <a:tabLst>
                <a:tab pos="339725" algn="l"/>
              </a:tabLst>
              <a:defRPr/>
            </a:pPr>
            <a:r>
              <a:rPr lang="pl-PL" altLang="en-GB" sz="1000" dirty="0"/>
              <a:t>skorzystać.</a:t>
            </a:r>
            <a:endParaRPr lang="en-US" altLang="en-GB" sz="1000" dirty="0"/>
          </a:p>
        </p:txBody>
      </p:sp>
      <p:sp>
        <p:nvSpPr>
          <p:cNvPr id="35" name="AutoShape 4"/>
          <p:cNvSpPr>
            <a:spLocks noChangeArrowheads="1"/>
          </p:cNvSpPr>
          <p:nvPr/>
        </p:nvSpPr>
        <p:spPr bwMode="auto">
          <a:xfrm>
            <a:off x="3417364" y="4216754"/>
            <a:ext cx="7776000" cy="401380"/>
          </a:xfrm>
          <a:prstGeom prst="rect">
            <a:avLst/>
          </a:prstGeom>
          <a:noFill/>
          <a:ln w="19050" cmpd="sng">
            <a:noFill/>
            <a:miter lim="800000"/>
            <a:headEnd/>
            <a:tailEnd/>
          </a:ln>
          <a:effectLst/>
        </p:spPr>
        <p:txBody>
          <a:bodyPr wrap="square" lIns="0" tIns="45881" rIns="108000" bIns="45881" numCol="1" anchor="ctr" anchorCtr="0"/>
          <a:lstStyle/>
          <a:p>
            <a:pPr marL="344488" indent="-7938">
              <a:buClr>
                <a:schemeClr val="bg2">
                  <a:lumMod val="50000"/>
                </a:schemeClr>
              </a:buClr>
              <a:tabLst>
                <a:tab pos="342900" algn="l"/>
              </a:tabLst>
              <a:defRPr/>
            </a:pPr>
            <a:r>
              <a:rPr lang="pl-PL" sz="1000" dirty="0"/>
              <a:t>Obecnie niespełna 15% studentów kierunków informatycznych stanowią kobiety. Nasze działania mają na celu wsparcie działań, dzięki którym odsetek ten stale rośnie. </a:t>
            </a:r>
            <a:endParaRPr lang="en-US" sz="1000" dirty="0"/>
          </a:p>
        </p:txBody>
      </p:sp>
      <p:sp>
        <p:nvSpPr>
          <p:cNvPr id="36" name="Rounded Rectangle 35"/>
          <p:cNvSpPr/>
          <p:nvPr/>
        </p:nvSpPr>
        <p:spPr>
          <a:xfrm>
            <a:off x="232709" y="4252659"/>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defRPr/>
            </a:pPr>
            <a:r>
              <a:rPr lang="pl-PL" sz="1200" b="1" dirty="0">
                <a:solidFill>
                  <a:schemeClr val="tx1"/>
                </a:solidFill>
              </a:rPr>
              <a:t>Popularyzacja rozwoju w dzidzinie IT wśród kobiet</a:t>
            </a:r>
            <a:endParaRPr lang="en-US" sz="1200" b="1" kern="0" dirty="0">
              <a:solidFill>
                <a:schemeClr val="tx1"/>
              </a:solidFill>
            </a:endParaRPr>
          </a:p>
        </p:txBody>
      </p:sp>
      <p:sp>
        <p:nvSpPr>
          <p:cNvPr id="37" name="Rounded Rectangle 36"/>
          <p:cNvSpPr/>
          <p:nvPr/>
        </p:nvSpPr>
        <p:spPr>
          <a:xfrm>
            <a:off x="170447" y="4709859"/>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endParaRPr lang="en-US" sz="1200" dirty="0">
              <a:solidFill>
                <a:schemeClr val="tx1"/>
              </a:solidFill>
            </a:endParaRPr>
          </a:p>
        </p:txBody>
      </p:sp>
      <p:sp>
        <p:nvSpPr>
          <p:cNvPr id="38" name="Rounded Rectangle 37"/>
          <p:cNvSpPr/>
          <p:nvPr/>
        </p:nvSpPr>
        <p:spPr>
          <a:xfrm>
            <a:off x="232709" y="6054340"/>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pl-PL" sz="1200" b="1" dirty="0">
                <a:solidFill>
                  <a:schemeClr val="tx1"/>
                </a:solidFill>
              </a:rPr>
              <a:t>Zmiana stereotypu na temat pracy w korporacji</a:t>
            </a:r>
            <a:endParaRPr lang="en-US" sz="1200" dirty="0">
              <a:solidFill>
                <a:schemeClr val="tx1"/>
              </a:solidFill>
            </a:endParaRPr>
          </a:p>
        </p:txBody>
      </p:sp>
      <p:sp>
        <p:nvSpPr>
          <p:cNvPr id="39" name="Oval 38"/>
          <p:cNvSpPr/>
          <p:nvPr/>
        </p:nvSpPr>
        <p:spPr bwMode="auto">
          <a:xfrm>
            <a:off x="3185302" y="4913250"/>
            <a:ext cx="174698" cy="171750"/>
          </a:xfrm>
          <a:prstGeom prst="ellipse">
            <a:avLst/>
          </a:prstGeom>
          <a:solidFill>
            <a:schemeClr val="accent3"/>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40" name="Oval 39"/>
          <p:cNvSpPr/>
          <p:nvPr/>
        </p:nvSpPr>
        <p:spPr bwMode="auto">
          <a:xfrm>
            <a:off x="3180608" y="5435825"/>
            <a:ext cx="174698" cy="171750"/>
          </a:xfrm>
          <a:prstGeom prst="ellipse">
            <a:avLst/>
          </a:prstGeom>
          <a:solidFill>
            <a:schemeClr val="accent2"/>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41" name="Oval 40"/>
          <p:cNvSpPr/>
          <p:nvPr/>
        </p:nvSpPr>
        <p:spPr bwMode="auto">
          <a:xfrm>
            <a:off x="3197400" y="6171665"/>
            <a:ext cx="174698" cy="171750"/>
          </a:xfrm>
          <a:prstGeom prst="ellipse">
            <a:avLst/>
          </a:prstGeom>
          <a:solidFill>
            <a:schemeClr val="accent4"/>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cxnSp>
        <p:nvCxnSpPr>
          <p:cNvPr id="42" name="Conector reto 49">
            <a:extLst>
              <a:ext uri="{FF2B5EF4-FFF2-40B4-BE49-F238E27FC236}">
                <a16:creationId xmlns:a16="http://schemas.microsoft.com/office/drawing/2014/main" id="{F794F527-7462-4648-A64E-D558D50F4129}"/>
              </a:ext>
            </a:extLst>
          </p:cNvPr>
          <p:cNvCxnSpPr>
            <a:cxnSpLocks/>
          </p:cNvCxnSpPr>
          <p:nvPr/>
        </p:nvCxnSpPr>
        <p:spPr>
          <a:xfrm>
            <a:off x="284172" y="4077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43" name="Rounded Rectangle 42"/>
          <p:cNvSpPr/>
          <p:nvPr/>
        </p:nvSpPr>
        <p:spPr>
          <a:xfrm>
            <a:off x="232709" y="5444712"/>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pl-PL" sz="1200" b="1" dirty="0">
                <a:solidFill>
                  <a:schemeClr val="tx1"/>
                </a:solidFill>
              </a:rPr>
              <a:t>Wzrost kompetencji IT </a:t>
            </a:r>
            <a:endParaRPr lang="en-US" sz="1200" dirty="0">
              <a:solidFill>
                <a:schemeClr val="tx1"/>
              </a:solidFill>
            </a:endParaRPr>
          </a:p>
        </p:txBody>
      </p:sp>
      <p:sp>
        <p:nvSpPr>
          <p:cNvPr id="44" name="Oval 43"/>
          <p:cNvSpPr/>
          <p:nvPr/>
        </p:nvSpPr>
        <p:spPr bwMode="auto">
          <a:xfrm>
            <a:off x="3216000" y="4351603"/>
            <a:ext cx="174698" cy="171750"/>
          </a:xfrm>
          <a:prstGeom prst="ellipse">
            <a:avLst/>
          </a:prstGeom>
          <a:solidFill>
            <a:schemeClr val="accent3">
              <a:lumMod val="50000"/>
              <a:lumOff val="50000"/>
            </a:schemeClr>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600" dirty="0">
              <a:solidFill>
                <a:schemeClr val="bg1"/>
              </a:solidFill>
              <a:cs typeface="Arial" charset="0"/>
            </a:endParaRPr>
          </a:p>
        </p:txBody>
      </p:sp>
      <p:sp>
        <p:nvSpPr>
          <p:cNvPr id="45" name="AutoShape 4"/>
          <p:cNvSpPr>
            <a:spLocks noChangeArrowheads="1"/>
          </p:cNvSpPr>
          <p:nvPr/>
        </p:nvSpPr>
        <p:spPr bwMode="auto">
          <a:xfrm>
            <a:off x="3391236" y="6023616"/>
            <a:ext cx="7600764" cy="610208"/>
          </a:xfrm>
          <a:prstGeom prst="rect">
            <a:avLst/>
          </a:prstGeom>
          <a:noFill/>
          <a:ln w="19050" cmpd="sng">
            <a:noFill/>
            <a:miter lim="800000"/>
            <a:headEnd/>
            <a:tailEnd/>
          </a:ln>
          <a:effectLst/>
        </p:spPr>
        <p:txBody>
          <a:bodyPr wrap="square" lIns="0" tIns="45881" rIns="108000" bIns="45881" numCol="1" anchor="ctr" anchorCtr="0"/>
          <a:lstStyle/>
          <a:p>
            <a:pPr marL="344488" indent="-7938">
              <a:buClr>
                <a:schemeClr val="bg2">
                  <a:lumMod val="50000"/>
                </a:schemeClr>
              </a:buClr>
              <a:tabLst>
                <a:tab pos="342900" algn="l"/>
              </a:tabLst>
              <a:defRPr/>
            </a:pPr>
            <a:r>
              <a:rPr lang="pl-PL" sz="1000" dirty="0"/>
              <a:t>Praca w korporacji i rozwijanie swoich pasji i zainteresowań? Współpraca zamiast ciąglej rywalizacji? Chcemy pokazać w jaki sposób działamy zgodnie z naszymi wartościami: </a:t>
            </a:r>
            <a:r>
              <a:rPr lang="en-US" sz="1000" b="1" dirty="0"/>
              <a:t>Honesty</a:t>
            </a:r>
            <a:r>
              <a:rPr lang="pl-PL" sz="1000" b="1" dirty="0"/>
              <a:t>; </a:t>
            </a:r>
            <a:r>
              <a:rPr lang="en-US" sz="1000" b="1" dirty="0"/>
              <a:t>Boldness</a:t>
            </a:r>
            <a:r>
              <a:rPr lang="pl-PL" sz="1000" b="1" dirty="0"/>
              <a:t>; </a:t>
            </a:r>
            <a:r>
              <a:rPr lang="en-US" sz="1000" b="1" dirty="0"/>
              <a:t>Trust</a:t>
            </a:r>
            <a:r>
              <a:rPr lang="pl-PL" sz="1000" b="1" dirty="0"/>
              <a:t>; </a:t>
            </a:r>
            <a:r>
              <a:rPr lang="en-US" sz="1000" b="1" dirty="0"/>
              <a:t>Freedom</a:t>
            </a:r>
            <a:r>
              <a:rPr lang="pl-PL" sz="1000" b="1" dirty="0"/>
              <a:t>; </a:t>
            </a:r>
            <a:r>
              <a:rPr lang="en-US" sz="1000" b="1" dirty="0"/>
              <a:t>Fun</a:t>
            </a:r>
            <a:r>
              <a:rPr lang="pl-PL" sz="1000" b="1" dirty="0"/>
              <a:t>; </a:t>
            </a:r>
            <a:r>
              <a:rPr lang="en-US" sz="1000" b="1" dirty="0"/>
              <a:t>Modesty</a:t>
            </a:r>
            <a:r>
              <a:rPr lang="pl-PL" sz="1000" b="1" dirty="0"/>
              <a:t>; </a:t>
            </a:r>
            <a:r>
              <a:rPr lang="en-US" sz="1000" b="1" dirty="0"/>
              <a:t>Team </a:t>
            </a:r>
            <a:r>
              <a:rPr lang="en-US" sz="1000" b="1" dirty="0" err="1"/>
              <a:t>Spiri</a:t>
            </a:r>
            <a:r>
              <a:rPr lang="pl-PL" sz="1000" b="1" dirty="0"/>
              <a:t>t</a:t>
            </a:r>
            <a:r>
              <a:rPr lang="pl-PL" sz="1000" dirty="0"/>
              <a:t>.</a:t>
            </a:r>
            <a:endParaRPr lang="en-US" sz="1000" dirty="0"/>
          </a:p>
        </p:txBody>
      </p:sp>
      <p:sp>
        <p:nvSpPr>
          <p:cNvPr id="46" name="TextBox 45"/>
          <p:cNvSpPr txBox="1"/>
          <p:nvPr/>
        </p:nvSpPr>
        <p:spPr>
          <a:xfrm>
            <a:off x="7479298" y="1495813"/>
            <a:ext cx="4237222" cy="2445826"/>
          </a:xfrm>
          <a:prstGeom prst="rect">
            <a:avLst/>
          </a:prstGeom>
          <a:ln/>
        </p:spPr>
        <p:style>
          <a:lnRef idx="2">
            <a:schemeClr val="accent4">
              <a:shade val="50000"/>
            </a:schemeClr>
          </a:lnRef>
          <a:fillRef idx="1003">
            <a:schemeClr val="dk2"/>
          </a:fillRef>
          <a:effectRef idx="0">
            <a:schemeClr val="accent4"/>
          </a:effectRef>
          <a:fontRef idx="minor">
            <a:schemeClr val="lt1"/>
          </a:fontRef>
        </p:style>
        <p:txBody>
          <a:bodyPr wrap="square" lIns="0" rtlCol="0" anchor="t">
            <a:noAutofit/>
          </a:bodyPr>
          <a:lstStyle/>
          <a:p>
            <a:pPr marL="171450" indent="-171450">
              <a:lnSpc>
                <a:spcPts val="1800"/>
              </a:lnSpc>
              <a:buClr>
                <a:schemeClr val="accent1"/>
              </a:buClr>
              <a:buFont typeface="Wingdings" panose="05000000000000000000" pitchFamily="2" charset="2"/>
              <a:buChar char="v"/>
            </a:pPr>
            <a:r>
              <a:rPr lang="pl-PL" altLang="en-US" sz="1000" b="1" dirty="0"/>
              <a:t>8 szkół średnich z województwa małopolskiego i śląskiego.</a:t>
            </a:r>
          </a:p>
          <a:p>
            <a:pPr marL="171450" indent="-171450">
              <a:lnSpc>
                <a:spcPts val="1800"/>
              </a:lnSpc>
              <a:buClr>
                <a:schemeClr val="accent1"/>
              </a:buClr>
              <a:buFont typeface="Wingdings" panose="05000000000000000000" pitchFamily="2" charset="2"/>
              <a:buChar char="v"/>
            </a:pPr>
            <a:r>
              <a:rPr lang="pl-PL" altLang="en-US" sz="1000" b="1" dirty="0"/>
              <a:t>64 uczennice (8 uczennic z każdej z szkoły), które wezmą udział w Akademii, a następnie zaprezentują szkołę na konkursie międzyszkolnym.</a:t>
            </a:r>
          </a:p>
          <a:p>
            <a:pPr marL="171450" indent="-171450">
              <a:lnSpc>
                <a:spcPts val="1800"/>
              </a:lnSpc>
              <a:buClr>
                <a:schemeClr val="accent1"/>
              </a:buClr>
              <a:buFont typeface="Wingdings" panose="05000000000000000000" pitchFamily="2" charset="2"/>
              <a:buChar char="v"/>
            </a:pPr>
            <a:r>
              <a:rPr lang="pl-PL" altLang="en-US" sz="1000" b="1" dirty="0"/>
              <a:t>Uczniowie szkół, którzy przyjadą kibicować swoim drużynom i wezmą udział w warsztatach towarzyszących (lista warsztatów w przygotowaniu).</a:t>
            </a:r>
          </a:p>
          <a:p>
            <a:pPr marL="171450" indent="-171450">
              <a:lnSpc>
                <a:spcPts val="1800"/>
              </a:lnSpc>
              <a:buClr>
                <a:schemeClr val="accent1"/>
              </a:buClr>
              <a:buFont typeface="Wingdings" panose="05000000000000000000" pitchFamily="2" charset="2"/>
              <a:buChar char="v"/>
            </a:pPr>
            <a:r>
              <a:rPr lang="pl-PL" altLang="en-US" sz="1000" b="1" dirty="0"/>
              <a:t>Rodzice uczniów, dla których zostanie przygotowane spotkanie: „Szanse jakie daje rozwój technologii IT”.</a:t>
            </a:r>
          </a:p>
          <a:p>
            <a:pPr marL="171450" indent="-171450">
              <a:lnSpc>
                <a:spcPts val="1800"/>
              </a:lnSpc>
              <a:buClr>
                <a:schemeClr val="accent1"/>
              </a:buClr>
              <a:buFont typeface="Wingdings" panose="05000000000000000000" pitchFamily="2" charset="2"/>
              <a:buChar char="v"/>
            </a:pPr>
            <a:endParaRPr lang="en-US" altLang="en-US" sz="1000" b="1" dirty="0"/>
          </a:p>
        </p:txBody>
      </p:sp>
      <p:sp>
        <p:nvSpPr>
          <p:cNvPr id="47" name="Rectangle 46"/>
          <p:cNvSpPr/>
          <p:nvPr/>
        </p:nvSpPr>
        <p:spPr>
          <a:xfrm>
            <a:off x="7479298" y="765000"/>
            <a:ext cx="2305471" cy="6031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0000" bIns="45881" rtlCol="0" anchor="ctr"/>
          <a:lstStyle/>
          <a:p>
            <a:r>
              <a:rPr lang="pl-PL" sz="2000" b="1" dirty="0">
                <a:solidFill>
                  <a:schemeClr val="accent2"/>
                </a:solidFill>
              </a:rPr>
              <a:t>Beneficjenci</a:t>
            </a:r>
            <a:endParaRPr lang="en-US" sz="2000" b="1" dirty="0">
              <a:solidFill>
                <a:schemeClr val="accent2"/>
              </a:solidFill>
            </a:endParaRPr>
          </a:p>
        </p:txBody>
      </p:sp>
      <p:cxnSp>
        <p:nvCxnSpPr>
          <p:cNvPr id="51" name="Conector reto 49">
            <a:extLst>
              <a:ext uri="{FF2B5EF4-FFF2-40B4-BE49-F238E27FC236}">
                <a16:creationId xmlns:a16="http://schemas.microsoft.com/office/drawing/2014/main" id="{F794F527-7462-4648-A64E-D558D50F4129}"/>
              </a:ext>
            </a:extLst>
          </p:cNvPr>
          <p:cNvCxnSpPr>
            <a:cxnSpLocks/>
          </p:cNvCxnSpPr>
          <p:nvPr/>
        </p:nvCxnSpPr>
        <p:spPr>
          <a:xfrm>
            <a:off x="7479298" y="1336915"/>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52" name="Rounded Rectangle 51"/>
          <p:cNvSpPr/>
          <p:nvPr/>
        </p:nvSpPr>
        <p:spPr>
          <a:xfrm>
            <a:off x="232709" y="4776412"/>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defRPr/>
            </a:pPr>
            <a:r>
              <a:rPr lang="pl-PL" sz="1200" b="1" dirty="0">
                <a:solidFill>
                  <a:schemeClr val="tx1"/>
                </a:solidFill>
              </a:rPr>
              <a:t>Ukazanie szans jakie daje IT</a:t>
            </a:r>
            <a:endParaRPr lang="en-US" sz="1200" b="1" kern="0" dirty="0">
              <a:solidFill>
                <a:schemeClr val="tx1"/>
              </a:solidFill>
            </a:endParaRPr>
          </a:p>
        </p:txBody>
      </p:sp>
    </p:spTree>
    <p:extLst>
      <p:ext uri="{BB962C8B-B14F-4D97-AF65-F5344CB8AC3E}">
        <p14:creationId xmlns:p14="http://schemas.microsoft.com/office/powerpoint/2010/main" val="290753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pl-PL" altLang="en-US" sz="4000" b="1" dirty="0">
                <a:ea typeface="ＭＳ Ｐゴシック" charset="-128"/>
                <a:cs typeface="Arial" charset="0"/>
              </a:rPr>
              <a:t>IT Girls rEvolution Academy</a:t>
            </a:r>
            <a:endParaRPr lang="en-GB" altLang="en-US" sz="4000" dirty="0">
              <a:ea typeface="ＭＳ Ｐゴシック" charset="-128"/>
              <a:cs typeface="Arial" charset="0"/>
            </a:endParaRPr>
          </a:p>
        </p:txBody>
      </p:sp>
      <p:sp>
        <p:nvSpPr>
          <p:cNvPr id="18" name="Rounded Rectangle 17"/>
          <p:cNvSpPr/>
          <p:nvPr/>
        </p:nvSpPr>
        <p:spPr>
          <a:xfrm>
            <a:off x="113083" y="2801035"/>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endParaRPr lang="en-US" sz="1200" dirty="0">
              <a:solidFill>
                <a:schemeClr val="tx1"/>
              </a:solidFill>
            </a:endParaRPr>
          </a:p>
        </p:txBody>
      </p:sp>
      <p:sp>
        <p:nvSpPr>
          <p:cNvPr id="286" name="TextBox 285"/>
          <p:cNvSpPr txBox="1"/>
          <p:nvPr/>
        </p:nvSpPr>
        <p:spPr>
          <a:xfrm>
            <a:off x="248348" y="5332206"/>
            <a:ext cx="8218117" cy="1507272"/>
          </a:xfrm>
          <a:prstGeom prst="rect">
            <a:avLst/>
          </a:prstGeom>
          <a:noFill/>
          <a:ln>
            <a:noFill/>
          </a:ln>
          <a:effectLst/>
        </p:spPr>
        <p:txBody>
          <a:bodyPr wrap="square" lIns="0" rtlCol="0" anchor="t">
            <a:noAutofit/>
          </a:bodyPr>
          <a:lstStyle/>
          <a:p>
            <a:pPr marL="171450" indent="-171450">
              <a:lnSpc>
                <a:spcPts val="1800"/>
              </a:lnSpc>
              <a:buClr>
                <a:schemeClr val="accent1"/>
              </a:buClr>
              <a:buFont typeface="Wingdings" panose="05000000000000000000" pitchFamily="2" charset="2"/>
              <a:buChar char="v"/>
            </a:pPr>
            <a:endParaRPr lang="en-US" altLang="en-US" sz="1000" b="1" dirty="0"/>
          </a:p>
        </p:txBody>
      </p:sp>
      <p:sp>
        <p:nvSpPr>
          <p:cNvPr id="469" name="Rectangle 468"/>
          <p:cNvSpPr/>
          <p:nvPr/>
        </p:nvSpPr>
        <p:spPr>
          <a:xfrm>
            <a:off x="8982981" y="2237452"/>
            <a:ext cx="2725663" cy="8943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endParaRPr lang="en-US" sz="2000" b="1" dirty="0">
              <a:solidFill>
                <a:schemeClr val="accent2"/>
              </a:solidFill>
            </a:endParaRPr>
          </a:p>
        </p:txBody>
      </p:sp>
      <p:sp>
        <p:nvSpPr>
          <p:cNvPr id="20" name="Rounded Rectangle 19"/>
          <p:cNvSpPr/>
          <p:nvPr/>
        </p:nvSpPr>
        <p:spPr>
          <a:xfrm>
            <a:off x="69288" y="2832493"/>
            <a:ext cx="3055291" cy="40640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defRPr/>
            </a:pPr>
            <a:endParaRPr lang="en-US" sz="1200" b="1" kern="0" dirty="0">
              <a:solidFill>
                <a:schemeClr val="tx1"/>
              </a:solidFill>
            </a:endParaRPr>
          </a:p>
        </p:txBody>
      </p:sp>
      <p:sp>
        <p:nvSpPr>
          <p:cNvPr id="27" name="Rectangle 26"/>
          <p:cNvSpPr/>
          <p:nvPr/>
        </p:nvSpPr>
        <p:spPr>
          <a:xfrm>
            <a:off x="9272400" y="1714128"/>
            <a:ext cx="2725663" cy="8943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1762" bIns="45881" rtlCol="0" anchor="ctr"/>
          <a:lstStyle/>
          <a:p>
            <a:endParaRPr lang="en-US" sz="2000" b="1" dirty="0">
              <a:solidFill>
                <a:schemeClr val="accent2"/>
              </a:solidFill>
            </a:endParaRPr>
          </a:p>
        </p:txBody>
      </p:sp>
      <p:sp>
        <p:nvSpPr>
          <p:cNvPr id="3" name="Rectangle 2"/>
          <p:cNvSpPr/>
          <p:nvPr/>
        </p:nvSpPr>
        <p:spPr>
          <a:xfrm>
            <a:off x="8872990" y="2056497"/>
            <a:ext cx="2945643" cy="400110"/>
          </a:xfrm>
          <a:prstGeom prst="rect">
            <a:avLst/>
          </a:prstGeom>
        </p:spPr>
        <p:txBody>
          <a:bodyPr wrap="square">
            <a:spAutoFit/>
          </a:bodyPr>
          <a:lstStyle/>
          <a:p>
            <a:r>
              <a:rPr lang="pl-PL" sz="2000" b="1" dirty="0">
                <a:solidFill>
                  <a:schemeClr val="accent2"/>
                </a:solidFill>
              </a:rPr>
              <a:t>Kalendarium</a:t>
            </a:r>
            <a:endParaRPr lang="en-US" sz="2000" b="1" dirty="0">
              <a:solidFill>
                <a:schemeClr val="accent2"/>
              </a:solidFill>
            </a:endParaRPr>
          </a:p>
        </p:txBody>
      </p:sp>
      <p:sp>
        <p:nvSpPr>
          <p:cNvPr id="29" name="TextBox 28"/>
          <p:cNvSpPr txBox="1"/>
          <p:nvPr/>
        </p:nvSpPr>
        <p:spPr>
          <a:xfrm>
            <a:off x="8961155" y="2950876"/>
            <a:ext cx="2857478" cy="3001909"/>
          </a:xfrm>
          <a:prstGeom prst="rect">
            <a:avLst/>
          </a:prstGeom>
          <a:ln/>
        </p:spPr>
        <p:style>
          <a:lnRef idx="0">
            <a:schemeClr val="accent2"/>
          </a:lnRef>
          <a:fillRef idx="1003">
            <a:schemeClr val="dk2"/>
          </a:fillRef>
          <a:effectRef idx="3">
            <a:schemeClr val="accent2"/>
          </a:effectRef>
          <a:fontRef idx="minor">
            <a:schemeClr val="lt1"/>
          </a:fontRef>
        </p:style>
        <p:txBody>
          <a:bodyPr wrap="square" rtlCol="0" anchor="t">
            <a:noAutofit/>
          </a:bodyPr>
          <a:lstStyle/>
          <a:p>
            <a:pPr marL="228600" indent="-228600">
              <a:buAutoNum type="arabicPeriod"/>
            </a:pPr>
            <a:r>
              <a:rPr lang="pl-PL" sz="1100" dirty="0">
                <a:sym typeface="Wingdings" panose="05000000000000000000" pitchFamily="2" charset="2"/>
              </a:rPr>
              <a:t>Rekrutacja szkół – lipiec 2020 r.</a:t>
            </a:r>
          </a:p>
          <a:p>
            <a:endParaRPr lang="pl-PL" sz="1100" dirty="0">
              <a:sym typeface="Wingdings" panose="05000000000000000000" pitchFamily="2" charset="2"/>
            </a:endParaRPr>
          </a:p>
          <a:p>
            <a:r>
              <a:rPr lang="pl-PL" sz="1100" dirty="0">
                <a:sym typeface="Wingdings" panose="05000000000000000000" pitchFamily="2" charset="2"/>
              </a:rPr>
              <a:t>2. Przygotowanie programu szkoleniowego lipiec/sierpien 2020 r.</a:t>
            </a:r>
          </a:p>
          <a:p>
            <a:endParaRPr lang="pl-PL" sz="1100" dirty="0">
              <a:sym typeface="Wingdings" panose="05000000000000000000" pitchFamily="2" charset="2"/>
            </a:endParaRPr>
          </a:p>
          <a:p>
            <a:r>
              <a:rPr lang="pl-PL" sz="1100" dirty="0">
                <a:sym typeface="Wingdings" panose="05000000000000000000" pitchFamily="2" charset="2"/>
              </a:rPr>
              <a:t>3. Spotkania z rodziacami  </a:t>
            </a:r>
            <a:r>
              <a:rPr lang="pl-PL" altLang="en-US" sz="1100" dirty="0"/>
              <a:t>„Szanse jakie daje rozwój technologii IT” – wrzesień/ październik 2020 r.</a:t>
            </a:r>
          </a:p>
          <a:p>
            <a:endParaRPr lang="pl-PL" sz="1100" dirty="0">
              <a:sym typeface="Wingdings" panose="05000000000000000000" pitchFamily="2" charset="2"/>
            </a:endParaRPr>
          </a:p>
          <a:p>
            <a:r>
              <a:rPr lang="pl-PL" sz="1100" dirty="0">
                <a:sym typeface="Wingdings" panose="05000000000000000000" pitchFamily="2" charset="2"/>
              </a:rPr>
              <a:t>4. Akademia IT:  4 kolejne soboty</a:t>
            </a:r>
          </a:p>
          <a:p>
            <a:r>
              <a:rPr lang="pl-PL" sz="1100" b="1" dirty="0">
                <a:sym typeface="Wingdings" panose="05000000000000000000" pitchFamily="2" charset="2"/>
              </a:rPr>
              <a:t>10.10 /17.10/24.10/31.10</a:t>
            </a:r>
          </a:p>
          <a:p>
            <a:endParaRPr lang="pl-PL" sz="1100" dirty="0">
              <a:sym typeface="Wingdings" panose="05000000000000000000" pitchFamily="2" charset="2"/>
            </a:endParaRPr>
          </a:p>
          <a:p>
            <a:r>
              <a:rPr lang="pl-PL" sz="1100" dirty="0">
                <a:sym typeface="Wingdings" panose="05000000000000000000" pitchFamily="2" charset="2"/>
              </a:rPr>
              <a:t>5. </a:t>
            </a:r>
            <a:r>
              <a:rPr lang="pl-PL" sz="1100" dirty="0"/>
              <a:t>Finał projektu - Big Event:  Konkurs międzyszkolny listopad 2020 (dokładna data zostanie potwierdzona).</a:t>
            </a:r>
            <a:endParaRPr lang="en-US" sz="1100" dirty="0"/>
          </a:p>
        </p:txBody>
      </p:sp>
      <p:cxnSp>
        <p:nvCxnSpPr>
          <p:cNvPr id="31" name="Conector reto 49">
            <a:extLst>
              <a:ext uri="{FF2B5EF4-FFF2-40B4-BE49-F238E27FC236}">
                <a16:creationId xmlns:a16="http://schemas.microsoft.com/office/drawing/2014/main" id="{F794F527-7462-4648-A64E-D558D50F4129}"/>
              </a:ext>
            </a:extLst>
          </p:cNvPr>
          <p:cNvCxnSpPr>
            <a:cxnSpLocks/>
          </p:cNvCxnSpPr>
          <p:nvPr/>
        </p:nvCxnSpPr>
        <p:spPr>
          <a:xfrm>
            <a:off x="8976000" y="2565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69664" y="3212973"/>
            <a:ext cx="10029378" cy="6031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0000" bIns="45881" rtlCol="0" anchor="ctr"/>
          <a:lstStyle/>
          <a:p>
            <a:r>
              <a:rPr lang="pl-PL" sz="2000" b="1" dirty="0">
                <a:solidFill>
                  <a:schemeClr val="accent2"/>
                </a:solidFill>
              </a:rPr>
              <a:t>Tematyka warsztatów</a:t>
            </a:r>
            <a:endParaRPr lang="en-US" sz="2000" b="1" dirty="0">
              <a:solidFill>
                <a:schemeClr val="accent2"/>
              </a:solidFill>
            </a:endParaRPr>
          </a:p>
        </p:txBody>
      </p:sp>
      <p:cxnSp>
        <p:nvCxnSpPr>
          <p:cNvPr id="19" name="Conector reto 49">
            <a:extLst>
              <a:ext uri="{FF2B5EF4-FFF2-40B4-BE49-F238E27FC236}">
                <a16:creationId xmlns:a16="http://schemas.microsoft.com/office/drawing/2014/main" id="{F794F527-7462-4648-A64E-D558D50F4129}"/>
              </a:ext>
            </a:extLst>
          </p:cNvPr>
          <p:cNvCxnSpPr>
            <a:cxnSpLocks/>
          </p:cNvCxnSpPr>
          <p:nvPr/>
        </p:nvCxnSpPr>
        <p:spPr>
          <a:xfrm>
            <a:off x="306600" y="3789000"/>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aphicFrame>
        <p:nvGraphicFramePr>
          <p:cNvPr id="5" name="Diagram 4"/>
          <p:cNvGraphicFramePr/>
          <p:nvPr>
            <p:extLst>
              <p:ext uri="{D42A27DB-BD31-4B8C-83A1-F6EECF244321}">
                <p14:modId xmlns:p14="http://schemas.microsoft.com/office/powerpoint/2010/main" val="297415240"/>
              </p:ext>
            </p:extLst>
          </p:nvPr>
        </p:nvGraphicFramePr>
        <p:xfrm>
          <a:off x="293735" y="3827306"/>
          <a:ext cx="8438839" cy="31525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 name="Rectangle 20"/>
          <p:cNvSpPr/>
          <p:nvPr/>
        </p:nvSpPr>
        <p:spPr>
          <a:xfrm>
            <a:off x="314622" y="879710"/>
            <a:ext cx="10029378" cy="6031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881" rIns="90000" bIns="45881" rtlCol="0" anchor="ctr"/>
          <a:lstStyle/>
          <a:p>
            <a:r>
              <a:rPr lang="pl-PL" sz="2000" b="1" dirty="0">
                <a:solidFill>
                  <a:schemeClr val="accent2"/>
                </a:solidFill>
              </a:rPr>
              <a:t>Etapy realizacji projektu</a:t>
            </a:r>
            <a:endParaRPr lang="en-US" sz="2000" b="1" dirty="0">
              <a:solidFill>
                <a:schemeClr val="accent2"/>
              </a:solidFill>
            </a:endParaRPr>
          </a:p>
        </p:txBody>
      </p:sp>
      <p:cxnSp>
        <p:nvCxnSpPr>
          <p:cNvPr id="22" name="Conector reto 49">
            <a:extLst>
              <a:ext uri="{FF2B5EF4-FFF2-40B4-BE49-F238E27FC236}">
                <a16:creationId xmlns:a16="http://schemas.microsoft.com/office/drawing/2014/main" id="{F794F527-7462-4648-A64E-D558D50F4129}"/>
              </a:ext>
            </a:extLst>
          </p:cNvPr>
          <p:cNvCxnSpPr>
            <a:cxnSpLocks/>
          </p:cNvCxnSpPr>
          <p:nvPr/>
        </p:nvCxnSpPr>
        <p:spPr>
          <a:xfrm>
            <a:off x="306600" y="1486658"/>
            <a:ext cx="533400" cy="0"/>
          </a:xfrm>
          <a:prstGeom prst="line">
            <a:avLst/>
          </a:prstGeom>
          <a:solidFill>
            <a:schemeClr val="tx1"/>
          </a:solidFill>
          <a:ln w="47625" cap="flat">
            <a:solidFill>
              <a:srgbClr val="12ABDB"/>
            </a:solidFill>
            <a:round/>
          </a:ln>
        </p:spPr>
        <p:style>
          <a:lnRef idx="1">
            <a:schemeClr val="accent1"/>
          </a:lnRef>
          <a:fillRef idx="0">
            <a:schemeClr val="accent1"/>
          </a:fillRef>
          <a:effectRef idx="0">
            <a:schemeClr val="accent1"/>
          </a:effectRef>
          <a:fontRef idx="minor">
            <a:schemeClr val="tx1"/>
          </a:fontRef>
        </p:style>
      </p:cxnSp>
      <p:graphicFrame>
        <p:nvGraphicFramePr>
          <p:cNvPr id="23" name="Diagram 22"/>
          <p:cNvGraphicFramePr/>
          <p:nvPr>
            <p:extLst>
              <p:ext uri="{D42A27DB-BD31-4B8C-83A1-F6EECF244321}">
                <p14:modId xmlns:p14="http://schemas.microsoft.com/office/powerpoint/2010/main" val="2228291711"/>
              </p:ext>
            </p:extLst>
          </p:nvPr>
        </p:nvGraphicFramePr>
        <p:xfrm>
          <a:off x="314087" y="1807270"/>
          <a:ext cx="8301913" cy="12986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68561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Custom 85">
      <a:dk1>
        <a:srgbClr val="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7D39B9"/>
      </a:hlink>
      <a:folHlink>
        <a:srgbClr val="88D5ED"/>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8FE7168-D87E-42AB-B386-4F7E19B889AB}" vid="{1E53BF59-8A3C-4B78-911D-5EA861346572}"/>
    </a:ext>
  </a:extLst>
</a:theme>
</file>

<file path=ppt/theme/theme2.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6FB00E9C22C3848AF054839D18B4E9D" ma:contentTypeVersion="10" ma:contentTypeDescription="Create a new document." ma:contentTypeScope="" ma:versionID="8edddfc8e15a821ef857130adc47016e">
  <xsd:schema xmlns:xsd="http://www.w3.org/2001/XMLSchema" xmlns:xs="http://www.w3.org/2001/XMLSchema" xmlns:p="http://schemas.microsoft.com/office/2006/metadata/properties" xmlns:ns2="ca28b81a-7372-48c6-907d-a319e632da94" xmlns:ns3="0066ecc5-c54a-45c3-a38e-93bbc4b542f9" targetNamespace="http://schemas.microsoft.com/office/2006/metadata/properties" ma:root="true" ma:fieldsID="e27929a0ebf208c045710e4d2422c7f2" ns2:_="" ns3:_="">
    <xsd:import namespace="ca28b81a-7372-48c6-907d-a319e632da94"/>
    <xsd:import namespace="0066ecc5-c54a-45c3-a38e-93bbc4b542f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8b81a-7372-48c6-907d-a319e632da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66ecc5-c54a-45c3-a38e-93bbc4b542f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B967F2-801E-4731-BB04-91F9071435B4}">
  <ds:schemaRefs>
    <ds:schemaRef ds:uri="ca28b81a-7372-48c6-907d-a319e632da94"/>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E9FB5199-914C-4AD4-9BD1-9E798342186A}">
  <ds:schemaRefs>
    <ds:schemaRef ds:uri="http://schemas.microsoft.com/sharepoint/v3/contenttype/forms"/>
  </ds:schemaRefs>
</ds:datastoreItem>
</file>

<file path=customXml/itemProps3.xml><?xml version="1.0" encoding="utf-8"?>
<ds:datastoreItem xmlns:ds="http://schemas.openxmlformats.org/officeDocument/2006/customXml" ds:itemID="{985A14D5-2BC6-40F7-987C-B0313209EAC3}"/>
</file>

<file path=docProps/app.xml><?xml version="1.0" encoding="utf-8"?>
<Properties xmlns="http://schemas.openxmlformats.org/officeDocument/2006/extended-properties" xmlns:vt="http://schemas.openxmlformats.org/officeDocument/2006/docPropsVTypes">
  <Template/>
  <TotalTime>23237</TotalTime>
  <Words>1386</Words>
  <Application>Microsoft Office PowerPoint</Application>
  <PresentationFormat>Widescreen</PresentationFormat>
  <Paragraphs>173</Paragraphs>
  <Slides>12</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Arial Black</vt:lpstr>
      <vt:lpstr>Arial Rounded MT Bold</vt:lpstr>
      <vt:lpstr>Calibri</vt:lpstr>
      <vt:lpstr>Verdana</vt:lpstr>
      <vt:lpstr>Wingdings</vt:lpstr>
      <vt:lpstr>Capgemini Master</vt:lpstr>
      <vt:lpstr>think-cell Slide</vt:lpstr>
      <vt:lpstr>PowerPoint Presentation</vt:lpstr>
      <vt:lpstr>PowerPoint Presentation</vt:lpstr>
      <vt:lpstr>Capgemini  na świecie</vt:lpstr>
      <vt:lpstr>Capgemini w Polsce   </vt:lpstr>
      <vt:lpstr>PowerPoint Presentation</vt:lpstr>
      <vt:lpstr>PowerPoint Presentation</vt:lpstr>
      <vt:lpstr>Odpowiedzialność społeczna - CSR</vt:lpstr>
      <vt:lpstr>IT Girls rEvolution Academy</vt:lpstr>
      <vt:lpstr>IT Girls rEvolution Academy</vt:lpstr>
      <vt:lpstr>IT Girls rEvolution Academy</vt:lpstr>
      <vt:lpstr>IT Girls rEvolution Academy</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Pietras, Anna</cp:lastModifiedBy>
  <cp:revision>544</cp:revision>
  <dcterms:created xsi:type="dcterms:W3CDTF">2017-11-02T14:01:05Z</dcterms:created>
  <dcterms:modified xsi:type="dcterms:W3CDTF">2020-06-24T07:1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FB00E9C22C3848AF054839D18B4E9D</vt:lpwstr>
  </property>
</Properties>
</file>